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4"/>
  </p:sldMasterIdLst>
  <p:notesMasterIdLst>
    <p:notesMasterId r:id="rId11"/>
  </p:notesMasterIdLst>
  <p:sldIdLst>
    <p:sldId id="256" r:id="rId5"/>
    <p:sldId id="2147378288" r:id="rId6"/>
    <p:sldId id="2147378289" r:id="rId7"/>
    <p:sldId id="2147378290" r:id="rId8"/>
    <p:sldId id="2147378280" r:id="rId9"/>
    <p:sldId id="2147378281" r:id="rId10"/>
  </p:sldIdLst>
  <p:sldSz cx="12192000" cy="6858000"/>
  <p:notesSz cx="6735763" cy="9866313"/>
  <p:embeddedFontLst>
    <p:embeddedFont>
      <p:font typeface="Raleway" pitchFamily="2" charset="0"/>
      <p:regular r:id="rId12"/>
      <p:bold r:id="rId13"/>
      <p:italic r:id="rId14"/>
      <p:boldItalic r:id="rId15"/>
    </p:embeddedFont>
  </p:embeddedFontLst>
  <p:defaultTextStyle>
    <a:defPPr>
      <a:defRPr lang="en-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27EE304-5C97-82BD-A9DD-9B7CFCADDA40}" name="Consultant Myriam Grubo" initials="CMG" userId="Consultant Myriam Grubo" providerId="None"/>
  <p188:author id="{34EE651C-0E8E-0A59-1320-E599AB926004}" name="Caryn Fenner | Afrigen Biologics" initials="CF|AB" userId="S::carynf@afrigen.co.za::b5bf6675-1587-4c1f-9661-41981fc2d962" providerId="AD"/>
  <p188:author id="{C62418F5-1053-5C6A-406F-4F4F3A4F984C}" name="Landry Bertaux" initials="LB" userId="S::lbertaux@medicinespatentpool.org::bd54fd6a-a816-43fe-bb55-2b5291f805c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6923"/>
    <a:srgbClr val="E86A28"/>
    <a:srgbClr val="D9E4F5"/>
    <a:srgbClr val="007BBF"/>
    <a:srgbClr val="017BC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FD45093-2B3D-40C0-849A-6B7CFC1E3B02}" v="212" dt="2025-05-08T11:17:47.6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02" autoAdjust="0"/>
    <p:restoredTop sz="94660"/>
  </p:normalViewPr>
  <p:slideViewPr>
    <p:cSldViewPr snapToGrid="0">
      <p:cViewPr varScale="1">
        <p:scale>
          <a:sx n="106" d="100"/>
          <a:sy n="106" d="100"/>
        </p:scale>
        <p:origin x="114"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font" Target="fonts/font2.fntdata"/><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font" Target="fonts/font1.fntdata"/><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font" Target="fonts/font4.fntdata"/><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font" Target="fonts/font3.fntdata"/><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NG, Yang" userId="7ebc088d-4666-4535-981b-26501c4f6d33" providerId="ADAL" clId="{45E49291-3B30-4CCF-B944-CC16AEF3C416}"/>
    <pc:docChg chg="custSel modSld">
      <pc:chgData name="SONG, Yang" userId="7ebc088d-4666-4535-981b-26501c4f6d33" providerId="ADAL" clId="{45E49291-3B30-4CCF-B944-CC16AEF3C416}" dt="2024-06-21T09:24:14.289" v="60" actId="1076"/>
      <pc:docMkLst>
        <pc:docMk/>
      </pc:docMkLst>
      <pc:sldChg chg="modSp mod">
        <pc:chgData name="SONG, Yang" userId="7ebc088d-4666-4535-981b-26501c4f6d33" providerId="ADAL" clId="{45E49291-3B30-4CCF-B944-CC16AEF3C416}" dt="2024-06-20T09:19:47.272" v="21" actId="20577"/>
        <pc:sldMkLst>
          <pc:docMk/>
          <pc:sldMk cId="4096737308" sldId="256"/>
        </pc:sldMkLst>
      </pc:sldChg>
      <pc:sldChg chg="modSp mod">
        <pc:chgData name="SONG, Yang" userId="7ebc088d-4666-4535-981b-26501c4f6d33" providerId="ADAL" clId="{45E49291-3B30-4CCF-B944-CC16AEF3C416}" dt="2024-06-21T09:10:43.825" v="54" actId="120"/>
        <pc:sldMkLst>
          <pc:docMk/>
          <pc:sldMk cId="4044898603" sldId="2147378279"/>
        </pc:sldMkLst>
      </pc:sldChg>
      <pc:sldChg chg="addSp delSp modSp mod">
        <pc:chgData name="SONG, Yang" userId="7ebc088d-4666-4535-981b-26501c4f6d33" providerId="ADAL" clId="{45E49291-3B30-4CCF-B944-CC16AEF3C416}" dt="2024-06-21T09:24:14.289" v="60" actId="1076"/>
        <pc:sldMkLst>
          <pc:docMk/>
          <pc:sldMk cId="649913251" sldId="2147378281"/>
        </pc:sldMkLst>
      </pc:sldChg>
    </pc:docChg>
  </pc:docChgLst>
  <pc:docChgLst>
    <pc:chgData name="SONG, Yang" userId="7ebc088d-4666-4535-981b-26501c4f6d33" providerId="ADAL" clId="{BFD45093-2B3D-40C0-849A-6B7CFC1E3B02}"/>
    <pc:docChg chg="undo redo custSel addSld delSld modSld sldOrd">
      <pc:chgData name="SONG, Yang" userId="7ebc088d-4666-4535-981b-26501c4f6d33" providerId="ADAL" clId="{BFD45093-2B3D-40C0-849A-6B7CFC1E3B02}" dt="2025-05-08T11:21:13.192" v="891" actId="1076"/>
      <pc:docMkLst>
        <pc:docMk/>
      </pc:docMkLst>
      <pc:sldChg chg="modSp mod">
        <pc:chgData name="SONG, Yang" userId="7ebc088d-4666-4535-981b-26501c4f6d33" providerId="ADAL" clId="{BFD45093-2B3D-40C0-849A-6B7CFC1E3B02}" dt="2025-05-05T16:54:26.760" v="331" actId="20577"/>
        <pc:sldMkLst>
          <pc:docMk/>
          <pc:sldMk cId="4096737308" sldId="256"/>
        </pc:sldMkLst>
        <pc:spChg chg="mod">
          <ac:chgData name="SONG, Yang" userId="7ebc088d-4666-4535-981b-26501c4f6d33" providerId="ADAL" clId="{BFD45093-2B3D-40C0-849A-6B7CFC1E3B02}" dt="2025-05-05T16:54:19.345" v="324" actId="20577"/>
          <ac:spMkLst>
            <pc:docMk/>
            <pc:sldMk cId="4096737308" sldId="256"/>
            <ac:spMk id="8" creationId="{C82B697F-0C3B-87C2-25B1-F38697C9C5B3}"/>
          </ac:spMkLst>
        </pc:spChg>
        <pc:spChg chg="mod">
          <ac:chgData name="SONG, Yang" userId="7ebc088d-4666-4535-981b-26501c4f6d33" providerId="ADAL" clId="{BFD45093-2B3D-40C0-849A-6B7CFC1E3B02}" dt="2025-05-05T16:54:26.760" v="331" actId="20577"/>
          <ac:spMkLst>
            <pc:docMk/>
            <pc:sldMk cId="4096737308" sldId="256"/>
            <ac:spMk id="9" creationId="{7A456ED9-D24C-4CFB-7028-AB2906F42B25}"/>
          </ac:spMkLst>
        </pc:spChg>
      </pc:sldChg>
      <pc:sldChg chg="addSp delSp modSp add del mod">
        <pc:chgData name="SONG, Yang" userId="7ebc088d-4666-4535-981b-26501c4f6d33" providerId="ADAL" clId="{BFD45093-2B3D-40C0-849A-6B7CFC1E3B02}" dt="2025-05-08T11:18:07.232" v="876" actId="2696"/>
        <pc:sldMkLst>
          <pc:docMk/>
          <pc:sldMk cId="4044898603" sldId="2147378279"/>
        </pc:sldMkLst>
        <pc:spChg chg="add del mod">
          <ac:chgData name="SONG, Yang" userId="7ebc088d-4666-4535-981b-26501c4f6d33" providerId="ADAL" clId="{BFD45093-2B3D-40C0-849A-6B7CFC1E3B02}" dt="2025-05-08T10:03:31.287" v="471" actId="478"/>
          <ac:spMkLst>
            <pc:docMk/>
            <pc:sldMk cId="4044898603" sldId="2147378279"/>
            <ac:spMk id="4" creationId="{1F6F8D96-5A61-4446-F2F9-C70BEE70425A}"/>
          </ac:spMkLst>
        </pc:spChg>
        <pc:spChg chg="add mod">
          <ac:chgData name="SONG, Yang" userId="7ebc088d-4666-4535-981b-26501c4f6d33" providerId="ADAL" clId="{BFD45093-2B3D-40C0-849A-6B7CFC1E3B02}" dt="2025-05-08T10:03:31.733" v="472"/>
          <ac:spMkLst>
            <pc:docMk/>
            <pc:sldMk cId="4044898603" sldId="2147378279"/>
            <ac:spMk id="5" creationId="{DD099A7C-1A67-31A3-1C8A-ECB40E98F0D4}"/>
          </ac:spMkLst>
        </pc:spChg>
        <pc:graphicFrameChg chg="mod modGraphic">
          <ac:chgData name="SONG, Yang" userId="7ebc088d-4666-4535-981b-26501c4f6d33" providerId="ADAL" clId="{BFD45093-2B3D-40C0-849A-6B7CFC1E3B02}" dt="2025-05-08T11:15:13.581" v="826" actId="207"/>
          <ac:graphicFrameMkLst>
            <pc:docMk/>
            <pc:sldMk cId="4044898603" sldId="2147378279"/>
            <ac:graphicFrameMk id="6" creationId="{552843EA-4A9B-8738-0988-3B21636ECB6A}"/>
          </ac:graphicFrameMkLst>
        </pc:graphicFrameChg>
      </pc:sldChg>
      <pc:sldChg chg="addSp delSp modSp mod">
        <pc:chgData name="SONG, Yang" userId="7ebc088d-4666-4535-981b-26501c4f6d33" providerId="ADAL" clId="{BFD45093-2B3D-40C0-849A-6B7CFC1E3B02}" dt="2025-05-08T10:03:37.952" v="474"/>
        <pc:sldMkLst>
          <pc:docMk/>
          <pc:sldMk cId="3257099905" sldId="2147378280"/>
        </pc:sldMkLst>
        <pc:spChg chg="add mod">
          <ac:chgData name="SONG, Yang" userId="7ebc088d-4666-4535-981b-26501c4f6d33" providerId="ADAL" clId="{BFD45093-2B3D-40C0-849A-6B7CFC1E3B02}" dt="2025-04-30T09:40:42.905" v="161" actId="1076"/>
          <ac:spMkLst>
            <pc:docMk/>
            <pc:sldMk cId="3257099905" sldId="2147378280"/>
            <ac:spMk id="3" creationId="{6A04FD26-CF1E-D1E5-51D1-013C0D660FEA}"/>
          </ac:spMkLst>
        </pc:spChg>
        <pc:spChg chg="add mod">
          <ac:chgData name="SONG, Yang" userId="7ebc088d-4666-4535-981b-26501c4f6d33" providerId="ADAL" clId="{BFD45093-2B3D-40C0-849A-6B7CFC1E3B02}" dt="2025-04-29T15:17:47.217" v="151" actId="1076"/>
          <ac:spMkLst>
            <pc:docMk/>
            <pc:sldMk cId="3257099905" sldId="2147378280"/>
            <ac:spMk id="4" creationId="{6178B519-CB0E-7D7B-2E43-BB1AA86BBC67}"/>
          </ac:spMkLst>
        </pc:spChg>
        <pc:spChg chg="add mod">
          <ac:chgData name="SONG, Yang" userId="7ebc088d-4666-4535-981b-26501c4f6d33" providerId="ADAL" clId="{BFD45093-2B3D-40C0-849A-6B7CFC1E3B02}" dt="2025-05-05T16:38:10.339" v="285" actId="1076"/>
          <ac:spMkLst>
            <pc:docMk/>
            <pc:sldMk cId="3257099905" sldId="2147378280"/>
            <ac:spMk id="7" creationId="{982990CC-6E8A-CC99-A722-A9EA95BF4CC6}"/>
          </ac:spMkLst>
        </pc:spChg>
        <pc:spChg chg="add mod">
          <ac:chgData name="SONG, Yang" userId="7ebc088d-4666-4535-981b-26501c4f6d33" providerId="ADAL" clId="{BFD45093-2B3D-40C0-849A-6B7CFC1E3B02}" dt="2025-04-30T09:41:24.493" v="172" actId="1076"/>
          <ac:spMkLst>
            <pc:docMk/>
            <pc:sldMk cId="3257099905" sldId="2147378280"/>
            <ac:spMk id="8" creationId="{04FC7CEC-D75E-C1C8-217B-307AEE4D575C}"/>
          </ac:spMkLst>
        </pc:spChg>
        <pc:spChg chg="add del mod">
          <ac:chgData name="SONG, Yang" userId="7ebc088d-4666-4535-981b-26501c4f6d33" providerId="ADAL" clId="{BFD45093-2B3D-40C0-849A-6B7CFC1E3B02}" dt="2025-05-08T10:03:37.676" v="473" actId="478"/>
          <ac:spMkLst>
            <pc:docMk/>
            <pc:sldMk cId="3257099905" sldId="2147378280"/>
            <ac:spMk id="10" creationId="{D3FADD3A-E8F6-4535-67F5-4892DACE2619}"/>
          </ac:spMkLst>
        </pc:spChg>
        <pc:spChg chg="add mod">
          <ac:chgData name="SONG, Yang" userId="7ebc088d-4666-4535-981b-26501c4f6d33" providerId="ADAL" clId="{BFD45093-2B3D-40C0-849A-6B7CFC1E3B02}" dt="2025-05-05T16:39:13.787" v="292" actId="14100"/>
          <ac:spMkLst>
            <pc:docMk/>
            <pc:sldMk cId="3257099905" sldId="2147378280"/>
            <ac:spMk id="15" creationId="{EAAB16B0-B5CE-7604-6BA8-909C46CDAD42}"/>
          </ac:spMkLst>
        </pc:spChg>
        <pc:spChg chg="add mod">
          <ac:chgData name="SONG, Yang" userId="7ebc088d-4666-4535-981b-26501c4f6d33" providerId="ADAL" clId="{BFD45093-2B3D-40C0-849A-6B7CFC1E3B02}" dt="2025-04-30T09:45:36.345" v="197" actId="1076"/>
          <ac:spMkLst>
            <pc:docMk/>
            <pc:sldMk cId="3257099905" sldId="2147378280"/>
            <ac:spMk id="16" creationId="{A4B1824C-6F4C-AB56-C33D-A99B6256601D}"/>
          </ac:spMkLst>
        </pc:spChg>
        <pc:spChg chg="add mod">
          <ac:chgData name="SONG, Yang" userId="7ebc088d-4666-4535-981b-26501c4f6d33" providerId="ADAL" clId="{BFD45093-2B3D-40C0-849A-6B7CFC1E3B02}" dt="2025-05-08T10:03:37.952" v="474"/>
          <ac:spMkLst>
            <pc:docMk/>
            <pc:sldMk cId="3257099905" sldId="2147378280"/>
            <ac:spMk id="27" creationId="{137BC61F-AD0C-C516-6265-A4816728D5E2}"/>
          </ac:spMkLst>
        </pc:spChg>
        <pc:graphicFrameChg chg="mod modGraphic">
          <ac:chgData name="SONG, Yang" userId="7ebc088d-4666-4535-981b-26501c4f6d33" providerId="ADAL" clId="{BFD45093-2B3D-40C0-849A-6B7CFC1E3B02}" dt="2025-05-08T10:02:34.024" v="454" actId="1076"/>
          <ac:graphicFrameMkLst>
            <pc:docMk/>
            <pc:sldMk cId="3257099905" sldId="2147378280"/>
            <ac:graphicFrameMk id="12" creationId="{4B20B7B2-B7B8-8173-F541-C29DB8CADFBD}"/>
          </ac:graphicFrameMkLst>
        </pc:graphicFrameChg>
        <pc:cxnChg chg="add mod">
          <ac:chgData name="SONG, Yang" userId="7ebc088d-4666-4535-981b-26501c4f6d33" providerId="ADAL" clId="{BFD45093-2B3D-40C0-849A-6B7CFC1E3B02}" dt="2025-04-30T09:41:31.978" v="175" actId="14100"/>
          <ac:cxnSpMkLst>
            <pc:docMk/>
            <pc:sldMk cId="3257099905" sldId="2147378280"/>
            <ac:cxnSpMk id="6" creationId="{0A337EB1-ACA4-966F-10B0-93E05EE056BF}"/>
          </ac:cxnSpMkLst>
        </pc:cxnChg>
        <pc:cxnChg chg="add mod">
          <ac:chgData name="SONG, Yang" userId="7ebc088d-4666-4535-981b-26501c4f6d33" providerId="ADAL" clId="{BFD45093-2B3D-40C0-849A-6B7CFC1E3B02}" dt="2025-05-05T16:39:19.627" v="294" actId="14100"/>
          <ac:cxnSpMkLst>
            <pc:docMk/>
            <pc:sldMk cId="3257099905" sldId="2147378280"/>
            <ac:cxnSpMk id="9" creationId="{C4F59C27-01D7-1689-643B-E130C3AECE04}"/>
          </ac:cxnSpMkLst>
        </pc:cxnChg>
        <pc:cxnChg chg="add mod">
          <ac:chgData name="SONG, Yang" userId="7ebc088d-4666-4535-981b-26501c4f6d33" providerId="ADAL" clId="{BFD45093-2B3D-40C0-849A-6B7CFC1E3B02}" dt="2025-04-30T09:45:22.537" v="195" actId="14100"/>
          <ac:cxnSpMkLst>
            <pc:docMk/>
            <pc:sldMk cId="3257099905" sldId="2147378280"/>
            <ac:cxnSpMk id="14" creationId="{FC45378A-6220-CB2E-0D67-3CC7E15DCEA8}"/>
          </ac:cxnSpMkLst>
        </pc:cxnChg>
      </pc:sldChg>
      <pc:sldChg chg="addSp delSp modSp mod">
        <pc:chgData name="SONG, Yang" userId="7ebc088d-4666-4535-981b-26501c4f6d33" providerId="ADAL" clId="{BFD45093-2B3D-40C0-849A-6B7CFC1E3B02}" dt="2025-05-08T10:04:09.956" v="483" actId="1076"/>
        <pc:sldMkLst>
          <pc:docMk/>
          <pc:sldMk cId="649913251" sldId="2147378281"/>
        </pc:sldMkLst>
        <pc:spChg chg="add mod">
          <ac:chgData name="SONG, Yang" userId="7ebc088d-4666-4535-981b-26501c4f6d33" providerId="ADAL" clId="{BFD45093-2B3D-40C0-849A-6B7CFC1E3B02}" dt="2025-05-05T16:53:21.513" v="311" actId="1076"/>
          <ac:spMkLst>
            <pc:docMk/>
            <pc:sldMk cId="649913251" sldId="2147378281"/>
            <ac:spMk id="3" creationId="{E41DE562-1056-C4A2-47F6-343B8B68FEE6}"/>
          </ac:spMkLst>
        </pc:spChg>
        <pc:spChg chg="add mod">
          <ac:chgData name="SONG, Yang" userId="7ebc088d-4666-4535-981b-26501c4f6d33" providerId="ADAL" clId="{BFD45093-2B3D-40C0-849A-6B7CFC1E3B02}" dt="2025-05-05T16:53:43.488" v="318" actId="1076"/>
          <ac:spMkLst>
            <pc:docMk/>
            <pc:sldMk cId="649913251" sldId="2147378281"/>
            <ac:spMk id="4" creationId="{E1073379-A051-CD79-02E7-87ABB6AD0367}"/>
          </ac:spMkLst>
        </pc:spChg>
        <pc:spChg chg="add mod">
          <ac:chgData name="SONG, Yang" userId="7ebc088d-4666-4535-981b-26501c4f6d33" providerId="ADAL" clId="{BFD45093-2B3D-40C0-849A-6B7CFC1E3B02}" dt="2025-05-08T09:58:11.588" v="416" actId="1076"/>
          <ac:spMkLst>
            <pc:docMk/>
            <pc:sldMk cId="649913251" sldId="2147378281"/>
            <ac:spMk id="5" creationId="{A75DC89F-D987-60D0-56CE-455A7B66D515}"/>
          </ac:spMkLst>
        </pc:spChg>
        <pc:spChg chg="add mod">
          <ac:chgData name="SONG, Yang" userId="7ebc088d-4666-4535-981b-26501c4f6d33" providerId="ADAL" clId="{BFD45093-2B3D-40C0-849A-6B7CFC1E3B02}" dt="2025-05-08T09:58:34.190" v="421" actId="1076"/>
          <ac:spMkLst>
            <pc:docMk/>
            <pc:sldMk cId="649913251" sldId="2147378281"/>
            <ac:spMk id="6" creationId="{51C0C74F-BCE0-87DF-8E72-3E4815CF4335}"/>
          </ac:spMkLst>
        </pc:spChg>
        <pc:spChg chg="add del mod">
          <ac:chgData name="SONG, Yang" userId="7ebc088d-4666-4535-981b-26501c4f6d33" providerId="ADAL" clId="{BFD45093-2B3D-40C0-849A-6B7CFC1E3B02}" dt="2025-05-08T10:03:44.207" v="475" actId="478"/>
          <ac:spMkLst>
            <pc:docMk/>
            <pc:sldMk cId="649913251" sldId="2147378281"/>
            <ac:spMk id="7" creationId="{7B7CDEA1-4EEE-530F-DB29-6C11369790C8}"/>
          </ac:spMkLst>
        </pc:spChg>
        <pc:spChg chg="add mod">
          <ac:chgData name="SONG, Yang" userId="7ebc088d-4666-4535-981b-26501c4f6d33" providerId="ADAL" clId="{BFD45093-2B3D-40C0-849A-6B7CFC1E3B02}" dt="2025-05-08T10:04:09.956" v="483" actId="1076"/>
          <ac:spMkLst>
            <pc:docMk/>
            <pc:sldMk cId="649913251" sldId="2147378281"/>
            <ac:spMk id="9" creationId="{B989438A-AC4A-7AC5-4486-A96B2E95AAD8}"/>
          </ac:spMkLst>
        </pc:spChg>
        <pc:graphicFrameChg chg="mod modGraphic">
          <ac:chgData name="SONG, Yang" userId="7ebc088d-4666-4535-981b-26501c4f6d33" providerId="ADAL" clId="{BFD45093-2B3D-40C0-849A-6B7CFC1E3B02}" dt="2025-05-08T10:03:52.376" v="478" actId="403"/>
          <ac:graphicFrameMkLst>
            <pc:docMk/>
            <pc:sldMk cId="649913251" sldId="2147378281"/>
            <ac:graphicFrameMk id="22" creationId="{DA3C978E-42D5-18F3-5BAE-FB3CFD2FC67E}"/>
          </ac:graphicFrameMkLst>
        </pc:graphicFrameChg>
      </pc:sldChg>
      <pc:sldChg chg="addSp modSp mod ord">
        <pc:chgData name="SONG, Yang" userId="7ebc088d-4666-4535-981b-26501c4f6d33" providerId="ADAL" clId="{BFD45093-2B3D-40C0-849A-6B7CFC1E3B02}" dt="2025-05-08T11:21:13.192" v="891" actId="1076"/>
        <pc:sldMkLst>
          <pc:docMk/>
          <pc:sldMk cId="1766345294" sldId="2147378288"/>
        </pc:sldMkLst>
        <pc:spChg chg="add mod">
          <ac:chgData name="SONG, Yang" userId="7ebc088d-4666-4535-981b-26501c4f6d33" providerId="ADAL" clId="{BFD45093-2B3D-40C0-849A-6B7CFC1E3B02}" dt="2025-04-30T10:56:11.160" v="216" actId="1076"/>
          <ac:spMkLst>
            <pc:docMk/>
            <pc:sldMk cId="1766345294" sldId="2147378288"/>
            <ac:spMk id="5" creationId="{74B0EBB2-B7F9-0D06-AA8D-A18AE0E29CAD}"/>
          </ac:spMkLst>
        </pc:spChg>
        <pc:spChg chg="add">
          <ac:chgData name="SONG, Yang" userId="7ebc088d-4666-4535-981b-26501c4f6d33" providerId="ADAL" clId="{BFD45093-2B3D-40C0-849A-6B7CFC1E3B02}" dt="2025-05-08T10:00:13.817" v="424"/>
          <ac:spMkLst>
            <pc:docMk/>
            <pc:sldMk cId="1766345294" sldId="2147378288"/>
            <ac:spMk id="15" creationId="{4CBD7A83-CA3D-A9AC-7C3E-9BBEDA913497}"/>
          </ac:spMkLst>
        </pc:spChg>
        <pc:spChg chg="add mod">
          <ac:chgData name="SONG, Yang" userId="7ebc088d-4666-4535-981b-26501c4f6d33" providerId="ADAL" clId="{BFD45093-2B3D-40C0-849A-6B7CFC1E3B02}" dt="2025-04-30T10:56:42.323" v="228" actId="1076"/>
          <ac:spMkLst>
            <pc:docMk/>
            <pc:sldMk cId="1766345294" sldId="2147378288"/>
            <ac:spMk id="17" creationId="{EF282BD0-F701-D40F-D7E5-738B51EC9DF7}"/>
          </ac:spMkLst>
        </pc:spChg>
        <pc:spChg chg="add mod">
          <ac:chgData name="SONG, Yang" userId="7ebc088d-4666-4535-981b-26501c4f6d33" providerId="ADAL" clId="{BFD45093-2B3D-40C0-849A-6B7CFC1E3B02}" dt="2025-05-08T11:21:13.192" v="891" actId="1076"/>
          <ac:spMkLst>
            <pc:docMk/>
            <pc:sldMk cId="1766345294" sldId="2147378288"/>
            <ac:spMk id="18" creationId="{2F0F87A0-CDB6-734A-C48A-E0FE3850F133}"/>
          </ac:spMkLst>
        </pc:spChg>
        <pc:spChg chg="mod">
          <ac:chgData name="SONG, Yang" userId="7ebc088d-4666-4535-981b-26501c4f6d33" providerId="ADAL" clId="{BFD45093-2B3D-40C0-849A-6B7CFC1E3B02}" dt="2025-04-29T14:14:25.328" v="83" actId="1076"/>
          <ac:spMkLst>
            <pc:docMk/>
            <pc:sldMk cId="1766345294" sldId="2147378288"/>
            <ac:spMk id="124" creationId="{20A96C38-1250-42F2-ADA3-4FF20CBC3363}"/>
          </ac:spMkLst>
        </pc:spChg>
        <pc:graphicFrameChg chg="mod modGraphic">
          <ac:chgData name="SONG, Yang" userId="7ebc088d-4666-4535-981b-26501c4f6d33" providerId="ADAL" clId="{BFD45093-2B3D-40C0-849A-6B7CFC1E3B02}" dt="2025-05-08T11:21:09.507" v="890" actId="1076"/>
          <ac:graphicFrameMkLst>
            <pc:docMk/>
            <pc:sldMk cId="1766345294" sldId="2147378288"/>
            <ac:graphicFrameMk id="81" creationId="{FBC8E954-FAF6-C1D7-0CA0-646E48C586A2}"/>
          </ac:graphicFrameMkLst>
        </pc:graphicFrameChg>
        <pc:cxnChg chg="add mod">
          <ac:chgData name="SONG, Yang" userId="7ebc088d-4666-4535-981b-26501c4f6d33" providerId="ADAL" clId="{BFD45093-2B3D-40C0-849A-6B7CFC1E3B02}" dt="2025-04-30T10:56:44.416" v="229" actId="14100"/>
          <ac:cxnSpMkLst>
            <pc:docMk/>
            <pc:sldMk cId="1766345294" sldId="2147378288"/>
            <ac:cxnSpMk id="14" creationId="{1730602F-2315-9C9D-BC0A-5013C1E42237}"/>
          </ac:cxnSpMkLst>
        </pc:cxnChg>
      </pc:sldChg>
      <pc:sldChg chg="addSp delSp modSp mod">
        <pc:chgData name="SONG, Yang" userId="7ebc088d-4666-4535-981b-26501c4f6d33" providerId="ADAL" clId="{BFD45093-2B3D-40C0-849A-6B7CFC1E3B02}" dt="2025-05-08T11:21:00.793" v="888" actId="1076"/>
        <pc:sldMkLst>
          <pc:docMk/>
          <pc:sldMk cId="1903322048" sldId="2147378289"/>
        </pc:sldMkLst>
        <pc:spChg chg="add mod">
          <ac:chgData name="SONG, Yang" userId="7ebc088d-4666-4535-981b-26501c4f6d33" providerId="ADAL" clId="{BFD45093-2B3D-40C0-849A-6B7CFC1E3B02}" dt="2025-04-29T14:34:59.375" v="124" actId="1076"/>
          <ac:spMkLst>
            <pc:docMk/>
            <pc:sldMk cId="1903322048" sldId="2147378289"/>
            <ac:spMk id="8" creationId="{05409CE8-03DD-2489-5D4F-C26E54675D52}"/>
          </ac:spMkLst>
        </pc:spChg>
        <pc:spChg chg="add del mod">
          <ac:chgData name="SONG, Yang" userId="7ebc088d-4666-4535-981b-26501c4f6d33" providerId="ADAL" clId="{BFD45093-2B3D-40C0-849A-6B7CFC1E3B02}" dt="2025-05-08T10:03:25.569" v="468" actId="478"/>
          <ac:spMkLst>
            <pc:docMk/>
            <pc:sldMk cId="1903322048" sldId="2147378289"/>
            <ac:spMk id="9" creationId="{2D7074E9-67B9-380D-163C-3FE2E3F1B292}"/>
          </ac:spMkLst>
        </pc:spChg>
        <pc:spChg chg="add mod">
          <ac:chgData name="SONG, Yang" userId="7ebc088d-4666-4535-981b-26501c4f6d33" providerId="ADAL" clId="{BFD45093-2B3D-40C0-849A-6B7CFC1E3B02}" dt="2025-05-08T10:03:28.223" v="470" actId="1076"/>
          <ac:spMkLst>
            <pc:docMk/>
            <pc:sldMk cId="1903322048" sldId="2147378289"/>
            <ac:spMk id="11" creationId="{9A12D344-1212-1308-93B0-7C7D4E5F3E55}"/>
          </ac:spMkLst>
        </pc:spChg>
        <pc:graphicFrameChg chg="mod modGraphic">
          <ac:chgData name="SONG, Yang" userId="7ebc088d-4666-4535-981b-26501c4f6d33" providerId="ADAL" clId="{BFD45093-2B3D-40C0-849A-6B7CFC1E3B02}" dt="2025-05-08T11:21:00.793" v="888" actId="1076"/>
          <ac:graphicFrameMkLst>
            <pc:docMk/>
            <pc:sldMk cId="1903322048" sldId="2147378289"/>
            <ac:graphicFrameMk id="5" creationId="{F8B489D7-09AA-F8FC-B8E0-8BFB3EA41BE5}"/>
          </ac:graphicFrameMkLst>
        </pc:graphicFrameChg>
      </pc:sldChg>
      <pc:sldChg chg="addSp delSp modSp new del mod">
        <pc:chgData name="SONG, Yang" userId="7ebc088d-4666-4535-981b-26501c4f6d33" providerId="ADAL" clId="{BFD45093-2B3D-40C0-849A-6B7CFC1E3B02}" dt="2025-05-05T16:29:10.798" v="270" actId="2696"/>
        <pc:sldMkLst>
          <pc:docMk/>
          <pc:sldMk cId="1031773040" sldId="2147378290"/>
        </pc:sldMkLst>
      </pc:sldChg>
      <pc:sldChg chg="addSp delSp modSp new mod ord setBg">
        <pc:chgData name="SONG, Yang" userId="7ebc088d-4666-4535-981b-26501c4f6d33" providerId="ADAL" clId="{BFD45093-2B3D-40C0-849A-6B7CFC1E3B02}" dt="2025-05-08T11:20:29.455" v="886" actId="14734"/>
        <pc:sldMkLst>
          <pc:docMk/>
          <pc:sldMk cId="1572294192" sldId="2147378290"/>
        </pc:sldMkLst>
        <pc:spChg chg="mod">
          <ac:chgData name="SONG, Yang" userId="7ebc088d-4666-4535-981b-26501c4f6d33" providerId="ADAL" clId="{BFD45093-2B3D-40C0-849A-6B7CFC1E3B02}" dt="2025-05-08T11:19:53.030" v="885" actId="20577"/>
          <ac:spMkLst>
            <pc:docMk/>
            <pc:sldMk cId="1572294192" sldId="2147378290"/>
            <ac:spMk id="2" creationId="{91EC4817-EC37-15D4-D200-85AE28CACA14}"/>
          </ac:spMkLst>
        </pc:spChg>
        <pc:spChg chg="del">
          <ac:chgData name="SONG, Yang" userId="7ebc088d-4666-4535-981b-26501c4f6d33" providerId="ADAL" clId="{BFD45093-2B3D-40C0-849A-6B7CFC1E3B02}" dt="2025-05-08T10:29:28.722" v="485"/>
          <ac:spMkLst>
            <pc:docMk/>
            <pc:sldMk cId="1572294192" sldId="2147378290"/>
            <ac:spMk id="3" creationId="{F617D582-B46D-ADCC-B0AA-8DF77BF7C3C8}"/>
          </ac:spMkLst>
        </pc:spChg>
        <pc:spChg chg="mod">
          <ac:chgData name="SONG, Yang" userId="7ebc088d-4666-4535-981b-26501c4f6d33" providerId="ADAL" clId="{BFD45093-2B3D-40C0-849A-6B7CFC1E3B02}" dt="2025-05-08T11:11:36.778" v="780" actId="1037"/>
          <ac:spMkLst>
            <pc:docMk/>
            <pc:sldMk cId="1572294192" sldId="2147378290"/>
            <ac:spMk id="4" creationId="{BB3F8EDB-36FC-27D0-04AA-6807681998B8}"/>
          </ac:spMkLst>
        </pc:spChg>
        <pc:spChg chg="add mod">
          <ac:chgData name="SONG, Yang" userId="7ebc088d-4666-4535-981b-26501c4f6d33" providerId="ADAL" clId="{BFD45093-2B3D-40C0-849A-6B7CFC1E3B02}" dt="2025-05-08T10:50:24.991" v="643" actId="1076"/>
          <ac:spMkLst>
            <pc:docMk/>
            <pc:sldMk cId="1572294192" sldId="2147378290"/>
            <ac:spMk id="8" creationId="{00670D4F-ACB7-7D40-475D-8C82E4126DE4}"/>
          </ac:spMkLst>
        </pc:spChg>
        <pc:spChg chg="add mod">
          <ac:chgData name="SONG, Yang" userId="7ebc088d-4666-4535-981b-26501c4f6d33" providerId="ADAL" clId="{BFD45093-2B3D-40C0-849A-6B7CFC1E3B02}" dt="2025-05-08T10:50:24.991" v="643" actId="1076"/>
          <ac:spMkLst>
            <pc:docMk/>
            <pc:sldMk cId="1572294192" sldId="2147378290"/>
            <ac:spMk id="9" creationId="{0BA094A2-F98C-2DCE-CB11-F237413EB31A}"/>
          </ac:spMkLst>
        </pc:spChg>
        <pc:spChg chg="add mod">
          <ac:chgData name="SONG, Yang" userId="7ebc088d-4666-4535-981b-26501c4f6d33" providerId="ADAL" clId="{BFD45093-2B3D-40C0-849A-6B7CFC1E3B02}" dt="2025-05-08T10:50:24.991" v="643" actId="1076"/>
          <ac:spMkLst>
            <pc:docMk/>
            <pc:sldMk cId="1572294192" sldId="2147378290"/>
            <ac:spMk id="10" creationId="{DDC5F32E-1AE9-ABFD-BAE5-970B663ED074}"/>
          </ac:spMkLst>
        </pc:spChg>
        <pc:spChg chg="add mod">
          <ac:chgData name="SONG, Yang" userId="7ebc088d-4666-4535-981b-26501c4f6d33" providerId="ADAL" clId="{BFD45093-2B3D-40C0-849A-6B7CFC1E3B02}" dt="2025-05-08T10:39:57.383" v="575" actId="1076"/>
          <ac:spMkLst>
            <pc:docMk/>
            <pc:sldMk cId="1572294192" sldId="2147378290"/>
            <ac:spMk id="12" creationId="{8924FC22-49AB-E6EF-00B1-910CD56628B7}"/>
          </ac:spMkLst>
        </pc:spChg>
        <pc:spChg chg="add mod">
          <ac:chgData name="SONG, Yang" userId="7ebc088d-4666-4535-981b-26501c4f6d33" providerId="ADAL" clId="{BFD45093-2B3D-40C0-849A-6B7CFC1E3B02}" dt="2025-05-08T10:39:57.383" v="575" actId="1076"/>
          <ac:spMkLst>
            <pc:docMk/>
            <pc:sldMk cId="1572294192" sldId="2147378290"/>
            <ac:spMk id="14" creationId="{DC569D05-467E-4F5C-06F2-D87AE9F0B6A6}"/>
          </ac:spMkLst>
        </pc:spChg>
        <pc:spChg chg="add mod">
          <ac:chgData name="SONG, Yang" userId="7ebc088d-4666-4535-981b-26501c4f6d33" providerId="ADAL" clId="{BFD45093-2B3D-40C0-849A-6B7CFC1E3B02}" dt="2025-05-08T10:50:24.991" v="643" actId="1076"/>
          <ac:spMkLst>
            <pc:docMk/>
            <pc:sldMk cId="1572294192" sldId="2147378290"/>
            <ac:spMk id="15" creationId="{88C939CF-270A-5AA7-ACDC-220E3CBDC92F}"/>
          </ac:spMkLst>
        </pc:spChg>
        <pc:spChg chg="add mod">
          <ac:chgData name="SONG, Yang" userId="7ebc088d-4666-4535-981b-26501c4f6d33" providerId="ADAL" clId="{BFD45093-2B3D-40C0-849A-6B7CFC1E3B02}" dt="2025-05-08T10:50:24.991" v="643" actId="1076"/>
          <ac:spMkLst>
            <pc:docMk/>
            <pc:sldMk cId="1572294192" sldId="2147378290"/>
            <ac:spMk id="17" creationId="{5937A80A-67D0-2EF2-0C35-187824E29FC3}"/>
          </ac:spMkLst>
        </pc:spChg>
        <pc:spChg chg="add mod">
          <ac:chgData name="SONG, Yang" userId="7ebc088d-4666-4535-981b-26501c4f6d33" providerId="ADAL" clId="{BFD45093-2B3D-40C0-849A-6B7CFC1E3B02}" dt="2025-05-08T10:50:24.991" v="643" actId="1076"/>
          <ac:spMkLst>
            <pc:docMk/>
            <pc:sldMk cId="1572294192" sldId="2147378290"/>
            <ac:spMk id="18" creationId="{78CC4309-0878-EC6F-CC44-6143F6ABA469}"/>
          </ac:spMkLst>
        </pc:spChg>
        <pc:spChg chg="add mod">
          <ac:chgData name="SONG, Yang" userId="7ebc088d-4666-4535-981b-26501c4f6d33" providerId="ADAL" clId="{BFD45093-2B3D-40C0-849A-6B7CFC1E3B02}" dt="2025-05-08T10:50:24.991" v="643" actId="1076"/>
          <ac:spMkLst>
            <pc:docMk/>
            <pc:sldMk cId="1572294192" sldId="2147378290"/>
            <ac:spMk id="19" creationId="{F28EC6EE-4B14-4AD4-2B19-7D1D4106C1F9}"/>
          </ac:spMkLst>
        </pc:spChg>
        <pc:spChg chg="add mod">
          <ac:chgData name="SONG, Yang" userId="7ebc088d-4666-4535-981b-26501c4f6d33" providerId="ADAL" clId="{BFD45093-2B3D-40C0-849A-6B7CFC1E3B02}" dt="2025-05-08T10:50:24.991" v="643" actId="1076"/>
          <ac:spMkLst>
            <pc:docMk/>
            <pc:sldMk cId="1572294192" sldId="2147378290"/>
            <ac:spMk id="21" creationId="{5C996D27-728F-3DDD-1D51-318882B5BED6}"/>
          </ac:spMkLst>
        </pc:spChg>
        <pc:spChg chg="add mod">
          <ac:chgData name="SONG, Yang" userId="7ebc088d-4666-4535-981b-26501c4f6d33" providerId="ADAL" clId="{BFD45093-2B3D-40C0-849A-6B7CFC1E3B02}" dt="2025-05-08T10:50:24.991" v="643" actId="1076"/>
          <ac:spMkLst>
            <pc:docMk/>
            <pc:sldMk cId="1572294192" sldId="2147378290"/>
            <ac:spMk id="23" creationId="{06978EA8-FF6D-3E80-496C-4D5043C4FAF0}"/>
          </ac:spMkLst>
        </pc:spChg>
        <pc:spChg chg="add mod">
          <ac:chgData name="SONG, Yang" userId="7ebc088d-4666-4535-981b-26501c4f6d33" providerId="ADAL" clId="{BFD45093-2B3D-40C0-849A-6B7CFC1E3B02}" dt="2025-05-08T10:49:40.685" v="600"/>
          <ac:spMkLst>
            <pc:docMk/>
            <pc:sldMk cId="1572294192" sldId="2147378290"/>
            <ac:spMk id="24" creationId="{645949E8-1F25-4FD1-D792-D7F28110A101}"/>
          </ac:spMkLst>
        </pc:spChg>
        <pc:spChg chg="add mod">
          <ac:chgData name="SONG, Yang" userId="7ebc088d-4666-4535-981b-26501c4f6d33" providerId="ADAL" clId="{BFD45093-2B3D-40C0-849A-6B7CFC1E3B02}" dt="2025-05-08T10:49:40.685" v="600"/>
          <ac:spMkLst>
            <pc:docMk/>
            <pc:sldMk cId="1572294192" sldId="2147378290"/>
            <ac:spMk id="25" creationId="{9E0A2546-5502-5B18-E619-0DC9615527CF}"/>
          </ac:spMkLst>
        </pc:spChg>
        <pc:spChg chg="add mod">
          <ac:chgData name="SONG, Yang" userId="7ebc088d-4666-4535-981b-26501c4f6d33" providerId="ADAL" clId="{BFD45093-2B3D-40C0-849A-6B7CFC1E3B02}" dt="2025-05-08T10:49:40.685" v="600"/>
          <ac:spMkLst>
            <pc:docMk/>
            <pc:sldMk cId="1572294192" sldId="2147378290"/>
            <ac:spMk id="26" creationId="{D5C0A317-F580-CD49-1D05-6BB974BD5C35}"/>
          </ac:spMkLst>
        </pc:spChg>
        <pc:spChg chg="add mod">
          <ac:chgData name="SONG, Yang" userId="7ebc088d-4666-4535-981b-26501c4f6d33" providerId="ADAL" clId="{BFD45093-2B3D-40C0-849A-6B7CFC1E3B02}" dt="2025-05-08T10:49:40.685" v="600"/>
          <ac:spMkLst>
            <pc:docMk/>
            <pc:sldMk cId="1572294192" sldId="2147378290"/>
            <ac:spMk id="27" creationId="{17EA6725-59F3-A692-4304-F9BDBBA220FB}"/>
          </ac:spMkLst>
        </pc:spChg>
        <pc:spChg chg="add del mod">
          <ac:chgData name="SONG, Yang" userId="7ebc088d-4666-4535-981b-26501c4f6d33" providerId="ADAL" clId="{BFD45093-2B3D-40C0-849A-6B7CFC1E3B02}" dt="2025-05-08T10:50:09.760" v="608" actId="21"/>
          <ac:spMkLst>
            <pc:docMk/>
            <pc:sldMk cId="1572294192" sldId="2147378290"/>
            <ac:spMk id="29" creationId="{55837813-9485-629E-B88B-251CC4DAB467}"/>
          </ac:spMkLst>
        </pc:spChg>
        <pc:spChg chg="add mod">
          <ac:chgData name="SONG, Yang" userId="7ebc088d-4666-4535-981b-26501c4f6d33" providerId="ADAL" clId="{BFD45093-2B3D-40C0-849A-6B7CFC1E3B02}" dt="2025-05-08T10:50:37.161" v="644"/>
          <ac:spMkLst>
            <pc:docMk/>
            <pc:sldMk cId="1572294192" sldId="2147378290"/>
            <ac:spMk id="30" creationId="{228FA832-995B-7FFB-05FF-D169B5598B41}"/>
          </ac:spMkLst>
        </pc:spChg>
        <pc:spChg chg="add mod">
          <ac:chgData name="SONG, Yang" userId="7ebc088d-4666-4535-981b-26501c4f6d33" providerId="ADAL" clId="{BFD45093-2B3D-40C0-849A-6B7CFC1E3B02}" dt="2025-05-08T10:50:37.161" v="644"/>
          <ac:spMkLst>
            <pc:docMk/>
            <pc:sldMk cId="1572294192" sldId="2147378290"/>
            <ac:spMk id="31" creationId="{BF04C266-8E25-0E56-4396-956257633DA5}"/>
          </ac:spMkLst>
        </pc:spChg>
        <pc:spChg chg="add mod">
          <ac:chgData name="SONG, Yang" userId="7ebc088d-4666-4535-981b-26501c4f6d33" providerId="ADAL" clId="{BFD45093-2B3D-40C0-849A-6B7CFC1E3B02}" dt="2025-05-08T10:50:37.161" v="644"/>
          <ac:spMkLst>
            <pc:docMk/>
            <pc:sldMk cId="1572294192" sldId="2147378290"/>
            <ac:spMk id="32" creationId="{3B48F4F4-1C9A-F4E0-2694-96AF351D41BB}"/>
          </ac:spMkLst>
        </pc:spChg>
        <pc:spChg chg="add mod">
          <ac:chgData name="SONG, Yang" userId="7ebc088d-4666-4535-981b-26501c4f6d33" providerId="ADAL" clId="{BFD45093-2B3D-40C0-849A-6B7CFC1E3B02}" dt="2025-05-08T10:50:37.161" v="644"/>
          <ac:spMkLst>
            <pc:docMk/>
            <pc:sldMk cId="1572294192" sldId="2147378290"/>
            <ac:spMk id="33" creationId="{38FA3586-997E-F0F2-F0C4-856563C32399}"/>
          </ac:spMkLst>
        </pc:spChg>
        <pc:spChg chg="add del mod">
          <ac:chgData name="SONG, Yang" userId="7ebc088d-4666-4535-981b-26501c4f6d33" providerId="ADAL" clId="{BFD45093-2B3D-40C0-849A-6B7CFC1E3B02}" dt="2025-05-08T11:11:26.481" v="736" actId="478"/>
          <ac:spMkLst>
            <pc:docMk/>
            <pc:sldMk cId="1572294192" sldId="2147378290"/>
            <ac:spMk id="34" creationId="{93045294-D0E3-3AC8-9D46-720DC257A2DF}"/>
          </ac:spMkLst>
        </pc:spChg>
        <pc:spChg chg="add del mod">
          <ac:chgData name="SONG, Yang" userId="7ebc088d-4666-4535-981b-26501c4f6d33" providerId="ADAL" clId="{BFD45093-2B3D-40C0-849A-6B7CFC1E3B02}" dt="2025-05-08T11:11:25.808" v="735" actId="478"/>
          <ac:spMkLst>
            <pc:docMk/>
            <pc:sldMk cId="1572294192" sldId="2147378290"/>
            <ac:spMk id="35" creationId="{7DFB0FC3-7427-4FC0-40AE-124BAFFCDCAB}"/>
          </ac:spMkLst>
        </pc:spChg>
        <pc:spChg chg="add del mod">
          <ac:chgData name="SONG, Yang" userId="7ebc088d-4666-4535-981b-26501c4f6d33" providerId="ADAL" clId="{BFD45093-2B3D-40C0-849A-6B7CFC1E3B02}" dt="2025-05-08T11:04:01.643" v="730" actId="478"/>
          <ac:spMkLst>
            <pc:docMk/>
            <pc:sldMk cId="1572294192" sldId="2147378290"/>
            <ac:spMk id="36" creationId="{035BD2DE-37E7-34FF-7EA8-09E40915E1E4}"/>
          </ac:spMkLst>
        </pc:spChg>
        <pc:spChg chg="add del mod">
          <ac:chgData name="SONG, Yang" userId="7ebc088d-4666-4535-981b-26501c4f6d33" providerId="ADAL" clId="{BFD45093-2B3D-40C0-849A-6B7CFC1E3B02}" dt="2025-05-08T11:11:40.843" v="781" actId="478"/>
          <ac:spMkLst>
            <pc:docMk/>
            <pc:sldMk cId="1572294192" sldId="2147378290"/>
            <ac:spMk id="37" creationId="{CACC2A4B-9B69-6157-1C41-282E823FD3D3}"/>
          </ac:spMkLst>
        </pc:spChg>
        <pc:spChg chg="add mod">
          <ac:chgData name="SONG, Yang" userId="7ebc088d-4666-4535-981b-26501c4f6d33" providerId="ADAL" clId="{BFD45093-2B3D-40C0-849A-6B7CFC1E3B02}" dt="2025-05-08T10:56:08.974" v="700" actId="14100"/>
          <ac:spMkLst>
            <pc:docMk/>
            <pc:sldMk cId="1572294192" sldId="2147378290"/>
            <ac:spMk id="42" creationId="{92B91022-E353-1096-F2AE-8D4EBE19F503}"/>
          </ac:spMkLst>
        </pc:spChg>
        <pc:spChg chg="add mod">
          <ac:chgData name="SONG, Yang" userId="7ebc088d-4666-4535-981b-26501c4f6d33" providerId="ADAL" clId="{BFD45093-2B3D-40C0-849A-6B7CFC1E3B02}" dt="2025-05-08T10:56:36.402" v="703"/>
          <ac:spMkLst>
            <pc:docMk/>
            <pc:sldMk cId="1572294192" sldId="2147378290"/>
            <ac:spMk id="43" creationId="{CEB6B044-4458-BC52-26FD-4091736D7494}"/>
          </ac:spMkLst>
        </pc:spChg>
        <pc:spChg chg="mod">
          <ac:chgData name="SONG, Yang" userId="7ebc088d-4666-4535-981b-26501c4f6d33" providerId="ADAL" clId="{BFD45093-2B3D-40C0-849A-6B7CFC1E3B02}" dt="2025-05-08T11:03:51.430" v="728"/>
          <ac:spMkLst>
            <pc:docMk/>
            <pc:sldMk cId="1572294192" sldId="2147378290"/>
            <ac:spMk id="45" creationId="{779E89BC-188B-07A2-752E-41A73B3FB22D}"/>
          </ac:spMkLst>
        </pc:spChg>
        <pc:spChg chg="mod">
          <ac:chgData name="SONG, Yang" userId="7ebc088d-4666-4535-981b-26501c4f6d33" providerId="ADAL" clId="{BFD45093-2B3D-40C0-849A-6B7CFC1E3B02}" dt="2025-05-08T11:03:51.430" v="728"/>
          <ac:spMkLst>
            <pc:docMk/>
            <pc:sldMk cId="1572294192" sldId="2147378290"/>
            <ac:spMk id="46" creationId="{E1568C6D-DCC4-1234-B607-B77F6F108650}"/>
          </ac:spMkLst>
        </pc:spChg>
        <pc:spChg chg="add mod">
          <ac:chgData name="SONG, Yang" userId="7ebc088d-4666-4535-981b-26501c4f6d33" providerId="ADAL" clId="{BFD45093-2B3D-40C0-849A-6B7CFC1E3B02}" dt="2025-05-08T11:04:13.755" v="734" actId="1076"/>
          <ac:spMkLst>
            <pc:docMk/>
            <pc:sldMk cId="1572294192" sldId="2147378290"/>
            <ac:spMk id="47" creationId="{10DBE929-E7F6-7F75-E773-BE7A473473C6}"/>
          </ac:spMkLst>
        </pc:spChg>
        <pc:spChg chg="add mod">
          <ac:chgData name="SONG, Yang" userId="7ebc088d-4666-4535-981b-26501c4f6d33" providerId="ADAL" clId="{BFD45093-2B3D-40C0-849A-6B7CFC1E3B02}" dt="2025-05-08T11:17:39.214" v="871" actId="1076"/>
          <ac:spMkLst>
            <pc:docMk/>
            <pc:sldMk cId="1572294192" sldId="2147378290"/>
            <ac:spMk id="49" creationId="{E43F2316-8F85-B80C-B86F-BD403694B946}"/>
          </ac:spMkLst>
        </pc:spChg>
        <pc:spChg chg="add mod">
          <ac:chgData name="SONG, Yang" userId="7ebc088d-4666-4535-981b-26501c4f6d33" providerId="ADAL" clId="{BFD45093-2B3D-40C0-849A-6B7CFC1E3B02}" dt="2025-05-08T11:17:47.687" v="872"/>
          <ac:spMkLst>
            <pc:docMk/>
            <pc:sldMk cId="1572294192" sldId="2147378290"/>
            <ac:spMk id="50" creationId="{A2A46F2F-2969-36D5-DE86-943804B34B82}"/>
          </ac:spMkLst>
        </pc:spChg>
        <pc:grpChg chg="add mod">
          <ac:chgData name="SONG, Yang" userId="7ebc088d-4666-4535-981b-26501c4f6d33" providerId="ADAL" clId="{BFD45093-2B3D-40C0-849A-6B7CFC1E3B02}" dt="2025-05-08T11:11:36.778" v="780" actId="1037"/>
          <ac:grpSpMkLst>
            <pc:docMk/>
            <pc:sldMk cId="1572294192" sldId="2147378290"/>
            <ac:grpSpMk id="44" creationId="{5E74F2E0-470A-A8E0-94CB-442B7A1EF82C}"/>
          </ac:grpSpMkLst>
        </pc:grpChg>
        <pc:graphicFrameChg chg="add del mod modGraphic">
          <ac:chgData name="SONG, Yang" userId="7ebc088d-4666-4535-981b-26501c4f6d33" providerId="ADAL" clId="{BFD45093-2B3D-40C0-849A-6B7CFC1E3B02}" dt="2025-05-08T10:50:09.760" v="608" actId="21"/>
          <ac:graphicFrameMkLst>
            <pc:docMk/>
            <pc:sldMk cId="1572294192" sldId="2147378290"/>
            <ac:graphicFrameMk id="7" creationId="{47E76A5F-85BB-A117-15D9-E482E1ACCDB5}"/>
          </ac:graphicFrameMkLst>
        </pc:graphicFrameChg>
        <pc:graphicFrameChg chg="add mod modGraphic">
          <ac:chgData name="SONG, Yang" userId="7ebc088d-4666-4535-981b-26501c4f6d33" providerId="ADAL" clId="{BFD45093-2B3D-40C0-849A-6B7CFC1E3B02}" dt="2025-05-08T11:20:29.455" v="886" actId="14734"/>
          <ac:graphicFrameMkLst>
            <pc:docMk/>
            <pc:sldMk cId="1572294192" sldId="2147378290"/>
            <ac:graphicFrameMk id="48" creationId="{385ABC62-C3E6-EE33-FDFA-F4E8E02036F4}"/>
          </ac:graphicFrameMkLst>
        </pc:graphicFrameChg>
        <pc:cxnChg chg="add mod">
          <ac:chgData name="SONG, Yang" userId="7ebc088d-4666-4535-981b-26501c4f6d33" providerId="ADAL" clId="{BFD45093-2B3D-40C0-849A-6B7CFC1E3B02}" dt="2025-05-08T10:39:38.203" v="572" actId="1076"/>
          <ac:cxnSpMkLst>
            <pc:docMk/>
            <pc:sldMk cId="1572294192" sldId="2147378290"/>
            <ac:cxnSpMk id="11" creationId="{39D199C1-E601-F627-B93B-1C42A69ACBF7}"/>
          </ac:cxnSpMkLst>
        </pc:cxnChg>
        <pc:cxnChg chg="add mod">
          <ac:chgData name="SONG, Yang" userId="7ebc088d-4666-4535-981b-26501c4f6d33" providerId="ADAL" clId="{BFD45093-2B3D-40C0-849A-6B7CFC1E3B02}" dt="2025-05-08T10:39:57.383" v="575" actId="1076"/>
          <ac:cxnSpMkLst>
            <pc:docMk/>
            <pc:sldMk cId="1572294192" sldId="2147378290"/>
            <ac:cxnSpMk id="13" creationId="{B656F944-2DA8-1041-EAD0-941317940F38}"/>
          </ac:cxnSpMkLst>
        </pc:cxnChg>
        <pc:cxnChg chg="add mod">
          <ac:chgData name="SONG, Yang" userId="7ebc088d-4666-4535-981b-26501c4f6d33" providerId="ADAL" clId="{BFD45093-2B3D-40C0-849A-6B7CFC1E3B02}" dt="2025-05-08T10:40:11.262" v="577" actId="1076"/>
          <ac:cxnSpMkLst>
            <pc:docMk/>
            <pc:sldMk cId="1572294192" sldId="2147378290"/>
            <ac:cxnSpMk id="16" creationId="{7B91CC00-6DB3-E269-A3BA-46AECD6B9FC7}"/>
          </ac:cxnSpMkLst>
        </pc:cxnChg>
        <pc:cxnChg chg="add mod">
          <ac:chgData name="SONG, Yang" userId="7ebc088d-4666-4535-981b-26501c4f6d33" providerId="ADAL" clId="{BFD45093-2B3D-40C0-849A-6B7CFC1E3B02}" dt="2025-05-08T10:40:27.440" v="579" actId="1076"/>
          <ac:cxnSpMkLst>
            <pc:docMk/>
            <pc:sldMk cId="1572294192" sldId="2147378290"/>
            <ac:cxnSpMk id="20" creationId="{4E8981C6-EDE3-7AB3-4284-E29142D05EA7}"/>
          </ac:cxnSpMkLst>
        </pc:cxnChg>
        <pc:cxnChg chg="add mod">
          <ac:chgData name="SONG, Yang" userId="7ebc088d-4666-4535-981b-26501c4f6d33" providerId="ADAL" clId="{BFD45093-2B3D-40C0-849A-6B7CFC1E3B02}" dt="2025-05-08T10:45:12.273" v="597" actId="1076"/>
          <ac:cxnSpMkLst>
            <pc:docMk/>
            <pc:sldMk cId="1572294192" sldId="2147378290"/>
            <ac:cxnSpMk id="22" creationId="{291233EF-15C8-4523-F2E8-82CE8E9050B6}"/>
          </ac:cxnSpMkLst>
        </pc:cxnChg>
        <pc:cxnChg chg="add mod">
          <ac:chgData name="SONG, Yang" userId="7ebc088d-4666-4535-981b-26501c4f6d33" providerId="ADAL" clId="{BFD45093-2B3D-40C0-849A-6B7CFC1E3B02}" dt="2025-05-08T10:55:04.983" v="685" actId="14100"/>
          <ac:cxnSpMkLst>
            <pc:docMk/>
            <pc:sldMk cId="1572294192" sldId="2147378290"/>
            <ac:cxnSpMk id="38" creationId="{36E39167-7D1E-4E44-6017-E8E2F13B6CB6}"/>
          </ac:cxnSpMkLst>
        </pc:cxnChg>
        <pc:cxnChg chg="add mod">
          <ac:chgData name="SONG, Yang" userId="7ebc088d-4666-4535-981b-26501c4f6d33" providerId="ADAL" clId="{BFD45093-2B3D-40C0-849A-6B7CFC1E3B02}" dt="2025-05-08T10:55:11.697" v="688" actId="14100"/>
          <ac:cxnSpMkLst>
            <pc:docMk/>
            <pc:sldMk cId="1572294192" sldId="2147378290"/>
            <ac:cxnSpMk id="40" creationId="{7B002434-7EBD-AD14-0196-266A7EB75ED0}"/>
          </ac:cxnSpMkLst>
        </pc:cxnChg>
      </pc:sldChg>
      <pc:sldChg chg="addSp delSp modSp new del mod">
        <pc:chgData name="SONG, Yang" userId="7ebc088d-4666-4535-981b-26501c4f6d33" providerId="ADAL" clId="{BFD45093-2B3D-40C0-849A-6B7CFC1E3B02}" dt="2025-04-29T15:22:44.479" v="158" actId="2696"/>
        <pc:sldMkLst>
          <pc:docMk/>
          <pc:sldMk cId="2421588774" sldId="2147378290"/>
        </pc:sldMkLst>
      </pc:sldChg>
    </pc:docChg>
  </pc:docChgLst>
  <pc:docChgLst>
    <pc:chgData name="Yang SONG" userId="7ebc088d-4666-4535-981b-26501c4f6d33" providerId="ADAL" clId="{45E49291-3B30-4CCF-B944-CC16AEF3C416}"/>
    <pc:docChg chg="modSld">
      <pc:chgData name="Yang SONG" userId="7ebc088d-4666-4535-981b-26501c4f6d33" providerId="ADAL" clId="{45E49291-3B30-4CCF-B944-CC16AEF3C416}" dt="2024-06-21T09:14:45.443" v="1" actId="20577"/>
      <pc:docMkLst>
        <pc:docMk/>
      </pc:docMkLst>
      <pc:sldChg chg="modSp mod">
        <pc:chgData name="Yang SONG" userId="7ebc088d-4666-4535-981b-26501c4f6d33" providerId="ADAL" clId="{45E49291-3B30-4CCF-B944-CC16AEF3C416}" dt="2024-06-21T09:14:45.443" v="1" actId="20577"/>
        <pc:sldMkLst>
          <pc:docMk/>
          <pc:sldMk cId="649913251" sldId="2147378281"/>
        </pc:sldMkLst>
      </pc:sldChg>
    </pc:docChg>
  </pc:docChgLst>
  <pc:docChgLst>
    <pc:chgData name="Thidar PYONE" userId="2da13175-5305-4802-b1c1-4567b4cff195" providerId="ADAL" clId="{AC7BDAD1-D25B-4F4D-A498-C2BDD3AFC425}"/>
    <pc:docChg chg="undo custSel modSld">
      <pc:chgData name="Thidar PYONE" userId="2da13175-5305-4802-b1c1-4567b4cff195" providerId="ADAL" clId="{AC7BDAD1-D25B-4F4D-A498-C2BDD3AFC425}" dt="2023-08-15T10:33:46.430" v="292" actId="1038"/>
      <pc:docMkLst>
        <pc:docMk/>
      </pc:docMkLst>
      <pc:sldChg chg="modSp mod">
        <pc:chgData name="Thidar PYONE" userId="2da13175-5305-4802-b1c1-4567b4cff195" providerId="ADAL" clId="{AC7BDAD1-D25B-4F4D-A498-C2BDD3AFC425}" dt="2023-08-15T10:28:06.609" v="12" actId="20577"/>
        <pc:sldMkLst>
          <pc:docMk/>
          <pc:sldMk cId="4096737308" sldId="256"/>
        </pc:sldMkLst>
      </pc:sldChg>
      <pc:sldChg chg="addSp modSp mod">
        <pc:chgData name="Thidar PYONE" userId="2da13175-5305-4802-b1c1-4567b4cff195" providerId="ADAL" clId="{AC7BDAD1-D25B-4F4D-A498-C2BDD3AFC425}" dt="2023-08-15T10:33:46.430" v="292" actId="1038"/>
        <pc:sldMkLst>
          <pc:docMk/>
          <pc:sldMk cId="649913251" sldId="2147378281"/>
        </pc:sldMkLst>
      </pc:sldChg>
    </pc:docChg>
  </pc:docChgLst>
  <pc:docChgLst>
    <pc:chgData name="SONG, Yang" userId="7ebc088d-4666-4535-981b-26501c4f6d33" providerId="ADAL" clId="{993002E3-63BD-4F04-A910-586B976F7A16}"/>
    <pc:docChg chg="modSld">
      <pc:chgData name="SONG, Yang" userId="7ebc088d-4666-4535-981b-26501c4f6d33" providerId="ADAL" clId="{993002E3-63BD-4F04-A910-586B976F7A16}" dt="2024-05-07T13:07:05.468" v="34" actId="20577"/>
      <pc:docMkLst>
        <pc:docMk/>
      </pc:docMkLst>
      <pc:sldChg chg="modSp mod">
        <pc:chgData name="SONG, Yang" userId="7ebc088d-4666-4535-981b-26501c4f6d33" providerId="ADAL" clId="{993002E3-63BD-4F04-A910-586B976F7A16}" dt="2024-05-07T13:07:05.468" v="34" actId="20577"/>
        <pc:sldMkLst>
          <pc:docMk/>
          <pc:sldMk cId="4096737308" sldId="256"/>
        </pc:sldMkLst>
      </pc:sldChg>
    </pc:docChg>
  </pc:docChgLst>
</pc:chgInfo>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12</cx:f>
        <cx:lvl ptCount="11">
          <cx:pt idx="0">pakistan</cx:pt>
          <cx:pt idx="1">vietnam</cx:pt>
          <cx:pt idx="2">thailand</cx:pt>
          <cx:pt idx="3">Indonesia</cx:pt>
          <cx:pt idx="4">Bangladesh</cx:pt>
          <cx:pt idx="5">Iran</cx:pt>
          <cx:pt idx="6">thailand</cx:pt>
          <cx:pt idx="7"/>
          <cx:pt idx="8"/>
          <cx:pt idx="9"/>
          <cx:pt idx="10"/>
        </cx:lvl>
      </cx:strDim>
      <cx:numDim type="colorVal">
        <cx:f>Sheet1!$B$2:$B$12</cx:f>
        <cx:lvl ptCount="11" formatCode="General">
          <cx:pt idx="0">1</cx:pt>
          <cx:pt idx="1">1</cx:pt>
          <cx:pt idx="2">1</cx:pt>
          <cx:pt idx="3">1</cx:pt>
          <cx:pt idx="4">1</cx:pt>
          <cx:pt idx="6">1</cx:pt>
        </cx:lvl>
      </cx:numDim>
    </cx:data>
  </cx:chartData>
  <cx:chart>
    <cx:plotArea>
      <cx:plotAreaRegion>
        <cx:series layoutId="regionMap" uniqueId="{9883FF12-992A-4AB1-B36A-8D5F8D490179}">
          <cx:tx>
            <cx:txData>
              <cx:f>Sheet1!$B$1</cx:f>
              <cx:v>Series1</cx:v>
            </cx:txData>
          </cx:tx>
          <cx:dataPt idx="0">
            <cx:spPr>
              <a:solidFill>
                <a:srgbClr val="EC6923"/>
              </a:solidFill>
            </cx:spPr>
          </cx:dataPt>
          <cx:dataPt idx="1">
            <cx:spPr>
              <a:solidFill>
                <a:srgbClr val="EC6923"/>
              </a:solidFill>
            </cx:spPr>
          </cx:dataPt>
          <cx:dataPt idx="2">
            <cx:spPr>
              <a:solidFill>
                <a:srgbClr val="FFFFFF">
                  <a:lumMod val="85000"/>
                </a:srgbClr>
              </a:solidFill>
            </cx:spPr>
          </cx:dataPt>
          <cx:dataPt idx="3">
            <cx:spPr>
              <a:solidFill>
                <a:srgbClr val="EC6923"/>
              </a:solidFill>
            </cx:spPr>
          </cx:dataPt>
          <cx:dataPt idx="4">
            <cx:spPr>
              <a:solidFill>
                <a:srgbClr val="EC6923"/>
              </a:solidFill>
            </cx:spPr>
          </cx:dataPt>
          <cx:dataId val="0"/>
          <cx:layoutPr>
            <cx:geography cultureLanguage="en-US" cultureRegion="US" attribution="Powered by Bing">
              <cx:geoCache provider="{E9337A44-BEBE-4D9F-B70C-5C5E7DAFC167}">
                <cx:binary>7HtXkx030uVfUeh5iyqHKmBiNA8Ayl3fju6lotWmvPf16/cUm5LIFiVqY2ZjNmI/Ns29ZYBEIvPk
yUzwnw/zPx7yp/v2h7nIy+4fD/PPP8Z9X//jp5+6h/ipuO/eFMlDW3XVc//moSp+qp6fk4ennx7b
+ykpo590VTN/eojv2/5p/vFf/8Ro0VN1qB7u+6Qqr4andrl+6oa87/7i3jdv/fBQDWW/vR5hpJ9/
vNxnSdfflz/+8FT2Sb/cLvXTzz9+9dCPP/z0eqg/TPtDDsn64RHv6uyNwRizdab/+ENeldHn6xZ9
QzViGFQz1E+/tF/nPN0XeO/vSPJJjvvHx/ap6374/O+Xb34l95c3kq4SLwsX1SbkZf9pVT99rdh/
/fPVBazz1ZUvdP9aKd+79Vr19f+o/neb/oOi/6+qPigfq/KpS+5/NcF/3+wV9Q2jqm0wjb6Yt6qa
X9m/pplvNA3GT/TNP/Dr18lf7P9vyfRtB/ji1Vce8MWd1y4QyP++C4zJU1/eF78q4t/fBc14Y5mm
ZuuW/bXyVfqGUMsmBjW/pfy33xfk26r/7cVXiv/t+mu1vz3999UetP9JwDd06NwmOiMvmt0M+wvc
J+YbYpkGUf8E978nzLf1/vLWK6W/XHyt8eD6v6/xPr5P8vvy8T9o6eYbymztVZDVVPUNNXTbMDTy
61wv8HL7NyT4tqp/f/OVun+/8Vrlt/5/X+X8vozy+8enLv5VEf8+vOjGG2qbhsrIZwj/2tSZ+kYn
lm5TRl9cgf469cse/D2Rvr0LX777ah++vPV6J/j/Ayj/u538pzgmQun/GP+X2cBrbvlb+PmPafz/
k8D653T/t5xH3vf3zqdk6QvG/9d3P7k0MrhXr/5VzvWyccHjzz8ym9hA9E+I+pKvbMN8fvcFWG6e
yuw+G34Iui3IdD/J5L5ahv4++eFqKB/vq19h6Kvhnu67/ucfNX2Lz7qmImpoJjUNYNb09HLHeGMS
hBLL1IlNNR0RpazaPkaOR94wnak2UwnuWJoB6bpq+HwLUQlUGCyXWlSzzN/y10uVL1FV/qaqz99/
KIfiUiVl3/38o2kCUeuX5zZhFV0zbZMapopksn64v0ZyjMe0/0XWybSTMTWOaZDsm113Us6Kb/Ba
1imnR323fTVP9GQ5ds1HtxO2v+y0m9bg2jm8Sk6jGzrlcXm3+KEzu4WTnicv2emild0uPWT3eVBW
3GBcX3gdmN6wT51Izq4lNDcUmdSl5Vi7Mcic0TfFgM+z1L1aZtfhTncab97HYhGN3+w7xxSKM+4N
GQeKv4hVan7it8Hi9K7qmbvGy7xULo7iVr61q2+inSE1mZ06L5n5cNRkHdRu7RK3OEWnseKaa8je
N6VynCreJJwesqPtNyd9Z58trzktx1hagSnXXX5KgtGv3cLvvNw1HcUfdnRXXYUX5ZTfZDt2qo6F
3+x6v3USoWGdsYgc5Ug8W4QBnbht8+IYn3PKw4lbKc/uwstgTnz+pdj1gelkTophDbfjT4HTydC9
TTgTmmfJxNGd8NkS0Ktb+9YnMUxH8zGCbDxDrr7Jq6BzHfUSHuZd4lVe5iiiw8oGr5SxO7lNsDqG
1+4HqXmtb31o950sXENY0thlB9uZXNvLAs2bLqU/4q3puriK3dVjV0PCu4C68dUkbZF5xW4weeaN
gojSW+QoEhHydBfv0h11jWdtl12yR/2Bfez9CnJ0suXDrYjEJHtui9Ehu+4wuda5Ckw35KOTebWv
uoWM/eFgX4Xn5bDIRqquKg1R8kZa5/RaPRSP69tG59XIo1HoOm9G0Z5U2TrkZJzYsQuym/qudJpg
flbdXpDAlgUGSS7xfvR0P/VIkDq9ozmZmx7NI5G5FxpBPMja5MmNfbGDFrMxkXiGyNw1u5S7RBKZ
eolU35l+vdP30zslKOQidQhLnf4hwedFqr55XeyNYPBZyhdN0JN5rV1giV7oJG7uNPATFdceh31+
p12SX+A/eDK9soPFSzpu7UxPcZNzdpMe04O+yw/WsdrT6/RowwPaQxrEu3Jn7ruXEssLYn3D1Q0b
Kdo3XR2FoS9dfaoGvbKqRjsuYnLGGF7Yy1qGovMHbvMaMrTy+bn3EteGV+ZBHazSdFRnEb1Ubo3A
4J1T3MeXSeRC5Yrs3cnRhSoy/jaRiTvwSehCdxjlia/JNoCHuZmv+XbP04fEsR1YkYhlIzRpuLab
ORT7bcDK+70Z7QovEzN+ep4IKgtv9qsrstd8xbFk5EVe4iVPRcNze0c60T2tvxR3o9/vMy+7oymf
/cRbzrXPYP1ZJcb9tSJsobw1ZYtrvR9+iF0ryPdmkIlQVnf0Q3TUA+0UJQcKWzpaZxhkEAX67XpN
rm2nc8edfSxsPwrGXXTI9+spdDvXPBPPqC4UT4c8EinXjrNHhAbznjd/cEdBuYbrzwPPxf2HnD+U
QIUJvrBwIjtH3fXS4I/PKd6fJHwSz4aCilQsvJAYyekCspsOqT96KYCVnhq/d2dJ3DHIa67JyRnw
cOKWJl98BntU9tE7WJysxb3F1SARq7D4JtwjMPxgetiUo7IvD6s7ysGZROUMe3bJBcG37LS6vUsd
em3aPPcYzEH3dI9IWyYyk7mTO6UgvAyU87Lb5s2Pyy/R2Yp4VPIIU6ZO5cYOXCBo/MoxvchXnVlm
vBa6bE+9SGQuLKeVkzCFts8cVRg8cTN34hNv3cUbEGo6R+EFH/hzhIgwSqA+n2UZEMlkFHMWpHiq
8dXrxk+FfWt/iGQL80vetxidSCNQEIEUmHGKpVFhy/DaDgZucN1T/BqDxLv6LpKD+CLwf8ONNHOr
M33Tj9RXfmQnmY76q3psHOu4IpRVovMU3svGL0r4BcWCV7eVVGAFUOUg7EOMnSgRq2aogklF3mQI
QIND8DGBNt42nLiLU/DHUpRi4BWPReiN0KQtay/fLf6wH+CGvTu6m8sOmG2WH6lneaOL0MwVnrqR
0yEqdk7r5hPfzGYLkrghIwcSIriOeNvyNLcN6C4EULUuBZSHTg4XVj8OuzzYBux8CzamiuI0uw0+
xQDNxunwMzjtvKfe4Biciu0SLOh+s+fOJ7LCd1W0QXZtYqDGqXwGk9AxTRpMYsZit8EbRwtSGEsv
XxaSgiiMsO7MiSWVuVxhlWmAt45UTMLmzdsBq9NhPhYWA9M6QWkI4oYL9MLK4RtudZ/eYnzoVeet
CB3LUb3eXaFPTRZOgh9LgFXsMB7UDZtSLvld6FCngUjLM7ZF1BIO+Iuq8ugmjHh81+0b2I7prdKC
5nKpCCsosM8JN4Gds1tiOxnMlLkxfFaaAD7q9djbZTN0qTqjXOA4i1CwM9u9TWcDh4N5kRshduTO
FhgJDHniGYCTwJTtoEQI2ky5chje02SFSUqsoSg4OWg8l6EMg205G1Xq3WG/+EAC7N4Ca4GC8ITC
N9Or/E15ZbC+p8dpt0AdHaSm2HvwCS/06kMcdLtmM1Rpecp522lbLn4JDLBhwJHbernTipsC0isY
fuCleM4gFIO4MVAhg89uuiA8hdA5Pm1K7iF8hj8q4oAKRlPrEKfexPH1fe9ZvuX3iMqJDB3mK3tg
0F65TH7nL7DjbS4TLG/zkUimTvzJMDWEigmCpqL2WksoQQ64ROBxbHjeZhLlAdjk55slA11UmFgM
8Aid1uuhYvAOUSNgdc76fn0fB5VjLTL2AFd+FwGDbIR6G/Zten3Cc1ieiqjc/MICErSuDp/Vvdib
fAVevFlqcqKevhtdxW9dPxTTngWdH3ubO/R4pBQxN4DAo7OAhsSguoBoofhx0D+YgGF22LAq9wao
VIdJb0sdeCJLaNSAGbTShlXp0OXiQKMeXOqK3k1X5gmYhr0upHYs5KbvGsKYIvNBfyVG45mcsCMG
ggk4kttCjtLLN32IBM8sWH8FRKDehH2ZThre3oDfwDt1MMATQmCRAalGBAr4BWi06tEjebDgvurV
4lGEmFYssr5XvAqwVuGdwanewgLA+nWspENwSbE3Kpxwm5lx29WxU3kA/ipA2/xQlrJ2GdYZYW4t
oA6TlQSZEzmU3LtQrFR3xidsUz9Z+OxqQKwt8mzeughtgyEVWw1PFQb4Z42lF7w9dARGogA1LdGI
kYdS47qjuX0MNYLubFEPooyHGNxi5DPXeHYdP1anTdXNjkDQHGoAeuJ+7TBQcuqltyEodn0uvAZE
JZYG8Knx1v1qHctzcbU8zf5GFHowmwR0pfWBHHD10NPwGDuxgo97ZCVODj/OjtEuLwHSmo+vu9It
dtku2lVevhwUvHee982xO3ZPMdjy4jLP4pkACVJ5cZe7SKl8yOIqvBImV10YGI/l5DVi5skRWRHP
+QCWVHm1m/grGBTILXhOipQi4YVowYo22qUgP2lEvP24PVcfFREhZ2CidjbeUjvYIHc5Dqf5YInU
pbJ3Vod5PYja7NeUdxhedwxkJWFghIKdat/wVqcBZc+EGtR7cgpvScR7fFBv7LvGultaxzqAiDmx
W8y88ChSCeJZhkAWwBOohUrmWLcjwCTo92FQ3UG/MBRT6ucBWUi51y+TwmnNkzsz0MHgjI/mI701
L4kH9eDZ9CaCONaH5Imd2r11KbzIyd0i40nGIyeKRHSlOIrT+oWHEAmaufFQbeXEiTzFabDOAkwx
wuUQ+VIhcj6KQYb8ofczMCni4QJvRMcv4Kb35X1X8X5xskNyiCrkNYNreJNbO6B5PqoGZuOXLU8C
9pEQHuO19/pNqEoCO8GH6hYPg/Nt26tsSR9oWAu+aAgKHVbBloexT/vGMGDnpvfmvFc+gp7CAJXu
EPqdpDy6NSKuB0kbrF7sVqKU6QcN9vAwYxPDh0lO7uzcx59AoeWUU3giZLSF7Zjc4hasq5M1bLfH
t0VuNHQE7TY/scYIPk55vIqCZhw5F9JLVTJPdzXNw9VF6Xn/3AFW+0YsFZ8SiKM/FEEStE58Wok7
Py9u64SYbmO3YcJnpF8NZsgxvg63pZgJUnDmRdRXrnTXcht3E6MHT047Hj3m1/lpiTzTrRDcNloH
EgRYC2HTtY9E9Gg7sHbAeuSmTiEt+MOAnE/DMzWwATEHGwfbFfe9MBBoIbzYnKbG7DVo90a6E3cj
25txr7tV3D2n3sZnN3VtKUjPkUJjkgUhuhbqOwUYZfFxl0PuFiF7EwqAwlMAkA5FpwAksHMkAjqu
aYg7GBlx0Qb+L7wCk95YnbJPBYIaktESYCdTxNQMTArrgNKRhnql00PYQa4QpBYhQH6jgwwkOkE8
pG5zWwH8WZB7s9dC/NVRvO1JhF8xnwkWYPpsBzu6bQLoC0Fpcrq3q5uBe7SCIvamzuhRv0a2gUDq
bfWX3os3GHY2LSMFACiDFhzGhFfPHRij4taYKHUmxBYQF44XIDCIlBsH6i45pcHGsakNheocGYgp
ZyxGB0eon5BqI8Js6aICVvHX/NvUUfv6Bv1Gg+Br+k2VOSmWqtaOIKlgmsUqShSWENedR/AUx0LB
CDGkNAQSAGyADWY1Ia9A0gn/pkCqBvSJIdQRvtHcVUZ+ftn41hxoW1zwYgAc6lOoJYGZ8vUc3oXH
8Nge2LkNdGcMJk9DhYOBsXYCNSaQ6mlHUDPq3ua3ixP5fRCC703CAmKrQH8Uavxi1x1zd9y3fok/
lgQIOcmx31vBhoiDS2/GLW2DhOO7+d3MLzaCUOF1dysvz90xvemetjCg3W7xrUDxJnOIr/EKIaC7
svczfxjh3AXiwQZVjBP8qBvOI9qZMOdYEn+N+YrbI9xoQ7VCpDIW/ZZUbnGFynavAA01SXfWswbi
i/qRrHuAduqWUB4KSyjSbSFlRWI5gaJifoHKiVjcHFOksttIq7sFpRn+NknABJ7ZOFp4NbsbuyEo
NIA1c/3tKjdusJXvdKd2OwDZpgjEUk/xLLeS66flxCCfumgAU9iRDmHERHSugnVXGledBXfnFUpZ
IxC95xOYNJB8FmnpDSgQda51g6UDBkK+OuNb5WqFoxnO7Bi7BKk+QdQefQRmbwFeGg6cA3lW4qbg
StSbwX9ad+ORTJZgiBvHRraANRjI7El/Zpf6qL5Lr4raT1RQvfQ4wb03ENG5EglRgITVIinB7mzZ
ys0mJ3xukWrtl33k3qVgikPQ8hjcbeH51WyJeNduAOJvqS2Sa/jshH0EMedwwPNGEQfwn43iGU6j
umbM613uqBBoI4YzFDcECK3AkhqosVG6GrQMlRyQuto4bEmJDX9MPyEXcOwQPuSn6DLJGZi0lRwK
wEwJNka/ly2TP/NWlL2/LDoVWU2yPKb2MXzSzuaOVRxliI3v3anX642Vcf04uqvciCwFNG7UUnPL
i3KeUGXuP5AguSGXao+q2tX6kB9w/Tk72a7hI8Y7dEdBSeJziPrxxh7CS7Qrb8Z9vdc8Y7c+V6hv
RuA8q6Ojyrm4SWCBGPYHJNCgMUiNgxGUGEmc2/rLOQfXsC7t3r5bd6jvyS5A0HSyXQUTSQ7FoUOK
efyA4Ajol+opA+CtjlOi6KJf9A/9rjggCoHQ6ohloTugyNmgNGH5XcCuaCSnh3HhTdC45r7Zs3Me
AN+B4iifo/JmnPVTt7cDpN7OluCnHvM/AebnRsrnisVLzf+hqpc2ieLPx9Z++/qv26rA709nrX6/
uJ16+/3b8dfjcq+f2ib67THM83nirUfy1Zc/tGz+pCnzcrDuT27+vY6NrqO0+duhuT90a173Q7dG
x6dXPndkVPLGMtA6UQ0VfZ8vOjLMfmOYaNZY1NBUYloURvtrR0Z9Y1qGxlTVprZBDIJ+yeeODEbD
sQCVWbaKPg6x6P9RR0bbGi+/N2TQ7WG6ZTBT3+QzbB2jfeU4aj3UbJ0VsNA0WS5EH4ejQjIai2KY
VaQltaFEXk8iYxCUqDPhpjmSwjMTQwEn6xdqyKntafuduPt1n2gTyzBw/Ipq2+kf0/pUXP6yX5TV
8VjmMcQqhjDc60m8IlYMsYK0dSniQ92X9VGJwwR1qMZAOV1Xp8b5Yhs/W/KX3So0xL5SjU1UXbVN
ouE0jIqTRq9UY1fjYI9DNXuRUhiWFxlRZ3Ni5dnCl1rF8v96Om0r6H25FTYhhk5VahDsMDplrzAs
Y2zRyya2PXMOO5TRbON9ps9aLPNEUz9OSTGd85AlvC6nERGRZKPO+2Fu8xcX/tPSvfY1iMLiCMEJ
IBP9PoNaOpTwtU3UmUbJoquI3lFfDTK1Z/1iqkv0GPahdmI5NQthpFHW8ERd54+qUpc3ubFGijP0
ulYIhY1RKK20sZPvmMWm8q9UZKEPaVCcpyVM1Wz1VW8hakyiVzQbPZOyKURkii3Tb9O2DL+zGa/t
z7Z0ohMYHyMWs3AI7WsVaKxEH7VuBk/LMaETNaqJNL+m+ru1mcizns0xH9J+QIVCMYuQh30Ztt+x
P+sPizU0S8XJW6IxA+3Z7f4XPqA3LAn7uRy9aqUL5amip45dzAuAv2mN6KBOif4d/X7ds8HOb6Bj
aTpOOzKmMvpKvxOJW32I1QGdo7z+kE55kcjCntHqoJVJ9viTo4AaG+388a+N/49rBZJZ2FGdMkDk
a39fkmKt12VoPaMv1JErtQrAyRSrhqXlYVjxKAnX8Tub/MfVYnN1gxAVtN8k6is7Lyt7NSdDbb2G
TrHfsVYreDpm02PJ2vpRRxNLNFk25t9hKZsff23ExLaZpWOV+BdHq7/e18himjb0ae9Fi9mjulQM
7bNdwKK8JY2SwbO72mZiGSJauszudcv7a13jNMDXfkRNS8XhSYvqJozLspj9CmriqQmBeNXoLWWi
8TLs32tj1O6MsVKPcU9u66lx7bWqpZEww5/TJtrROEwTGS1k3rdt1HDNMkqpp7NxZbZNF0S9xvyG
zfltFmfauV302uum7KGw08gxSiPx47VEPdXqCxGGSchJm6Pfl8XVOVqWEPx0KchOqcI6lbRfGz9e
lLjko1qzhhdxotyvLEdBqpngjGvzrDeVzidt3ZezYQedFi07m41I67Mo8Ys5C/cdVais+rJ4H9dz
HOiz8dyslXawjTXlcQaP6tOU3mSqheZKQ9A4n7FwNYovkUHOA/wxSGjEdkk3FhVXlab8qGXsfT8X
puwiSz9kdYlserLKRuqdOnDLGPdVM/Q+C4eScrsAP6eTSsGGMz1fcDwhvRnn1G64nqjoQA3V9H5e
k9ZRAaMyJ0PizjYigKusY5nclH0dNYJ2mglmaY+kLnhELMLA1su+sVGS0aY0WwQrKwDQaE4a2489
XZm70GYYS57TLJ+QPmX1FqpTeFYqw7RMajT2yjlbTWdoO5NdqNIuCwoWKY17NEdIT4mw7GaFOERv
CZ/Dpv6QYcT6oJqTnsWc9ilVjrmthE3DVRaV66UqZgBgXZExe7d0E2A5Z1kRy8pc5ktXjJrl1VWM
vye7TpMrk/T4rJd6NN/lGo6e7JLYrDI3sWYEen2gY5pCodVot9xS1z7ZJl2g74aWqSFfIvKsDUXp
kXZSzec+0jCsZlXmeB0qGgZZ2Vx/iBbD0rgx2Oagcq0gNNyTXAWI5VEHnEnDVNVkPjBIHaU15O30
En+3ahrBSBr8bwuhwIbQbCgoxGPlpEKwhpXNnPMuasvitJZjVAs6LiaOXFhJSkVozXa5m7VmND8Y
VkEyHupGt8hkrCq/oggbB3Npm0bWrULQ0K8GDD0pmVq5Tau2ODoRFXO3K9URtqwWLV0OedvVH5oh
o1qgmkYzCQP+BkWBLqBWE5eHslQH1yrTCB2ZeWk7qWlLuwRES/NrrZiNXDKmEPtQKNYQuhPJe/2s
Rc2s3EQszJOrxBxMtPLarCgfEkV7WpN0iUTPVvNRG5OZHeeM1OfaIjoKUqYNi7PWsEdJpopm5M1k
UR8Uo1cPo1FHsjG7+LnvoCtu1UsSSVKZNbpQQ7uS6zxdy8pXooXWosjoaHM1McL3hV5pqBSmKFyY
hY4yxZyjbrqsbcfrhmx4FFtqdz9ESa3utaq1Fz9X1fnWtmKm89liY+i2KlmF0vQUjQe9Su1Llido
eVlFFJ3nakwKnjNtTXw7HYBlHQnrRKTFgOZImteDS3LWdqKm69zirE5mTbOXhgzG0rMqRqGFJCi6
9jWhtR8Wo3kx1LKp3cwYGjS0mbp8XKtoLf0ha5RIZtmEEFYbA8JWmhBd1OakVhkn8QJEJ73K0J3u
EuaVRQEqM2TEDveRvRpEsDYM0X7uTN1p7SJvvIraHZHanKA/tq6IUkWXHcvexlEaNenLQ4F0wdUU
Gl5nTFVcRqryrGkKTjzN+ZSKnmjFc5l3sWgYy856Z06HlakdarzlGj+OVLW0u6oOWSqhtFDgPwEp
o1BHDepJ+r7zK6uOzmGUx4bs0oQhr6Ux6ulTkmPr86RquWKHDB3qbjLcJjbJL8tUbr7UFLPL1gIt
0iE0z/PEon1etqggkSSwax1HbFKDeXO9GgnXlQiddHMe0NubQ9spzNi4GwwdJ5mIvl4hjnY+NafU
K8e+ccelCfNAzWISFDWNeKmuqc+sUtnlOJwmmG1V7phPU9BlzfJLEi+Ga5Ys2ae0jI6Vtr5Ttawp
OBvaQSRGaUecdOvirUU93YxFhrLmgrxJxGWo9h4de7TCk3VyFS0F8+tAjFAF7xoNFW1lLANgX1Y6
2WTVM3BKNZ8GJCxc6Sz7PjP0d2pnjSezXpsgJiuVZI1YMDcDdValzhrZtWav3OdKCIjq+mnfFVoV
O3RhkenmkcHCU2Iq9KZUGnLJohWQbma1Q8fQbJ0+sa1hb0QaImie5ZeFtVUkijRl79ui6uLdWuVR
KboFniVKFqWHaaqM/jjTjj0sHRmeatAuh4YRDgsVvU2dWulwaK4ps4D0qUWx43WD2JUvQVFpnSUM
ZUQ5PqEk5mGl1FfTkDY+YoR2WIx6FzJVB3JSNT0l84j6VZonXK1WRK0xJRfoEAcFCityhi5HoE6T
8oYZZuGs6mDtFqtWfzHIhPINi7F6DsqgSGbn2sUo++ppqnU0GccmRj3HaM3cyZKyQE+NTWmQpVlx
k8QT6pdJHR+TqOkD3UwznObKGHhEn6c8r7oDy1SKxrlR0ycrM42gazoNkN31OW/nvDtn7TDlsAtN
EbXVoAMyVospkiGu77LcUPyoZ/CN1Mourc5W9Kg6M36rTqrlk3LGGZ8mjTzSgSeYKyrBcfc4rfUk
V3jnWe3T+TxS/YpYVSKqsJy8uZiJAwDWpVqEqwTbWUvHSrPylCyaEthmmUtrKtQHkMHuMIP0yEEF
4olwsGPeLqNx1mi7i+2u3Gl6jC3Rm5X3dKg5jWyKQzU9tls09Zi9NRfSlbxkcXWy9Sw7T9VU4shb
G409mEU3ueUSs8xZzBwn4SiYP4tDLZhLA83+pRiBfAmy0nIY3b5DrysvYj6O2dkMM+2dqRHNUZr5
Vs/ruzyfbntqlbwYK4Zu5JoS3sVhd1oXfd2pc2PsiBq+Rfr+nI7MabXo0Z62NlesH4fBzvwWwOgk
dDnOY3xPohVNgyJF786M7pJJIXxca/grXe+sZjjTNMRRvEaFQ7b1KS1N/djNViLidvZHwvKjbg23
Zp3ELv5v4yKqfpTVQkuuzdHo6tOQPw//m7ovWbIT19p9Ik4IJCQxuQM2u8/O2bsmhJ0uIwSiEwjB
0//froq4v53l44xzBjfiDsuuKqWEtJqvWVmNS4rKbNuvYHJNoOwmF1qlYoiaLQvEblF8PCaqI/jz
BrIIPaw3peXzTic94G+36mdm5PdxkuCn6vpzEMfBaWymrOEGxZYYcAGdeqlJ8yXpWZSWCQF9r2ab
8cTMz76tvyIEXyOq3xnak0zLCVxKMgWbMlkWXMEm3q20/lMt7qWsnd7FzQxx4GCvV636bRVVIlUc
uJ9BbQGtCNs11ToAnin2wzB0KeIQ+NrSv3X52G44YIZ0QvzLkmUE3yN0nuKbbPIlh8rGriIblQJ3
iCIonVdb3Hi0KIeWhEsmkvzBTB30EWVymNvwxgUE1EGHEpUFnTnkk11S2evqz6QM+hRlpUyBY7QI
z2x9rSyJU+msuPbALQ5AIT75Je/OCJ5QFNQxIH/jyCNi4pNeWL5Vukh2slrqjCQOPCHCpn+K+7FN
ua3HTR5wsMOs1hvD8yBbQkM2fhRf+mSIs1UHR191JG3nyKdDK96iKrqLm+AhXsAdt3LS+Pg9SFKd
PytHQORX1ZD6NuZ3YvYH2kEi2on54DqE1rKxoKCDodvJxRepL7rgSDk9LShKDiHvqmMQhyy1I3+y
Czm4Akk/6nt1WNQ6RmmSE3Bf0zJlVdgmxzXvbsRM8rS1CyralRiWBmXk0eh0i0ubRi0HuorbwtgH
t9D8Jlrdeur6EXocFKNXenV66yfa7QYeP4edXr45Og/HYCD0XiAL3M9jFZwqrcId0BSIfaQvHlXf
NA+NXtdtUUf01XV6eCtJ20LVRThL48KtLzA7kr01AhUGa74uvhrA8+C8vpiGPxtklltPVpaGkeEb
YqQ7m9oX19py6DHWCJxiW1RZMbW92c15P6b9ULwusTAXEIFtumEGjLEEbca5ERs1K3KoQhdsi2h4
jeaa3jQm7O7tSOosVv2eNT1ExK3RL8IRyBesicp0jpi5AQTU3DbhtBv7gN5UfQP2dRqlzIgi/Ohn
PS+bepLtRg+o+0lYElyt8FM+tRmrk+k2kXrIRlJ9H9DE8gbSSVWhBIDItb5F2wwBrYhID1VDHwID
KCjfoj23KPxpAS6rqFSe0qVoLHCfMmw3k52iR1Xaazabfme7djmNU1NuxkGibwmT4Tyqgt94krBz
W2r7UMwW6ahbHcRBAV/MSVVt8ZWVPcvGKZHgzHrhp03QNOBh1kEcdQEYdNPG6xKmcmn5ZrQrAvTs
CmgHFLq3ei3LYsMq3Te4xAnb1w49mPPe/FH3ZoW6DPkkz5I+FHk2BDgE4LaBHU8x4MB+1/Qkuib1
mJ+CaphxEUtafnLxLFD2sjLaVmpqHx0xIL3yhbo+zZVEGeeVQAss7Rzvo87Hd0FHIUWkqjqgehzA
C7btzFIqZXObT767q4hnzWZRcYL+Abd6i0aKQZ2UB302MdQuu8Xx57muUGPqrrAnMvD+dXGsXzfe
Ff0uQa1G9zWAiniT006QdDQt9BqhlfM+X33UpfnQzVhNQh8Q965ORVKJq0WR4osM3fAlmfx08kYm
215RAE1RD8sAK9dz7ri8ym1QHVHW4QiqCqo+lOnfx0WzLF8SmzZVWx7RCKJnW5Zwzngdr8FxKIcQ
yiFfaI2dEMg0Aif/jFkFgwJI5M+yGL51Vtgv2JY8oqTykMEUBtL7gR8uVxWXXFpyCFQUb3ARye0Y
hvGdCUZxVQK0f5W17pHZkXpuUbyoI1pzdj1XcYSfNAj2Ajj6pyHGPtPKAx1Nq2aV084sNVhXPlkk
zMEE0I8F4UgzX+f1c1loCBojrz+vJPdb5GVI84qVxSkAn+hOR3K95pYgTnaueAoN9VDZL3X82mob
Xpm8azOnu+k+8HL+Vi1T9wVd5C0DrvWpt407NHyMMufqASccdg5XkD1Wbasf4F9ZT3Ki8VNViuWR
eNls56mq03ksYGqoI7/pUGNvLYnMQ9J6ctIKDffUmDXVxM7Rhso4njc90CNw05HNwTa3w7rvXFQe
qz6JT04RmamB8CELVtSdPFdoUNDzxzQVa9NFGWIWKOc5geLTGVDvQ/w2O3lfRh2EvVUYpXWwQEC2
gnutF5OutAXyyRKwzwMvgX+6XAOPFA9+9iDfBtJ/7fIBTW5fan4OEzd/igMuTwYxJJ0L/aUchzWl
xsmNROOa2iFfICrqYzTsSaembbOs/FatqBJE41Ra8BGy6zKKyGMfx2Nm1t5tkkkE4z6hNv8mlLW3
eSfYSQjydRxCASk/92pHjaHbRJNlVxW2PDjNjT8nfFG7kA7QAeaL24ZSPne2O4xTDK1M2OzDJK4P
zQjPA1Vj8hKH1bbQ892MgHvjPd0TNl25QGxaX98NKH7mYmKHcRz/WNp12lDfRGcgt3O/CRi3qY/x
tXRX2007g4xcCWtAaOt4elIyPOie5F+tXBCOZx0+OsW22pR+A6N9B/GcJEW970tfzihDFmFvhoLA
18IIQK9D2Lga/Tu344hW1OZgouoqIJt54DzcVCtuQtauQMzvSouSO43aMUlOS9EbqPRqMiY7kFiV
2rdkDt2ReZQQt6oltsosrYQ5r6qbqmNJtfxejMrNp3by+WaVMaDOHNKApLLZOgzoAxtxnmJvIUqq
XuaGwZQQxAeTzOXGM3tmHf1ahasaU1/2xG2yiZorBcxq8dHJ+yDrSr8rY/Ec6OpYrfOrXR0/s5VB
ZjnF9iprytlufFuYdHSMp2Vobi3SKAiPOu3KRVzpMYfAgIwqyxO0xFInW6GWP5cxuaZRfsbVf25U
vXezuhraqkyDoMl3uW3bjYoNCmh/n/e02Yia7PJoeKDGQtwjoy+V0T0aFWjbWnw05tmDXZNjqHSz
pV0SoAiqBUqcHHrYnMfoAN0ZdXp9owz/2nYQMnpdZyphUCn1+r7vg8cxnhCxqutZmqvIdvBE8GR9
6dVyFFUBR0hYnoxtvi18aIG0qOmqlckODRJoNh1GKNVrs1nI1KSjRUbrTXu2CDhbMlCT9tMAzh2Z
JSVFDjXDsrwGsoDqq+fdrpDA53ZNw+18Srr5rQz7LtXAe8m2DH2HpCzzK1EP/KRj4H8MotykBNCT
ExxoNEIPL1BHd+GL1clD0RWwK+RF9FxYtmEAhq/dGo/3Uxvos6MEFb5BbGliXn3pTFcW6apkwLNY
swoaBJiPoWhRjV/PAE/0C8DtdvkeVqRPnpZc528tLUeY1arOqpvZotdIqylkEPEApZ3QOyc48QXJ
cNmFwhTfdNCV606wtp3uWFOK8UtNJ91kcbPWwXnpGNCK1A2tH/fBoHEARRyqYDNqdEVpb0jebgkq
7u5YOf802Pm+UcFdKKdnwPibdtDhgdVDlYWzUhmyHH72WD6qzkGYlguxI5PuXlH8yF1B5meUiNXO
DkAaXSvuRRAAs2NkuK4hI1SuiO/4vNR0X6yjI2kS90GaG6S5dCwm82koUIR7z8JkO0UzeQGEixcX
JTPE7bni+lCYHA6lmEHoTwWBXIUW+r4QzWV/KvqjwFFCmlMloEN5Lcb72NkWaumCJaeI2ADmjKqY
jkTpWiHgoNq0NTCJdLBlf2CGv4zRwpfzVOUqOiWjYU+kzP8E6OxucuHFKe9ozDa1I1G/C4tiarYd
Gnr0SaIAlkvmV0m6KvUIhveCTtOuoCPcf36I8Y1q2EzYoG/WWrh70QzTvZ77eGfjCO88Gt4Wo6cj
rwP1OUe8B6sYBB2+ezVAE9gRQNOkiuWemKS4rbvx1NfDAni3B6yvR1vxTV235qYsSsh9Yg2NkXTm
ME22+gxqed2LKRwztc5NFtoaukDXfkZ89KcAPdLBIGOlwVIUGq99LK6i3EV84xIQDBNYstumKJLN
UIbhKVEhIIV6MHAHuKU8rcnU7Zyh8TGP8ZVTVcz5xiyCPzWAv5/7qYF/UOZQ9ikUvmFtUHRI22z6
ECDmiA2BRqyhtYzaMnNltFaZTqzEBVXziSLDZRFt2E6JCbhFJ0AKBRjHBAtQVIzNVpc+TAvazeiV
HL+Kc2c++3KdHvref+l9O26DIo8/TTSBTL1Zikc/l3BITvq+bnx9RdfG3+va6DBNujHeDFBZ7K03
9NvsfX2iSkS4Vbi6q8PfkhLI7uwTaDFJ2eymsii+W76qc9e00KYj96Wqdf4qsNObAwD6KTfBdSWa
c8AIKrBkrFAMtsmk7hmC9I6ADMnqEVS9NOiVKj4SqODbSEAWhxo5zHyon4uwX6FmizTd6jFe9jVy
6U1UrOJ5hN02dX3VZWJRE1AxWNGMBBKPXZevvgH2saDsAXSRhNuwrv40yoTbMubqyOz8uKyeHDo+
8E9lkCz7aFyTb3Pe9i9R0gXnIG7yfVvHycYknAKRAGjadSLQuCORP4uB8q8BL/wnUc1kU+RBCbn1
Eu+Ua/E92nbcSFVD7lRGPF3LabhPctkjBI7s+xD1cH2pftloG7OMRsF8RHkE3x1Kled4dd3NFK8N
dNe136ikZXvlXJmNHb+QDGMFabeDg6kZ3KtydN27xLcZNWzeyE5Bn9srd1WFQ3W/1P1D5LjaTyPX
m1ho2H2phvoUBd4fDTX6Fl97vpe8p4+z1RX2Fkn35EDksA1po0DcDDIut/1QAgADE5V2rUODbprc
10jrKzoPGrVvvJrQLg8dNPa9i8sx42U9oP9Do5wxrdBstDRKUrOwwWeaOvtGQByRTTDk/Gbueg+c
pgu6r54G9UsTJeUNUlQDXF6Zt6WPIojlMCPkvnMtg6fDdKHJGu0rwDVxp4+TA2QKOq/Yxss87vKq
b0G/ufy2Bj68zSPUSnFog2NS8RZuMFmWn13UJfQc9AXU7TO4E5PNNYOxw/f8U1f5BQ9KwP6MUvW6
xL7Nce4LfuZFMO2rtRUNXpKExXcJiyekKbjI5gaSTgrudYn7/hmMxnIfWtZkJEiQq4wcn3Q7V0fC
JziTKdM7zacYXpFykjsaUQgnjRXIpsvXJVrQIYsR+mSgnlddN/uUzgvdx/Ww7qi08GF0y5xGM1tT
NGhtGuUtRMc16ii5xmg3cjCmTTeFDxaHvqlMIG6BJbOt0G6EOS0pDyyZacpiBeKa5MEWLxg+ucG8
eKnLN4JbDlVpC4BMzR1DlBSwt8TrejR5XdxFbdLuuOPbsNdwjaMc3MgGpl4kIXhkIs8zj4Jog64a
qKhLyl0Z1HBYhtq9dkMzXfOSQTi8Gr8HoBBsIrRPWRJU1aFM0MOtTYUerhAAuFwuP0EJtW6YcOUV
mAN1HbMEMuncLS9WkXbvJbcXCFW2r8JxiIrj6Q11VbixJW9fdWwtXFtyvJXdGt6gvYy/a7WMm6bk
cSbDcjxAd4FLyCf5ZQrbBSF7etazENtGKg51PW7Cvs4pjExMPtaSAIqV5jM1Itwtizf7cuHfQGQ1
2Yw2L/UJh+5zaVmK7giysEA9sri50Ey93A+ynV4nW6CfBDF8riOUxeuIhAN2Tz8q6hMwqjVQM1NT
8z3U0qdtjSbWlnF9tJqg6Ij93KI1CZsd9B+wS8s22qDcGaajX1f9VAMmWbM+NAXaTN4fwjFf7pYJ
ypZ0UaPrsQkNF38HgHobqhjkx9oNNTyfVdMcp9x0f/jRGsA4UMPALjySa1cOq0b5ama1uUBtV2Za
oYrw84yXFqpXwyZ7HK0VqBKnIr8tTY8+dJiWTzGAnyPp7PjcVRM2Ga3zuG7RkJUQ97OVp6YvIpLx
Ak3+d60LWRySScbFfpZdiCTb5o5dEC22GV07nydK1XmUhf9WzzYB8NRX9Chxj9rNzFd4qIppQVby
8jshxfLUqrjc0CkOT2EeXvjqkbFjGeCjpH2gyesIUVwOB0VdfGkrAxC9LaLbhgnySVED59qYVO15
4VWRjUW33id8XuHPEDj/NOwUx7OwNkpNUgsEWAsmnpYzHgu1kzp4XNFXPuTqrWJzt43Ajqcg/78o
od4WEQKLXgql70SsSWopR+qOiilATJyKtNSBP82DHNGklXG/j5Y5OhdVlTw1TOftRgQ0/tyEnbxT
o7HzuVMdO7l2Zee8DtARKSO+UtMApDVFfPCBXtDOu2m8nhFhqrRWbDpH/RAdSAGqdawLkBS0V9B4
ry1/Eb0lGxQTc7Fxtc0fwl6Mj5RWwR2pfL0foqKCN6oxI4TQo1iPVhVjtuLsoKAOmincqAsU5K2m
h7ANYF2QckTfJPDvtwiCx6KGKgAwXp2cBxmqzVDP4bBhKLVeSp3DYrQuwtw2trBA4hcF90+1DMXB
h21T4mUn8znsmjXLhcyaqAbqCeRyL0sgJ3vGqIEaHawu3a5VQFnaR7Z6FvpSVRUXtg99jTgMNb5j
zyN3QJ0e2A2RET4bX3iEeshNbQ7xzirhpQLRuWeTviWqXLZ1I12WF7Lesny9YNyqe5AyQYUbyAZO
Jtsb+WlNiqm4AQIWnK0IBxjpAKs8THNR7iNjBpT3JZk2k5nMo801YFLBGMwG3vustejYEGuKTqTI
yMl6C30AHno58iWFnm8FSiH6fteVJIa/eRn9kysFhTmiiRfItkVfnkRE62VPQSKCGW+K5jTmYBlT
Y5ZoY22dPDgHZk31EUDqIUSIyuSKpNYh2NiM2JaCZ+9BihRRe2wbxocdVY0M790UTV+DZig/ac/F
kqEzFJcicBRw1860vG1L1EO2amGFAWsA9VLgQJQPeRPBjNuP8Dz0roM6f4WgS0cgC7y3631grD/w
JPBjGtcFTt8tzQzxDYn2vV74MULjNO9qymHxaSmmUsgFr6zWwVgBNhgL9OhTeWMdpAKkL/O9rUbs
qyL1dSjGl2qe488m8RweLDGjDQtUcUCpsp5VYgqyYbVaeaYnX8KHlDQjXgJQk4Ku0esaLnq7RvRa
BgDWcO1hEZrj8qZHR4NOFLkEoIcT/RZUygSEDeX9xnJ6z42xWYO9PIuc17sK1MAOsgFoTtpw+WTI
ipEeM/1mSj4C+x0VeKXWZp23ajfhdlIlH7QM84NfHPAbCjVWt467fhzehCfoBjrzEPOlfOpQ7H7S
FJQc5tBN9xGT4OpVxQWqQdMH5X4t6nk5oeEFVRG0E/cnU4BF2qIPAMKXunr0EA1yx6DBGBoUBYfE
xxAo1WqAdKWWrgyzshf5fD+HJf4klr1gx6lpg/nJz8NSvfz9J0YtgLtCW5HmqUhI7+4Y1NRtnXqU
m8AP+xr6oYhU+F8HzkKGGtTlRblY+WTYgs3if4Ys7xAz8txBw7QawObH7qKJCstet6clxntMfZVA
DUUWROV0sqz3f+Bt0/5roDyUQVwE3WcZVQGsb4FR/inAY8EEHdBDfjPbpovPnbOIdCvteH7+W09S
J1qwg51QEWTC91BjOFJbMAthrBvYrkBocSSLCo3jfairHpVnk0sY2f4SIxHPXbM3RacgXrvI87ZN
KKEiMyKAsyRM/DIdAxDL/a1BTopu80AocGmTjrrPU8CRtPoRxwB5EgEGLY3HtV2jCzJeNFCaW07S
HNzQ1TzG8VuLghyYR+iTQ0EDRNEiGQX+WdzQuTOgSboRIwFWC/gPqsXoJp8Gcq84MiQUYmo+oklo
MA5H9MVbWI/zI7rJ6xGsCoigqdJw/ww8gkwOPoY9tQ157cooubfzWN6UGrkvR9ny2JZtdWQxKlwn
V3UTWl9uAoXyWnZl/WfnWVWhhg1Hl84tynFThJiB4bplBzUA+zJPcfW1RWX7NJkSLbqNxKX1bECP
gBdb2ddZR/oud3l9i/lIcCW7RZ8rHc033JkFdP3oX4q52XW5DDGVgeF5pCA/m0M/Bfeqre7WgIPu
F6Huj+h3ViC3xdg9R2H4OhqAwyXz/ZUbgQj7hdHbMQ8QH5cQyJAeXuE9yPfCGfk4U4dBRMJVj8s8
82eQ3dEWTSeDIkXAXoSq8o8JzoZtzVG5jF0Ytxkip72KRgkNU8TLU1kGGELk0biXbXJfKUHAHUCB
Jv04fAZC+6WeJnPuq7q6qvGyPyujPklUdleQqL7avFiLLUONt7FrVGesIpBAecjjeNmKbF1RpJHp
gl4n3ZnXOswSSLR3saujKx0ZmM1JYkkWtIG/+ksR+//MtPKjZ+X/7P9sL2O87P8HzpYwhA773ztb
fpzleXG1/PWv/+1q4fRflMICAH18JOFZiCGg/3vOGGP/IuBJCeExHBwc9o3/62qhyb8ENMcxPhsE
DvjPYTz43zljQPF5lDAGn8zlP/tP5oy9E3bTiy8GSvIwiji5aOffKeebVYtFo53emmrq8hOCY3lW
YK6QeKSjyR9x23biEDXFSIIPNOXvTCN/Lc0SOAcgKqci+cvk8YNovwE3V1YsJ1s2lToLGr08zsxh
LIojkDP/8DXu/paM/2hQeb9NOBNYSDDtDTL2JIL08mchuTM2jCvFMWhiNvPOWvoN9bnfrXXBX8J+
7G4UmJy/n8q/NYf8cs0Qa1EeQQzA3h1tHFTetwYlkmQL+DTq+z8DkNsvEG0EIOK7ez5I9sGa78wB
9LJPjLMLGRohysCX/7zPeBoFgVB5yVhXQPqVj5reVgsFZRUA2XswQ9F++v3J/mpFaONDiArhAYEf
4ucV0a2tQ61a+LLnvjpT8BlnLtZoR3o6PxOAfh9I8n+x3sX2INF74bpK8W49iAGsXMMe9mxanJWr
ICdW6mbgRXmEq2z+wIDwi28ITwkQL4RPBvfDO/X/YBNblj6C+RDFMIi95TYM6uvSTEHKm/hApXr4
/XH+bDcQlw948dGwkBHMEmTina0EGALaiqWCAjqCQMbp5AQhg/ngDH+1yMUuc7GtYGRh8u4Mo8An
YCCHJVvzsCkyO2OmIrhhKY+/38w/T0/gTgjMSiQhS9h7DxJQ2J4AbFiyYh5WDJsZjCtvKW+jYjcF
iUi2nW4VJnlpC23ff+bPAclBYMsSIcY4RjGFm/DnexlBBQeH2LCCW1+CDXTn41MI8RLYvbAHJd1g
yECDg/4gzrw/2cuql3HQjHHQw+y9W2St1lyoQq1Z6Rto7RjPOZKxDIt19/uj/cdCiGSI3Zj3Dd8f
NvrunqBoG1ol4jUb4RpJQUA1nyJD+tv/fBWM/IW7DdZH3P7LY/whRAsZzHUQKwLVRbj8UV0oiCwu
4E34D5+ZCLGTGHuJ8KIvC/28jgMRWegWqs544tU3hpi6JVBi3xJupnODTLLREhK9Dz7WexshbkUI
vygRyKNwZHJ+yVA/bE9OAC9RUbuMR/sOzmdZbYWFaTuiB0hBIDhJtnk37QmQkt+f6/uHIWBhxffD
YHYGdyreyM8Ls2mxQVDB59ALuNPmClKgUbZQ18jGsW3B2hLTgFCV3v1+2fcZV7AkgteBYqwpfCLQ
w/y8rGjAKKASJlkuh4Vv2UDXfIKzY+n9pkZDV17/fr1/XFKsF8NnyDAvFa//fTYyLfwmfR6QrBh6
cMccno48qfQHT+F9RoD/Em5cEUpUQ/ABs/e7ciHetKwl5AJLfPYQy9wNS7PuAxL4rQLv9UHG+8cp
Yj2Ke4PoQlA0XbzIP96aYGDt7MFbZ1QlGGI1JJA5CjWX0D6OSBcfXJV/nCFWQ41HKL8UanA5/rza
xLwZSwqM2wpSHYdRYnaC8sMHMyh/tSf4V3GQ+EUlCcirn1fpSq3iYJUYzgG1zFsDreMboGGo9uoo
CLLf34pfrwWbJt4cBFcXy/iP5zd64bu45gJtdo6pnBBGXMP6DcrU+eWDC//Lw7tYyRlqIRTT77ZV
iGrVfMXhRbAsnWXFMI9PGPufRsnLJ8KjwshfVOWACH/eUGSBRE66AlcnHKR/TacBscCd8/tj+9U1
/3GVd3vhkDtbGuPaGR5hxKTGYS10UtmqCowCCVT99Pv13nub6eVdcSoQbC+NBsSNP29rCBh0fhd2
ZeDj/NTBi/YA6Tk9V+VS7UINISz+NoLq2JLTQAModt2EAbjRhKFBVbwjhatOv/+RLiv+YAf9+ydC
HRYx5AiBMvfnn0hVnRCLwc0RMBrCYBIOVzBaiJ2FhWYzkOkbmYfo+fdrXl7zP9aMQ3RGyE2Yxny5
zT/kCNjmVsAVocg8EPOUgPTaJ3Vg9rWYgueCtvdFPgFEqb04/H7hXz4TWMtRnIsIxv53YUZB+iYC
E4uM9g74eVev23JyK1BgIj7oGt5ZuP8+1x+Wetc1SMhhynnFHic1+yulwvtowrAu1cQg3ak5QHK5
PvRlEO1a2rYffNRfvtFYYrYDNkmkeLd4m1jqZ4A22aDncj8nK90vNmn+m6Dzv6vId2G0LxauZgf5
30qdP7NJgUtNYKuLOzZ8UMz8ckOXkI2IgN+HQN9tqF7noEflhA8XJW7fCNH+Idrpo0bhl/eSx+gT
0LYL+r5RCKCziAuNY/Mxb04JRPAnl8/Fi08E+9KGcXNCPx/vJUwUHxzlr1eWMdISoH1c0J9fhJIN
mQ1+D01Wz1W4wPrZhgdOymAXT606+Z4NEK1DdzUPrnr7/Zv41dGi5EWRiCeRxO+/4lqSLpjBJ2Q1
hah0bVh7Ar1cfBD5fvXyflzlXZiBnHImf5k7gi7UuzxoGWQ5dtjB2zn9/Utu/i1G8NGG3qWO0SRG
SIWX1whnj7rXmGk8TuyDGuJXqUMAgQASgQkNkl/+/ocYJhrwOV0EQn/pmyQDPeY2FvL2LASLrtNV
gnj4/Xf65Qn+sOC71EEo7KVQuWCMJ6/rtyYGhFnBOvts54n+F68N8JUEEsDRO0TvPlYvCzb5BGnR
DQN9E4NbjsPsxw9S/K82BDRFXGZpYMSFuPz9DyfYw7nWFzHedMUSv0G7i0ErXWJ2Lb7e9j8/Oxlh
uMRlrkQU0ndXYoD8XnWtxiju5jJk0QTtN6i8IFnL1fhBJfur2ycB3YRoVwW6u3f3omYahokGGX6k
DAP5ur6DLiquPrgMv14Fk3kIfkEVRRH789lJaGxoNBQy43kXg7mU3dXSztPx98f20SrvotJSWfQx
Ab7QMmhE+QJemZK25r9aRWLqDrputMTv70EuCVhUxL62X6HwhVAZQwN0+cEV+NVe8BsmeCwBHVI0
xT+fWOXyla3Q6GTolFmaRIVBbKcfoTOXn/V/qDuT5biRbNv+y517GXoHphGBYCc2YiOKmsAkkULf
Nw7H178VWXWrJGSq+BKza1azsoRAD3h3zt5rr042FF3ZdQOq057nrf6V3nLHMVMNvQMssA2WTnOc
w0i7QNYwVQfvzNM//2unIpDBZRdoD3eM1ZKwYPJAPYqEuG3cysJy6OOMKEvPLj4YNW7Ld440fx5C
VBVU4Q0mrAsxavU5mBaeSMNIrIPoSjy6p2YxlBD7nYX1L/4o1/ROx1FaQ6cC+q8/VO+P1onOZAHP
aMFWtLKxu52LTRT/k5/n+d/+LjxK5dQpKKa5J/zMr//cVLYcKXILDDWN/1cKXNhtNeKb98oxf7z3
r58Gju1TTd6yfIc61urs2ZiWqRvXxxs46Vx9i6rWayViHWHoixwrpKbb1zt2/uxo6cgzY8JTt59K
q4MKY0XcJbgL8P+g9Z2t9FhzOUcViI472NWRH0D25jOpymNk4GPFFjwtxX7CBWWf/fc14c8/j4eh
x5AcFNj4/nR3jrssr4fO5r4wMmePUrpTvB9tp4XXkVf1/X//19a7LAQu6VFUlSynDtN39YXziy3c
e1yQvS61q50qRf4ytkldHGL+O1yN/hxlf3NW8W8Glo+22jaRhwTrChbqsRRBixMcAgwI/lWjyEej
lGSL7JDjBHqvjbKeVT7lVAfgmGdTzaGGtFrK3SCd2yBXEQWdRFKIwA350nmT9c4q++eR9A3anKeP
L6As9weJ7afdFhFNlyGJiA6ikG2Gd6yRb6jAYdXCofjiovlXh//+2/35DyO67PQ/9nhqEmuEKZVg
Ra3YIohiUN1501dQVBXUh//+r5ymz2rR5TrH47F3+bQDWQdXU7jHr13RBapDZRVEGxWGJ9pz6XN4
wVS14CyPsWejx9DR+Bkxvjoko5Xfoiv3b+PJxuQgkhMBQuqggpxfJ8MDFuLo61KWIt13YoBL7zr1
5yWPr4LYfKziGk2GJSPcHllkI4EvYSSYJSdzjKUn75KNU2Wg8vIpWdohxC+RPUBe6++FFeCPXMyk
i68yY2maK+Ui3cXINeDVHWcadTnglJtKdi7+Gy8tH91hVGd2lDoXRsHyF6Yyc5+nOIBcH7X6Rljt
W2OJFJXDuMAkjxLzFR+NRsjbZ19MpGJXeP8K6NIm26qou+TRHtPyKG3s4RFvsuv8iAwAV3/LZ8Ab
SPD18DAHRU0oBXIh6zBnlQnfpxUSqSTaxvSA+SKG8J8rMArGgnfw5CR1BbIWxPEpusNzkAH+VTsI
iP6FLYt9InCdt+6w3JR9DUXMHbs9ehWUMnBokKJz+9HXNlKUo3acHDF3HqELgstgZKHTkyiUiqi/
1nFpZ/sgr4wXGU3zJ/wtRCpYuBZzt8fS1WTBeBRJYr851gTCZRYiQbYzpqRw1CfLYGwN51nCeffT
gMA83gvTPY0UhgN5k2QK+aWrxFLuy5hK5DHCPE86VJq48tm2C+Xuauz2n1TtyM8qUYjEamEG5aHB
VYfSAbPwPu+r+EcxmNVVz088PgqzwAa261wfTs0eob1jxTvP72ECTcnYqLdykYl518f8hwe7s7xb
qc0guuSxPcXJJXcoGMyehe+70LTHMjUU5nVrjxbo/aKDAxMXQDhanJYQ+esYr34Zmd5VjFN2uoTi
MTW3LYuOeyZBnhivE/qQ5lgFrXzO7URcdmjx03DEDfqMGfPeTHR90PXYf7a0hbKpF0qOu7LOGvjS
wwLHe4ao8B0pYX6nm5GslbFIgEGbMR4rYUXzTmbdyaJUDPpj1xsolBaj8TAVVD0oi7bCxjCDrCpr
6NOp1vG5lXnKxYScea1bT8dUYkcAfeNoUrSaJSmPVRrAbq2X3Njl9dyrvWr75mbo+cfQpCLf3LW1
nxaHzMM2ta/Zd/V11qS5Xd7XXGOotcxxlM9P9jibzCPV1P0+K3wfWH/Z6uSeDfLkxLfU4oYyyJrs
3nOXkpmtfNeP0W07mFdugzYTBGrBnUjHPcNhDfvZjXsQ1oPfuHjzZO5gEu36T63yW1ycfSDiL5WR
V/a5jKucEIcsFuKy9of+FmlQIA4m6xIKIifWRkLLsymjfWqk9EwmiSPvENSy9sHa4MHbjcjVIY37
fSZDz4+1OJxyaZlqeRuAOSY87egwV3FUG1UGTByy0d2JB4WVZS6WuzhY/OoQoVKizzRrrlo2IvtX
vE29vRfSCxJE/pFtHstkmGn9tiqakPrqFN+dMarm4Bu4FcKkz5dPMHLceifwuNihTLPY3KliTm5h
elXLzu+q5iuqGuvWnSOVQgpphT4AbcFG2Ena8gnwI/vgKwT60oqluERWGr/GHbsfuCELNM2isxkm
N591sMuqTAUH2UUL+qUcYkWDQvRlWqBNnDmZSZNF1H381esT5WDTj0GgLQk6h12LzY33NfPk2etE
a+wAVikR0uIX6VHbznymXCkS9JUGEtZhrj2yFRYDXkBst/pKD/DP9l1Ml2oXSDufwsZArbZvYtSv
M2BYf84OgMIyeSGVqbxr9nZqtHwDpXlp1CbAA6NM5YdcpzrYB4MYVTgGclYHx5mt5yQGrHg22Om8
hLMXZbhWkDf+MBBLJBeTjxb+OOHWBxSTsmVNbmMQRuDP5p3VwrLaI7/qE1bZRP4Y4cHdcHSynfMk
Hd0XzxsWgiVw+9L0mrMgO3eaHm/aiNQUdXTmmG+NSieY06XbvBQwFfijlK7rnaNjrHWzRCO8BINP
TFy65Jh02To+5ujV2CBw2yIYXwobk0cEh2M/tBF+dfo2ryKvJVJzU+G1z9qhB6HeRmlzhtTfxvg/
Su87HxkeQ599GIPQYvIXNLaeuv2C8oBstwGKBt6bzv6Y1FmGt6cVwDRaVc+vuLZZg3xP98lhLGQ3
HB2nSrJDFc9K7ptSOtBy4FjpvWEB/Nv5TsZ5tOdr+GLzRFycc1TAK5OzPYRJ14sXo3PsLwoyF80S
HMufM6fMsZNia8vPTBrM572L6WhntvPpiyqVDHZGYwUfUC7GxSFtuuitFc6MSdNV0CuCznGBNHjo
+445hQ4U614KFsYsvBY/jqCWQeWuJzcKss2J9GPP5BEl8QzMSuj8Ca5TQThIaeNklLZq4YA5av62
RCzWN0imx6doydPxGOSJ+uLIJf+QD4VhYUlp+D6GKi7fxMjauG+GIQk+1qjooQGkoop3pu5LIjNK
GDx7u58Tf1cbCfvbJFp+wADPMLbgKZdknWiIYnASwTecYS5L6+PIYJMKkGv+RGXGjbHL5gLYSkcP
/bvrz7Z91cpaIo+s4K8Aoof8d5kYmHiQ8hagL5hiabovZjH6uyVnncXJaCc9K0FsZwcLEslNMkWQ
rnIqDAFHiBTaCsBKV593ujaOdVeX5l4Gqhs/47xJ3YsJMizZh9AerK/RqDOSARz05zd1tdCw39VJ
0ugwrSZsh0lc2O3HpXWXHAZ2XyfZN2mlaf06zFBbKD/KdCzOHOVNS/80c8nply9cmSzaqmhSnKz6
iIlbWSSduUMXmWE0d6rhOi/MjpILOEW32zkMXD2GBlwtz9jXnsDSfRiWeUpf8fJa+WdpIqA3dvOI
XBMhugVqroyAg+xm2dWoLUv098eiSrvo4A55T0JOXA7NbWQV2aXNa2A1yNts2UW9U7yxXA9xKNuu
geqWJAtcxJIq1G4KTiTKLlXJW5/FUbEDq9A+gHRxII65i3sGHsMojgn9zXSH634BSBdhtyrp6rCn
TvyeO5t1L95XDeeg686xsuCokTO/ODxb4J9rxJndDpM6E+UwILbsOJPuSjSnfhiVs/pYZIPjXc0q
F58nk03y6MTSxPW5VIsKVZl3ZnBsM3fuaCfFw0ON+n4M0YxlOIGED8+pWLL40ohbE4NM3czLU9dN
SX9gy2j856IWHc7zWqZfJ6SAy97MBza/JZhATeZj2dl7NVIc3atF+w9zMVTtnhF0m32CLy46xnMy
Jnuc6T5xaWkF3MG3puA+bjUpmI2XuVcC3NwVohlvxqOWJS86t+2XLKvq5DFrqhwQTLJkt8ncs2B1
bTpcoppXhAkGvk1MZlBknBjpdb1IrGHl3qJcQbCUadYZ4+071dFwOv+u0n2B6xq36r7se6gwk1wg
DjW2pSy8e3K+L2RTfWNBtB7LysQ+5VpQHRBVZ5ncIbrw6LcuntpX1ZD8OIksnDM4ceOrFn1NTmHi
U92MGt2c62xocNf4TvEjqNn2UeefUEpdPkx3CIn9YufWZvSGoHbg6tJ4nNzhHOZvWNtNFdZJ230w
pkUT5SEsNmZc8D1XuMjsLiEDcSqcels2x4IN4SgQjpM4YWY27MnAbgj55Majdn2aT5/rxX2OFk2w
CAYgV9lkFZSnP9zxsNMfHD3+GFrcHSpSPDkqpltTzult54+vzRBANfB1dj3HFX9A2nd+DLowqnss
OTKDDzunP6IUGORF4o3VwZdje/TKpIMkgJ+i2rMT9mea8v+Rnoo4orO2OCC3S/ltLKb2ORPOw8w9
CFv2wOFoB/uUbI92Nu2zaWpJmmE9OBhd2oLBR7x9KnN5xoHjOFeZKYWun2TRfal8g9STDPKcH4mL
BX7pQenZfHSMeP6w5B1BKwDKr/1EtkdLB8GngP7jVcARYd/LCvPjaCjx2KSVeCmdvHpQzUhUptU5
j52lpo+TX4Kyg7j9pUpKikCwXsDCzBmX19PP1h2axV8uE473Zymu9h3LlnyO/V49lAEcyggr2Y3j
lkSGYSvlrmKkO88tH5e5OjfHpkSvMiwfsBFMMCyY2aThaAC3BtZNTj7jfvIz5zltT5ZPEEifFzaQ
EGNIsHdUS1xiNPvXnqBSwrdp4esQEX9WneuHHp4PFpjRuVQ6HS4SCth41I0Pw1JcyYoAMgT9OySq
A9xfh1ifhEpf4BXjLlcmHJY+tZ4Nbtjnsp7zs7qerZfF8aAMdUX2qapy7DZebMjbJVmmYzf7VyC8
qictvIp3z8lzhOZwFeHAFzRjfuipby/UlH4OSie5sQ1R7hvHALKZEh44F654Tgy7/aA7t3r0XWe4
J/lHe8fJAYm3a5VF/Gmhh9DgU7SXyT6C6niZuG1iojIu6DLVz91IVXcpqiy0BuHvoAP2V9xBU03X
1QhecFmAyoWoji2oDwiOAad6vsRZfNAKmA96Pe+q6Mvlh+8L+zxvcTKr3AKtxC16UcYXr/HEPe7t
6BwTOsk6aZKepw3ViF0i0mwPRO6uHtz+zinM9DFNvZ7kkzG/TiB9XFCWmM+1bFjLJv02ItQ4sv+Y
wC288TPlqDIEOTLsIr/Pv0eAHS9ruo4fCrf+WnH04mJhS1gqDrhhzPdXqqzSr5g+6kdUv9ZlJbo+
bCMKDjvteYyxDzXLadrpmHGiLPaRIwp751J0Ombc6XGPZqQEVxMWri64ciZUr3sH9NVuWSo+4CpX
VghDzjs09GUvjQqSZuOZlzA0owvHq3MwCe4nJ7LF3eKbM/4RhyAucFt8j8tcP3tJI2+kZ92zYMi3
MnPYG7zYvpN59GNw+ueRv+Ert4+625duUX+ZiwC7tOPj1HYxhDxYSznglk27c9tQd0U12swbFtUd
nE+I0NTC71BjcOpyBvWSTimBTwsXYGihqd7bNhcR9iUbu13ZIITecc/H5paDZv9s2joH2mNQJgOq
3TenfN8BE23lmMt50YAR3aVzDvOjTru5O+uMfiJkFafffVLV3oG7KP6wuDbAJKW228FbpqhwGKOR
HACnxbuKWbDt72flcmj1u8K68mrqtrtGOfbnxi1BBYjYs74hyC6PiRP00TF3ain2y+hlN3McVETa
UqiIAOfF6gTPheK1b1giMCAWLbxsDJb+d5MlFqdE7LlnOhit4qyYZkIkJZxZLpcYlFhAxsoj+NSp
qMiqhGJPEogywG7ZOOCshDKco1Mm1IldKB8kKxZdRnRMY4/mBTZvNe4Xl8HDejcLduJkAquaG9j8
D15TyDsRpaAL2kXgict9W7+IzNLJPss88CuFiO3nWsRmDWvK9FLugNYw7HzDVde100oIAGYZvHa1
6L95ADPuiqlU4NOEE8eHiVX7eyVSPz+wt5X2cegCDEkLUjsI2pm0+hCfs/NUNYKlDUllik9b+B0b
E0fL5nqkiqL3+aBy6BTciIJDr4s2C/EZ9Q8VjkDoPcgxyARycqg5Pm27r4UF1YtGZCcJAlS4xZDP
Di71MFXllKHM2Hc/DkAIr4feBAVZ0XPC+Zxm6iZwG9igVRuP1Ju8tnmSg6ZsXEEgenbcfGa/7U7M
Y4ej2I+xy11SvMqpwYI7teXFbBlIhzsVWfJa2Kc7s5ZAu/dVHdWIiZ2cjcaqQEPA26ol0WAgtl+a
yedvwOSY30KqtuFuGjmjZ8UN2TzYo0tiHuemIT/QzP1rgjP8+6WdoKmVWYS1KvM6PeMC4yp+kE4q
jIt2WmKQ43YHwhISeLHXHXCcozlOLJFphar/gNZjlmdB5XvdpVV0Rgk5qScRPXJfbLe0khAXYJaH
iiosKatToQlq0920nHPaHoawYN3+BG4heoszdp699trqHiJBn3ywONRBIj81aij5FP5rQ2dyCmOs
2HyCcRLdY4v2SfOzrGWh5odYJxQgojHIc9t6KqaIQjYfYMatz4+9JEToVTdgjvBCwdsCa7NzBqdj
dlrazo9+FEzXMMK4jwGIp37U+KU8RVdUKCmxNgH96hvD5/JYytF6xNo6xni185xktqK0+guTmts1
QJFmfDAWQNZnAobf6TLSIoYNK2jVpEqlhmookNRTeQhcgw3EsCfXPaRL49X7GfKwv7cjJa4kd5bX
jP4Nnkmwa2BIu6wyDhp1yE2bV9lXbHCQets00bfWrFkAR8/AghktVUV8puMON2Miq/SQ2ACDdzOg
j0dySmJ5Noxw8g4o+uCQFw0C3b0TRwlg044b2WVbmfzwhxbSweBh7nRGdp+hmZ2ngQZQ/rGD29Ze
Z+h6PGefWEWxcHwraAL7top+tLDk4nAJyjoF4NMY3i4um7E41bNH/eQPhSB6jrWOci0eTe45NK7v
6hFA9060xWzv2gDbLDZz8uhDfOZFdN1qV5onELSL2gYuVH9WNXmPdh0lvYUwq+nV2HIEgP2+09kY
1HdyYB3dORMI5X25EPl0pzHDmdcGZm3gQtNQcyspu9GgNG7n45mH9pqbqGoZp8iOS3kxT0FFoilV
V/GsqQ6SEaU4HR7dGhFatYvwDBmf5kwkLgGDeByhp2mZzZfUMafhru/R4oYs+db04GKlzDuwRbbg
lyxLyG9ndRp17WNWuOCMx0Io9RFUohH/6GqjFJcJmrDm0p9dpH0sLG33oILJQpjWZEnwrU7wbib7
CmvLiEcTnod75tIYqi56Trmg5yrTa6odMy9tb1JKfjXsajJygE8aJU0kczc3o6qN/UBqAzHxMHq8
H0PvzN9yl5vanuvYTJXO0L1X4KWHt1JcUJ0ZgqfCpt/FSlaKRRBrCGyqBT4Ut4JKedGbvfcUzLk9
3y69kMF9WljUfsw0nTgRjU6iY1rDjs09QAdu7oYzF+nyM+XzgpzUxOkFoK4T5IFoMbG4+Y1XIqpq
zuhWgnMxXdgt57VFsWgfi1ZwhXQVJA3ulnr2OOdVNJt21K57aGuycrP2rElqqUNDdkJeqig6QZNs
bYMuP3AEjMtPZTsrEjTaeeK0LdjKxb0iPEicqAD4Bp/QHUPMPRhZOZRi3+mgVmew5OrgDnSu1ldR
HaTxlccln8iEcXLyg02jIKW/P3UZhGhKNvm5KLqhuac5FVmQeHN3uik8UmLIooUE71/mEXraBSNv
BfayGWrZfq1Mel0PujDa0mW7m0XT/LMr/LcsjL8N1frFn3jbvFUPQ/f2Nlx/bf4vmBRPTp7fmxTv
vhLCQCLq//wrzOsPo+LpP/mnUVHKf3BMlsj60Ln6WA6RUv3TqOgZ/0AEYKEQYqfBP3fSC/wrfsuW
/0CJ62FIpMWOKj6gs/q/RkX7H8jWUesh1KM1DbH17xgVf+3QCkKeME2gwF1JLMxswcy+VF5YY2OE
Xw4oQS3F8adx+At74O8evtI5eNzlqLvwcFOUn9B2P1lO944G4XePXqkBhtrmbBqUbgjwZeQqHJHU
nS3vBdT87umrNnIemanCfu6FvjffNk5wZRND9E63+nfPPqkqfuq+a03aFUA6gu8m8QVj1j42gmTj
s0//5k/PTlTW59Eo3LC2nIdizr+ydW38LVeKn9gRLder0gslMlEKuxEpoy5G+G1fivXri8OnEsqx
+FKiZij2sawvSm14h20PX2kY7caVeqoj2npdSQr96P6gb9q8IxX53c+5Uj4HQMqgxjLkIBm5SZXk
wo2V2Dboa62ztLqx9YfICQMQjx+nwfAvnHKEEb9pYOzV/Oxjrtn+PLqhW44v0aTISLGftj16NT9r
tXQ9BzPGvNTEZgzth9Jp39Gx/GbI1yKPoiuqYsEWEjYgXHbISsAKd8PbthdfTc8ISgmljJrf06xe
s6L9AGPpbtujV7OTryRAdcaaFWsO0DiqVB+942I5vd1/lGX/Xsbt1excnMbrLQP8YmYPYjfYyXIb
p3F3xfL7t0xn//kXVjM0QSSQmTp1QwvghDSwyKjXbcOymp6L0wXUtxI3pIN62UFuauJh2y5hryYn
UQetGxcxwRaloeBlRxSPTOsd8fJvPsO1jNTj2hcVJ2j1ZDsfgGKdlyh8Ng3JHzKnn9bxRSnXqE/z
3pnyMLGsSwAV59sevZqYNMtTwxK+G7YCMjSt9/4HUsXsadvTVxsn3iJy0jKejlDh2Rm7G8SWG8fk
9On/NCYWXlUdGdx7hGG9LgT4gD4yX7a99mpmJrmu3HmMdai4IMD5aIKDxc1g2zK7tsmhMye+ZaJo
XrjeXRS4Z0vaPm578dWsFBXgWVvPTpg21pNyndc08rPDtmev5iV0RviCKaLltHWvnMK9mfLpb5mT
/r2YWKt5WS5AGfFE6XBMKQ2DUbgBkvi66bXXomHQRVB4DeWEaIyoSU3TmWuPX7c9e7VhWoaXtF46
z6wn3FRbGfyAWrVtTNamZaSLKNOGSYedod6IPsL99mXbW68mZenM5gIaiyeb5c1YjzdGTIbFtmev
ZiX9PqcJ8m4O23wor+A8jo+jVcfb1m9zNS+pFtJ4bJo5VLb/nXLGQwnLbtuLr3bMrkbwl6uROHZP
i52RmHQek/diwE/v9xfb8VphOy1malOsQ++PZNPsrfu+mrfNyrVJM6fbJsYAeYMtLGCdyY5UgY1f
92pWwmRbQGG1bGhy1LvUTT/QL4+3vbexumhmMeBZt+k0Gtj8c+UVV2b593wd/15N1niD2A9iBKd8
JXklSBecuMj6FbKMTR+Ksdow4SRGPZgJuH8xMcdjUpD/kE3bpqaxmpp2ZZU+8FyGfBQXlLs/U6Pe
tl8aq5kZi3xyhMkHnjvGFHYgwGji5NuOsn/Euv60GSPEr1pSFtnSmuGzUXsuHWzjb3lM/vNzrmZm
0S5J50iWlLqb0aJITM9pvnFTW7ul2poo57ZhU/N0cz/Eyecx9zYO+Gq/zIBQRgnjjFYyce9Fn07P
WfEeSeA3K8o6IbgFC+r4A/mFSVQ9urN3vyTvpQH/9aPJAf71YDVntewlOZ/s83lJ29p/c9xNPyUy
mF8f7VQzCg9Q96FU9mUZkNdU2I9bpqVcG54S2/MNtPtz2EPlpOZcPib5svHZq1kZEzAqgDHyBaJ+
DFFx/wG5P2578dW85CTo+G6Qc/bp5I9sHgAmD1O18eGn3/ineakGyNExgtLQtib05XH1ta30x20v
vpqXCQxF1UKmRU87XNu5Gbp9uun8LYPVMTZAtVUgW+ITXMQb4ZzfKVtv2ucpsP46IgnmN0n5X4eZ
nCCzSIsWkEjvtw3JasecsHENLreH0K80iadUUOiC/y0P8/8ug9JfTcuOjl9DpNccOg6pD9jQ1YVV
KrHf9OZryoo0hi7z0eyFA8KJMCZ88KBFlW7aHkhz/3XQZZ4Ju8naJVQA/18Kcwi+RhE0/23vvpqe
GQxnrCYuMojafTK87F4O26aPv5qbg22O2RzTS3XEcExVau86W2yrtiFZ/HVQ+q5ojQ4obmg1zsdK
k2ffVe/cHU5/+Z/Pm3LNDBBWNnmp0dKPGtOwmYzQGNQ3VZan/thh26CvpqiTFvRER7DDc0uKE7Rd
AxXLtkevpqjnRsDMBW8fW3QWRTM+KSoq2569mqHxjLugWWodyrERoZMvM0J68bbp4Wu2Ro68wsvJ
/Apre/iUdepL+69m2v8nwODfk38NOosksuHJslnHVfFaDPKNu2y26UBLR+rX75BQMlQ38zKHRlm/
1FZ0ZyTfto3HamLqJZuNYInY2jKa1Fn1nCzxtm9kTQgoThLMamG9glaOnysghVp322piUq5mpk2i
qSYUZ0FXpR/iqnkwBn/ToVDK1aYJjNifZCM0ooTy3Km8B9Rq2xYruZ6RZeP5rChWiL2OE1bkqZOI
ZON7r+bkNAgRuRNzsm2tSyMyHgO97QgOv3D1/S0ExneuoUN3mZ45NF96xIlu+gDXnvu6IKUtQIYP
8Fo+ZLH3danlxlVqDQzyUupsErNP2Al8ohAfAJIlztO2F1/NyXjBwZjjLQlRR1zNvoE2ctxUuJdr
CoVOOzj2Dl9gaTePou1J1Rsnd+OAu7/+llkdt04zW2Rh1+k1HJFzEQ/324ZkNSk9zEfIVXg03onP
cKUffEyg25bANb4gJRsut1ymDv75Eol4diP98Xnbe6+m5XRyiBHKyeUh1d9hT7/4omi3bcJrLCVk
ubSfc+rUgc5vCeZD0c/FZ9t7r6Yl+Hinwl2DEm4ksC6azhs7eWelOn3Ff3E8OSGaf76VeD45oI23
cDzJCvtbOkX7qjOxQ6IYZ+rDQNo4jdzVfdPqNHFvNZVOaRcvyhpJuopeNw3PGj8QDVYOQJ3P0eDi
7aFWWzz/87ZHr7ZNafQzxAaGJ06Ge7zXe1EHGx+9mp+xN07Y8qkWou+8jb3gUFTtxkev5mfmpLrv
U966SU+RmW5GfaneVBaT7mrX7AbZ90megWTLGuKrCj1fwM/U75yWT2/4V5/jaoYWfTz5+AdZEcn2
eMnmrr8uo7R/52P/3dNXO+esfYR1ZCSGlWd+jwfwsc7kfd32pazmKG5NRJOnk3JTlh/HGZWj6oJt
69ZaCTSDIpy9gHYmdU6i9vKT+A5n+6YXXxNP+oEUoJoFMZSTvLZQvse2vW1/W/NJ7cKKvKRiTNBy
ftATYUFdnz9ue+3VzFTkD6gxSDjQFg+V334th2BbxcNZTUz2+z4CTruEg6r8s5K8wqsIq9I7Y3J6
yl984c5qblqOqgz7pBEd0qSvD3FSzLckRA/3fRKQa7VpcE56tp9XdWK7dD+5/AkElFw12n82iV7d
9ujVd55gnGMhTxgdbX4VnbjJtLWtrOKslhbd1BUyd5qxESZD5Ov191Gn25ZEZ7WwDPCUixYJf2gZ
w1lm+kdSJN9ZVX73i64Gu0rAPy1gHUK8//WFS9zWlABZ8ES0bVF0VkM+1p1XpDqjwFznD4klnvBQ
vm77NVfbv5T5bDpJRcuqGt0Lx8aVLdJ43vit+L9+hqMROXFTUBkvkv4tSPHFYDfd1rrHb/Trwx1V
9CIiNoldvyFqfiF7x8jemaSnyfgXk3QtY+oznAOFPn2JafBRFd1ZNHvbmlYwv39975l0mxqjAwdF
gfDZTLzvyivTbYf+P7HfM6uQvsuLk0lEuMycHct+o4RRrpVMwzjWJsSJJYwy20X+PZy1ffkesfF3
Q76aoIkIhinBeQu6QQFpLCE4TbbY9iGu9UBEHw715DH7laHP46oMy2662zSD1nog4slajVWEZrXR
7NtgvJzy7NO2R6++cK8grj6dOGotcJP2LmGlMIaTbcV3a7V/DrmtZpuWddhF+a0cyFF3N65Xa3Bw
XCQuibyMdutl3+Cx7kDIfdw2JKev56cmCko6Pw1a3rpJorOZH7PwxbbS9VoKZBIHXNdSzaGpUUPr
8QqFw7YF3Fp92543zRJAE9+2sxDDkN+MuPe3Dchq86kjzEo+zPeQPMSKjCT7apLFxtde7TuiqxFF
Yr2hrjztyzl66JP6YdNrr5VAEak04H05RUQIZ89ltCQX/vhehMlvlhJzte3UGiJPEwQsgq44a3Rw
3oo43PbeqynZNjWZbQlLoHLm5mZSqXVRtPO2peSUu/Tzxw3eLDMdRK7hqEWy60uNpbCqt813c7Xt
cIEQbSJ9jvktbqiuwsXSbRyU1aScE7q9bWdzALIJMUQ//0MSyL1twFdnQj+zvWxo+QYb5d4MaX8F
CfCdR/8hafuLXX4tBbINgm2HhrKhS7zpgjGnGGo8VGlwiR2+f5icwriWy+x/FKYmhrNQ1yb8tufE
sdRVO8Z9S2Cj51nHabad8WwGf3+tLNXfYpbCctQNRnRBcTz5qJUh6k3KVpKAfv1G6mHoZxO3MlGX
9rNjRVduU51vGuq1VoeEd69D6TaFmVl8srrhIoJh885Y/2ZKrpU6OmmqhizfCXvgt6b1Pg7Lxnvg
WqajTPq7g6ibUJ/SzLU6WH62cUBWU6YAJzOSONiEsso/NK1NBdjbtrWvRTpiSisvmqn8wn8vD1aL
VT2XatviekpQ+2UdwSMLdGtpwkhCGnAiYCKYZrYZcORappMmKh7ygVFpMRUelyg+EGZvvXNQOy11
fzEl17lJVhEBmC75NWcU3PdBPT37A65tSx4xogfbGo9rwU4vo7ZGutiEBDGnRqiiIbihgNi5G9fD
1Z4ckLMKFo9+rKciSA3TZRyY7zz69On9xfisk+NQeTT/j7Mz67ET577+J0KyMTbmFjin5jGVStI3
qJPuMNhggzHTp/+v8+i9eIvudCTUUrcUpSnKeNjee+3160eC7VAGrnkfgosvmOthY4V+cIzakY0A
XWwf50+xJnXnYGSGJo5xRSdii9Z4vh5TG6Kx7ePTTQIzMcUHe3IFmoB1PF4ZXb8de/Pd8bxuK6eh
wpsTH1zB4+4Mr6w/jj16dzhvExiwC2wNsYPBvsm726C3h/IeoKB9HJEWBi20h0Tl1GjHdRoPCTr2
F8hqj7357nguBh4YvHgEoWEcgc5ejXB0Ctn52NN3m01fl2JsBTTdbJ2/hM2SVgM9Vg4Xe+0RmGKd
dsisnjYy3MOPFR5lJDr4PXeLFJ36XHYS3ciAsjenqaphgrfwgw/fRc4RmHnrOHT8VHHYXMA87mHg
5tA9RezFR2UcLVMsMSggy/1wU3cT1/LQwSH2yqM+Yr1SEiabsMEEAGl2QK+69VgjIZAFH6d53DI9
1A5Pr0N1Ctbmtmbzb46Nfw8vwHn4+Gg01W9x41eOplD5pRLiXi7HGmUBL/v4aOrieIkK9JtWiXdp
VSZ/FzEijUOLZ687atDNRgEk49ivypt4jB8mdnBd7nVH8MNzMDhA2yYca4NTD/sz2ILJ/Nh77y60
ERxnPOxKxMltm7wmdfhpjlZ9cFB2K1Nt4QJZBjx/nLXvfqJfYL15KKKDDPXjx5x62IrMFiKyba7f
ekGzMjlW60C7+MdHw9VpIqzGPBFdC/flCTY6XB9Ljom95ijaYJrUOvRuoYd4g0uk+hwaeIsd+ph7
0RHfSlWKIsYkLMkjTJ7PW0COfcp4ty5nHA6c95s4LUhj3YzDGEGZWoXHdtm98Agfk0xwMYShRDG9
I0f+xQ7i87Ex2Z2Z1cTXEGg2PHqOJxiEDlk9xMfO473uSEptQeDW4lQbe0fW/k6DMHDstXfrcl5l
07hmRgN7TMvTNKiXUcP249jDd+uyVIv2k8GYqC24q2Hbl8Kl7dC1VvxDeEQ4pOgeL04kuOEwKM1W
A6eRQy++lx7FcOyMtnrhp3XxmYi7R/htHUrZgDD0cdWPnou2rCd+Auj+vtiCk4qPCZiF2B2XsCMp
xAYN8wkeo8XVZUMp6XpMQwYEyu69S61dFWFI+Dy8F3DDAcDi5dho84+PFtava8RmfkJ7TpeOAezI
rTk2BcVuWcaewOxywpjIFULdtiHvU9Xar8defBfJFqAeVDrGtxwWvaRcwRV2sL/DKV3e8J8XN2SF
Po6KpEE3LQpN90EvH9o1eZsPOhEAGvHx0QQNeKZtJ3Fqvblqmvq5lvJYcL9HcAZ1TAKorC9WATaG
AycVcAUEdeD20IjvxUdlWfmxuUzxNRrPfCH6BHO4Yw2KIAp9HJYloLEzK949Ct7DsQMpIfDHanjA
EX98NoWAvh41EgZrEf25KKSXJ5j+HAvw+W5tcjmSOblMFR/MG+wiubgipLTHTvs9xwln2kJ4AIcG
SpdHFumH7VgBBd3ju0GBqVKCRSROweBvt3W+LkZ7LG7bi45cT4xjjQe4V4cPU1ieoEs7OB67hUlQ
ZavlJfcDEx5zHTJXn4elP3Yv4bulCV/UMXRbJU46LO8K37ypVR8ckl0o25ZdTeOxRnzPgyfYksM8
S5Xu2Im5FxzBHb83RYcQJa63+ipx5c06DPGxEd8LjiYDk8HQYsQ7segMmIn6+1oHybHoaq85qsyA
bRzOaEheVXHGmWufUXsrjn3QaLc2raFLVYIAcaLNys8F0pVPsHXn3w/th3vlUQEvsdlDEQDLABZm
TioL0393bFvZC4+KdYE5tsfDlSl+gCIAd/B5OzhfdkenDVGnqsHkPIUARKczkBpoK+S/u7VdIod/
OTv32p0lCmKUUbAhthGrHjYQLdDs2zI2pYuY7LFILtot1R72p/gd0HGqiuoR9trpSNyh0pvY63dE
o1ocFpddYOBw3QMkDVSUdTsW8++NiMLQIHdtMSV1hfBQFb3O/LJFxyKAvQ+R7fDwkQoE/QO/rUfx
tnTxt0OzfS/gUW0Zw9IZw8IAW36sRGvfRzVXn449fbdSG7RZJVphSjLJv02AotvOHcvX7hU8TaAR
tHSwCRsHb0AlDhEtglt5LMbdS3iACI9LzHNYHsP4JCtGBedfsR0c891CHYyeLigVxBaF57kFQRb2
ylt1bHfcAzyDoQvjOkB6pWr4PeKYa8GPKbLEXtGo5zqYmcaL80tWhVbKobJPD1Y89mZE81IOLrHI
qQoBv99oC8HRKItjH3QvPor0VqiuRCCalFGZFyH9U5tjdUSxVx81i6g2seBOXqzTHYU3W7H+rnHx
Erb9y667h9VXAff/b6qA9rpM7CeZptdDa3OvPdJLUsIWE2+tRAHKWVX/6ODxfXC4d/fPvmR24pph
pozbTVJDikkj8/O/X/wXJ1G4C3F5sLYtJM3wUFqq6t1uXXGP0wmcx2k65k8i9jKkJcR1X3YYGxeh
eR4YpfE2GcbhWNS4VyLJZBF11xGMvC8eFWzfFvE7uOqv5svuAK16BZ/bDY8GlhJ9b/J7006H5Jhi
70lEY8jg6hhjAoLcw4REX1xYdSx02SuRSGRV50H5OAXwFb6dl02eueqO+Z/AX/TjnQiIJFbBIJSf
dCDflw6JkITExwx+wF3/+PCu5C1H6w4KKnrVN3D4hvK4lu7YVNmrkZKmgGn1ZWtJavYnOIIDWhjD
/uDDd4t0jipp6hEPr2AMXo/sTqrfSct+sUb3xkS29mUJa9boBINnsBG6KHQ/li6QJmXjCEjif+8E
v5jtdHeQrkvRF6HDT5nLprkfumDKImBtTseeHn78ssBpDfDGx6Rc2LpmQLjOeRny30S6vxqg3UI1
EH0TAHlQQAym7nWtfsSNyLUT0W+e/6uh2d1MQchBWr64vHzpPwnb34AefCx82aufoqgI2nK65BZt
OKSmD28ambhjn3SvfxpKWqwjLflptN1DYrbrismXQ99zL3+CXLq1CyCKAF81MKvuxx6W5/JY7nyv
gOoNpI5gIWNQIFg7tR0B9mM7JgrDTvVxJja0HwEmw8f0xjyAmfkkdHKs1VPsRVAkjKbARAHs4JL6
UUTldXzMaE7sFVCbdhsZyWVTl9Gr5+2D7GJ1cJrs1iY4mgBAw2D+tIBmkja+/wIT+IPB/17/tATD
gFZ9DAlwF5+qsbpJjD2YtNzLnngU2H4N8OJuAa5saD8FRh2a33yvGKI0gjXHjN0w7sKLNnY7B7AR
PHRCg738cQqyqOjKKRbRSUqYTgkSnLx126GvyfdeRbTqF1l0mClg5LxMrX+yFf18ZNHDJ/zje+Pm
HBk+YF1CjPAKJLs7NWi2yf/74f++ifO9ZkipFnIECFaQJA6/FOBmoRfuqh22Q+fz/7zN/38JIdTZ
MP4fYBAKYuIKz4VufLUMRND/fvl/PyF4sjs8x76fbDHii456iUD8TSDYqsL2ULqF71VDgSCdIpeh
aVX/yhm7EeRYwYLvHYuCzs29KrCElLJF2lT8uZyS37GyfzUqu3MzKRFA1zNuz1Ovb5tOv2/VMfEa
32uGggWaZZXgc/o2sWm9AUOyxNOxxb9XDXXRpAc6IJazc5D3o7lbO3bsU+4lQyIwuM2hherEzAaw
hWsUIBXr34dm4V40pJsC8mqG9w4T9VD2X7uIfTr25N2hqQTQfM3lDifrMY8N3yBznI8p4gEY+Lit
ECDuY4o8xQmEoYe2e18i+3bstXfLEnssEbBJwZMT8b0Z4r/nLf5+7NG7Q3OiOpoHGJKCxAjUNgPl
8ATMzqGokMtdQKslyL6gvV9i8RiILX929XDMtp/vFUN+mkRlXIiNcOoItD0XFKrdDglY+F4zVCXT
tAiPUSk5yaJufOq8OLaB7xVDY1gPZbjS6LSJDdrycXhxy3iobMv3giFSVQOTDONdjw0gxpalKzPt
sdN+LxmKpFfdWF9OHtUPL41i+k2uY3H08bulGUyKjoXFuDQty2oFxGpyLBHP91ZFw1T6lkL7gP1k
NRRY8KG9kzNkg8dClb1uCLRyWMFFJDqt2/wYgbScVPLYPrv3K6JDtIHWNqAk5wOTmq36UbH1/dDS
j3erc+MJ6qkMIw4E1uNEBLmT1IiDU3F3Zk49JQlZ8OJexI9AO4KXdKzVi+9VQ1wXIRk8hM3TqMAr
H8ve34AA2/yu/egXx/1eOsTFWnJRQPoVu+ldh22FCnR7cK7sxUObgHS6raBGXAp56ln5WMzHbNv4
XjoE49egA99KnICRDG+FL0hGI8Dl/nu2/CKuFbv1OQYCiD47QCcYAlKdNJb9XYY1iGLJWFWn//4Z
vxr53QlagbenCJgg6KefZdrHczoFsfnNL/Crh+8OUVKtG+6aUEEQ3UcPJoAnMRpmjrV7QoH48fA3
coXPiMfwIH12BwTy96Rvu4NvvluojooG6D1UQHs+yIwoeTM0ZsqPjfluoRLUP9tEI7gFXCyfKsAn
IwVo8KGH73VEHDgNWZFLh4OitU0bV6Ofypfzsd1xryQCCXpq+7AH8sHXZ1K2n7btWCsS3wuJ7ESD
GW46KCUWUoEu2Zq0WI/5q/K9kEi1uqTYdCHISUCqlnpzuZP1wS/6DyHRQpYJYEcc1HGZARf7RMSx
gjn/h5KoR3pYKYp0mdBlion51zwenCq75dn2s1LlDHlI2yR9CpC3OukyOFYA5Xy3PNdS9MkiY+ws
0QyUNanvghGAwmOzfLc+O63itaREnDoYTT9GXelPgyiHY6uf7xYoDZ1nfKF4ejgOKamnR9MPr4fe
fC8n2rqlsXBSFlDJrcttvI0SNN16OBYD7PVEPa9Yw9pLiD78CJvkq5bH2CN8ryXql06UfX9RJa/F
n1pUDqmz6pgZFd9LiXD3bPvNaOTMyg1C2bheh/tALMnnY2O+O0gTG4A9ifoQ2hshZiEjv4YrkD02
FfdaIivAd+uK/lJCYFcwLD3533aA/uL83JsAFVZ2GlUzXEI9Lx4AfP4uWaGO3Yr2SqIRwYWiHrEo
831wAkX9pzPjdkj9wP+hIJpcORaDQpLFJ/WpEX0D9UZyzNmF70VEql/UkEg8vWtdrppoTWdzsD2b
/0NDNFZmxT9IPW10TBvKvrFqOqSW4XsFkTFeJcLjQmdHcqf68E9ZqmMjvlcQUSCBEn7JI9KieL48
WvD5fGj57B2AEhC3ydhjJx+XJJe2eSgjeyz7uZcPadaJgM8SV/NiGrMFoVAC5uexbXyvHjKu9f3W
o8+mU81zAVrv/Lt73GXj+KceBHnTj6FnWbpEbM2GyLxm5AQ8Hf/uXYBszlbNyduxUd+fn6YgQYAr
1gmSh5vCMQXOtD52D90riAIyt1a1Fb5opcYXrTZ6BTlU95v49lKM+LfR2R2fXdtzVnS4nOtiae47
OxRvfJggsESjRaDTRIfxvY4j+nOxAmzuQ8O1VxaNbTE1/VTiau3a++2Sgyngcvabhyf//hvtpUWD
YGC01ThW0TxM3toBPO9Tk8gBPaELfNlO/bzwIO2GzZmsKGIApWcWuGMTYS8+MmubuFoGDG7BZZyB
jfrej5z95ltFv/jNdoUZUqOleGrxrWwovphhVBmlxTHrZ743P2J+0FFSFuy0uFmlWxyFuU58fGx5
7wVIKKwH9bpiEvOGPEV2C6/F2kfHNqa99AjuzEuRjHj1fh1uJgu9Z0GPHbx73dGydFEX0OZS8UGC
CdN1foFeWP/G0OEXiy/cRcboqJeJbZw8LWhs6E61pPIzUQYl32msgeTEkUn6c9zpFXUP38rh2NG2
1yURZxawIpHCSXzEAQuJguS+oJ0jxybqP7RJqEcC5IFVIJrJpp2lcxpQdWw/3EuTtsSNJC50fGK2
Dd+myDdPNfjVzbGZuhcnsZqUKqgxmWIgy10pt9RZerBUttcmhXYM57LEwOh5bvK1Yre2rA5mE/ZO
SUIEiZYrHk6Tpj+ToP1z3NZjuiG+VyfhjhUMU3DZ2CpZXOnu3THTHQuH9pqkCbISC9h6dCoS92JU
2z5RReghDR5sND4e/+6yudelBsaUTIg9hfzj0ofz3+fYL0KLPThtMXTViiTQ91W9/w4QUUNSBOY9
y0er10///UN+sevvrVOcspUiAUZHBcs7AugxpR19PfTsvS6JOLQRrRO2ZSIGlbU1hMmd5gdn+16Y
JEibmMVh8xSclamBg+R5CNvmN4P/i3HZa5MW1tZiBMIKkcv8PSzUPVzSj+1fe6sgOEqxQMI+4TQt
NIP78qMpo2OX/r1QJqaoORuGMdk2guRwXYawInLHWpT4XiozRs7ERiO3pTc2pxI3c7oeo/VGe62M
2QhpSQOtTDC6N/gZPpk4qH8Ts/37t4z2UpkWtPih9+0lPawC9ILKU1343yUs/rdH/TPGhen0xy1g
q8exqacI6od2kO21L8kcp0FSBdFVq51+7kjRrqlJsINmsqrjzwEUpFNOOZwQ0r5Vlc89RHCX/x8E
pfNsi/B3HgaU/u9Q/Ofb8b0MrkzkRsoJJQ/0IMnivnTCjWktmzBI/ejLOK2HVrzWpVdVRoXh5roz
bDH2KpxGP22pXTe44UIY1awUf7agq6OJaHVT+3j9udZdnKRQT6u8LBN/M5kxXM8VD9SY27WDGnkF
4t7DZt3DLo7PQQePHV/HaSFs+262RshTMtdLmzfbVKgs9F3xnU+r7fJaqfnzQqwqHyA/jH1ayL7q
s3Wd/Ou8Tlv8M1RtUcEAq1HDbWfa+WkF1i96bColxT3MuLbyfuOAMtypoKtKYGy3oXtH9TGe79a5
MaZNZ8rHYkvlMNgFIHQCIGC8jC1sIwGAkssZaO1NQR9rKASETBfjNTCtqr4yMxJgX9warsnVukod
ZoMbivIzOI79c2tw8XvaJNc6VUx09W1CooY8ds1AWZZYZLPvA1O18zMf+m5haQVbHI4NjJoESVEN
WmubaaXZdO+HZKn/mGlI7U25KuEpmsjEUL8EDJSd+yrcPFyXqCexefGRLy3KthQy7TT080RfBk86
d4OIvpRpuxjpQPzR63YGXRbQ7ZwPhXanqCoN/2PsgrmP06HxoV5zR2InJRzPlZtBPPCtSn7Mti/o
T5AWhv6NxVA+3VvN5+4piOIguRvmIGmfvNwmfAA5qcKnoDZPHc/Qrr9ul5dEGa/NYnQ1VG9T47l5
KhsumyiLeiC3bNqO1Iz3YAkI+a7CAYUn79RWVNcNwSijR6Quz7LaCmNTAZXXa+k5nZ/GtkUSIu6q
qcnmdu7cX4mZi8Gfxr6Dtz8bencHpbMcGaJrLgVBu/MyfeqKBnUFmDRp+qaLioW5NaXMB2dJkwdb
S/HVkWsCpa+LTJWRbW42lGfa8bGPw/6xnOoIlohlm3wrImnLW7j6DLjpuaIcNvxCQaNx9+sjkwnZ
XgbHXhmMAs0ZnQeXj4rXX8hmjLtiSRvcIiM5BEjTVi05rYONnmnf0ptRTqzPutY0YUrX1sdnw0ol
0yQCTjqVvQYjM4l4YdJp0shNa+AdvrV1N6+pLGVJ0zZAvUo5MlxJQDLOsJCLv6H1GzVbO2wm66qx
1nlUzMOaUtnaq8HO7Os8iJWnjlurIFSu5ZyDdVz6K8sj9lc9TgFIqI34FA+JMaBCN1uRo+RfmmvT
W1RppmErUzLx5I2t3OVdIubl7GB3Uj0uZRKcA5AduhvIC923vqflbe2r6s9QUbyVUrArzPQsZnYz
JkVtXm0AhFdWUXjq5Jtu+ySltk2Gl36V6kUb9Mmnw1zQ56VQsspdQ4jMhZYNyG2tuTHJZl8KG+Cy
tvKgmPKxc6/a9eJ6jUHYyhcWz8M5aLvVnseBrvMJ0TNXKaw2/N9D2THyQCplqhQKlL65K1uPGppB
g9h80zXKZEMR6O6abUXnTjhzV/cAVfBNJ+fhb7qVGJ22bHIXTGWJfaZnN8rQ8b2rIvx1VCz6MWtQ
J3qp0I0v05Cs/HmZ+ljdgr/EoQUoG8fPLFrkJ9VT5e8iZ9EKVBk7q7P3Wx3cG914dw3ezHLXaeCS
U2nhypRNJQvn55A18Dhk/abP7bAuC8jPZN0+204uVzFqJPd1VDVdThkajHmEpMZ9sglNskWsBt2S
Rrl7LWbR/Rxm3cXnkvt4SRMlhzANTFcvL31SoRZSsq3FvyN0LKMCqCQ90ZkXKl/bboIiaEnq7dXw
amY5bITRWUf8sL1GqCgEQEwkVn3zyQirbBDxJpbXXTU/FFD3osAtx0Wf5jVkayZrWEGlygvlr2qt
wbZNOZt0ytDpfUdZxc5T2wzvyQqW4bwOcrjuFRS9t8O6rsPz3Ha2QM0JIl/xYs3a+AecRQV/cGOy
fl4TS+tzsKHx+qqRATwXMtUzYNEAqRE/y1g49I8nhBVoB6xVcqs9zPluOrjzKpU2Zc9s7ke4YD2M
U53UwEJR0txhRvUPlaxrtLXPbYnqK1A9p7Wv6PzSXShpT4w3hmVeWfpHFMN5Dum8toTF/MU35bO0
cV/pO1bKmOewwSRFDdeNkeZ1JMlpNOXPxgbjOxL2W45mFEz0Kkn6LIjhZYfrQRS/aNSsvghnph/J
ppc+pY2Pk6xICn5ja2bhwT8vD5Ej/rVuIikyM8AS0KqG3blpmro0mk17h4xNmY1oo8uo1eQmcl1y
t5htJPksBUiGEn+p+WZdZf+I0L/7rIytliaNCitMHhnM+1cIxFx0PbCNdOkSO1KdG62SJmtmPfG8
D734RotEILMejMuWYVVHQWpC39N3LCpf5Euigv6+1FsFC71mM2flijq6gsyqsSmmnrvTkYMjOtlo
c1MxAISzQPqoT2G9F1+bqtnGDFYUQ3UtVRI/gCLX+9TUgV6ueNXU0S2rJ2p9NizDOs7pQFbHnqyq
4iibOwCL8kTp8kX3VvS5daR+K8PB6ZQUMxsz1+gx7TxwYOkghJofgyaJfVa7RN2YTrft3RLHm74a
YxW41zCkm88gx0G5j5UIQUq51uwspQ3Mdd00MTI/PmpT+Pz81dKp684D543LE17SW7WYpr6S4Nf0
JzOTOtdCuoxFE8Ipp7j5MoFuPKWjwxmQrlR/03JI7mp0hKfwwn1uVA+Qbc2aEDs9WmhUXi1UunOI
iCNdsBiLlK0Uh/REZPO46KpNa6JmAhb4dD0q3CHimcYpM5Sl+EkmH5LiafH119UCG8wWzq6XepLI
wliBmjcbcY75qIG7Z7BAl/4yEt/y28JXvMymxTr/MG5DMWXClQAq2b4KxJnZHu2lJVr8Qp8iiCnn
G0q6uM/02DYqXcJtUWcrxdg/sqnyPhvHlpXXZlPwFF7qpIpvxxjxSNr3dvI/11DzJI02DbTfhCB8
zl0xS533fRmSrKaIHeC/vpDhi6yKwOU9lYXPTQlQJ15ocW/Ik9k622A+fY+gHj37jBfTX7OX8Kcx
UUHqbFaYTXci7pNHZGS34irgCK6utHF8fUuGQXPM5XAmWVeOa/vcVxP7arkNsUbWwCBCSYqgzyQs
aFvUxUNT587B4u2KBXAhOLMiiegNWJA6yZkkZflaoveJPLYJ3+IU4UB53XY0CDECbTg+yhCXjLya
5yLJrE7oFx8Hi0LurRaquw48KJtpVyNuzRJet+xRQ6FQZap26LuZFqeepnBEGbSKYOKQig1SvWue
VErf9ZWkb8jNT3GGfbO7ikMqn5plJWPeCFu7140O8yvem3xnsoApooHpQX1DNrBQUpjUyunHNq0y
PIHmjTzd0o7zmjdx7eJ3NBeL4Vrg66s4G2KalN99O4KMutWo0qbl0iVvXJqlgalzJcgpABS3ztZg
JN257OCum/th9OsdPKb8kEVlF/a59nCyyxD0k/u67JYJ0a/T3V0Ln6svcEqRJDXWw3uyt+MCY9HY
Ln8mYbfQCiKTee6u3YQN+trpsTMnNyh0x+FdpwR8+YZXEEfi6D151gf6Cfu4Wj4Zjx6ju22tcFcN
l1W1N8sC6X0+xGA25cVCN5nTMYyibKOij67rOZTYb6awgmX3OK7jNd0EroFzA/rxO74543cgibfD
37bDEXrFRbT1f6oQ7UUZE7RcnlderfSFTYGvTrAJKmTeNaQ9iyimX01Ix8eK4ezPQ9p7jttCO6L/
gaGpONdRX2x50hnvr61bGpbLqOmCm6SC2u4FgSjzGUCb9fBZtpu1Dwpub4i4pm5B6qMahzPBkx+7
YkOA2bYV05+bkLf+vumg4P0aaB6Zr1PYEvFEl3GW1yuV7G1inFnMM22fzDTw+noA34fnCKupynr4
/XenxSddmKH5gSR/MwZtoUlrus2Q/a0+uA9iUYy3kUXZI9t0ry1WjDVb2jc8gYI3huQuvsWsTzD+
MPAJnmpSFMEzuFAIB5oiwArCx24qodFOhe90ZitZZ5ROYH6WUjF6gn6FaHiLRi0w6dA3vphv1vhm
/pHAhLL4MaqCbn8lE2au+xmGWKjkwmrUA66oiRRF5nVIfLrGZmEn118QcXWdzHdeuaHJ9YLTK1VD
icttWY/1n1ErxNcFAK9LVt6WRAAXH2MFoEo0l2ff4sxccxbgvwUgAMrPy10Rzb1ZnykIl9WaJRNT
k82xF1QdPqqXsERpcGkyedg43F7Gag1hy4caZHKCza9TOavV6jJwEEKSQolTWuwKC1xCJly23yeF
pnMkodGa2MY5wkYCs3cRFxADp3LSa/SVhg2LEWkYGmRRpevyaaIzK//GNtt3+ZxgLp0r38fyRvLJ
grbAk2VIviXVELpXXyFD8NqZ2OrMcdGVuGWUHiBhzbD5xdhHixOntKwTCLxGtj3gs4r6bgP35FPY
ibq5ohOb+qfAMRrmE3aY5taYfv4EACqIrbbzVfRiazUhOkWugPztOYvoKSZoLbyGqGnasgEh9/TJ
rY5MKd/aVt+ubi6mq8pRhjLXFv6Esmcm6WzK5U+CJoJP0pce7SCBdQOcTT3rcm18ZO/iea7/7rq1
cDZ1IbzFEMIbhVlIgThU51mTuMFvKeH17+xja6W5xiL0XyuiC5myycvrUGzyZ0NiXFcF0THPVhRL
3ImpOtYPI76KbVLVe2Sp03VsjU63Zmb4En7jz6Bfo+lt3aIlJfi8+ezGaMpD3ofPIhnD7o6hXMcQ
++B4S0vd8QECTu1DWA87HHogXybsHPbwVD0lNmTqx0LLzp/gK+oi4A0rmmBtIcDOrB1QVxkDguaS
hWv+FCbA2z1zELNMxpCG7rINl2Sd19voqrttqbnD/qYrlkIsjSbxGvfP8YbBgP5h9b5sUlClZnnv
onXAHSowrHYpqLLiC9dO/sWWgIzfCHVueapidOKdkdSFqWxoeIFfYek4SGBQp1WZAIj+BY/o+f0k
AzliH6LUY8jhIgc/4bZv1DURcwtgupdGsAzeFfSdEmSe0gVWE58UjZGVAdKlwE1zEUbe4LxBO2EE
sdQNMutGAGymWIJ8DiwYMhL0Qw2pALY5GL1MC64BwpIo7wsDHZtvy764G2i3gURO4yLMcMWTr3PV
J3FKkll2mZWu/ipginYzmmIIszJs5efCS6ile5tUb33Ziy/Kx4pnlKj6T7R/bZ8kMBF4yRkHOm4+
UZJOFUuexVTUf8TEa5oHs+pu8EPWZ7ay4ISNVb2oshlDBEvL3Ga+kO6Kl8tIbtpmhYI6kpgamVUc
wJJmAgjpvCEMKM8w07YlzjkP+tRcYMu8DYbZVJ/Ki/D3D6sswpwQlZjoJ9pyy+pTC3k9SjT/x9mZ
LrmNY2n7VibqP3tIECTIL6Y6YiSllIsz7fSS5fIfhl1tc99X8Oq/BynWtK3uKM9kREXJUkokCBwc
nOV9z3E4pYjXBLgOaUSg7SEPh+JVrz37KhstyvikTEd71XVZHrylKK4975Ul0LoRp1Y1Hkife9Gh
GzHuWwTMcgilWUW38xaiSPt1SUqKThMd2XnpcpWH9YPwlP4wi3y8jovA1ndDXFfdH/1iRxwW5TDE
t5buS1iQdpC64bTLoNS8WWzXLfZh3pbtTirXst64rU7uBzcJ7H08NOpmDRYruumrhfrfdR7F6Ycy
pnvemyhIpcBGdaZlP6Zx/GgrQQemsB/LB6+fXBqQFFGt7xec6hu3nds7HQk57vGdqDLkRRykAy5Z
/qaSMvjilEWRHnKFZbKrvTR859Jd9JZUeEMZq3HqsDKndHkiRlNhQVsQXXFtsnq4szrlk5jtZv2b
Xc/zTWR1q7srwih7aKa6/FY4SrUVcQgHbRHpYi3vygmH727qgjDbjaszLnudL/j5XlVYFIfyWLNT
kBVTn+woo5NG75QXN8GdlVnpbdHkxbzvZL5YtyIax4bZVMNXmgjm8c4bh0TtnFXq9iQpMvX7GCzL
tMeOi16nYhavZBQ+jmMCeNRZwB8dUJvrfe+mjXhVkOT+CpFePQYUIPhdBzgXt1XiFNF15xS2d7Kl
r8cTbV66YTe0c/rWA2bzKIcoaXddpPTv0BbVR1HN1W0+uNWVXU1HnRBr8ao/ZpctsZN9P38kfyB3
oGOw1sjWozlr+yHGv3ztEv+md1YPROBqwnx6Spx1uWk5Ox/h0PTWTekvhEgLP5ofZSjW26lXXrrT
UVjcxs3pj2add4Om09ki7fmgTkNIaYm9byLBiZPF70QRJx+dAOFKg7QCuyS98UTvSGh5HfDFZj+U
OUuR0YboQceFePDjVX+OCPJ9KL2of62bcHCuw8p5Cm2903P3zYun92tROASWhzi+zbw1bwj5ecmd
1ybJDQtj7ZqecprgaOZSH4a+m8sd0+99iKx1mQ4+xnO3H60iBStEjO2bu1Jgjt3gEoOmk2P4NsRp
fp2GY/DacrOy59TRcb9zEFv2aa+Lx8yel+m4Nq7Mr5JUE3edbNn+ThcXW3Byuy7R+dJ6dEJruHFc
e6C1SzRXf0hv1V8DPTU2AUjttRwJZfCtohLaP6Q3ZfzUb6d8H6F3I+IehOaJRCbinYgJUEOxm8ff
W1GVYjdXLsUMiq4bokMdqqzbidiLFoxDvbwalyXN9h7x+fegYNyFSjxWFeOU9vMnQoRNdZz8NvjK
xhLXvr8+VJZbPoSZk9+7azflO79xx9etH8b3qGv1JS9pRv4T1MW/TzZ5l6UBqOs89I2XAotXk7iB
u6r3rhu+rA6Od1kcoLAJbYi8AjGCiFsT5lYhrJcRBi/LA8Rpk7ZTZpKHTnadTagjR8wva3UjL2nf
7STTuqdp8NWyGPlp6ByerqP1Ii6CvOR9O26tk4hj9Ipam05wnfr2eit6MqEvwj3K0Cz2dw3WQKtn
BLyBVM6z/9aOXokw+/iSHDmy+uOVtc4ItSQrqCvZ79bYf2P54kWSiOb68dIklyB8VMhKHEdfmrn8
3emCnwH7/r2Uy0vK91ipInITru3F0W99sO4z9bIWfDK8wAymfVp42UK2NrGqT15JHiuePr1osi8J
3y761aUyAAXNKjo5eLPvkgT9+rJrGxTWdyLiDm0S4hVCyi7F15UES9g6y8sS2JeEb1JHEGJaQ89U
1heaxA0HJy7ki0BoBHx/HDiezVK6HgRNqt9khwwH+okUWvsiRIK8bBThSk0AsTdCODrRK4dQReOu
L734xbZM0OJzmdeAMcf+wdfZXjT9i8rHYCFfzMqyEnj3IU/JYXkitEgH9eS3l0nKxb4MBnJllgNx
Kuq0+ybNE7mb13h8mUK5pH2TFvXDNUlg2VukcubWulFZ8rIKTCQcfpwVb7bt0LcbCne5xGbJXQBd
wK9+0bxc8r6neInUSvkuoHfh09SSkyJA98JrX+zOcqEyP5Fu4CWduC7UeFVUzsvOnkve9+SvbaQC
hk0s9zhX2acwrz+/bEYutmZH+UzfM4X1lDuu+9nN9XXa9+vhZVc3uLPvNFagARbEEeUdszHsaRje
HRyaUvzkxDTol3/FnchL2rdHHIeSvXBhinnEdozdiEaqnb0Au3Ab8sKEtbK8uS59Z9laaP3nH8v/
i7/Wb85X7//+X7z/o26IGdCb6eLt39/XJf/9l/nN/3znx1/8/fS1fvhcfu0vv/TDb7judt/D5+Hz
D29ouQtK9pFksH77tacL4vP1GaH55v/2j//x9fkq73Xz9ddf/qh5U/HJL9vHN//49RfhGAD7f35/
8e2vZvS//vLffYo0nS/zz+9//dwPv/5isdf/5oW2gDbFvgxd0wxk/mr+JPy/2TRmELYjJQA5U5S0
AtSd/PqLUn8LABAFNvWJqO5tG2Onr3HwzPXsv7lS2TQhVb4bOpj6v/w5sB/W5Z/r9B/VWL6pcXv6
X395Rkf+Uzik70qI0tJ3qOfo+qG6JB/Qerwp7WS1s10xFW2fnqrOCf32mNiOdqfbqW4j3tW5rZTa
D5JCM+mpGPqqja/IVNNt760aq3rtjnoit2FD0Z37MvsJbvTZ4Ph+lIESiukLfddXjgCy/OM+ib0F
GaRw0zc2upvpG6dYcOp3LsndQO15qmoOd7Xfy5h0TBxM1rvWSmfrXa1d2jK88l1haYLR9ZDhSOLg
ALL8EuV5xRMSiLP5VbdUCX+LBk1YDUBQ7edEzoZctccuKqe+PoboxK47AFQKcey0rxP+5gckj4qd
Nw1mIJ3y6FT5tIqZ7oyPmYl7uni1Q9MwM3oEPANmzyX9wbu6l+0XACAJv4uDwprCXeuNdvvFjQVZ
t6Omrhl/ypK54NnyLjN3HWFxc7sh7COeR4x0+PgQe2E/7YsxdVs6WI62+ftAKLHbJ14VsWrnqWjJ
3/GnMXLBkd3UVK5X490i8r5JHv0Q2OZ8tKBxQpcj4oZXelsRWmAlPa9a+9C7iSZH0k6AulFU6dn1
lE1BBOw1B2q1y0on7oZDCFyEvw3zaB50aal4np6G85BlkXQ8dpgR2XpX16tsh0Osw3pUp/Nnlihj
3rSLzHj6XI5m6NuHvkzNnPlTbhYnmmzRfsmfH1jhq1vvRknWX3PKWkYqotaGaH0CBiHze+mpgZ82
GfLL9diITIw8LxfwDZd3mWW7+X3dtmaGv9MD23b7fnsZ/f1PuUVUXeHYoSJa4pOVcy4R20WF3BVu
A/RmaAbt3VkU3bfKq3yZ7F6Qt5hy/bPua+YY/eGW7GYfPJsrXTaMuvTD8qAYaZ9SpK9JFuMf7Bqn
EdxyiOyFl7Utof8ddZbPDKAiPrg+eW2RMF9//eTPdJLvxoERi96iXw4bV/i+e4kN7pu5NRCO6soN
Fps7m4gLd0l6neT5dTMNmhcN7ApB8DPICsMh6geyoncGjTg4j6Z8BlMWL83Az90kHfmBH4Wa8Zd5
liBw8GCNpFl6Dfm5J1jNlpRLXPtEwGmYYP6WgESpb0L2i10cc78ribxVaEMZn6phNLclR+Xz8tfP
/wwN/+75A3Cegad8JXzJff1LisSYB/EaV/7w4NMbsy2P0xyUUuw5z7QvD2tNgPCpqocly3alqoGd
7AJF/zhyKzqurb0fzktXEYN2/J8VN76UEEe51EqiHbGN6ucfF8rUJnoxTktovyIibIRyk009ZVQ+
OhH7pbTioY6CFQmJh6ph9u1OifxnhNHLKYKCJN0gCELbk5IhXVqb3kAyi6CY9141pY72hVgHgmxJ
Ks05hAZWRmzquQrkY5oX1urunWEldB5TACUr76GcG+HJYglS8ye+0o/cMqXsIFS2I7yAf3qOe7mL
wAskZVUnlE/MWlaM8tWVRi5PpXCp0XHtWvSYm4/bbqrrakUoN4mLqUvJzP21OP1owyklQPTYUjhA
Djxf/cua1U4bzmrqkie/KCMe2gHwjHTXYVIwnNWPeyPkXtByZytLnZ8OwDPe1nfyrFysDdQZ9ZMo
XEMHxgtvrMybfEo9K/0wT73L5RF+ejJee1ovvPMdGDWEtM/vgs4youRRop+/VbSZ58Ud64hZalTg
MFYy7GR17uKViGC6VxMdUusbf66NfZEtBfv5Q5nqpvN+L4ahBtW8W10gIw3832dFsP1wBiaLlIwI
PNfuIt+ojAXQBzdMu37kZeXQ5yubQGfh5PFu0xymEBWzKWGM8Cw6Bd6THdHqRi2oIpz4phMsAcI2
UICMD2lAW/LNZprMKsjz47ZNY+YAo1rwMkVDnbv7yp0R/Z0zT4uqd4OK4qU4eI5nfr6kbs7qkVG1
jdycJYy6Veaa28i2cf61FF3uOGW2WYBCsj2BIP2LGI2RB5xFzOvT2JWtM98uhbsuH/PMUhx9pnpO
1Z/icDJKNScxWPanguQReqgUUSteJ8sigI77tBkC4vyTsWHT/iBgEkvUxuKljqZjC+/SErVLwMh5
payPKxRItGLYuE4d75u4LOz4ulO5ZBzAbjDM6lnHymSWqsAh5RTquHUoupt501vHij1JvVbMuHsr
af32gy2E+39UoQoOvW37WOfkvP3AvSwxYpdz5PVqSf6YY9GifArPMgLkDoFEmoeeypIJdgrFzsQe
czYbEPG6GJCjv560C1UeELbGBZAOusojFHDJ2O4AU/Z9kxZvErGs4yGfAqICuzK3pmTZqzVv/Ycu
Hrv8c21b2foUKxkRev/rMVyopsCARUk3ctL7ErVwSc4UijiYBmD2Woc27ZlPdVQsSXZYq2xs650E
TCqGkyTF7H20Fcnwn0SH/uX2ygO5FzIEMDQOexOx+t6F7imFAYg2fe1ZkwAy3fjFoLod+RCNTJOv
NybeCMPPv03SIfpZfa/nalvf6cVAqlCinV1lJIKTzIzvu/u3nUwqX87qdeBEwxheUQSxyb7ZQaH8
2wj9vHyQIeuU7VwY0eJ13a5z9BXIalZ/K8hh9st1TVMtNezCPuvM9OWglV7bk0MeYDe1QJBeR2Qh
x55CsG7FS5xkXfbN0CJRlWODQvkAdSdbv4VpFHgfyyjt+b0sk1zvyyE0xgRwa1deJ462uqvIJoeE
7e1R5ehtkFSdeB0upPmvvMGDngEyZcRsdi0n9j+KdLT1w0jF4vIBb+/ZedJpNH8YM888qwhqtlww
p8Cx9imN4zpaSXTQyvd1K+foSCsSs5M7u6sFqJGZ6bsWYTKyrSn3k/gfI6fjAivVncJ639T9tHzy
mnXQDn6KXWffxqjx8vtUgruUe84fxtQWUk5v56ifPHnkDGFdrWgN/dueMrA8ciKILvu7ZiiK7Fsu
00x88N1Ygt23jEGERdVw4yXkUI9/ckg/m/Pfy4JPnvRZudo+ho26rFZRZBPg3ykrT2lQlejQsfXw
y3arXrKxPlAHIm0+Ft1sXD4a7LrGU8Ofbb8QROjxpjY3MOtj48StmvZCak+FGpCSJ12NQUpLCgF3
p/1JgOiZhvzDuPFUjD0YGBMZg8dYQ9/JMFAlkBdLUN+Ovq90+Virsqz1YUwEuNcDq2+O8VSDz8YU
jMFmBft2LPz8j8JKiCoc7aWa3PI2yP3EF7tmDdrI2wdRG+RfoiwpMjCh2m6aeAdFI/FJY1pzwW0i
Gvjou1LCRSDuALAZMII3zX3n/IQG/awHv39AGThKuBx6KClhy0tjnB4kTrC6i34jgfTY970HjQKU
36CY+waJtGkLh7rMjqOTGSGJfeA90RFU6TLLvWhBFdRHETfFVO6gKiHGdhJ0xQcOelHfdW1QRqdo
onbwk9N1pbQP0qIOxVtZwWwhxGDl0KB2PthgjibbGDcH2cZmt9HwbkZbmSCCrXZhNS8wQlaLHX9r
C1mxx7yuyBH+VJIM7/a12b1fSMtQv21v92swfHAjUG33SldsuL/W7Ca2+eOs4bKiXimtGjr2v5zI
zTiP4zyDPurGlJFH41ohFZ3dJhQQ8PI8xY5woC78ZLUubO+ANhx4jbivxLj+TUgqDHGE3NCajkPh
aHz33K0JUOzLqRiRDGXZBXGCKmDxsMee4wmd45vYxv9uc9jPtc6+nwezk21p/BTUPA7LxREDsAU/
W2T1qaAg9PLNrQc5/5aUMbg7rFIQFfUOEpBL/j0fy1GmO9eFfgfQNU07Ob/qBL5/fhPQ6hEEVRSW
a9YcnHRcRv/ULEM7/YMmPFGSojVI1MyPU1etZfS6p76rp44VXACr+QzrLkqr/ZhYc9C8gn9fZcWB
Qn7Yy3tXr6KxX4nEC2frN5F7HaU9tRLw/PbTkBQFHdVAutEc15qmfpTXY4n283cOKVvoklZKWQX3
tCqniqCMEA3V6e242MGyvgVCFYpxH60UaB+vwA8Cfb2C6IAu3jtWSfnm23qcIR7t1QIJxb2WtV3r
5l4kVKR27txhSeYRn7Zgex0cOF/TFO/8c5wmtzVgn91ihzExpCj0Ct65bo/Gb6O85DNc+ZwIYzDT
3+MLZSkHYlW9BflDnYJ5TtR8aDkGi+ZVVtDaEaGoYyMwUTaZWJMNuYwPpQNvcTjg3Qy8226jWmn8
J11ZGffpGxCN0ETSfBjyY9vLcUmOXpUUSXUbKKdL0mMlQijDV6219FzaisMMJT7noaOsa9uJ5Fru
6yEqctNtw+v9LzYlXBd3/+cN8tBO/OuwD3uRPwXCZQoA+dF7dT25QyIa5xXsBgtQJMBCPTIWIWOj
6PXsJowaXhNWwg5SYE+cCzVbWsMxpbi9t16tlnJFcJwcnRMSmcrE42lLsM5oHh+SGOOcGjFY76ZA
x1G338JzXljMRADrc8RwGsK2So5OugIK3OdATHDI+6ReYTcuxFO4QTwwZY8MuofKVlmt4xRX5YzH
lu54rLa1jv7Q2Y26A8LuJMMBQk7SjieZda11rTQ1F2xwuQS9aeUNDrjey26l4zRLOBFHOZQ6SWj3
i4dBpboDkwJA5DDNVuSG5CyHFuRmr0w4tkCELCD5/uBTo53U6STfApbTw7SvYRvIfDdgwkDpFQIi
DLYP0KZpXy4lqnlf95bXZCfX7tG09ItOpQ3/wZuHydtjVoWWg/aVBB93QGldAOe1TCCrHPuutuz+
xObRWQEwFdkC4enCc9RH8EDtDJwwGtwRbleEL5UeDVWksq9nehq6E8iCZIixWurWprpnGkTS/5QM
be8C0elqKVrQipFP1ZpUrWn8pfDUap7DmVT5qfXTGYSrBy3QFoda+iaOd47pxrPigL7GYCsq6xoB
9YoHT2VRNNw3Y4y9sC91H9jWTrEH/E++zpX/aS3cvv0cA3fHL82AVHD33vi675gLDtDD+Ws071pN
GR34GyI7RAA/MwoT1Lhw4iBW5RbhbWo3frTCCelHf8I1nj1obl2kTSSAxrYBL2WQmMcK3L4ZwvvC
t1Pa6pQ0ekmHa3BTyVzeJFR3CTUbuqePPOCmubHzfUOqsAZeUxKeFjcKxHJU7HSvw6C57ptmXnGp
rUb5T4F2O6eMd2skIMLtR+yuRl0VfekG720xp+5wl1dZGSf35ykDcZpGX0a7wWDZI8llmV4pIqX+
B7hqSSENbjBq051PQUZWBy7UaL0bUvCSFjhHLEgLemIICvbKs3MwibvEWkWw7HScYTBMfRd3+QMq
J6q9/aihF4dHt2zgMu4ql+1n7e1oKWjgXDlwqrMDsdwupslN0ZkPnalwo+yVHFfC9KdCeAVT0Zbw
jfynyFZyojxhE+XjQLZFpPNwJfykmL/6wHGZLJiZdfIQljP9xfZ1mZtJ8n0gw9XRS0S6RPva6YcB
vu9qjc5yaiASUze0EAUB6lbDSXX366gaTgaIS6MLVqDXa6Juui6MGYgoC3ObPLRkhswQ+ozyO0Dg
RVFcB/Yad/N+Dvq+9PaT8HGLPql0bG2Xcln4TcVVIWusq8MKda/rYCaWSk/7pH7OreT16jfBgZLU
WeRxdFUY6SDEilp1+6a3+gDaQ1wOjX9fkmhjC1X0w+7FlyTTsLkB5eL3Trf4YjWkgFxHRgInQQcq
2GzzQrjhkBOEZT2xXYUZO5x8XuLzFqSggvmdppQUH9qQKvxP3tTy/6AoSTYcmiDV1rsG+ouRAqrQ
JdTyKfRcRwSLnEQmu5Wk0HBj4cExjjz24t7a+X0QCdgSjdfaDe21nbJ3wWFTo9zG7tM1lBedp1Mk
9/acmBGX8HYYB5Ebsycz0Os8KbDlkg+fmyOXVylYV/PzcnH4CsSRjv1fdoPvf9KEcZiSvMFU8fYh
VjTfGOph4Pt/SvMKyP0hkBFfjyEnd9ERYhpMoCPA9NSFoZaEaeaBD4EvBJ2bIJR099T6oe/4G91D
a6pPxPnA1R8yK6/agTFnzcrtOpQ2E0VtAvPigTfhrlvSKnB8E15a6RrPPo8F1NTobeg0HY9Vwn7g
yWl0ovt45zgthzthvLMKgUfABJCqUnzFItfAeG2bZaoOdlMGXDNx0pQJd5JmXd8t3TJP5WFeRMdn
IZFFbjd6ec1QnBp+bgc6u2YC3IajAPKI0/ZcX62i5sIpeRMmrKT9xEipkVWMefsewW+aaJ/LuFfi
ivxoDNfQ8qfA619huclWHvspI6V+7cV20RQPai4SynZBFEiD5SoCozWBY22x+Bfr2JWjMU+GOCMk
sO+6pHaytw2+2WrtJoIMgX3SBRTk5Jqug9HcvB2gmmDXlggaZ/rod0VFHl+2deEd3Nw2DoEnR5P7
7L2CZnEnasmYwOJi1cbWyRXp3elVbSNy021JFQH+BpHgOVV59j/j0MmwNqgG2fFyVpEddQbq/NQo
y5phH4olrNTDKoYaL03C0OYR/K5+TpqSAWIMDgwy0pHO2d5aYJ1wTMdJRVZtPJsjUw54Kr4i0dZi
c2zP4/ixGXpYVSZ5GBN+4FkbKXO+2bhxSR35Zi64VKli8qJzHnm+3kGProL+hkkkefQUT710lnvO
PK+mekLdusCEX3stElycCuUAqT1KogwgNohiGPNhbGrhnxJ3WTEmLfoC2utnzJsMmzeFFJWPtwQo
ba45T4mxneZcQw84rc1kspkxBTnGjNouK2S9uyKKdbO+21LmwI9pF//Fgv/Pz/sWttC7DqIhz5iO
Y2rsNz2Z9G16flTVTmYSm743yquvC1boDii5MYp1WpsksIXVSLjT7Y17c05se8mysgJbXjjscgie
V9QYKRndNEalmE8OZaJy56CnasJa3BLONg3EsJtjKx2aHnwpm0nd5UVg5j7DZpfdyUBcvBSHfPXJ
+W/Z1roNTN6uC8OYAYE/r7hf27bGbm4DMfComw1ppalJVZeq7fDTYM8ZYe+LKOfnqobsHb2H3m9U
QeutJlO/lmii9tiWixEOct8m3mFIZQwp1b5xk6Evt0m+E1XvNtGpsggRxFd5Q/kKdbIXbS7Wn0EJ
1Al51jLna55zxKUszMShro0jMJ1vAELQhFdysRoL2e1jygm+ssngMNrSIV883jVtYDAQOvPM0m/j
27wKfyLhkZ76BiAdQZoStV7sNn9gC+qIgnbB4W5bFCiGEXl0mMluAYWzUz2PblNkBOGika6R9rla
zEQEywzL7hRC0eeayVlKAhGazUXWlgzEfgMRcBQSNiqheLMm+OFs6pMsZ3zi03hGbFRJ7rdfBAVE
eKxtAsRoCG9XYCnMTJUJnCVmhWOdIWxfmYVlFGpJxXVeyKlE/niXJpWZdmSXTNtVR7xAS36HU/Il
xT7jOZasLxi5fc5KBQFBDQomkJ9DiYVAhxCS5pzY92GPzviAo26Udl9z/I+VfDAUZ2YlqfMKhQXB
1mTpa8oGGOelph0gWqzAQCtP2GBe8Qpjy2LjwdtcEbXgHBTzrc54kBtG4gzhkDnY3nAH29/4axks
Ece5prtwpnlkWxmVtvlWU1q0XXVVVUERece8m40imdSSMqBNAs7qEZVsfrbpZhknZufNWbkwRWTF
nQxrOW1771Mz6ty5gzBnRjU5wni59lk84zPuY3PFssRmEXZxNGmuUZ2336auu3QxmW58N+MQh4kw
z9FD+0Yw3bOcuatkJaiz8ezRTp1xHzcoRtF4Rj1UgD3QTPH4DG4hzdtb77atuKkkf6zMebp9uGJ4
IDy+baATeRu13HoDz2xxl7JzjFagIYIfR8Nu8mHzsOJzaPSbDqgC4TxQtUCif9Z4mfjbSC0Lhq7d
1RxUHNRGGcu0hFx4W66eUXodc8c3uzTCAHgvQCpw+9hNIsQnH6Bpk06rOFjL9y6sXwrKZJMygYFz
RG1b422+q3UamIeYiviokTlYmyL9x/aui/sF5b+tMUUAzJm5RZlqeBs8GFH6YPFft/XaCO+3+hxs
0jAmGNFcS6P84vzZ2LOTyPwcKR2Q4Pp82ypach62CKHrRO//zEXAxWcs1vkA7p3MqLumTsCHPCZp
bLYYrFajGOGDWYF49CSbyi9uaa0Saf1hHdtQTBDERsHsWiH2JHoosj3SSkJRO6OCoNiuTveZ+svm
SBFiNC+LVxoby68i883td7aiDI93t8FCFAPGq8SRMVANZ8rNI1VCQlvc42YX69MGvAB0Q9iHuv3P
N5d2iQW7B2WYT/a9ChaIr7uWkkl8uEmgZ3ko2NsF55gPt8XxY1tyFU3RgHjAaFynFdrgMpss+paS
baGD8ECEQ83DKgkMacGdOT+Db4ERGA5dVZvEMtQRM+pyzavVgUgLuYVcHAQjp7YOTTsQ97m2JBx4
765xA8FVY5UmJUU4KTWl4uEVeeqGWBJPNssQXhMciTg5ZPlEwalHePYGbBC5VAVTj3M7jHRtnLwx
pq0dShng6eMU9CaJPcjSZvJtOtRxj8KvLZ2+EXRNXOS7zCOMxKJJi5Lqbxo2D+oLcgDeVrJz4riq
szezx6HPQyYlUYX6xqppBJAdB+MUlffuearbhtJOKWmt582+TXVyTqKn06hNnD4pAlY2OJtVqxxN
dH2WlMcRnJWUUXoSZ2SQgx/HnxS8f+7Tq5m8T8cBg4x5FIFEZHorNlK1TfcUhQZvkTYVtunvylYG
WEN1l+wL/eECugiuZzRPbMJ12RE3scf2dZ0+1/ZeuXUXencZ9s36ZBeFGY3UfcvCJTZMoezojZU5
Q3KCI9ylpDwfX3HB/a1PbuRL3jhRGcIvheZuwCjYV0Xrvw2HcR3kgVoAz9uQniyIrreGs+OdhKIG
XLXfsAIGiclVdGMJDKNdTTayzt9QqKuvitNsjCyycNtOWM+3Gghqcit6vI0MjV1vZsXrKNKRX/85
wm4YGD1Q9Znp2PZaAk6RQzvB9uObvjmLiUCO88D9axQL6IY/cTbnS9ddCqeO+lVrnTH+8+FlBZaB
nnRpNfHi6MTs7TixqWz82zRpjFo2Bpmj7FhRaQJB3NakLiyzonMuobFfOaB3uSSurHEi1ECsuHqz
+chEANK8PrJt2jW60mVuFi7L02hgBeyY+lk3BdjKlOc7L1ndcDIAPyHPwsufAKKKBMdToFaAQx+i
GIQDEAetczbchqwYRWPENqOmFR9mMSxFIEYxd1jfjUS2GGZ1BtFg7TX8vKviuMuO+fmbzTqO/O4M
V/OTuGyrN+O41HwxBo7IlefcNVYZVj+cwL08IzEq8ihsuhJSHo81jT49r3dnOSejaha2jN1yfQIq
ahQk+tsARbb5Ks6/6iYK26Li8rLxBLzCAZP1EQBMwVIwWUEcDldnAGF2XvMVbm3a/hauY8GKjByC
TP62hJsSgdrhBcSzJg+AKF0aScpzrN0SKG2icIF1PVdtdy8FBnR2BBZSoiuIDxVMwbbCSd4awA+V
DIwCnDhUmU9K/rZYWljQNknUdw4J67qEvq07Y4HnYNTM4p6XYBPJMYId6TzkZwjVn2tGlqtD+09G
O2w6NlyXFi207fBNc2zIKyuvyQD/tgq8CBA9Z3DW9s7F4x0KavmMXhadFOjgzt+18Crt7iN2qBnY
/1zsWSg6+NhsmQ0ztOm5DWCF12BES8KK5Kk3rcRJ/gzTyfrK7JUzIjCiSJQRjvNY8i43KrxN+jym
6t6m1fJ5Qaf/fj7e4pFCzNkx8NOIu6ucIDoqsSL+SNWfH94R6Z850MbJNkoaoNTMN1PaTrDa22ma
bMC0Z12Hzy3MaM8atSKLgVyLkqweR56GzT3dblvGZEMT9XpuqA24vonszhzXiSc6FnM6345KsWZ3
gJkyp6nIlLFVhmA1M7CdAl6RtSzDtm5ECzujO5BvvrkZN85mLJyvEjXElBjS+VDYdIB/nupsIEsd
vqKIkiqaoz97JRcbh87o0e2AX411g5rwQ2H2NHWOGAsQRwNwdZrEqMGz0t8AWCMqP5bH3PPB4l4N
gDvMvJ8Pq6zpqMCzbxXlbqj65kw6Tk8+dlY8fugmyKzzLj3jR53zBBLMm/nBhuAEO270XkRubH1a
4c2u5cHJw1wHe2t+VhMbRE+lscsX56I2uZINu7Ytc3bG5tpDNdX2OwEbf8iux6ZqmFRafZmn2+Ri
u6Z1hoRhRAYtWwkjnqWhyYEx29UZ0EbBhmh88khSJs3NVAlwIXcq7ag29m5TxMKm1OLTcp62gMAL
T+V59OMG9pEAFnFPQGuoRbyDVmmS8ZZuzZpXtpfzLj+v5HaQbvKwHTfbOUOdf6PHSms2qMq6VOaY
yVXmCPshGcMgbW6sqlSEjHWT2c4jSD+j6DelGWtqenFEz42R3k2pERQ2xjtgW7PzNrjx5rYkTmcO
nQ0rWKXanNhnOdj062aLt3OnuPKYCoMYpGlYhPmxic+cxAFX1md0I/MQE2nd8Mw6Lv3+SJAWRsWH
P83DbuwlP99sYnU+8bZZoSqZAVvPdvf/GTuz5biNZWs/ESIwD7fdzaFJUTIla/INwpIlzPNUwNP/
XzbK5zdbJ6izfaEtit0ACjVkrlxrpcMphdI/dbqH2EgH1wQ/TCter0nr4gWDDhsz0P5Rh6x+qGSo
5n2m6WRBR1VjjdOc9whRUR4vy6QYdpympqrHk6bMqv1MxdPIK570xlCGi9fGNyB9/fzFaBvBO3TE
ZWpi9r6MHLPF6uOGsD+OLWoi1cK702GePlLSJYsS+DauDXJ7sLsFDtTXDHNfCguHpp+q2PhcehOm
px96aFmW256A7mqcVSRQnDY80I24WcEGD2PVGjQXQT3gd96anGo2W9tQh74qtzDMj6WVIygyDptX
kpHjdgjyD2v+gEnKkOefiqqZTUxAOFnh7ndv48EtcdID9yerKWO8PoMcuv7BbjGg9UFlumA0VsUk
dOwt/F5N4xjmw8GtNruPvkP5atdlwIikau2K8ldq1j7dgXFNHHOnvAECCh0eHBmfM01/91nqj9Pf
cdGEdOY6bsOWugF9TLLJmW+7KLXS+ANMTvJz6q4WNYvubl7w/RseAE2QFZzwNYxd94dhqTLO8KoJ
lzx8gy+3CZ/OH6pm7O8BVhrrh8+pjPCdRn0ejh41aV5c3KUN8MF26J12qTEpiOJ+bE/1FM/uX4NS
UZVi/ZGvMAiCDKchUeS33vAPOBaNCiGjL0ZOZYLKX3GOzLrPph+z3WGv8qYf0YSst8YELcY6G34d
Ge19OMNuxBxhjXunOFGINOvwiRY8o/tXkzllNf1ZtlPnY/BY2I3/tkwLq5nODiil3wCx4zu1fLYh
C9h/KsE0qRUYbkr8NvEe+0+FA7h9m/YJAkZsdKjH364XJYXh9ovybybb9fs/cGQcq2c1AnjO78K1
94LkRCIKx29cobhblO5xZBsPqkjCxnlOhw52yrg5Vf4TU8vIfNb1CQPHJAMDXn9xZ6YI/rDlWywe
LOoseZF7TPf4wvDApUHKJgMVTE4GugHEVFuGBOODludfqOgA5Ab/lH6QztYpdXkBMXPGyiGs1KOd
soIJyBJ4K/VQXLQXF+JKvwi9PmzGYEoObRnnwZsxt5jYuOWye6CJCoWU5DcVYaLT+nRpJUyEHoqh
mydH2xJlfIFyxplfS0ermN+1TjXXweey24LawHYlzeFQqdju+vYmzc1ecSwUk23+acT20FnY9mBc
0x9CK0ywCm6wBPs6NtuGnZE1pZImRZPX+m83NXTF3ztlKrdH4XFy6UyeKG8CasvLCGFu/13SJcoW
9/iS4EgSyNnV3UFtJqkB9bOo9C7dhtkNlBqb1B5wRB7FVt0y+eckQXcRf/TmNc3Lu7oew7E8xwEk
DxBAwg1gDVxBSvVcbXP7Nd1zzrVfrQrXE1twrHYNGGLcDh1wIPjejnymqovex5WNgLnDnIUohR/6
fsJcK4aoHb7iTSdFmTntKj6sclDqrz1H//g1TJOgzm9h0fHXU07bpvnt2lQOJhtN5VfNO7NcgYHM
sFUt1pAhCT/WRbaBnRctgCI/fDJd7IueLIcqZoaxEFVVgidpzPEVoEtuZCxQOHqkjZg9ISTb4w/T
ohfPp7QNu0wd0zk2/bueZwIm2+Y+Yc9Iu1XB7I3TVI7kqHQKO6B9X6qq5dRvzMpOjPG91nyqdqWR
KlapvQxMsUYC8wbOgpnXYWHf2m02do9Oldb1YYHoEP/joUUz7QMeToFz24A2jd/KLi+be1UjY3ku
KXIMX+FSCeaOs9HATZbeCqHzQHQTp+uJdL2FYtYEk0DU+mSZjRm9B7ZGUHjoeYkCq3knjLsKC9tB
UqK8qktewET5u3jSyjp7jS8YZlJbznsYrHXx97B4JGAnypcyy+NOweRbYA7AuezjrcYwGSuoNTlA
jQDrPLUDRVPrMG+hLJScPttVf08VrmB9Mrxp/BcNadaVkmxjYZR9ijDDZGYW+KD1twuaMUzkwPCL
Ib2JmljIb6lBzGQf223mbuoVYhPx7eoDj9ADggaT643JLl/8DQrIi0ApgVEy4aByM+NngFyC67ul
SdRxR7kGhtmx36S0eZsAQmS82zVxhs+GX0qoy9qC5Za1djlBIFVdmFmHoQ8qbiOMa+ys7+K8yv9n
KU6GkuvDH0pwibFnYIfhOI5BaoxHs6pI826hVqymdWtGrfwtRhBmZ4dqbhu1HDvbX9X7zVtlcBIb
YAGn25IL/JxNNIeUpCILXtWhoERWx4cEnEXGw4aiwnloV9SP7/cXogeYlrKq+95hvVCZhzAyGvYR
vx757WlApYRiL5Xy+GHyB2/C0ouKCucy5B3ZFtqyki3QqvBZQ061NLyX/TuiMmJfGhoTNjO2fUmF
denkqChcKUDGaf4HYQ4p16mwY7ZqZHkyR6I+cseVHRp3xp8RTAdishBILf8ZcDhwBddq4/J9kBPs
/+wyyuTLfTFsfZPjGQrOZX5LCJnTAfiHuCI+TbNvB+vjSl0/+Y7lOk61+FzzHMYJd0cIGze5F1ch
8s2Mnobj+8HIIWp/mMs6XWe0DjbOt8TP2I7OdzlxQvNZgiX/C6epaef3cRgmfnBGFSMARI/Oj+Mn
DkxJXNVmCzxDqDVDsUk3GEjuCYmMQ5l/dFWmnncYJx/TnM1lbJWE+HEII/9dDh2PsNdVpdRkXRCW
7H02R8qeD4FZtRN9hXWEG5vyhmoPsgs0w6XEvPFgRPDK01NH7moEGG4vje2cbExRx3NJiaBjjIIw
fbfBy1IPrj3K4dWEODHi05sGnM5sKRk+pV5O2Z2dCxMzdjUdrLdmLVurXeOi8ceC0S7XbWbI1fYh
86g33REcXerXbiNZyr8Jj+3ES0oPgkzSn2nHjDmtJYdYqPuukm2F+fIX5aA67U9wkUWZ2y+F2sYT
xk+gR/cLGlEp/LgrYR6F4Vgefehx1Ho24dBsn/oyQN9xgAFaqGd/ySV907t1YvgWx82uEJumVp7I
sWvZ6gOnbnzvhLMeRci7sYkolyAbkPwmwKeXd9hOU5k5zw3TJ3xag464wt3jpbwqZ752XaaBr2hW
m3qsU/FZqm+ty79MmKOnpwlJMaUBx/Q89S2e1hx3umQu2WWPvARp7wTGJOAh9GrgBKyVYDY+44Ql
Q+h6GN4JN22hqFeEk0BYI+gRP7P9sd2wkw/U3H60LHhX6UHDkGlWwjE+9k1lVffU+4XkCDDL12qV
KeCUTJbUpK/Ys4W0rv+0L9/SszH64vC8JIEcyRuvmF7cPAeib4n7tIJlyCMpxOWYqzKzenTin0xz
WRgIdRmjbs5sPtoaEzOvGOgBVt0ohwTrW5nGAqnp6hUGnjRxPBNHy+vFD4fewqf9JQpJh19sAyLe
b0Nvr3x529nyKnu45SFeBbCafDbwOSLuvTNhWE3ncaNL63gqskW253IBV1pvcV2Uu9mFwVg4ypHl
7Qot8vxmO3P0TPEbv/ABulsojjQ7WpJmXFEjDFjz3tqjHdff1mhKcQ7eJ9IeobT7c+ZV6GLc50cS
SO9va4xcVbgniI8z7cNUjd3XewpWM0+hQUjSY9AIlS/ys2zXBlZ9kavnEHlSEOBAl6xOc+x2lHcH
L3BsjNca20HqDA9dkssa9OPEEayOHYZtWW8gWNal07naf/ZvdR3dd1c8RhpAcqnzisgZ3v5Xx+nr
zD7gU8o9tcS526dqMu3iCc4qr+BIiZrD/7ZNFwbZ83FFQmOI2KN4Gg17Yb1yKMmSXijs8ThQjXlr
eoxpoibTDSeiSj3rPQ/HZeajzcbG+9EgTzcWsh95LnPK9wdXHq2Cz3ruTB5R5qto7zNU+dO5VFDE
2fY8S6DbCFJS3n2GaSy7MA45AqwNY0/V8S7LWr61UC4XpxsDYaUPKUw96/y7x+0qAFLJgM8+LZNF
/fx92fotn9TLaX+fOe6s7KyGZ0B2vdmCzkx+xEHqJjEEZ3OCSNqh0qBOUHg43s3nJlbBFB01DgUz
qFzyg4FWDe+7g2Emax/dj1OxEocRqdID7jZOyjR/XycpZusn2FL0fnwTWQaZUxKysUDzyH2bbhyK
Ik6dwVNw1ZzXdw6o7hods8oL5u7IgdjjAD+uoB8OkxwKFhEDymGne/LDVoD+GLt2rupkoy06AzWJ
uGgNzRwJEUTthR/22O3b7wDyPW89QHzvjU9RHUEt46jtMtx7t6K3x68wTlT7PDuo7rzD1LNzjqjy
1sqhMwVej7XkY03h+nQMhaFk3Bbh2nbJ2eO4HfJDIHyEhykLN84df1o4vo/jpda01jmynaSlzcb7
sgYedE/eYNOW9TFL2O7Dh63wWzbV2EqDTf0RB9QjrbdYx6JF6Df0lB/zrgosuuhgTzVup53zsbUF
Gf2tFdY+arA8Q4+Ti5N1FlVvSVaQEc8IGN0yHo41XmAj7Cw7FrcEitRT4mBlusz9Y4TFZgy7r1sX
bCUTcP8mQnZoEX/fmIOPP+xpwVd4zm4WFUv4Va8FtrDvKdvO6Iqg9QVIPdZMUc11C+RhwngcVOTw
Xud2xGA9qoRPBGy8DctdcNmTQCu6BGvnXrmtSRFjtGkHbpACDW+XuqyFsjb7inVXrNZEXRlfdllx
RZaaEvznlJs4GwMKTMGdGknJ6IQSpgs0X5RvrkenK1x2px84+GPNeojzZfPouILN/rjdVkkTGWdH
kcx4Bw21AffKJs5ZRTPBA+pDN/6CKpStg94tAgQuFJ/IyjUktw2+8LlaC9ry9NhBTSbfzOghlfX4
0dpydFEglHTLtk0/cpF4Q10o7grfH2EnmI2SqtCYLkYZnpDDwFh9UwI/hzMkyMJmB+liY5mnd1ik
98p7MMyaNPctSRtxVTKws8X3MxSQvj10hUpgJVY4Mea8PqsJKELQgAIJ4bHKIOBu594bxz49LuYi
54RTFfQcgcQquaofN35/LIKFxkg3RAYKgYfVB/H4rMW5anWTfLtxc8gVT/USyB5Vxy1BAYiSZd+l
EHKwXO1hwHTfAhv29yPcv2J61xN3MkTwoNvmXWGglHzGwQQ5EofiAlWJjbXJSdaNlI4QwwF1qVQz
1UYfp5sqS9BbnMwlb00qSkDxyfsBjv26Hmdvcway6kuECeGHLw+wzMTCEU5MtbyNoNdwi4sKrAnc
LgjCRyTjH1RBq7+/VEJ96ZOFeIErjpiGTlhcd0vSUZgakTkD+8ZZD/EX8g944IF6TRN+BH4WOGE/
rtadHLioraMBxZCSVRYnqgWUbocAYy9C5qzhEIFcNbKgo36DKEsOOtXk/UYjESPJw4XOmBsSENMA
iryeF3TJvmAHTedA+IfqWDcDYxGEkWcEN6TDEnROnscpg67Gmn5U62izmOORFZie5rmzyZTopCHJ
y4anKtPVHhOu69s9a0HDrpEiA4ImRGOf6pHOUrhWHvcp4VgJoQK2/FUAuT1ywKS/xcITfOo111K8
Ux6zbiSRXg3LXfpTMHU7ZOxx3MLxNSz+WPIACCw1KhSh2wUpM1Tqq+BUW0mEesTOygGdMwSOzP+S
bfVaQmVFDdB9Kl3LGrub0YVziB325XhskeV23yBqRMQCJpXr+b1tZeEQnqqihD8MgfDCahmTKFo+
ljA/2ZXUwmSxEL3Ivjty5MgukNK/5huAhhwWKp65xzVRqHThCzSg+5hREM7ttx0g6yPZHxXOUmhb
Map9Chcf1Ak3CTnhjHCQUGNMiYaLU1UP8fxHW1hbmsC0sMvqI2zDyPvChqbkDi/fDL1PElE0g5bX
HpYRke2HXWFHd0G/reggMddmyvD4oG7jBG4anvYnqJN2YW9XFUyR4oZcT8nMqFsu0ZUj70IaGiXr
hwnLPkSHNP8qmvxQd2G5PG7tgAp0QhfhfcEAFaoc7WNEMWtBa85/6hgkJLV7TxOYi3y3Q1P9cYPV
yJOCM3L87MSr1a4LnmCk/RjqVENNDLEbDehS9Sd7mloQYeVmjgsXx1xTvGmMzKJzjWW2rjNAChun
tEOZ23DGHW0gwMG+C+3Nd7KDSeGhe7+u+HRPtzPFKabAmAwF+BG777pA86RxlvrYQUjxH1TVBxx+
fmyJYHbbRcShv600xQrQdprdUdmo2hWtIxJskO5yj1ai7XGg8kyPr9KeQNJuAAVoR3lWVgD3HkkK
G3HxG3uUK2McRHSuiQWJ6ThI/FzzWlJHSE+oRt/d+7juI4ttuFbGDO3KdFoJ6JE0se+8rma89IX+
r4wvsrFjYcu1PCcUpfqV2ZoJ8KdI69c3+RyxGZW2nZtIuXzcLGg5kjY2S0QHTwkUETu+LWtij/7P
kuSQqeE4DnNdrZPsyaVlMB8hEWFaTzsd+CZ0eBvp2PQe3wKP/uD4bS8ri8VsJ5f9yKPVCwRE26vR
KqJwsGSR/mvycglmKFQmFoSuiHLAn1Y+U986ohmXFZUMM1d+fTh8sXl5MRwRFmJ4QPgux62Dxwn/
/h/Rr43CF35JhgCXMIuVno+F8BrXyhPY3XBHIXrFe8UzdS6+Rdq3wt0TA2scpMZp78wkIlGhhCBC
QP50l+G2Q6FaF/5I4L0gow/WNjqUd/NSPFS63UODQ1gCoWGvA2p7Ex2AFChxgMu3sSUpZpvDCRvM
ZE/qizrFp/QuzzwpimlGGdOfws8P0LG2CR7MILVWdtE8wVLziYLhOrpvcCAkjd32OtuOKujaqEN9
iXFQDX068lvc4euQ3Bykzk4BiJE65U8ZBuN2fJxB1B2ijAD/+fSgy7X/UmpcT1g+eqjCvUY6oElm
cII+ES+mjpaHHHnxTvCqOnC/7YNDsUyGf9+3DSQClCnDHQJ5/c1fOyZE8D8cy8IzwXIttHhXL94N
N5r8MKMfm/0NRA5EDkyRdscfv6pdcnV75wc6VknQrX4jlL8SFnN95OaRHdkIP0wosVcORLNCI4H7
+vxYp7VVIJtyosQL3mr6oR4lb6DXVPD8+rNfGjD/Z9ajY7bwa0TfI8ZHXuheaXlpB4mAhkjzbJiW
KSScyOwu889cpdYMermkzVPaxk6G6NOtuqJ6gmAoFjAaTSJjFdgpmTpnoqWdwvyu/rRsoVGthPOF
TwE6IF9nhge9mmCY/OYJsAX877qN8Lgw0YIEWO6bgBTXYn14xiDlc2Q8FFmtSIikDzcTzvHoaJmf
MrPjoQ9w/twGNl8WxcMpZbY1xbG22zxLILMVqDbvUUXiNXlEXpQSBr9+j1czjFv0zcC3TN/yeMXs
8S+3FkvRBqNEAfbYNjMQ6Sm06YVUwfmIN/pzBJ5jcN9hEhazuxw02eb1O7hqBRvILbCxmZCcXFJj
176y5aAzVZmNk4ofClRAyrohCx0wKV96LPKXc1jNAAo3DLTsWZBr3Wa8z5euiuJ7wCryiXJfxjoE
7dQiOgm90ut9q/vNHV/txyiF3ZD3SkEo5LJ4xr0ctJmWrhlV041mqZfTT9MVK/viODWAIYNAa2Zv
vv+K8ifZJXBdICezAIXhxWlmzOs3d+Uzw735VmD6pgW+7WHUdXVvUVx3dKl0i0fNr2oxYJOtfydd
arIHp4mQ/EztqeRDovitq9qVSZDciEfNLHIDT5yMrl+rH+SdAaO/fyyjyGMSaaojdSTF6gXclnxF
3w/VYYEW7a2SAw0lNq8V7ZnPx9JSCaBEiUcYf9rGaSkqARheHznvl+WKk5gtLpv8R6B+bRzdsx+1
HryUB6QoNEC40wQZw7DltNUH3eA7Ne+uKtsWlzpzaH3qXarPJALXhlko8QSrLx1KmRQxHXYf84hU
f2JF6a1b2wr2fSf1yGTJhFc5bpvQu5KlocPl47L7ENY7YAghAwTQDgG3OYH1vkaYKxfYz2PPnS/q
kw2ApjvR/hQA8KhJZcN+HbdoA/jGDg2e+BaDAjdXLRMlyLsGK+sGppV/z3yYFX0Zdor9MFxckpbI
FfYvD3ShVu13q620wm66hIMxpbTlaQRcypuT/ri383K0rSBwHATF30SM18eU7RAu4n8B14SjijPz
5YqEkeXa2IhbD+NcJTiJ85tpYh11XcLe+epZpwwog6/PmuB6wdlsiY5FlBrgOcEWenVGe0XY1cXg
OR8atkwiwL4pyS4oGpGZGcPQ48kR4Jm33kCVGIpzCiOAtKPCcJIOQ2bUQ2O+iQDW4lswPlH9o5qg
xgbfkHoluUpHYgPtdYqcMwjULLmmUTZZetZqKgQdKf+29bRUsw55Rl8rEntFgl8dCS1CRx1xBZiq
7A+IImCXXQJf/0HDi8ZCv58vWU269bMeUuqrhxCZOxmJ1lC1DbQS2rLNllApSzqJ5D9pztnyG+qS
zTQQ0viXucOfmw/bWcU/TVl2yRuByZhoqwfCZ954QejRZyuooKNb93BdV1rOtHW/ppAIvE3hoIK1
hgTp05ziddTCl0NLSIWYb0yocS/dse+rufq+56M7l7duUCoAspD089wt26z3BR8OqdLsoKmJiHb5
iHhWHrHtK9KDKMeANjzZoemTgvHseCqhRDXyFR2IEkOKxVrFYK0tR7LsPG8Vd6W1TnXYSmqekcLm
P9FEefN7b7NyEo3XJ9a1AxxBl4vVlR/C+KRHyS8OcG6ammnWLv1HOuQKIhxMWAJhkLUbOg01VQqM
QRAokEujx+G5W6zDbHzYhtk007vEs6TsTXqAvdLr93YdNUgq6AR2dMlJAmb+y+XWZYMKIT1t7ykD
1NmIYJjy+xcEcqTSVGAcubHQFbpBh+qAm3j98vb12SInG9MlCLFs4YS59sVs643qDS5CHyE0i+UO
TNUW405YP2Gdn0JsVRwSPiDaAwCXO7zB+aYoHBqpVVlWvPPHJlMfm6ybyNDNqgGCPPQhVinTLYJQ
HsEGB3fvd/sqhV7c+wJhVIyzFiuDatQqkCZafdc9/pvH3SuIRqEC5SMkXXn41x/XCq9PJtd18Ggl
jID5bTq/hEi0t41TqpfNc5BUYAeoQXBpOZk4lNC/ze+aOv9pVebINjDnPgsaE2TByVU0sYK6truY
iW0y9ePQVv3HMl+9PAWtlGdTlcEcHmeMCt7Fc0SdoW3w6q1hMjiGco+9j1iV5qt5XNPJMUjitb/p
g+liFzYLkkp9Txy6zNQQyGNq+p4/aPI5T59nyhOIzsoeFAc7hvKC4OZJK3k5fLJRfQ/WdVz+DJAx
8h5rXNCsgpapZRK+i1JvjL7XGRAyXgzTYrXUSC5mTRsmZKzVJZ4u+1kIuuUi4uaWZ0zE1j+Lup/c
f/czXtVQdId4UgsGPOgPG+vvAFJuRTvJYJWSIuXbzMKjqc0VN94rJweHDfreQQQ4w5Hj0Wy7ziBf
1AvY2Cl3EHL8FNeMejny5srme889cP9uAl6NrrE1BYdyWRWyEjK4jA9TDn1hRjiKFAfW41JtSUd/
QuoTP4qqXgzqDDhPYry3FPk2HKnSuLQlB8EQHK/0ahQeB2rshn3eD5iMIn3NJIzpnvkudtFvfgyU
O7AK/CHNrK9Zu+YD9RP6SHr3DsC4/6CPDw3GoZWWEUMZfzGo2vWgO56H2sOgLxcM1YwOvj6KCuBO
w4/rZbuN0mp06MHJkefeR/YKD+o0hlleP6AfkF07iKSM47uJDAFEHQyHT0nfpN7PGuCta+8dCFBZ
ezI6PJP+cpNAPOa8YNnsmdy9srgGfcoRLR8TI/W8pxKKFYdIVE1zHD56WUdz7BNs3rr9BK9JNuY+
kRlQVcGo3ioSae/z2mQxZnXoO9gbZ6dfguqQ0xILH4fGrYq6uSXEIyA7LDQbgseTTNviPWlo1Wsr
Gt/eZx6q3uicpAnS7hssCdwe4w7KMtZn8NvA+LwlzsIbTbAf8D5BDQ1Tus/lFWvJ32cplv2wRbG/
zBzrzVBmWTR/jSxkUtlh6VBje0fcSFtz/GNdRYB9ID0zk/eojIDkaGBKqkTTaqP2MATMEmzhEAIb
y8gUbTKTcEGjstwlrzEFYeQPlPKROd0yNdwqPIWUZub3KTdW5BSpKr9/Wyoylm9EaYJ9wk3cCCQo
igCytVZMdbmczHZpHoEUmFCJO2z8ZUCF6gQ3a1w3mGS6a8pv642OtnQ02aao2go0THtGnr7rcS2m
O1UaJmP4GzBSgqn/jwmIsy7uXpBOQxN6RvgLGOnhKA/TvPNuIW6BBDc2DdexwUETO013STGDtIdB
Kz7v7G0i2gQ6kOC9pe4BK/J3+/L13QQBGUNkh2IhiOXu1TG4xXEcYuThozupmvjnSnM92tluu/ZU
y/7byIV4TCR2uY+qxv5RyPaW1OvxesgWBVtuwOLnsBukaYGEVkPv6nH6ZAgvkKKxfMoyA1iAv0l+
fhnYyKGUavkCt/4vOABFIzNNszC9L+jGjdx3F1AjXq4I7iw76+vvE2L5cT7scvUA/Q05o9YYvz6u
4ctonpjHwlUWC20bZJVU+xfI2Z9sfEnC+C5cfWGjYPklfApNwWI3F12cK8bkzVkrBlNqTdxPAl42
GqcAuNOsab95Aep0CqkTuHVXbgRtH9KTrlYmbdzPEQylKr7JoRbwnTqRx+KZ9fyk3bY1QGrUjgh6
+gRMNbsLA3PJjE/xSE9Z/6ihTZ1da1QgxkyI39TiBHROZGGoS2lS7j/gEiIIJG4okoADjlwkFbu7
d1JccMWGWJj+kIM7ZlQGNAyiM9Nhz8S05KPpV5kXNc5vLNPBQgvefSXVla+msBWa5HM2Te3aY27l
gUXzvHEISvOZvrzy0FofhSRFXrkLIy0rbhtzNov0hJ8v1iuHCLsQBgR1g3jnJN7U0VjQDq26SO80
purttsnarz3Y3eKbxk8n76l1s8JAFOYUTZRh8nHBpOFrSzoI/VlSf/1x/WVRMkspWo25XLaHgkOI
te4m0VDcRWr5EtGNPWqu1RPpsTz0sA4iMjIWAHRkcqRnZeb+eH2uXpqZ/XdHAqLDVJiagE+vj4j/
9zIUHjeomHEUJOfQH1gRH6Gqie7Lq9qISUozawkL85GeClRnd0WQ1t/omdt6gTArFd0hESpWuzzU
APPgAwUULf4NKXckj3WhB2qQZGB7ZVoZda2G6dxMM01Yb+IqE4mOjVaGabUyGIP1VoMM/zIFnNjF
5gxXOwceSIW6TzmPee3aZfn8ryBtl+/oLiNrxX/GnaLZd4rrDWt3NWCTuPSVoBFqjeWcfZMUmZR/
o9Ao4KIERsR7hM0+FHA9CtwxEiQqeHDV7m08JlZc35Z56w7jZwJtbIhOgTso17xDCu+j3MQLmfao
REqJcIeasC2xLkyDhob27zlM6ZX+rrSQl/+zxNgZJ7dVakZNQr+BGCrbJwSxpmncLhZV3Phj3JtZ
5h68MaXf+MGfK1Qd70ru1kkenGCOJ7Hpaspuvckyzxr7GzDlaBrua8xt2vldFtPPmTrDjvTTXFfq
33p2YTlf++mNQ9vgqr8ZUyz0UPXvaJ+eozMVKF6HrpFp7MpfW6ke5Lg3Lst3NXcXtfs0tPKGGyAE
+ux6UdT+rbdYtaNJzZpXZvUUDygksFhKL877YaTgwx+1A7m3r7bXJ7jM3xfzOwBZcX3L5pwzgTqv
5jd5NcYnpl2ftciKxYtM4Y+FBultBsORmACw6vVrXjCTFxeVLjJQxRzfJDwk0Xu5qCZFc5NiWs1/
BYx6Qy4nkDGLFuG78C8ubKD8G608tbd2jeAtbRCYsodxX/saFEt3Mp/+TbrLDoyaBr6coowr75+I
SmCz3Ooded0rS9gYi/pf78+19A+ZTp2rTNt9rrsooeJA7T2miqbFzV3oifpQk0+ylpbixX2xl+ui
1GH/+jjHrc9C9+gHKgOIBHsoouqoNY3hLv4L97IEVj6O7A3uKJ98fZBf5vAh23ngIwCCvYvlrqDY
L8eYRkKmFXYryNE+BVcYlVxLi48120LLlvXu/PoNXIccYWQxqDakEmgsYGhXwFm64FOIjjs6x64l
ZRFd3NIF/b3Th4YV9QJs92qc7j3w+t1c8OgXcw7AhYYGjCiogvtLD7uNUsLsukvyUExx3PX3WBwm
9EG13Mki59u9tmkQADCAKwBGv0fsGCVfHC4l4QULPH4GN538ecevYNok+ScHwwj779zqIZw8WZUn
uXG8qJJwuYqqC7M/AKrr78fIExU3G5eccpw4XvFj7rBkKDDttMRfOMgKgMEctwVi9ygfJc96fRB+
ibxCqm2MA+aIlIO8X6oHPjmhU1NrPJdYiLPzabJy2Ji5Wr53exUSmYOQzcwd9F5YhA0uiUOz9uGd
diJZyN04gdWuVwrycGSh6tIMbkyyjWa7EhaLJQH2daEm2gU6QEhS0tZIs6jt+DKiFBmZYJcOVznK
RTT3PQJz78iqM4sN3NEWcQmybFKUycdP33qbQ/CgOEkB2GIp4/wqBV1NhM0qcnm6++zspb2ctKGd
42OoaAVcB1YRUhRNdkFbyH0upgXhrlnHGze3Bvg76B5NeghEWeccoWdks/XvV85FrNgPVJGLZn3M
4TxtximvMK3O7mzdvWLvqLGsGMk6d6j+Ie8d44U+41gn7HdG40ZKPedhTsxwuS12RcJCuww4tu2O
0eutSkfswS6oHfs2GasbXOKgxGL+BmhJ2Qk5ch0+mjQZ78obltbAi47Hi6re2m+p3gc3bVAnIufa
OxHpLSFVEK2GG+SagTkept3bIaC+x/hUji/FnS7PIqqpnVV4Ew7rXrtkyW9m6lU3NMkBaahAChzR
BIe+Ct4V4m9sSTOYlFAf2shI8fLdnD6d/2K3E6ax1rbrviA6N0AWJiKF0e9lBihzEMcAXZv4P1Xv
rze4iJyc//m2B52Fu7y6RRuPGyPGIeAhHyYR3hMVSBzr75L2tO/FfUKPqk772i1G/fy2b7s+Lf54
fXFfsWoYMigE9O8BiaBvRwCj5+WOH/fhihDc2R7whxOmcZUhtH4C32exuFkfCVw7BIPrfdicePRy
IrEIFKBFtwn2AGUMgNDEYZnOP0yvccYOB71I9w0FB1hQ6jdgTNCLJ7YqldSd7I1ZP7NXLaGfDggs
2ybscUUKur5Ew5wN42x9jgI0FOm5i7CK7imL+K3sjFYmTF04VxQ/ADZakM3fDMZ1XBOBrUOooUjq
AWaTwr8cjDlZ7abEUPURu5DUxcmMkGrxTmVNh6HkLiFCHK3j0tnVHJxGwdqm0wCARXOEMJxQF0yH
bod84XeL1w5DlFGeOcCnK7sn3Bzz+WNnuJ4phsbRrBJ8ZMNp/ezT7SHvb60af+3mDflltwWHpDVn
td3MFcLme4pzbf1lthxpdx+Xk4zL6w9/ffRHNrC55bhEVqhCfml4RSfitGObzx50mEHoanXdV8SA
k1ufh6nG0xcu6+4Lo70TXr8D+zrFh+El0xBfUCnbRf7V8CNLQt8dh2SR5EaVesJYfI4+rGk5kw8g
JO8IrXf5ga6S6626gILMGoLlJBCy9ospskxegVbJxBt9zLzHea9WOuBtSEONxGIFhj0wMP0vUqxe
YIm56J2EkMQkhiG911t1qKOfWhcrG6+tu+3D62Pw6xAIs4VgwyS8Du1rfkvqQ1lZmHoPWIYhSnzS
7pr6KTSIoE/J16/8smTJvKd2Q4kbYg9HPMjTVXidwP0khQ/tBz1+uiid71GydihS2GHDhdwDYW1U
8/pt/LI/uqSYVLdspgCdKq/ZTbXrqcxPa49uL5dspu4ct7LvFC2LzD9KnHbsmujKQQ15q+08MAOH
GaATsNdv5pe34cI1BP3ClJiAGErCy/0AK4GIJgYqeqh3O6vdfEj7hYVYkTNTtOHI6xe2flmNJFWY
bpleCLuPVXn1NlLMS9MmKrvHMUkwIDutSYH4/HbBjD0uv7Y9MUQ2HbAfEvKTRka0ANDdHWQ0wKWD
ddOHzUj/QI3oa5udPPSX6ISb21ZHx2QeKJj9Zkv9ZUe9tFeS85jHoIHZ1XOgJbfwBcqSx3jC7guK
BOEzjk27/5xeja8P3S8jR0qKhSW8IfhxMNJlgv2XFznPfQHDynisou5CXR9TSck0sLKHc/UWiksR
xnfCeXj9+r+sI1ZQ6LrIS+2QHOX6zY0IE0satXZv8DAnQv04Las0WoMcJyS0Ca74kD3igpPbzr1m
W+j39/p9XI2DrGEP9NmUlA6uzTXPbC7KZMPM23rUEeW202O0M9peJ9dWTPbe2u31678sxwJ9W8R6
Flo6tnRbOlm+fA+R6eIYR1r7mJSNsOkshdiBst+0e768frHrHAUABBqyJaSiwJVD5Opq8I3cLRly
/8lypf1peEzQTMxfOvQ2UEhtrE6q5ASoWADJoK6GKh7cDDbtJ6MvHSqQfj5X9EcI0zNT2K6E94uj
8PYOXFsRj+kBSocITP8MmSFf/se2awxDSFwnzhCPP8wSBTwuGw4K3hCd18UOjtiGvjzHDEPjdru0
RiK4bve8qRta4Uojlc0rhLecDJXxZqZrRD2dtYfU/2PuPJbjxrZt+ys3Xh8n4E3jdpAGaZi0MmR1
EHIFYMObDff1dyDBEyVSEVJU7zVKoZJEEgmzsfZac44ZiWtoXR8jc4GSXsqFjZW42sKeggC0FK6v
RfkrAu2V/fXad3qtIgVngAewQ7awVOOpoyFVCiOoT/Eh52XDPki/Vn15JZbvPDmJZgvIg1PeeoHU
nCX3c1UcjetGrlpJka/4nPWOogkf5+UZaGqX1Btl3UC8dqbXZx873LId4529LEjZCnsvXDKm+pch
AXmRfn7t2KLkt8LsRhkRZnRnTZuWE/UKzVpJiN26tXsFXrZAt3nEXoFkBSkW7LJegVOvPK1XuTGQ
3eXNX5aJXNotr97eZkTrCgASgOQ0fhmmyW1e013/VbD2JfnWlG35d/c+NvtN0vb/j9naklqWpO4I
juXPedkIhn56Wpfs7jfx2sfie1n8eJexff2aNWKbCdN/WCgMUk5cy1lCMv+bsO1Z/6EO0tlMOyyn
JOKy1r5GbFv/scnLI0sIKSGGh2sLsv0nYhuJsqmyoaE/ia3Q/jcR27w2WKn+aQKxSdNpOvKNXFYX
12UI9XYly4l5LCz4zRdToOFrvQ0SefgE9dR05BPYUZzjJqYY8FuGGRT77IK7jcag3Nw4OYDHHbsK
BQFJ2BM/lXTlNG3T0Y1qH6V2zygd9eDMTipCI9/xXplhr5vhV6AkbQx8oY2+Qh8rPbAirdX6KCVz
k1khGArn6BoDFJQZkWCqKH9Jr1Srr05vuM2O4krX/SGJx8J3J7dL/bHyhvgpI5qi2xAPsIDpSb/u
xWb5/PMh0XDKfVg+h+rDOLpOoKRSuE/ITMSnsDeE9rUaHLLCGfOm8EYiqkBq6CEDRiy8FLpKPmjF
g/REFYodCzK2qggpKJbgUEVIRTdo6LFn6YZQMbMpqVYsFmQG0KBdQKYqT5YhdQcNFcTkrVqry5ek
Ccv3ucngWrVQoIVmBzC/TP1lcMRQPnCY/IldZ8I8pybcvK2J5RVvl86XPw+dW7nnpnQi8wkjhPey
hIKlG+wSfdL4NP4sExYEezNYHGE6yB+QoafyQsC8ZjAnJIIuPDq2YeSMCuB77hBSqTCiobWNDytD
IL7axoyJ6d0lHDItDfpkDrXPsrGiz7WZpcp9rDKlO+CKBMSElgRjM8RfnGsN3aOYNA2VxjBtN3HG
kjQNR3DVi6k7p6d0p4CzET+8clDNy6y1qL2GBu17kLacupd1GDsQRVN/LZCupne0+gsPEipX8oz1
LMKAKBkg7KlDBpAZIqw/xREq82PWG1qzK1EipHtW9Sv8rERT8mxogBk2UBAq69ZS60n+yJJqYctE
qp1+N7DgGDexNE3xhfMczw+YsJZ4imJo0SxusoqX8yfptulAqHudZxCAzEja4UYAeFmYW2YyTv5q
cFyCJ/Q7He4gcQl66AkfB5Pjscnu4nBjxeHCUNd4yvMzNHzOODTx1tiWOqlO91GbcfJ6mKPx1rri
LrvR8e7IoOiLcxp55DCxxbRvEhWg0WeVnjLdOq/IvAOxdwaePvK9eKBc1DdHYGnYE+NJ4dP2ruDn
9Vzt7rFyoZ/QwWwAUqFZ9j7n0MlkUJi9t9cAEccXtQTcERAjGleHGNuxdjOkcW4GK3pAv2YdI2qh
3hVW0ZnfJ7L3bscGXMRlPeiinbl9JUNEUD3xyO+zEbITKC89dvyB3vG9SeujegixReRn1Ua+AIpq
hF+GwHPkxPUqtlftekciORmK8xwioX4pr4CCCZdIuJM6A9ZD4QyTfUJPNSh/tRRB30tSPnGyqpG5
uNmzJb9EWomiGUCapwIOqIJb7YEfpVtHYIVVsmtUAln9GCxjuKvgAviGlqTjtuv0CSd8iHAzcEk/
gNiCqcqGkUH9ER1XfsL6SVd7P/0l1CZrQsRsa516IvwJdn+E9uuv3k1m/QZz1jAEK7nANHI+ewjK
LT+LslMS7IMm8TpehHIBMYDZqc9j17cfm2jRf1mq3Z6L0NRTEI1QYjCwF6xEbhUBWkgiCrNLbnTl
eGJU2XkfSlSU8c7RexWAQWT0D4CAW9OHdLF4Eq/G1FdsRztF5rCXqQeMJhkVBB6zZEHek16p8QQm
ZBwdpZJWIQ9+nwZh6GnkM0lllvcIdb/PlV7Gj0lNQXgCPoquqQGZ0R5o8DsQVXGjBIOuIVrVMx7I
i+bNCr5BUsTiL3KGvQS2ZYxCfqaufYmSaqFGxfC0xocMU4g8Ap7mXsalwTr6inGHeeYYpyIxRHmy
9Sou+N5D6YGGLSItzXwcyIvxGVGrEgO4gDS/T+O4GG97B2hb5PeKU7gguABcRPei6SX4iFW0nRKM
yw824MycCWdqi3yDOFLLt6ZIFesGRIBhB4lkIBv0ij02O8KowB3kijMaMEUmu2ZpQnNQ3iVOx69R
RrgYPXMD92LQtpGm7LglbW9nMrL+mJuJCQyvq4r9+s8XU3+7X5+ylVymMfXNnhJQNPZ5fe46FsDp
4GCkjDbxRCD1Q1HVDkZWg3QlwAN6C6ckw8l/O43gZR9kVmS8bY2wNm7QBvH9WEE6UF0+aVxj1G8r
L+EpRWbk1cpWqmPvPnjSi+QLNZOT381Fxl+rhMSXd9oaDlEZJo52ejkgBv0VuLI+/H1aLTAR9A58
SY06i1H99fdtVwF3m3ir80qFKWMilYOW5ScQNaobbaLhcVmXK9AMy2rhuXQ+1sckugLORhv+Abgb
cnh4oJkwuJHiI5YDe07+SD/k8g/aK/3diAw9DgHCBmMhi1wVCybxu51XMUMXEETVnGPABEYQEwCW
fswicxSPpgPr+lRirgCpUOVeuueVyK0Rxxk0An9WUvNToqKp3C5ivWSX5YiUfYWwn4IMO/jgRI2k
Nm+OnlvM6f3ZgeO4q1A1lz7ov/gyT6G0ERKanfxaMb/znhXR5UipZFf6uUdmwIm7Z36COG4dRe98
r0qz2ZPqeot4Ak+JVwIzM9NHINTPVs9t17HSbrj9IR/O1qborFutLD9nMy7fCSJjaGl7PY33JcJ5
nqTN6EBVal3oCtB7brNaeZAVtUE6neACVZA4JyAGkfegjsK9GBKaVe7pEkG6yWwinNITadr7YZaj
S9WYFHiYmJiMO3xjjyFgtqAvpckUpm834POhVepwJHxsVw99Zx7nvD8Whf2XXQ2f2jIf/XAcp50b
aY+a2V8UNrK+pc8d1ZyN9t8mcFs1O9OPNbv9YWmO1IIhshJ7O+hzRGet6LtvwCcscRvbsQvw7Fqy
aJHrdk+0Xm+bIt3bUGMOxZhdRse5dwrzEBnKxSziO0ZQyiYxlDqoqukrdv2zPSImYiP+Q4zeF5gj
zUONfzewGjPZoqVFfoH3CQePbJFjCxya8VARoNZ9VOth3Ga6uoU9cx/3zZMyJ/dZXH43Jpf0pNqB
cpAZHxjsbGqNAhwz69lDuQHI+V4JvfZkZ/Kka2O7Yaf5DUpsMNaY2kmx3aOUt32gjbe8mG4TxXQw
9zv30Tj9ZSv204iC+Fw5fRmU0eySd68bn9As/nCH9ETyq7uboqLf6ZkFP639WyUxZTfH8nsUNR91
Q0rgOwrYl3H4Ww/nB/b7XJDMfQBizPDY28VZGT5VCQWhMj07XeH4VSV7SBfzabBmfStqgPgEM8AR
CMBCZAVzBtgoPNC3hP8FqnDOraV+N/An3lCD9OBbhUkg1nBBp7rPTYHpsYzQT4czkHgc4jlayaB1
nC/C1H7MWfVQp8aTlYbP08BZ8os0LNVdojm7AZz+fiT2TVVwS4Bil6yESDmSr6jXdYZiTlOWvmyN
uQ3qtpx5sxN7xzQSh154U2KZ9zDdWpNzlzWAu6njuuTG9JS2uNU11v0tm3rtYNBzn3YKxrPvCxil
8xvyjJBPa1YxNPvK6Lq/mIOJSx7NUQqWr7PDPww4dP3NPo5+Cy05h5byYhLQHM19v1L1nVbJrhtJ
3OnBuwiNccOpHEh0vkAimeIDtCDDJkjORr2x81QFnfw842YIaPzr+mEYUBvv4ehZ5qa1x9h5VIj4
fW6nsKt8jFZGeLBNYXaBEi3ZWf08NuIjIFINCwpMuuE2KufJPf60l75ft6H/U8j8vuT5b//3/70b
4C2fCh8pWzSEZuzaWInf7k4ZuDed40bDvi5g5+xACbnDNm9CoW41Vub6ZYgVypQEmE382AMiJKMp
Qtf7BXqUiEafRqGCg1+nFW8f8ommjz/bcI3OK+UnvpbajtMaPyYvU2XhOz0QyJspgdqzdSHjwUWG
Oec99kOq1eR2zHNzCRWpRZ+JxipbhA9qPwSwOShQfv/ZNfX9FV3NtOixl06rZr67ot3slhqT63FP
rBVbAaC+nnOaBzRuB/yfdebLiFf5PsRkZCLsT6luBwaWuetPJRrTP9xgbzu/XAnkM6aBQIZWJH1n
bznanzrPjkRZGFUN7IdJquUneAPERioZOOU9nO+FHpJ1Ij6i11D6DckwYbn5/fl4ewD8eMTgrsHP
17kfdKxibw8ArzGaqCX01tSKxfhkgZPlc4vGS3Y4Y8gTNeKsmO5W/1jCrjG9/P4I3j1jyyHQqmFa
Au6WZw2z0ttDaISmNjjRiqMUjeN+VJWp6Nj3An/9OOFvAMnb5l7/CIBlEaqsLpSEtxmj4rnS9O8J
c/BP4KgJ0M6AWLnPOaALE3XqoLGrOFsoYSafzMNZDdKhbdoLcD7H2Aymw/deGXh1ZRDk9odT+34S
hK0Ir7tBR8nEWmT9UuVQk9vGuGwSkH6yf0u63jnZ+dDYp7axGYivJpk/nM33FxQpA1YmFaSHY5r8
9+5sQqtBBMn892SIvk7R+w5d/pXupBufkqodm8ATIozPwhZN8kCddS1hXZ5249oqWdsy1Yyscq+O
tT7fVBil7wk87KLHGNt5hCF5io0PkQtCEPB1mcudDLGW7/uyaKsXc9Rq52MJ2LN/7h0ilraUd0pE
wimay93goFBmOcBv8YcZyi9TIyQcLGcOzGc6eejp395FrC0s4kwQTt6EjPHR6dBHX2Y9h4Vj6iPL
8u/P83tXHU8uMghaeyqSRlRO13Xmpye3c1Clsqe0INA6+DQnxVsen4YXMGBnNSYse8Sk8oLc2bV9
0D15d1lfEgnZX8ppjiat/LdWP+Y2yzicZC+LFxZz2XcLu8gXqAK0/WDtdmCzZAFdGYaxWHBMrlVw
qbUq76JvyPSG3K/nbq7/ptPazjc67TI2VX84U8sS8k8vlDVumek4aDBZXuiMOu+uDE62RGgkEQRN
Cgn0m1Tgmn0nUH7Z/OY4tIIIZuQMzYDojvvQ6B0QMeZsFDcLltgM2kovhqNnSg4c03dR3v3h+H55
I8BVsF2kP7RxGZ1q75ZALKnom1GKBoQBmO2Hzinmln4XZrgNRZ9Vgc9Cm9N+sCbDSjRCwDrXeQDS
ok5nNK2OTP/dCePGwqYHr4YGHC8onf9/eysjA6aVSn+LIhA6W77xxrb37jMjqh5Kt4e8C95kcMDo
lV9i3U2rTZbh+6Dorwbr69BXVISb1KNjGdDHpNX6+/Olv72ey+HRglV5YzA1RfthvTtfQ6chXmOC
dTLyxNjlbqcWZ3fQnQWAg095P10H/p3uzK3fEklxC/pldAAo4ZfcTU1oeTeRicHlJk/qajymcMgw
IRcMlyJSM0PD3plNOBToGKolsQtsH40ThzSP+WbWjcEkljzMnA9TGspw9/vP9sviabFeLxpWfhgX
4X3b3rBzNRGOMZxX1k9MHJ15GKshdElzka5yZ2OBNg/ZXIzWDnOjIm9+fwC/licOmgoHXTaSBo+5
5LuHJUlNhYxlmkHlwkK4JfwHdkU3yKy8q1H2QS5QjTr6svYOsMlyalYKMPlESAv/3a24PLtUB9iG
maYYSFLfX+umpLFOTIwIEjJFU7YzTVztSTwwLmztG1DmNDHbio0P7FpnU7MEEM43I4G+1KEGIRa8
Io/52miYXZO+/R/O13I+/llclvJJUz0DUgWrMVIs892KFxkiNskZGo+yUHTry6BYYfWi6D1lOu7+
uDgwOFCOuSxt7j20yu6+RTBGin07WMeeuWOHKnYSQUzzJA9Uqffbuii5A/CrZ+ZFCQvtT5uK5fF9
e8iszij6EKVTz7n6u8fbsXPcZmUa0WGb6N14haTZKMg+lTvXidV4z+wo38Izoywk4S6+Txg/tJvf
nziGYr8cBjfa4jbDHrVgcd6dOQQPNeWJph4tMTFRIJrX82Cgd117LKcCvdzqD22LAq08bHcWwdN4
rZkqembmoTWyVr8T87hw5oB+83ap4FlT1lwhBKu3UEHLhnW1YEPIN3GngpK2LIo6uVgFdkLWrAVY
ILQJZ/HqMi5USS4q8zvHY3oSUtStuOXVUdp4gp9QpJGNpp+a0ZeuNxm+W+KWuTc8xdafFsG6EohY
T8tvOJqHe06C1O/Difjb3XqcUTXyUyO3g6Km0akL962Rj9ETjVULApdRqZ9H05Yjc/e6Ks+5npjy
4zRaSrtbP0LU0s38qKkhhmk1NdHP+g0yLOtEdJc7sK1X03Bnp1Fr3TfmqGRfMhzfciNk3MYXpRXo
ka67jMiiV/VYQVIfaD3YZnhPS1ALqqRpzQkXc+6UezUlKvFCYvCobKzMZOxNkyBvy6CzLSYaa1Gh
l+nimZVUHzvRhzNlXmrFGrOLcFTvua30hjmTACXRIBsdPwLtnmnuDg25epd116aN2G2e1wxnwuQA
zwNmt9wbvMViDMpCwSaFB9lY7LiJlfB1615hpbMqRQS5FMhCaj9T4taab+g2EnbhIEZiRomA8Nkr
gDHv56TjIJE+K4lPpgz/xpXgKnadaiXTnlaumm1CLRrDVxP9Sl9Yv1Z3S4yhRl9S29Fs4f6jNuPy
ZR02wNN6KRd/Iov2lWs4OiO3C8nvYfPslbzP9rnW1XAZjDDq8ChkoVYdyutZyxWbg9NIRRJ/D6OM
FGIJ51jfaa2NWL5DWSm+FiqffitNj39JdifKYeTC6ZhVgUrz41GNsyzZOWYcJZc4giRHZ00XXjB7
uemQol706blN3EIi/US4/aTljjp9wAVQjC9DNafWho4yLbC8NhMfg2doPIVZOyrHjOnusWhr72EU
kQVMbr3Q0UgTe6+4NMkPS15ijrOu0Pr2BuN8W18M4TTGJwRF6Ep2XDAZX2KPF/Ix7XrAQVt8LtjP
7TrBLV5ooz4ccS7YxSVWbdkxBKFByz+6kiNBHPTOXRQnYUpcrpHTJ3AqYvD0wsr0A3fA2KCQcWQd
MBhTROInIGYDxY0LkBIj4O5DLhm0PTVlw+m1nZ47wFbaAUUqWECmkaT6sqSo12cx41YjpT5uVVaO
mNp7cWCrdt6xOQXRBn1NT/n6OB4KFm9ma93nwm14FAzTFd2frAzXhsDb5Zr96eLL0+1FX6q/WyfB
V1ZuMpj4WzLhfUVVLSjwhdMdSqMj5MRkU+4bds+vbW3V6rFgd/MsyN7JaMoWvUQwQ7pNwMw4WUZz
9InLiNvrY4EWbNyO9cicfpm05afJ4Ll5LJQuTB+VVkvrzcyOLQtqeKn9nZHLrN4yv5nlxuk175tZ
F4Q5GxSL8QvAzSoZfYZ9he2TS9vPflbnltjaaMumrSo9kouUNKMjzJ5utA2SCPOWHLAY5eQOerSb
PkKSGetNxO1cHKsqH6ebbNRH+1RN4VhtlvaBHzUREh0ajDgTGGqRNNSIyg5+/2qy3ldhr4YeC0DF
Umbq77awYDDJEUGncVxPLk9grfv1FH4bJefWhwxcfa1TfPA+3Cz3Y5XH0WNoML73hdbP2iYKRYNv
3KgU0iHbQduUfcl7vVz+gGSS0rwv+9mRu67wPMKr0IpvucIxdGw6ruLGGGMDZhq06+TUmk5mobEC
LKZt8qEfykuE0HJ4FIrZP9qlY5Af2qtVwy7X7p6ivndp2FuSqaLDfoFWgykfIOp6X7oUm8FRx6S3
HxvyFjYjFpfUVyRXGG9j2eQboQ4h0ZJOk3+wi5hmNTvaGZDEJEmXGWOrvgxwnIsTJX+4obVFZWXO
2Kc34TyGckt31CxpgaT9VzfzwOc2VfPX7y/NL9UWAD2UchoMOgqKX5oLecTshNLAOpajMr4kKly5
jRdpjAig54k50HgJhD7vxq798vuffBVy//wYriYINrcLwcRCcPx2UyTrxsDhmxsnYBLmsJ2gbyob
woQpNT18dQL2gju4B9wkMt5QnHaUqKFefakqlPJbjogpp5a6aE6MTq+0RXli1p8QfTbuXlULxceG
zA5zVSvngzV5bLAiRB0SbEhNq5UuEx1bTKRbx5vU8exBUpk+C1qXA7st5xppkAq7f8LHlHwICXsw
fKyuFMHoM/jOwiG2ZtdrdUV+Y0YA5E2qdtfUJMyh4wOdKWbWiQlNflM4DeoFgsj5tSX+yni086T5
HrfMUjfQwdXsTik1xHdy8l5qW2p4lPtwOE0Iom419N/l37DMq8hveda/9S4mlx3+AM4DZjm0IjZz
5OlYUSE0AfP+5obQ+4lVbapVciUGy5v+cmmqP//+ErKFeldyLsYRdFdLj8ai7nxfcnYG+UWwuhlf
6KTRvTjXDAA6YRzY2olOm5bfd2kzF98o26por0nK8TtRksd2F030vgJMvkV+tBjs/Y1LOLKYinnh
vON9X073iQhTt/fVqmKuQnhP+5kUndFi1m0bcERJvvVuUB4Xzk4AGIFfnFvATVoJYyhYdymlIqxh
JwY+h08z3AzvvGo0oqdWemp0E7L/g+AEvF0HJWO35aEfy8L14+v2aFUrLcLSds8y3lRf59rIJxzu
0XxQjZCnPiSAuIerPXf9rrFmYd6qmanax3FFM+TWxA1mDi6brQTXXsLIjiboB4gxuA9kERu0Qhgo
3zklwSTwIjov3ZYu5Z2/5lYMETEwmzxM8u/cXqC/rasWgpYGBmvfUuaY8CrTqH0Qp6XZgmeX9q7z
GJ4cU3ShX7ibBAdQzzXCKNdu8m2vC8QK4PgRuySIidKdR2gSuS/twO9XzUeZ1tzhLViWv4may6xb
ux/toxMqabTN4C4/OI0pi2DdyoMvo3DlwCKiJxGWQK4gGWe5sggdQmRIajtsyKwaCqKTGsanYJy3
mp6p9BOjOtzEDETJeigb+6hAKxOBGxMVuDO1aIpvQoA848Ofbtx3963JTty1EAWC0oJHeFXe/9Tr
oxlhyz6fp/3aEGBSohsBrOsmeYQwYWqb1dXp2HHPfI3Dbc+9nSXHymG5Tv6wJ3+/feRg8JVi2ja0
RaRt628XQju0ZBXZ3rhPhoIyiL12r7db4GokirWGdqvkGWNGdlrGdEgY0RSPqFCk1P9wGO/YWVeE
CmptB5ukDpOUztnb45AVDWDkwdZ+IXP9reIMVHa1VeV3Ogkr1qaeFDkFtrTi4s4wu6Eh5TimQ4ya
wyNd/oyZHzlCqLbceWsb2rkuBA4kGzsQIlkUPLg2bqVdTfISarlob5uJyPCn3NFhIW41BknTrUfy
RPUVSU9R/akxaCwf4ed3ztLj8jSbN92y36TL8O4j9iFUbJALJ5H0bG9VbAmkUIGsiu/hFRF1Ri4J
plGip3vuP9vp6lseqi5f0ETZuJnM2rirMp7+TRlrs7oRyVh3IBPEMsvX8tA6EElnaVseKPCszTDf
mUupfxLUWSKw8gY9XlGPavkZNaZ321tlqPgD2/H21mJPz/Ri8NQeMYPWfLb6wiaPxqaQSYPMzLKP
U0vRfNILT1Y3ht5/jMY6erEYy9WkwXAJPjOspDhCLOUMN50dT2cTAnXoezOBihv2f223a7TM6Q8F
WdBEVqWVeOoGhPQbO6kbuHeWyschiaKKAivmAEXX2PnWM91O7t3U4wDRPOkF42I0UJvaVMFngezy
M8Tgw57IOjwPTIZb2/qEknUOb2luZuwtBDfPMdaKnnEw8B7ewTJX9X1UUiphmZ07QnzQnZ2bepRy
P9RqXW71nGLwWOK+8ae5LMUWZzR5EHEXUxdKbF3iKb4GzAxDHyNVmhQUBBnQBASCoxt/c/Vc3Bbw
FbN7sGGzTqMt82bmmpk8EhGdPWheTBcGgIzJNnjOXdrCmeZ8T+2GFbsAEzAcFP503qpqx/t8rTXW
RVmHdZ8wHSZt7MA43WmORBlm0YXR3vK2r+25vsFg2KB1QaTrRzb9obvJJu/vK6uBRAap4whUQ6/6
29DTSNllkm3esWuEcqBhYHd3rZMTbuJIe9iXbWhGvqkU5XRcwmnuFdGIfpP09hz5ae72A/CMQg6H
cKLUu5Rjomwxutk5w/x6+tgVChMaQWkx/aHldDVU/Pw4LVQT2olYRzGdMxte6v6fltG66eIOXVp9
HqYm/87jL8anREeJu2UCXD+vm1/Xre06wBiP6KcYutm+0RGb9JfxKv4CM2nSRyL2XBzV0e2RoqCQ
JCnj2iTWrnloEE/AfRduSS+S06Wk5xHGqrmJ4fiHxy4hveGINrLOPpLWUwUNkYvTLULrTZQL9Xmu
oIv/N+AqHDrRbZIoLMYNFSUXuqmjRnmifDErEic1hgGAPKh28nNbycI7g8lkp6DD6jH2GqeW8NAq
GlF794bFkLXJ52MSErQRWOmU2ZLO2BAPW+I2+BCtGA0E0AA6yHwIw6US6pbMh4RgKA+QJjP5C5k6
xo8cPou3MwwJgIwQ2rrcCQ/d4mvdoIYp8rBV/TjwQeMtr0rW2vJaCRtVxME2SFCLF4EVjBXmqkM0
VLH0knm3olK05mIWvtaAiT1jXbUrX3p9PB9KNYk/O73ZePAxIjpaBnb5eMvkq5++shNpKnSOjR1/
lsxunnsZDhDSeAyZ3LhKrGwip1Jr0jY6T4l8dxBqujMh38SP63GGbUVJMUPCE8GoKMwLq35qx0My
iiV0hihYzyq2GlZxeWc3k97+of3/61CPnf5CyCSoALH7L/MzHRkhi1qRBansinrDU0e7Mm4H9a4Q
SctVZIvRniDTcyeskkK6Y/p9bnl9+MjdR/bq70uPd1K5pQHvou1mp4UnatHMvRu2OCGBsANREcHU
OA6ll1gA5ik8tYd6UiUpK1RqLZqeJLrJELYyjlyvJitJFpilWnrEMFp5ts9ydyIWpeuUMGB7zF2R
p4OxIa8pUXaEJGgONWhX0fsVqhoUFZP0TeSOhnqozJEwNi3tSLZMwVw2QcvEZt9EWVP8uwuwFBW6
ztgLkQ+z3MWb9XaJkBW9wX4UIXBgu0geqxpFMd4JQAEfq161avIw9HD4uPYB1x5fih+v+yDaqqnv
mo4czT/seX/RJ1hQxHSXHGIVyMkSJvH2mHrF7eXU4WvKOZhwXykmuoE8b5VhB/y9eXBK4HEbdR7H
HzarFnlDY2WqMK/Q4+rP3PIGsZcgjPKLOrvXwnnplU8OOztC0JnqbEojZVMg66z1/FUIpJk6LdHB
5OawUdWSZPrHWfHSt/p5NYbYBbEduyhcATb1xrvipmua1lBUtQzWAYTtKNVLey3Kareiv9r18IVO
pZMm+rMmXSSVgnkgO+TrRpVelHsnXK+aTlOM1DOYRqGTJ3rVx//+Gbj6d98dKeoUB3svgyiL8vft
BWggRagh0pcgL+ccvHWsYF8rXZSqLwrFTbxJBG6vLTvi0glosPYZorFebR9Cj322X8FZP+Os9BwO
Dx1g0Ga2Tnsz00tIGjgC7nAIEOUjJF6/3Rpw9/tPcO0R/vMJrk8xwlV0ZNxI0MW0d28+odMhHfAC
BEXa5+1p3W/lOoe95yeP5VEUSj7uPXCL/02xW7dU+P37ZlsSPoYzh41Uss093s07Rg+jvSn1YT60
Y22X28qZKJu9vPTSY5HbRbRXaAXyqkx5koKo7hyGDhRAvH+qlDv4e4ngrD/9/nPyMn93Uy1W/GXJ
YrlCNc8c9e2lIrRE9gSvhfjkltCmWdNEcVOXmRA3ckzz9sXL3Bwd+nqXrzaGxkLs82lEYstfGEOz
qLuJ7ywv46Sr8lNdWLxi+jUXyxYuPZHCoT1RkxMEJeRW5s6E70PJ4I8QTKbPlFQz06b8bDltZR+z
IdLM21XdQogOl3sdKCm5jWZ6tQSYHqYI8qtRVUD5Mvos6n9Ac9CSR2xChnwpe1P2J5DRtdipM28E
fw0cVF1Gsuc1RzAKyRpPNva1qWGhA0fVbczKxIe1eq89rn2OrAKDhshsnifzHuBdWH8jNUGVF7Vo
Jdaw0Mjo+F0fQDtMwZL5FuTY9i/Yj0p5R3Jikp8rdiz9Y9g0pvtXioySunFm1BesbYP1JlqjZKti
sBfjFDyGlrWGUv+8vo7rnlsB+cKiBokdt2xfIkgr6c7FSiV/KG6pVB8gPoBAzLkJcGCRka4c8d/E
xmbG476QEFBzkPjVS7FbVSUkRkdim7btJE6rgFDp2TkGRTxwMdYUT2hvy5R6fQDW4fB61DTUue5k
vi3hkO40UoWwczT1W71ylG7nZR1KlvViGRazvWRTXYsaep5tBWrCsbLNDHl4PDCjlE79asdIbUGj
CaNDlsMphGNN877E+NC+pAn6WJIgB4IqcRYsAtZR2I52nzD7d+EIXpfq1TWxthnRNuDLcfqeJF4f
hbGS/DCqEF9WQc4hMg18uEO4zRzA+aOvWsO8ZJc1Ark9f6+l3FByaFHkLvveVc6SOw5nMnVCzvwr
tUqqPUtRZzqxd2fEg8du92plshtMBCcVo1y5q1jZ7QB3Wtq+wPWV3E+UWwusFJNXxUMgp2j5v4nB
rx2se4qpERQn66akul78ZQ7AP1qX8wKxPITmbGhd4uBzhobMD8BSg+S2SO/ddyXVReozlPGIiW6V
tI19RlwIQ/Wr94SKcanQINwy4udlWeYvbtkJ/UFxl9sqXs8jVPHlX2VlzQWQsloS6jAXc4Z0ejfq
acRkZl3chui1s5lB7QYOJYmWv4x6yBJRxmg3Sn/KQtvt2SXq5nxNRRAns5a1tomVKow2ua0r9R5H
su4EmgR1eBijzlX8Dl5Mdllv/1WDanv5AtrPkkqJvuu5NOdHHpguC3ibTKS0Ukp5O7JWpvZhoAmR
+Y5gAHgstS6jbFYY2pZfyyhvRKCUxPwRM4fpm9rdSGaOdkqrxY/GwMZsnjw1Hx5TI0pAjrA1e016
7oyqJhSwldqnVFUS52sY1+QDDjmyxkfGWw5juMgkXyxAcjEqEKKqwjjXKc/nZjKU2WAg40xAGHUP
uDQnN5kPkmknQlyQpu6WxoRMjmtje8lOLc+Li10+SBxcPtoOdWLqTFbYLl+muntgH4a+X5+Flko7
qDMSCfZk8vKukUC+NL+AFGpvWQ2WRdYbqxfiPXlyTMW5Fu4FR89sTkKkbqjybtc/x/jHtPjVdp7S
2aGb6speHmLojQkxbRX7pw3AHGW+x4iKgYZ+w4jdiDF/9fx/lJ3XctzItm2/CBFwCfNaQHmyKFqJ
fEHIwnsk3NffgYLuvU0qQjonYrvo3S0WC4nMlWvNOaYlnER7cq+q4fXPK6/tcbxAgfPaGFNP6Axp
49o9adPazKVxsYyuLaWiN3ke5DlT8y9LpRuPEersjnRv1FPHJMH6QZx1plf8SF2dXhGZ4I5zOzkH
z9wTw26j9WF4W6Ny8q0YOrVnaG46+avLsLKMHuNXJpNsb0SmpTAuXTw9i79+fnEdeJKHAi2IdlJj
YGe0TRq9u8HAy65bkogV+hjjSI1Nm6n/zBbhuMff7+z1+1z/N64ANsMIB6e+czp9zJ95NnWwQyE2
xtuwGsgFWjfarEvnXyPTfKDYJTqEbZTHijwjeZXSh8dLCVemWqafy9zRnU1/jbHO1CmlCYPUHr3D
qoZ1VDrSJaQQZ3EEJYPK6CTrdQYHTmj37HTl0LMb22z+rIIS/vXPHnqndeNofdCfRdUu4cXT1djU
2yVf6MoASGCGlHc0TPmHBfq27hiqc0JZphEPTpONzPD01nIGWv0TX35+NhZk+6NT4CS9hYfAZoYB
kT9ifYm7clAcfLt2Zx2maubcdDN2xlNf1ca4QGa59tabLGv64DPYHgyEqzNIx5DMLyHVvCWBDwk+
YpRSOPLT6t0L5s7Mbi1ExEa3hZWxBHY68YIQFdnEN1GRhaLuk0oZ64r8w+upKQaXV7122o5jK1ju
8uuXM3DHom62VT4cvh/W4gCyrnvqA/xKm0TJeLJ/L8E+pCAhiEJBvYxYFi23AAv14bbSlYqiakmZ
MU2m+MBAF7BBwCoHF4Weo2F/Zw6hyzv8maP8RRmyaBlWtgvNW64nKUPW0hsnp21v1htWaIzCPPz9
c9p/zIJYRFz16KoS/CoQ776vFGE3oI62jOa0GiPhjzLOrDPcPXt2/Mo6JZpo7svQoObF2CSZv6Pa
bva4xrWDI5O58deigJTEZRPFftj46H/ycGen7pz4ixk12ipXEygShGjYd4qaTbtwJvT7QLhAi0ZF
7Yxiz5UvQP5sqekeQ+mEk6UMVedU4lBweaOBYO37RGObKy3yGodN2AKD2JFNB6ixkBZnRzYmzRbL
dNU+w5wC44s900xcP3OKft8SZVc8JGQ9O6cc2V+wibV2HrcZUZ6sqilGDIZTFkDttlRsZJ/Sojv7
siruluZouzNXb/Na1k7obrD8XXeR3yTLdWw05pK6YPX2AQlTTF9qbjxsMRHPrY/Bsq73+pV81F/j
ZVeD4W+hns02vyfUgPVaX+sLh8oPAZ9JeuGeiyl/PTYZhXlkX8jpH5bAhcrw7jLKXBl1obWENYJR
Y8zyfjVEmVbOdWU6J1UnfPe+uM6T5mv9srb2guuLNnR5QX9UBGw8Zjq65lvZFWX+TRbiW+MgnN2s
+qUpYHblyWDxbEUB8Y8o5QMPmVZs+CORVTdx3KaPCRmpgUe/XBt9Qk2X3x/8/l1Ed1zbOjknqae5
FfS5NgeEndQBzwmu3XKiXF3YtSbUIzEM1XSpAlu8aSJzacP0oRadaC9rMV3Yenb/8V39+VXZME6h
buFIQpl5xdr8p4ua80sFAB2UEzN/YiuUoISiSBd3GtFcDsmlsTr6E1OVkBSxGZC+/Uv6/qEntQjf
0dGrSw6dRXYZ8VzvH5beVKQMVG12Jt4gH4+T7dZf2tCJStqBSFXukjCjs0RikInegsoYPABGmv6w
OhLkutKubdvMjgmYaXN7LA803/h+LaJvg3NZV7rmd1pD73vdYsOMqN9bfUJ0tekamYYHRoamztku
BthQupbtM8y5KbKPkE3s75vVH7Mu+Ex0f9AdLLpNTHAfNqukMEzy4kR2DqOR5ZlFQFVvV9ewFRZu
6sGi0Ehux9Vkc+EJKpN0WbcinHggymO8L4l94EC1RPF9AIKp7X9X3dfyJO1I/Xlhh0H1/TsnXdVT
jkITsZOzZQWqwXl9M3OwpgsOYyEt/v1X/GNVLRonHS2tq7Km0Ou/f6aR2nPxMpz+3BFuofilbmb3
UU/Tcx+rHf6GkCNaO9i5NFCiwYb813lwVdn//xYJi4omOYoApqyuQIH98Stmf8C0Mpkjz95E1WZH
AfpAgfydnJxrx61Ncim2lYwAOo5TzTyxjYR7V81gO+8BWqH4xaJGoSkrkI3/6Gz80YPi4+FNYlzK
elcRFX7oQQVBA0kdmOypv26RPcxoCAHX5opqkaDx2ClVeES4lgx+a02M/HKhJpfVERsJrcfdP5v5
KWeoNd4QbMQWM4GL4ixTi2S+NEv242lKCRHars/678/XeO9yWL7fxaiiORpWDsP+46Udp9Eh9EVG
ZwLdssxvdSWko34liuSZqkGsrjLbuFTX0k5o5kREAxjjCFlImbU/8uvLFWZpz/1GZMEpJ49YfPr9
cl4HVgqqUeVxba6gl8rmpyDvsN7GitM1e0SyHCHkDNFNUEpDnFuuSabX5XOc3EGmUZZm6HL6zEAz
rFPXjva3v38FyxJ+t8IQdjgubT7UQ5ptf6yM9DxGvOc04pzoOe+nWlRZsdX0Zaj7OwZbQrQ170Ny
mdp/lGUfh/aMkQEzIh+0YQv92caXOKvrubEVcBSlOfwigyHr7jgtlvAjg4Xdem068lLFYWwWfkS+
QNFidp9j8S+DwftvgVbkEsO8uD7Z0VhSH09aM2YH7eYmOXSBMSYPg4L7l+mvJuJNtsg8zwim3MCP
6tbo3gLCGwaP5Ikqu0zGYGVPY6NPyde6kbmzTZB0ouBcReFRU5cvSkhbci8XpeK/XsClbv3v02Mu
c1Vg0orjssZTfL9B5Tm3foU23X5tDxRWxpsS15RlR3LF6vjtt+zGmrgcG2gL7YfOLJV5p4K4D307
7NKvf19P1lKUvP9Ii39WIPAwF9/ZR51iUyMzilq6SNOQcOasegy17OzwU6BUVvpcZnmSJpt+YB6w
7fEYilPYNoiA4izZSq4ZxoEJdo9+vnSULNisavj+un+Jvnb6h1Vqj0tqyeapQ4nqfPWFjgQmMBNY
pbDhqJDtM1/Nkr2bF8zwF0kcEzwJYHdjX2X37igYKaypO+sPWmulTsYsvIZHDd8nH/l77LFmmGhd
I8K6nK31NGCMpT+mT53rwT5SAzLvFiU2s5olpmy4JviJ6z+wyob7VlrpJxG0gXEDJUQmD6WeOMgm
EgabXlG1dXU7Z7TQNutMRAk0PoS4Us/XS0ek5BEGUBkuDmURAUc/N5KEvZs1S88y8KTvMjcig/Dv
j/X62N49VlCM/GvxTyJU49x4v9KC0GyWkBSFsJ+sL57KapyNR3J0FuGcOnEuL6FfXAqvO+LakbBq
I3Y1BMDIpLZdTcYgvx1cpPsWpTPtCfTWhL5dByd5w2RnN6ah2ftpPyIXJUsybZ6i1KZt0QRIC/4x
QwSo8f6l51KIoYxoTdXSDUwywKvf/0ptN06dlEp4DLnUZ5NX51rZa2dg3lkaeuZCyniwKNUsLiju
wDu9CvCHxOZLhnbP9S9M0Nn6q+lj0A2ezTqKa0hMIqAyRGTwq5obTCI5wpVvKerF6sJ8yHk0Da2u
j6hPjFeiaBSHn7dUN+ls9OlRNxQayCjq+RFpwEXscUz6prvQqMAZUF4rDbc3q7eYTGlri/0olf76
WSLLRf8EnQr9OP9m/cxCwaTPGI26GIWUeWnVObR5iZaPFTuu1T+kNAQrv6qRFm+dCHSQPwuXQ24Y
VKO7X4vpFdnKCG/psl/fGnWO+DS2LaDWkXppKL/QfU5ia/Kf8aMsK+hV68dZGIXBs9WFy+pMc+bH
gWst3+hqe1jfzklGfAG0HvBppKY9HubQrN0BDIIqyhfMPmP6QHwyqBy16PCXboUFtO3X6mNdfet2
rdvDtpn5hXet2inaF1U6ZvErjRZt3vrI5sbkrW1Enmu3ttUw9EKU2rknN1H4PvpeCYanvB6D59VT
vV4iC6BE3IFqje2gnVD90fSLR8umTa06823Wq3H2pnY5vO7GnBMakWH8swoLGyA8haK5E6ryBbmP
6x7Xnao2KxaL6kY8LCZjbncWuZ4Pu5UXvm5gq89bRBXzVWKsVeU2kES6RMC9F8/KWlMMCjaO7ZB3
FDHRHGo/UM/2+d41ht44WAV0sA0+ZgXYL/kYS8Zf1jtHcC1t/a3TWR4PXNDd6ZAbER3lEAMvv9pq
58mLaMoPc9qp/cvqA+l5MabdUI7EEWxWD0vCjit2diyd+JFUIAc1oApk5/Z38F1WRYn1RU8G9rTV
3GPgQ56A1k3xdMyCbkGCDT2fzdI/06m0jlqRVFtr1vXHzDFrz5CzCfOnIsY3MO1dUkY+OVkm2p/g
kg4wZprcNX6GuhJ58D+j7VApi3CnsnEJGGJbpEp0hqtZ3dDXJ+RbD3k0qQlkrgKg1mWiA5nTpeMn
smgcbqaiDY+Mz8Jt5jbBRcT2zxkB+S53mg6R8viQ9oP5rUwUXAB16zzO4ShRqLnjqRZWcI7CUb1V
YgctLB7dDWbycAu2ZL5QJUc76O/yvmqnwVPViXS8UilL6TmTYd9SZzS+DMoDGEK5ZeiHab+ICVV3
pQraaZYkUoRZ9NYm+XyyUZT45NHr22Iym1uyziKLW1RlftH7WP1mkiXhkQLrenC3DRS3SnRbDTXW
tLozzpMxmvtEGxDZ9+pQvEhyc46irp/QADeoT5qo8IOqTs6SXf1cKsLY9ZxXl4ZjYT8VQY7QJDe3
oxLquwbfjb6JVfk2cFx6Lcnx90GtJF9MtHJHVMlauKGXL71gcoazNKTq1xo34bZRrrEbQ7BvlZFg
8mTcRnMWba24GPy6wWe7KB3Ug9rQgprdKTN8ynfdxyBgfmcTpuXeAEc5KXoid5Rh7b3S6dHRNSiz
1GxU/bLXP9d5Gd45UaXvXAO5KdvtTanEn/JZVmdOsHEbJBNwIzs2Z9pGc7FTJ4QtflSS+EtzI5Tb
BidtjLfrWUUh702RHe+464Tf5iEl+HXQsmdZjj/VIBsB8VClJk7xFUObOvmDTS3xWE1NRE5UID6n
dh8eBJzZxYvEbsP33Jp+NebzpmmHTzNa4k0IVw9bb6H7bkiix5b5/ryXU9lZW4nGovGnMcdABnE5
8xq8wE9argP/0dPZ3ZVhZeD1nB3uU7HrRYKxOZhoyHwx+9vcWijCDMaN/Rw1Bzgf9huuPdUXWu4e
3FL52RCNeGoTYZHWWU+3hVL3G10xlTeCMpNnM+gA1fV1d8PwKvmcKNKumDfpxZlEtdBjEvM171Bx
h0ZJRAnICR+akVNDbZKgOW12XryjMmcKTeOd1nig+rbT2PclpurBj1ArPqAyCEnExMbUZrq7Ra6t
hRREbvFTk0P4Y4jN+yTVgh85+SyfRGUkG/xp4xfZh8QqGNbgbktNDNVnSQ7W52B2aRDQ5LE2rK/k
ydZ69wb3qn42O+UhwBdLFHIT+VUKzEtG9p1i0/0+6NIMcsp9RcVNUCVejsNB7EIgjftJscDbZ0p6
wS1T79H8zF9gqgrsPq66bXp7fsbdkp2tzA14u63mMNmjiU5UyW4qKwCLqVTuwbZmRqGJWC42VSLs
ZFNkGf+n3XX1rzy0w7sOqr6vaXVzykPrxYxr45NBRZKVQ8G1s2i3qIsGz5GEsWR2MPm1MT1CZgle
qdtGHnaPgjPV2seyzdpPBIr24Bin8FM0qZ/MOiXdOJPNMRmq7pi3nQaBEl9Uq4RAVIrZ7b1MT9t9
75SxX03945Rm0b3RWT+dfhrZj3r3KAIxHYxpdA+BJFeCeFM22jTJxrfULnYtaoGbIY5NTy9H7atV
a7O+6eTQe1hTMw+LTPhkGGg2DVE28aYbcv2lFrN2CWu1fy7cpHl2OakfciPMcJWg/r1EvUWDXi/a
70RHFXuosLQ/eA2AK9npvtJciEMWklVHlIYn4n76PKZi2LAkLdKvicZ+0iMr3BElSSos2wlVVpi8
uWE3f54r5CCLBjvbuvQsWVH4nr4UZsGFzczZCrvI3pSzUh5NpG47p6iGR2k5tw5mz6OB7/CTO6bd
HSCVZN/NFP8sbuNO4NfdjH1U7XsdUtCG621/AyzZfUljYFFIC/UXiC7RTk2E8V3SCj8y2i5/yFY6
Z/DWZeEpZAjvGrsovEqV8QW9helZyuTsqE06L1P6mllq1Hebecg6LzTzr3mj5jdJnUwKIlBXuVGm
xtykPXcnIDHJXo8GTNzuCJxqrPqLxCkCJS1ybwviVz+bXePuALLMnyWT3Nc0nGuvdqN5z9swvaVJ
T/wLjkV7m9bqoG54kxG85Zn9fcj0C2SC4rWYVOOYV4PW+FZTukzHQ8bmuZSRT2/LZUIMo2anJbn2
law66jrSp7bZoCvzRg+VBu27I1sVm1pmDBthKwtPLZJ3qZF1X+qpLu+zDHPRFo9qHHL9SDuS+0Ln
0bbpA5aVPBRBae4DqpnPKiZ2cqX6bTbltjc4I5d4rXK9QhPoFgs2do7J6p7TsT0ArZx8K+/Km5Ra
dCONMGAUlOY7Dp1sVxrZzs2tyDMjxvkEqFNHdxpmTKtN9nxPFwVV0pOG+LvbBCiZLsSNwW+dZY/E
SK3tTcJtaJ/L7lUwZ9xL/DlHpFzutiCoDN4NtL00ql5HthhsstPsx8LqUs/qRHvS8vENhIZ1S01x
mQb2BZQLyq629GMVaeRy1DalM+Wnh3a9PXTQCL9yk0F6PSWXgOLMwy9Vbm1Gtzu3RXM3cKHyKQFs
37DC9rUug+wCgU/16C1ktyVxBRfWZUPl041y01k03kb8a5xxesxArhzaX/gIi71jT8TDlWEgNqnA
zzkZ2ncRJupnK1deLD19k6U0DnIEPwYKvKmeZZYMiy+zj7aATIuvaSqLA7Wrc2+mpfWEcDWGW5Y2
u4IZF1m+IzeCqBzu6ESJTT068Xf8WmLvBpr0g5h54iaZnGxHJiZaqs4qLsyIxwOOADCGRs75FMkL
VD2VRn9unTGBtJdMmNHZQYPz4BKIs7NsmelE3DXuI/KjZjokfR/fqmZofuLPSuEDtQYTaetVAQLr
FTArKSYscVLwahRerRZy3gh3pLwcNe3YmL22J6GKbFNpxg9abNWXCunNdiLwJTZtdugax2Incsur
SNr4pFuTet+WVrNREJLcNanWn4worXlF2EaMqDCe2Wzm2wRs24ZAqlcN6yRqFBHjOyrfLCcAjs1Q
0APhl7GiJ6iJXCPbOsh3et9LLxTM3rl4RRiCARvvuioxM3I+tP4YJxW1Z+LMj7Tb8u+a1SivBG/x
CxS5ewZMET8Zbm3mWIkw0yYaN4QC/9xBQsX9ElRTvJfYKd5c9IC3g6j7mznWFb8fCJy0MeYvuoi8
3oCpMkfPzAd1S+SRlW1UJ2z2CG/YzuLgtsrJ79xwU36u9SC7zUeaQTwOZZlo5Bg4UoE9JkgE5/Bw
6pnk/iDJmnVqx3eDmKq3sQCDnYVW/qXQI0GxTd2Q1gOAw3iAqmfwrtgOAg4XXU7j9vrZmqLqNM8d
J1iX3QruUi/gituTqhiFT5Vuf6txZDMQD8SljxII00rcfmXGk70qZqQHvA6NQiyv6gIpDKfNLPjA
9WigYa+Y+fWQf+2HCZ3yBf/WyJRDcY7W4Dg3jcTTURo6pu28mc+60zabKs7sjcrA9sxwtAGBaELy
SzTrPLmF609t8V0NFl9jYartztFl4IuwnXyX0SvjxtmJnrXcyU6Jqmh+0MzEeM52j9uswu6GDNUf
5vRLE9sRmsm2OodsYgXpR0Xnd3rHMzR69znXe1zmMfg5pGqiO2kY3Lb0hQHmzqNafQLokjyluo0I
EOapR/O6cjaZjMzdmMjpDrdNf6NGjbmHVVDJ1zk1Zz/ArrB1iaPd5h3VHmKr7mRGZR09pDIXO4wK
tR/m7csUq87eismUHrroR1WH3TNJ4clXfGSu34Zm5EFl0j18hPHRHnJly/RAxhsiFWgX2sg1THKF
vXHOrGk7oxw8RSb6K/JRs+JJpJVLZ+xKHETyyNmnxxbtk7xn1T64ra0RpUXa79I+yUz3zKTf6rDW
pCDswl6Sv0tvkA8v4jQO9o2busVlhaGpOInyT0M61+quwsqcI3531MFHfx722yjAdLgd5sRwSXcu
QEEbVabFPiEYRutJ7kjZ08pGWHt68zAGyjnGC0XtnyaJswP2viz4Npo09QlJRvms6W0CVF5plOK5
HsXUb8bYrK0tccpO9ZITQHPT9iZX6trF1/nQuCUdleaalEjzhHaAEYuy3quS+McZLni4j40usu6U
OnKNU5AiJz/aSZL90PmOtk1LbxU3hIjV8ypqWLESIStF3+uYb4rL2vCMndRq/bSqYRUv0nc6R9gC
aDGhgwy6U2kUVrkfojgsHrsRyfGd0ko+zdpjLdYuakiOyG0RJaNyJ9suo1uLj7TAHo4XhP28BqSw
I02Ktgind/fqzqRKneMpXx7ltQmTOW3veKODZZgvGW3Vl5WfMF7bR/OVDzhmzv9rkIwiopBTGhqu
N2vCpJVPLAOpjpNxwjbaW3crO8MFTaLfZbUOjMvL7StntEss5WwNkIkfq1m1G9Q81bgdAziWYqdC
ZyyeBd7l+YgFwUj81o5pRjdX7F53fUTrU+/QUBLZUqEEzHeAruk0rTAlhMs05+JEnb4u+LfkkoRp
MZ5j6hpAUSP+WvIOeotekRJPbf0zj+gbVVTQIzoUakHlYMBiiBbkKE5M9GD8aStkpgSgL75ok1xa
3is94u8t4T+mfw7DA67hjP4MQVr3R0pio1WlImkaHleBlBpyiN2Gi7Ro7/bVEHotIqPKq5HeOTe9
Sb/hliO9/R7bdT0fkLzlRMfwI6pTgJoZASwls4piyKXtyLwko4F+12AzUg/QTpxoP8Dob3d//yXM
j25GSAqcHi4ZF9BWmI1/UAaNsz7A39Tj0zqTrjSBNSrPh0iS0j6Hzr2ITf1eZzmIC2xlOW5rhuLj
FzXnAneLGdWFSb2A5TofxSTzbL1mkLbH0YWvb05lOd+vfzIL1iI9aajBnkvpovYKhcj4rYEKdK1D
TDm+tJe51xb52HXiOZmx7vrKVE1+2Av9dVVxG2ha5S51NcrFrBCNfTTV3rhVZRZqt7qLtqKFPmAw
dKxjZRz4XWKaf2GooFhpr5ZmIytVDcbCKP4xz/vA6WKcypzagEFEw1Ilc+sjo43BmqOVasPpem1s
KnWsMQhZu9br1pzIUFP9tIMe5oHsWgY4qzZBjRGn/GNoYf4x3kXiAE6K4T1JlqRZfXi4SaUVZdfA
WVTomjSXIrKL8IauWJnuoGurzJZy4fRv5BjDf++TaJH+EmmdKD/qokaQurxg5SaymlTcK2BZx/tV
X73qLrOsAi/i6VESTx5J27RRCxXvCFpqJr5WWYpXgj/njaoLhZsHshoMwL2p29s4M1GB5H0V6SfY
HFwZS1uxUzYRx012rVlOXzDdqNgVdABe/tDIT71GA/7YCUUtfGUE+3mLDgLFk5gSxlLrLvP3V0P7
49UguFFdBouOEDy5j+935VjtbHWze7Zql868GWcyvyHZpUmP2mjFhAVI96HVLEcjF6oOnuqOWBqv
GOEz3fS5WdAEwY9rbf7xsT5adBAcMKoGKQzz4rqi3o9t0kkIWRl2cDYUm/5/y+Cn9HBGkBUzIcNC
Qpglsvum078I7wtGjmQTJJXxZMiR890Mbclo0Q5Su7vlyeTmDpMtAgmnFh3Xqr9/2D8BHXxU4rRQ
aKMh0Xgv3n/YPh775V5R3wzBKJMXWiS9jSK9L9AFgStMrZsVxbHmWKTEj7V0PMfqFTUnmgDrmqmx
dvpxHCAG/K1YvfrZVvSD9lsitHhDFUNLpj3zLLuB8hKl2YWglqbxeqqO4CApkgefJJl6Xq6IQQ2o
x226fShcXfHKVjvJqwApqjGsHAWfrrppDaOkW7FsiDgpy376Oah1Sgy9qxs/C/w90p91Z37hbWqC
G4Prce0jRkEdiJS1G7C8hHQtkKLF3XFKZ2vaz6Or0hgBeRF5JOYNAzHnRDbTcCQZiylw3mY7S4EB
5hluAZMV0U3s9Qkv4cYMI0W91Zuk1/ONrtatvBEDPQRvjh2GOthL2DxjOiv/EpD+oVRAf6ua7MRM
C00TFen7xzjAUmDINpWnENbDfEn1cU6OA98dGPha++GGzI5wyuIdPLA2l8FgBcPt4e+LyfgwWr8m
0bno3NAnwEBkT3v/Kdo4KhAjKPp5XS1JKa3kFGpVJe9Mpw8t31YoXz3s1SydkEtjeSKrKHubmbnh
4XJzzfHUhDu4t/ohSWZJsosVt6K6R97RPK62bWIbeN3tVGUytCHgGVAwTq3qmyGxsp5WXEXecxje
khMaEuoD+HGETSzUr6svZo3nsYawmO/mfEQWSnprrD92mRVY59xQ++kfVILrr/6f8fQ1JG9JK4Y5
iyZCGB+USFTJeDjTyD7XhqLke80ajf08tQ6mFAwJhnbQ4j7V7vRRY3CeD4FmX1o76kM/wems7VYL
FF38yvZ5/FXXbgzEBy1tgMmxbmzFRYRJeHdOumOCBwqYokkfburHmu++cGbNbzKNv1L0MBX9PNCw
JGBk78ObiaHkSdXUjvZzmA8KX6aQju39fW38kXOJFRPao8oYhgW65M6/XxuyVtC1W1NPX6RMo4Mq
G+dhtMaqPVNS6yPpPjItN4i086MW5eNPZTTxzDYd7AXPgS5HjAYb1aJzFjPHYtUlzATlIHfzTCXs
T4qhlMo/dsc/TxjVQbWpomJYQNfaNcf2P6rNxesC2SioT+tkfYG+5zddRfYGZCtrdHalUgfdjiZm
F2/KkWHSBstHF+0gUxXdvnToNvrrQPcfX+d7yx6bF1og/EJChU24CII+CGvCpmYPzXVJgu4y4Yex
1Vr3bhhyuq9T4JUbuJbarpan1bFmaT4QqWO8Uk7GS5HDMNf7n8DB/5CtwTfhWEVvxn8JV/uIs25c
zH2YMqzfJNFZBQz/2bQafYcRuZJ4Y0NR3CLyLcNzAqHNOUW1PQ63vepK23OA2y3E3mwWW1mKp4pA
jSLcuDX0wZ1N/xdLXd0p80tGGU8fQix+OFWpmHfZdMDe0gnxqh7NLPcB1VR5JnEDwxflVxMZG9JJ
bON7lU1G9TN0VIVJIFfIfx2s+GJY0P9546k1iZhBmekiS6E4+Yist4Q+ujRDhpNEbHwzuJCVPlVz
bRM7oAwTEyK9zxyG+9FU4Knp0d5xGWpCvDwuAUz6I0+30g9r+Bd5dBUdszxxX12hDP2LqWNceaaP
YY47IHbqHbeRIqbpN8ztATVJqp1r5FXjPRN3ILQquM/2ldK9kTc0bt3WH4YC6jTTpXpx9k0MJPGc
DXVAhH0TZO5ZEuXypYOUom4ZzjNVxyCUqB6Yg7r/jnXaqk+Wo/QF5vqCRAAsWbXfs2b5ei0n3KEz
CovnoKzIrp2AshWbOFKL6UdXqaOOGiCYFGcjqhSwUdhkinGEBcidiiA0hDR2LXAs44hhB29HgzvV
aiNp8wB6FCzR5KsT2xNXsGs1kF6tLpao6nlrYj+IAZ7GZe2p4BFz32J/mPYRMUP8npksCyaeBUvo
oJgiLrZpWOPQ6flcKmKXhJY/pUZ6csZqUnbUj1yD4Aj17jm27Znx1ZoXpVCJ2/tSyQPATOvdEM5z
R6+0pQ/yohvzEF4WSWHsIZxXYs8h86tios1A+hywfSxda7prW5Q/gcn+Bj/KU0oLql/farV5Ewts
fCQ2xVNDopWSHfrEbJtD5xIRz9W/6HQy/TDy8VJbEGrIVct2qU3/5MgurGAsvuqpUYMUsz8Tj3Xv
5kne7ePZMjhzw65edM3xdI8it0gO6NUKEGJTG8HKSlA2ndK2c439apTVMVUiCqL/CkMZ0vLzNGhz
5v/2ygg5E1vWDCMzr6AFAF3qY5G9xbOQ8SMesdzYFHlZOnejPfb/OlX/0D/jgCeUSF2oZMt++KHg
AO+XURO5ULTDAp9GVrb1veCe/6SAZ8ARW5lDfGAKlimvnVPAmwm0YRp5JlyMttYwIXhPKkKpfCLE
NUnznRbm7dSFLE4wrm3l4wJM8090YspP8C+d/rjq3SudEsFzqkD4QVJY9+agiB0spzLfl/y4Z3Qw
6Bwbp+QC9PeN/wPXYNn4ua+YpGq6zEcgS3woJMRsVFRfvX5yrkauKnZDGwhYRDVqxV21rWkcigN9
Sl4boEFIc1fvXK1PcXrSHBE/iKlup4NZj2Ro5IrSiSPYFxtGAosL9W80wi0URtcchmzu03scilX6
mGX094swiMP/9SXYAEblgmriZqmBxvpwCW70wZA2cc2nQSFm6zh3aVXua0qaGT9OmX4eHd5wsVFp
jfMyTnnDgBa6zG1TDZLuazkDPGE+YbFb8IrKmxw/qrqJjCKVu3ZSwpNNPM+8rYTjAGBkpPO2otBo
3yweoaufDpkVjosWcgOhWsLBBbefeRN/IxSKazHpTiE/Yla72LyzUDw8YZQySpKkpqok0ajDy7Sl
+dUy80S296Zk0RT84EWyZ5J4hq69a8kUVv5RV+nvWwjLLcYmR14TGupYuF4fgV7DZM0aZnMNjeoS
lZhe7Xi5OuTNLcozYiy5D9TxiZk4NWPVSOlsrCDTnGPVNQPA2qvNe9bJ67mQNscwp9AQW1fouAT0
9KZh7pyFocvmxWIufxE+lzIYQBFOK+LvS/u6dP97YqJ1FBRbCzGCE5Ng1/clYsU+m8PmIJ5Hw7H4
MGjI4z0cVqGxjQ22kI0VqjkZOyEhR91GDZVC369o6KRyjP4BnjRayIRaKIQ0ETc2saIEDKJQbTX8
clDQ0diC5jHqbyHoHSS2AhPAjYzYD/ygC9tqg48J6W1jAcHZmR07wcYhFAnZ22BkwXZtETdFpihH
O23D9PJ/b75q0m6lbnX6YwjfSPzDycIt+kMxYSEPpdTTBTlKXNQJun0HYZpbWzGZwwX7qavAJOlV
Zvwfzs5rN5IcW9evcjD3MTu8OdgzF5kpkyGpWlL5ugmUUYW3DP/054vMPrMldlVrg8BggO6qpigG
F83iv74/usLkSPt4rtBvT2VU7WQn9rXZpFn85ly4qC8D9wn3FBzDxEMgZl6keO+rlpvwAZOx/g7d
RJO21Au0cbm35wSPszQCGIpuxl+LP3OnDqwz53qIZsyBhBmLb+M62NZF7UT+w9mLsD6Zj5yPUulk
bJFyuvPO9uIsj5RnigUZM89FF06j1583JhEg1BMyMR8iMlfnq0+tBZTrnzfec7YBvA0fDPYlWzF4
zHL+ZgokefZuy0RvD6tpPtiXf6IRThroMzYUAM+WqcyQz302IMe3JENn2mgmgdwNSPiIGLLlAgD1
8RQEZ1pj5EMkvSn1SPhvIIVt6JQTjel8RMJ8gwqSs9SadYBz55kGlqFt4IXqXPWW1B43s/OZ61ws
fuY6nBkP5zTJGTFWURiTYJsbQxK6CqhpyC/OSE2OrRvRgdRNecMRuBWfI7NncZwa7kYP2clx8Ywp
5YUwQHKJ+qusbs4/eW0oo9cOib3MpC3akxft2RbzPF0HLeDXYlXkmbHkxbbN94tmpzqHlbg3jaux
90hQTJyloVaYK1sI1eJ0zbDGBG/bPF36y2K26UhQtFVNAr2akgefRwWPV91gEoQZNbQ59gt2z6Zf
cN5oHkazIvVS9YiqLppp8XDEIFexTWazQY54cEhSoXdD7LqaP0uDA/r7gucI75B48eAe3XOB7sqj
+V3r+HxOPefZWhxmSD7ex8aJoOzVSQ1POdG0kfROQ+30Jp4c3FtLs1yemUlc+OKCeqnCHHdeXPLk
dga25KcqQbx8+Qw+wmA4B6dtYTzVUUZJvlJ5XI6bqyxOyZ9TzbL6bwkVDJ/sQWQDT7cU/UGXWNmh
2GipiKtOJJVzPts10q0k+1yTSpKjYoJPIgFd4s8cFR9b1+uEy4tyOV1Qysi1l70/wAShHGKMYLRe
YHMLTJrCZ+RiXFUoVSJgPN6qP8fz1FxTvwLc8DxbgJ55/psBuvF3nWxj90ff9ggZM3OJxrcbb0J8
tjV/SySXpwyeyYNuf7PCaoBlfNbFj9Qiaz+qbHKQsXZ5+gF4mo7nTIMgcxdoQH2up8jN4n00TZ5+
NBCDV6E3ko09QLDoKPfyMf64qjg9ZPs/V0juBlt5tSMK6u3qBL5DY8ae+W4Gl8KcGjJq4+aqy4kG
0Sbsy/pp9fCibguQ8xzGtXmrFZ22PHeSAegW0Jey1P5QAifd85Zj3GNKQ0LbgxSxvJsq5tJDTHEy
uAjHtxYXRm1cvHchjsQPxjSNLjpVyvenbx4vJsueWeLYP8/UJLxAASH61RLWFND4ELfQQCMi2ooV
zzWrWIMXDuO6pZRPl5fz4NnULMf7NImNmbWhxcm1tgW2awFVN0wC7g0JtNE10a6jsU0X0lgOh8Ru
aazoDRrg2XuYZnxzbxLXpuZkjtgteXa2gnr+sjq2Vw87AQ2n+1ie1iyvc9BqwM8ux2lHqQ+3PBdZ
w/rGol3rLmuAGH44Xwbyk8FzOgyGf4eja/19QbBT3+m6jfml5fkoWCJjHq/N2thm62R2g7lrbERk
wx4ZSJtcu4SDs0FiLNvZNUYuINEaQiwpcuIN9MJNzimvyEQO+q2Xd9QMzOPQzlesFK64crlvVDck
xsv6Olj6tWDh8JLWga9ZJ1gwIQ+5nD3b6g7nNacYxLYEOhaT6MyiwFYi0u8cKJbNBW9/S33lsBV8
4ay8QEArhmD9kUInNqgxxDh4viaL1es7nzW2IC+6lu11x9sAcpUe+cdVPsIiuUKNTE167eu1vYdE
FXQHVPOLxU1rA3LwtAbWfpc3VTne2pz30ivLJhZuFifajpsnyINhZtlwNO0WBO+StlkBaTIDLn7h
avOiX+l4TCU2XAaNRSSyOqv6OAr2Rgq86+5ziaAnORgO0rnrbGLyXGJ3O1J3qIGj3IOEcZjx2diM
gFvgiOy4lm9gn2xBxDO2XIx8TivbaoA2mW2SeXzaJvk/n0tEfQGEsDS/YbexhdG2xs8PuKda9Udu
PM5wtWrYAuDR6w2OCfQX6LT3QGm+HVVv4MphTa6XyVrfAz9qvcfg/C2iFQBWkBuckndYdcTzcolI
nOezHa+Quf/T06dpLfZWX7TL23P9dWIAgt0n3lByqgSEujrsS8wEC3L3lnn4s4r4dEw5HyHOPIaz
4fWkk/xA0oXk+020UuL4ECPwyy7L1sntx5Ft075q/a57pbjWkA9d+HIFFIoZ3obyo1BFyrEZo/Aa
baqqMHAXCzGnlRehDvbqnaDysnjv2dhh8+QwJRdrUKXpNd7asfEGGSzmUmaTpdXjuSiq4cnUfKQ6
bvrjXDLz9+dmiX/Iq6blbclV8gkb+pZLx8vDIdZ7YHw0bOryzkfOAGGXQskSPXF+l7g1D/SONVNb
M1PqwL8ZcUN6H2P3YHzzCtICP8+n2r/vk7Vd2p6f5Sm6NV22crhvAScQ+WZuxTorvhaJ8GwIHnCf
Y4HI7Ra/oSwRm1RtaqIDx3mxhFqz4PxHeXKDKG6kVhiKdj4XlJmCNUfKZ0OTsObSsG7OKPdz1VU9
pMbG5R379JLyiI3eit6aQ2Xat1dDOywgrzvy5VW5GvXlWoPkuXLQ9hVUDGx1wOcDzrI9ZsUnvMyZ
9XUaiP/6Pv/f+Km+P//K4t//zT9/BxnAc3/SS//473d1yf/+e/tv/vN3Xv4X/75Lv3e1qH/2f/u3
rp7qN1/LJyH/pRct89P/7N3ha//1xT9cVH3aLw/DU7c8Pomh6E+94PfY/ub/9g//z9OplXdL8/Sv
f3yvB2yvaS1O6+off/7R8QfupQ4z4r+et//nH26/wL/+8SF96quv5V/+i6evov/XPww9+CdGWuB4
MPPi0cDgujM9nf/E/CdGMBt1gjmFHpWYZLfrE36i9U/mvw7lgKJdh2glISvqYfsj/582/45MLDw1
GAyQIf/x/3v24gv+zxd9bsT68pVLO3k0uuD7t4Tvs8cA17KWml1rRg3iHhbvq8Y28WwM/vxJ/5uW
pQzITJVcBwcBvVg/fYcq+V1r4y9qTW/pg2ed5qWL6jitmsM+89Zd2hrwrMrxlSTEb0ZEfu8LADAU
MxLa0HOS8oCp5B9FHlmvKWBerCT/Ge6THe6zngeNluNPl0yh4w23gVHkIOyC8ZWcw+96Li3tKAeK
GkzFFGKHAkUm16oL5PXVK/f237Uu3dbZOS29NcUY1gt6SnibqDYW01Psu/SSFqeoQLlEjmEbt1DE
GvRnwK0mxb5vv9OzYQeljTXO6g5h7jc4HhUXSeC98kVfZm3/54tK+xScxZHj/jKGMDx183qsUiGu
VjPL269Y36zbcYdlfKdFo3ZjQxFU/dhS4JLGyOZqmYewSqenZGMR1+KHUnjJAh7T5EYApHQIebcN
ogdemotjCvl6eiXT/ZuZdOJGPfsa8NY67EGTIcQop78KelSTxpDUijNJWhyCvou8rG8YmF67Qyhz
IebxndLAnLR5zzpucO3DG9IbQmoBFndXjl11b2OfoTgu2xR71jylwrpHjn0Ih7jJHnVKMa8XznFq
4yIf/OLChj+v1XS+hZktKpejMVbvaiMjLQ4k2WMo3HS9g3rRHhbMzL4FlvEq5+DXy+bpUPtsZBJv
Cly0Ln2I7ETbXKmnKBww4XmEabSIQ4SK9qj2i0jhDFYALl7HT5o7x0QbaaE1f5Ux9buJL8Wsi8db
AQ+qD90xpSiyLNu7zrFfqbH/XePSfksxOs8gJo5uPFveRZ1eh3kez2/UhkUKKh/N5OAOKMxhAweP
WZEM71B8qJ0U5GP1rK+WJxzBsGRJdmMA2bssl+w1L9vfjIsuRVXq9ysm3FYfVk2UplfkVtI/Zsp7
FffFE/Dg2dycFj+akMPRvujMiyHzxl3fDt+Vxl2X4qrQ8PeBDtiHjeUGnzXNWD41K2+7aq1Lm24f
QFXCu5bWk2HYo6yaUE6093/f+Hbq+J9L0382xpMD07NxMbkoN1gAiTDrnOlny5vmTdWs3r22tCZ1
nkO05JdBZTlKI2UG0khVZLXNBBeasCq8P4Y5fQ+B8+rvf5NfzyB0kC/X5ZkjvQZvuKMeCWFqqbvv
kplaXZXGefV92Tg0V2rabbYrfYyPyZz8ROQWKLYtrTddasZVP7HeFGT/rcB/Z5vNW7VuS6vNhMC9
axq/DzFjuM308biUsdJwW7q01sAur2g75rDm1uuuHLTPTkdWRqXfINReDnfiUbbRwNcIe6qW71Yj
x090MpuPaq1La81AEePMk6kIg+5qgfdu1vlereUtyp5Fk0MmIEfNxhzMqDIVE5V53kGt6W3aP2ta
x7GL9+e+C1stuLMK0e+Grniv1rY0u+04jhOkKl1YZO2lG82HpZ0Vuy1N7j4Tpp1rcxeulfiIPP6C
J4XXXvH5zf+6dJmBNLnrpqknC5VK2CfGXQmFOeteg8z9bi2RJjdckRw2gdGHVmP+mPLl1qSiSmms
ZdXz6vW5NhRpR3WZg1EMvOZacYr40rxOAz1aDbfqwtirv1IE8dgWqdq51PSlmd1QTKqBUuhCEsre
BUZu5LmSIb9QGxRpW2hQniQtrq+hRTEy7/uHITOVji3YcryMmxFwcVdWeRc6TeUdMK34EXjrT7Vu
SzHpuF7RWy7hDkPvS7LUD1ndKW36aI1edrueIlAxlIeGjA2PtE8BigK1TksR2Ww6en8b6wTFWW19
J1mg+BWlgPSFF1dI0bqQUpIfCdoGnoXEN7VeSxG5THOXDVbdhRSTFLu+HJ4iw1ZbtT1pt/Gpe0gx
lRKhh0Ni7xkXeTEq7ZKmJ4WkKxqDjGLR8ZSn34+d+ymiMPaVbm/B8Yv1z5ND0teMufFYpGbowjD8
2w3NFRQllXC8dZQHO/M7pYuF6UnxiXK3RIrgdCG4iztHmF8803lU+rCeFJ9BnC/NLBh80bjLLgAM
t9M2yy611qUIjUWt9zNY2FALqqPriz94ylZKb6K4fRmh0xoAbC45yq4LRdKYlOQoNIfmlY/7mx1o
yyg/3+5r3gYpCtXacDGWC5APOysq1MLUk8K0pCwnXlO2iQbM+A4mMhX3tflBbcClOOXgNgh3YN2C
K7kX81sOhQelluUCOoE5Ug6HqQu7BqVw41AX9sqr22/G2pWClPciVAkGUvvFxWCtd713dYH13d93
e5vHv4hSV4pS6g/12J0ngY6/zfF+RlEUPFZuBbctGhzv/d//lN/9ClKABh1+PcgiOiRo8TX+fghj
IsVxlwLUTACGxGisw4xSdbx6rkfOtWq93n6bZ2faXLBu9abfhrr4IXRMBDO1WXgqPXvWsM4zsQ5C
uQ1tUd62dn6dorp95YP+bqilyLSHbHQqHCVCigu93TRGSP3gOqmNiBSbFSVflBhxzPLGNbtu8fw6
LDVaAbXWpeAcghTJN2XdoY//WDFYu3zN1TruSHuoZmK/m9SM+Oxnl1TcYKAdKSX7zJP7+7OPyeD2
qE8Jz75yMMK2bjF3UzuMy+5TuYCPNTcUFGBnecgEriuu4nhIAWlMMdjylqEWk3lofP+yyl7T3/5m
AjpyQHpWjM8F44Gj7L6eA6gZrx0pftf09u+fDbU+sCJRo9eGQ5FDb2W5ig21DU3mYVMzVOT9wgSx
WL4Hs8DVJFGcIFJEptkEdcG12lBbETvY1rAg78tMxdalkDR43/IAkbOWYAmGxaX3Dm+DV+bftgn8
YnNwpID0ZgGXciBx6I2F217aA0nhZTasZmfPXvBjXBdKBmbdLoXa4iVXBgHCSKhxLIkl1zhgpPst
wptIsW1pG8WZDCDVMnVoQdbsYo0wvF27TDG9Z0v7aDsYmtv5aRtO84J0tD0WgLyUlkVZ4bxkBtwZ
iHJhPcwPemW+DVL3FYr2bwJKNrAvOyi/QIIY75WqJZAzUaldqvVailU/L4GSodEKgw1VfcB8OLjs
k83lT619+Xxbd9Rl94K1sVyDXZlypUOFpzjk5suFJu2oetSCvA0NHO33QZqLA5Ks18Trvxt1KWQ7
w6OarGza0FkjCGWes+wof1LbRE9ghWdrpD1sSsmEEKqFH1JX0OzcuSzVxsWStlEu+7k5ruz/QTH0
5gEuX2dcBQWWj4o/QArSoVxMO8PHiJoNRJCptWtqS7FpKUJRXEFxzAgjb8z3vFjc9+2otgZb0m4a
DU0WL0HWMiztTTbj2+PoF0rT3JJ2U6GbwZT1zESh6YcAIGJclQ9qTUsROmsGhmB62YUT2uN9jIAX
m2jYoN/VmpcCNEOM4UTFglQCssPjnDjztVh950mtdSlCfey2yiRrOdBl5hNUxk+a76u9ppgnBd+z
EFrW3jWpn2up9Yu+wnJ6IzZamFq/pS01TQoN5R6zsOiCJyNv9405NGpty6IjfYRcYrt80FrTIxN4
E262h5nqrlFtxsjCIyghU2UGLFwQMU201eXVKDK16WJK4UnhQLEYNTHkiukNnhlHykWVHrVJ1r5c
zWsLRGFixByRNPNj5/jhML52r9gWvl+ckE5Guc+mCthzV4uajlt/sQjnwWj7Nrv0kf2PvDkZkD7b
ZHU+IMT0NlfRprcPiSXEqPiLSZNpXMViiXbgPOxl+x7/t13Zj2pP3qasU4lEE7V51ZN2EMk9NKjP
iW4p7iOyf7DO239SNTWbt+9SO1W9X3tTLVsiK1RcJGZtT7o+hPlwMSfxTe+LR6XY3bSXz68f1NXj
hLdWDLeV4VQej8VuHBSTDbI6pRrTwtK67RimA1ZiQy2hDqr1W1roBXW8WY6nSJjqDqRx7zIvBrUZ
KAusg4FSFs2YOPbG9vXoTCUl5Emv2G/z5XgXZHURYXkcZcz4viujO5H7ahnjk3D8WdwWthD1mBI5
lIfAkhpaFxM7/ZvSeJ/ct541jvDKKnxMYcN0an+CV173lgdXVq1xaVvVsqzrR5Cv6AiCFNC2gQMo
eFi1xqUR9wNtCsyOmC/b5QN14x+48n1Sa1o69GYWTp8jCO4wqFf955hOHviPWnstj/mbM/WJb/Zs
zDnH2NgWBzQf1F+KoC2HvYFQbdkr9V5WF9nYwnhTRb6kn6OHNHJ30WSoHR7/Ii1qgW8Y27mU8gV7
h4k91GVbTbxhyroivOdce7TYsYU1RZTIOE+lCyJWbVCk9bDVqOa2Or0NTS9/xH3prmpytfjUpWPv
sPZGFXs0PQOtwKD0vhfxo1qvpdWw8LvRJf3chEEffTCxjDJHS7FpOTaBl0x9xEKLn+dtNIgPlT8p
pi8Q6r/YfGaBVRlUHy6NY/eDdfe2LSu1s7RsJCbMPIeHwTrbz+mVq8U3pd9cqg22dEKpU+F7c78h
UVaKHIvyzTDVb1WaNmQRzrwKLA3AeId61v+YO+9NvNpq5xOIdS8Hu/dnJw1Wum1D0Fhj7Q2q8p1a
t6Vzrtb3CflWItKoRgpVk8cg0K7Vmpbi0W8Wy1wtNjX8Ot4ntn67umrxaMjqtToYdfD/ZRNS+vy+
1bUe04tG7aQJj1Qa7dmcsIhgalO9crl0NN6DL1ccbykmHXC6mJZ13FnwJLsYQDZ+0rxJKO1qRiBF
pRFReGp37AuOHV3NU/AHrkCvJF9/vaMZsn6otFpE4XHbhDi2fIYl/rbSCiWNOHVBLwd8xJfMCla2
HNMRKQw/DdTauCRKMf8XcKLdzG4/JiZnQg2XsKECb98IV22OyyIizmyGlWZOE7pD9dbvg3d9Mn9W
Ch9ZQ5SwNCWp4NpP+bOAtg6Oyu0itWnoS7HpDdjFxRPTsFkxwrCDfAAr2l+o9VzaLT2tGOtqSz5r
OESL3DyUvqH4MaXYzKhjguhMQs7ZYII8Lsa7XEcFpdZxKTinqJ96uPFQ5PICnO4c3LetUEu1GDL/
hWJTR0Qxy+EwWEjkMS6E7aYmysGG9GUIuSnl45D6OKCIGaeZ7H0XC7WNzZejM88Bj6ScIlw7gbvi
uW+NeFRShVAl+LLbMSA/Fy4Vr+VTMO1gHgAG0/tWbZLLcqK00JJorEUTpsTNpCffsVhR3DdlOdGk
RxlsAHRh7HA4UTd5EpeHPo4A6CvNRVkJ0emUXi96hsrUs7j/1I+mrn1Va1oKfmsZNKt1mYm2zcXe
01JjL3i1Uwsi2b66CCpYVMkW/ZZ92cHYGj3nvVrHpejn0kCxp6s1YZviutEAVZvaD0pNy5qtYDbt
KMHSJYyi9spbxneZkSm9alHc9HKST2XSuzDKGJA2KXd9MsRwl1tLbbg9aUySwvHWiN0ZMKNz6+Cf
47mqTUvLISoZS4MmxpZfQ0Fsm+RHOpaJ2iYhS7ai2RYu2EKOcF0BuXC8X+JAbZOQJVuVnbU2QH/0
d52p7RIdcyNtcZQSehCwXn7N1Rt7za8ZFL3Ibv21e1MkmdLVG2jWy6Z5P9Ccqg22NGS27GDk3dSm
YjEq0M+XjcfuMlDcwN429EN28Ir2fnVADStFj6wg6kzTxKESQVVkVXDJ6n0++mrzxJWOtJnP8+Rq
8+JUlKgp/QnGLhAjtVykISPtAtzUJh1/gHAwtSuKEZ56zfuoNibSRJm70q1LjQme9VjXwvzUcCdU
alqWDxV9S/lqH5ML7yGWz0kKhLVv36s1Lk0UQ6/xFTTZHTDp/GyVwy2WRmrbvSwgApDswxMlExlY
5SFoysdxjdSuJ460p5ltBpdGcGnjtbn4ZiWlc2HWcBTVxsR5GTwGvMyAOkSusgCaL0uvfbN0vaO2
XMk0PUrQTbscOejH5gOEsCsbbLlat6UF3LOHwMhGFpS8babrRvTTzq0dU+2E4kiRGcTGksMI5mu6
w1U1rjez0V6pdVw6zkbF1Gadx0RZnewScOgDLjpqV2RZRLRWi4uEGo1JkNU/5zm/BK/7qNRrWS5U
1o4PeIfjiZc1zWW/ivUq78pR7appS3EZO2ZTg7Fvw252bo1GC5sifqfWcSkJlAYJ8sYWkYbjgqu1
06sFKx61pqW4jPQRe19B5HSglYqArFtSqG06slqIE2wFh4tJErvuNdn1m0hXWwJt6UxFPUBcYf/b
hEvafy4DoJNFaseK3ZaCEsuTuod4x9xO9D3GWre2/pr2c/tef33+Ber9cpkiS4g9T8fz79oGrv2l
RBb7JXVM0V3qY+6s10D19PtFB92l+LvIcWrNkR+lDBRY7fs2Nu9qo1ZbcmXhUBLghGZHQRNWtV9C
hzS/FE4j1JYuWTgU2UVvrgZJd0BlF0VVgFVblJ4KwOS+/AZsFdgvC/otRHfQhdfucA1Wk1QYlhSo
Xp+CssPDiErP9Gc1Wu9xskx2fx+p2172i8kjq4biJMEuKbGhTusJfkBu9zhamfsxWia1RV3WDlFY
UpoYHjZcDCtcWfv6azZmr2VXfjP1T44Xzx7cyCOky2KQIi+x4N2tOH4+NWltVrh947+6j/NWu4/q
WnGFOBFyn/24NIK3i4VJE0KF+2gs5p039GrZUJle1A9YxAcDKcU1aKjuKbsCh/hRrcTHkMVEwHbT
SDArw2pyrZ+JrsPE7CbozH8/ibYV8leTSDr0GlbH0wf57XBxhuW9Hs3ZZ6uDdqzUuqwosorW7Tyj
YmgAKOKCqsE8LrPpXql1WapR1cMSxDhAH7s2O2DdfmjSH0oty0KlWWtmEJs8HzqjqHjSCsr9aIpJ
7dooS5XWnHqz3uYOk4wzlVvOvWaNaouZLFUKuONOLpa3Ie/LWbXr7Xbsdm6yvrLPnnRJv5gusl6p
cqw4q9KgDqehN3JazhccAkWXHuZ5HMGuYrH0jixv+9glhv6+yvpZ44BSej98u8xvkt7ysssq74Ob
zo61975ltfPOYfd+SPu8/pzj1dXt2lSff/SaozWbGa+Ibg0OxTej1tIWvMZoU6jPalJdQxblGHHe
FWPcBHiplbs5uvFLtZpi/K5ebiwRbtuBG9XBEfduTS/23qBW42rI7CKMrXVzFrTsWBjOCv92QnKh
NPNlQc5kVU471DRtYEdmwZ0lnaS2Tp4sYZ4twUmT2hRg4CVeOUO8j2Oe6CCBThdqHZdONs6CIRGk
+eCIjbVx0Mfqfqx8xcSarA7JomGtXI/Gba2DbX4JCVZt/ZWFIXFSWGKmsujoVdbB8fFVyd4pDYis
C3HWznQKo+JL5hk22B7mip/VWpYONVk2T/6IlfERO6ZiD38822NkqviaK6ufqlY0dmmsFYn69qZr
m7usDl5JBW5Hul+tXtJJXkxr5fFAl4c1R/hkn6ZxfDvHXXCzTiao7nQs6kcqjKMU47+6UIuok+3E
s2lvtqWJ20hHDrzus082jGSOO3mbqd3XZE5aOgNsnwqiiivgUxI0+7rWvit955NBwrOeF1DVccOl
adu8o56mW9VGRFaGQqfrx7Sj3RgSqZ+wTWHzptRlWRgKqDp1Bbmfo54l/sN22H5LJqX8otS6DEKy
+0grvBJvGLvVxcGHMI9p+VyoHQtkzRIa8SjWgs49Zo6T3niOk1xgp5O+snX/5qAnk5Bmx8OS22vc
Y9DDeTfrAtfGdlZcfWWAEF7Rpi1m1zn6U7kbHeOyzUy1hV0WLmVdMc3rODpHQx8PZv0l7Va10JF1
S2ng+5MwevfYd82ujn60q+KpWqYH2dGgW2B4aBlfoQMeBI+Z0fhKSUJ8sF6eK6B8FXkX2c4xm8Y/
onW+E5Pa0zHM/pdNL9aa4RDiOEe9TWIIYlGJz5erdpX5q7Na5eLrsE7OsXSst0uf3XfCeVSJTOhM
Lztu+FSGYFroHFmwjp0Rh52tdKLWZeXSNOKAgjrC4VyxpNeGGIbrqEjUVHm4O77sd2d6mYHAxTmy
riSXnqZj2F6XiZK6WpdtXMWSWWIsCZ0xoLTTc0KnVxN0gch+2fFpQqvoVIOD6UdwiLRgn9pKCxUo
4pctx9DejTVdnONi+OWFnw36BT54appwPG5ftt5gfhTlA637k9NcFHVq7XUuAEqnOV2mH2kkT4U5
MQ0pV7qth+xjvdpKu4MuC5d6/GcSURL1YvCzr1zsvGk/iUx71RabAfjr2QhzlpcDk/dTC6PUoOtN
k1xZXMeuu95Q+6ayemlNfDfVE805whV/zKKq39uVqxhDMgLJL0bevU0ar+PWxi0qmfeTPbqKn1SK
0KB168zA3Os4xRkgFLuNNDQBaZypKc91GYVEvaXHE1hnH8u1OYxrt8eDVuk0hBX2y29a1Ibf6nWh
H0UU7Q0jOkKuVzrD6bJ+aUFbPVHOoh/TkULLGQsCM1Da8HETf9lr7C/mohKxfmy19m1jFu/aUlNS
duiyfKmskiJvknE9mqX5AToHnEYMjZW2IFm85FpjgyGZvxwBUo+7NQ0+Tt78oNa2HJw4s60tfhHH
iJJIkyxLOr7D80yNAaDLj+rtNLfFAlr1mDjeceq0Q9y5ij2XNuYqzzDiybz56A7unVuVFyLQla6h
uizTWZLGAcuxzseg1q8TYe77olSb3bJGZ4203O6imV630B+nJXhHEbTSqZPS+5fTu1o7w4+NYT7O
TpNcNNhkXvaRV1+pzRQp5KmwDACfZfNx0L3d0BcXVRKpnTtllY4bTIZgT56OVUOmj0fNfNct9ie1
fktBX7vcxfU0mI6UWKN4ce7wxFPrt6zSifB0TlahDUfeAA6eSI65Z6uNtqzRGRqsdNIxGY+pWHa2
be40Rym3rctqwhqM3ewZ0XDM3Pki8yOcNZ6URtqVIjKzlyapB3tghkzTo+t4zrXfWGoFQ9hovpzd
RW2Vs5Xow3E0WgzG4B9cWJMamwC7a6nxgX0+zcbhWEzOoXSMu1ixikqXBVFuZs+pX8fjEUvkN2Ko
D6iu1DYdWRA1Wm1sO209Hlv87XeYUBy1wv+p9jGlsPGDEatUTAWPsw3ooKiW6jLRe03tzCnLlpw5
M/pONwZkm9Z4oQWBs4uD3jgo9V0GH5VtBt9Un4djWmmPazZdprn7Ta1pab/0gB3Mjo53lKHlx8is
HvBb/KDWtBQ+i025U+r0wxE81n1kBh/MSk2Gr8vkIwie48AVYjg2eXFVTMu1pwhq+YsBqMC1bZ40
el2YeryrPPMmLjylNKEuo4+MIosoAGsw6nI/xfp0YVSp2klQFixhk9U7mDTRMpXwazlctc5raKLt
c/3iuuNIt0yzKmysOKbh6OE9FFx4ZeelF2PUmZ9jHrrdnSfsTC3PhHOYtGw1RaujDcelSSOrPHTp
+ybperWjiqww4FXSCkD8iKMflJf4RF5jSqmWPpAFBkniZekYl/1xNYq3mdkdnGJWvPXI2gJttqCy
Y7dyLEfzp5EZX+rBULzjy9ICt/c7Pyt6cTTrJ2fOD3mQqi1ZsorAKYbWjHoGO6rXPY+fl9Q7K851
aSWf+0nX62BgW7bSGxOkat9oajcTWeaWDXaQQMToj0He7CPqTfTOVGxamtrRajWLWdv9ccmm6L3Q
m/Q2Kj01mg9+qy8Dx3Vbj+ME9mZWmWACOhTejTXXi9rhTeZiecmYYY6ZcuupNrhGcMjjVO3WIyvd
LN32Jwvm/XHq3SsrELdQQy+V9h9Z6lbzjA5vXBPHVQQ7r4uum9xTSxfY0s1kzXk+saakP7pf/BF3
a8VmpSuJ585Z0BRpfzRGbe942XEeovdqgyGt4oGXsUWSAzsOmgfJJ7uG//SavGo7VP5ih5D1bJY9
j3pSMBophro3E1F0rbmZUDtayYI2fDtx6i08cewy5721+OWuCsSgFpWyImlaFrPptr7GpZiu3QFf
ccfvxStxs0XfLwZGViQFWmUMHgAMts7MCicUy1/bpnRiXjXT1r7oNREbO6uFqqz460hLo75gjjCK
RhyTWF93jT+0e0xsXnkT/s1nliVKZd9i2jsW4oiLaHPZuFlz8KqyUjv7y0KiXOvn0u3YivCW0m9x
vWYB7hSZwbosJEqoA08Qi3bHwMA4LynLT05fqJHDdFlK5FQmHHWz7Y514L2psoc0dt8qRa0sIorn
trepZuuOVj7upsD6kSe1WhpBFg/0STp3mGF3x66mZoaD186dBrUSQt2U1sdJzFPWAGk+lprWHbq6
0w9uoUaX12WZwFQYdYrRe3c0DJhDhX7bi1ptrZElApZv+dM41N3RX/yD7kW7qlQTa+iyRGAKdJgs
dtkd0zq6XJsnU4/UzkOySECffTDbOiBMw7QOAAP2fq94z5JFAu6amokG9urY5dVuCGaMjCu1vU6W
JC5lnVOetLbHso7jT/40p/erHpvflAJH1qoFdeJHeJC1xxgGi1NEu3JW3O1ksZrfL0k15DQ9+Ul/
yJch23tNM6vNQFmwVg+1BsSW1lsju8rr4Rpp+LXamEhBCbovjoO4KNnrzP6A1Ut1nQzIiNVal84u
zVZvZq1VfDQQqrFLP/iN4oOejJBKp9JJI33OUFEZqIUjHOQ/lGIt1TjKuqxZYzmJIpHQ/thPxqFd
8y+DViim+WTZmp34Foh9zbkeRRD2i7XzAAYqDbmsW0vScu1GO/Wua204TOaMa0IB00itcelGscAg
GbTGdq9tYe1WRHGuoRabsjZI71O7bdN0vG7T0b70k3i96hd/VLt4ytogFFOdFzvxeJ1r7q2WJBfB
2KhlmmVhUO0Lw+nJNF/jrjnt9C64M6NU8fVU1gUV0yRM9F7jddot7zpcSHaNFvw/zr6tOVMcy/av
dNQ7PQIEiBNT/QB8F9vpS6bTeakXhfMmgQAhQELw689yT8+ZKboj+gQRVRGZaVvmE9rat7XXOlhD
2COD8qBDwjm9bYoVUI7L2A0YyY8++S61iKH+RRef22suQMjKoiUt8fzH8sM9Pqjj0gWtz7A458+g
rvnMlyMBZ5rvwUFjN/TT2sfuGrRDCb3yKnPZEcPE0rtcP5RmDeQSWVSYZOUiBnzQ6wGrxMo7q7Rj
2Dmaru5KkuZrG3TnRY0H92NXroWTXEepF3dNjL8bXH3Ot0OMi3jq5M/ViQG9tkhK466u6fg5F0FY
OKqjI8U3rP6Wr/wv8CVkSyDgbrW7jj6rDGle+GZejm33zmW6TiFlNtZd5zm8j4QAeS/oO494TDz3
zmMi9nZtbx0OYGIe8Ko1qs3jkasKa+9sMutJrY1U7rpMW4lfdIkzd/Cc7HLMaSQqqRVe5taRoMgi
fQqS7VCVLM3/CRbkGj4Y0rqrntDmWNWWnsCC/+PQ29wDgyBN4RKLeeSr9uaydWmBTTridfDcO7sk
bNaok2PpLFFlO9XlIA7JrmDpnV3yMVxNprC099s5d2+sD/mxV7nHA43WEBCLw3Ig5DoXum9eGBmb
IwEEnntnlgajXsnoe3ftG1ImsT316aGYCkvvzLJJiHAh/r/mC/+F5lUpTfrz2BnZGWVN82brZxhO
vNGzJtoVDIXUg1uys8q+W6exaaS7drp5jtQ3HWRHJkawIzujNL3Oo0ljs2Pi4ROSizDzsWtqjwQi
oODVzYLNricwsLTygomiI8lOmu+BQJqCBCxEvxcy7H2RQg4kBb/Gofe4JzEaQ1iK6hp3FfVWqexm
HvQx576n02kjpyMXBPbqJVTcrSwgVHykYo392PlJYsbVkB63n3jT3awZpp23Y7orWHxnj7loUhUK
PHeej9/aLXl27doc3O2dQWYtCYCTx9oyfmdDVpJtO7jyzh7bUG4pQaJwtcNarPznwD4fOyA7W5yF
TJPZ44AA9FIByV0srTnmDPY8OmRI5Tj1zF6NT1KQgQClOKspOLb6HqQjmUqFfQu3pzC0FRAkn6lr
/bHt3sN03hLsbBnx6FO8Xga/XhZ9iIEuzfc4nTCLIp9BV+2K5p0p9Bt1TC4OGuUeqjPVGUdxI7bX
kaq8tN1m3vt8mf5NNPX36ss/FfLx7DvDzOcN6ZIm05WgIkuuZJVj8CCH3PIyCV3Ln9smbBgaTOMi
L+BsGCHWkyxuvIy5182lJV1NC7LmXj3IzZulhiBmSw+VFtN8zz2TtPBXbmmn6xByUM2F4S9oqX07
ZCZ78hmngoR3EDe8bkP3lSaiQRn6kDQWnnu3q07HVGaRmq5sqq91y+oiNIewW1h7d9ttW2cUAw78
6t0QFca4tQCZJTtoJrvVuUtSuCw/XcM2vksaX4Hc6ph72cOrmCNsbPIJS+dLVCxJcKNAWHDw7tjd
pnUnElcHy3RVxJ58g18Aat9DTFkwkt2NmorYyo6P01X0fVclbu1O0KiPj0U46S7C4TwjHVBWb2lH
ZhCsdnQRmH+e+bFYeI/gappOqpD0eHq82Zu6MfJdPi/pwWh4D+Gy+SKgzlpPV+NewJx1r2xzLP3d
g4o0EbXfQqwMOLgqsix+GxPfDjHRwI52J8Y6o6fZwP4t/EIhQq7LmSW/jl0uuxNjG+5Alo5H54n8
QublJh6Dy7Gld8fFRfUmHeV47khU1MfXPDs0fZjme5DI3M3dkk64tqJQ0xL6UmG5QdDz0HPvqZDI
MrRJDYO/8ll/1V48waL+zVX+dq3+Cye2x4i4JY0EYy2qUjnt78Au1N/aPF4JRp6n7MjcJ/Zml6yG
GIQjM0lwpfcZK5Z++s7dcKgkjcV3/iKuoSfbDhFur6S5RNNX37Nj9+IeKgLvHmCAFCuTfBVlE5OS
QELhmLPYg0XEPIRDv2FxmZl7blq0XsyRljx2ZGedqVdaJxjov6Z0CKouVY+B4AcLD3RnnV1Ko5Es
8XRt33q3oCT4o6vVwSh2jxmZ42Ub64FO17Wp7+nYlePcHrsQ94ARbsCXk8UhzqCoaxRKJS9B5XZI
ODHN9xBFOcZ60yF2hQ3ztZdxhZz+SIMOS++KSKkOmi4AQPGa1+2Fp33JuvQI9hFL7+ySaF+nK2jb
IAwWYNjBFbI+1FvA0jurTPzEWrAQ4Jj4sAAchKWvh67CPTgxSkejxgALOyg/3Qcir4upSQ9RNuGx
4z9XjZvcMhJHdrpmvFtENQ+mF8UgB0yxHHv8nW1GYPdk4CV8e5tDOST2JY4PzfDi2XeWmSeDWWuD
8LP1XVRF0l8Xm8tj11W885xmzAboRiMA7Vp6Wea8kDk5dsD3CKIgbDH31WLpuM1uUUKp5HBIXzPN
9/AhDoqjzcUOBzzI5b3iHfa8RWv00Lvcw4feYNug9yT9lcYivJWBleeOzeyYce7xQ1tH8zE0BqvX
siaFbifdlb4T5hB1CjZnb6LB2jdJO/RX3ndtYRDDDas45vH3OKJujkbDlZmudtwKAMPuVC1fju36
zkRlM+WTCTtzhfilPS8y2cqAQDDg2Oo7+1xRH5zHNvfXOkcBPNFPaTMfc8t7GNEWB8mohs1fnQ/q
CpxY48lrcjCJ2yOJAOOcZDqu/qpb9kmg7Fv0iT/mO/dYIq6gZxBGZr1CyG8C/ZSLLlOuDpEDpaCD
/POdO0Z0RMeV+2uXrXNXANMRd2Vu1uXnoVe6xxTJXoOYxuOVBnhkuzSn1Pw7jMibD/4XwfMeUKRV
aGvv8ErReHW/crxeehL9Mn7Xhrbg9ALDdfMp2LJuOh37LDub3TwZ1iwn/prOH4IpAPvL0bewK15s
fScocKL+mkAaY7ZtMSeHZAnwgncWG6wU3P4MuySX6bHJwkt4TBcHS+/MNVu3oJvr0F+RYoDEUW9t
UY8HE9E9wkhQDjryafRXTmv1gtpRYIt1jOJ/l9WF/8U+8K8O0M6tNp3BmKzKh2uP4Wf6EdLE8tal
LkjeyRlTrh/A4RQOHyehamjxrpua9KtPl3gF+RIfWtcVNbpevYH+MtXbLdRqQKnjNyHH57BLE3MX
jq2tb0dn1vlhWkWdnxTBDPTNDH6fserbKLE365wu7J5CpSw89TyGrINLBFgeCp7k4gsNkoiV7YYr
oGq50WM1Jal1RZwH7XKdaxQAnmhkg+SsZkLFJfXATT0tA6Pllqzen9CpvHVdRD8hiLLfKNHzffJp
eN+f5Aek+HIS7DwB7fzd4retZQKxkPQK9j0Qb8WMsF8B+pGgxKE0FSA9qDNxjldN9XPYRO7X5sGx
BLKpzsSQRYGewY32cdL9CPsNXa8kaDt9lU3WbJ+aQbb+PLM0WM8ZZkPHG4wwtewumHJn7pMu6eM/
QIu+2msM7v+6ZOncvExiTUTJE0ASSxvqob3pxCLGhw6soevHFIqjdaU0BvxKJfI+LUGVn/DzHG58
un2TUpcV6dVKH9Fhrpci51GQf1ux6eMNOGottPfaPG4+143n5CZYEpZVPpVzd2ZpF4kyj9EfOKWZ
Dx6XZJP0BH6GlZWUWp4+rnXdf1iiptEnIW1P32tQTuBp5r5/Y8rTjJRGTC0r/Nz06kzAeBM/KhmN
bWnAK4/+1ObA0ir7DpMVmVowPLRQK4Iy7zM9V5sHCr0kyxyCad3wFJRNIdX6wnIA7ApD8+3TMgGu
VTQxG4JyIUrQYlttps4gnCb5qZusaErmR/vZtm0IXk9JFnuJkzTIfm4gV4uvMR9CcYlD6LYXdoih
9xOAvsmW3ATLbUZ4BvJuQGZEuZkhesWvmUAxlrXuFon+kBZgaRymL7ZhkypQ1s3ya51MxIGIKEIl
3VNYUTH3cWqfbE5XLospEm4rmk7Ha5V4HvRnq9hal5MAjzDEb7aNl7rXGG5e4oxNp3GIAJulLeF1
GTGpxLnlE/VVCBDz69II74qAaA2hiL6xvGJE5e6jsTT7jMIBl9WwJPlYdHzhy2XCP7dXy+J5K+rW
UPaI1kE6FaBFXvSFdwx/NtJniSyC1LRzWygQ/PhqtFauX8I1l8Dxgfu+0T+zOh/zitSdjd+1IKz8
GW21J5eABf77CE2PP1ahoo8h61WKmkUdjB+4UBsBwUy6bHeJXMDSVjZ0HMLTzKOUPi3dmpCzFV3b
36yWR/oil0yZYkqsezTOtv0ZthXbUifj8GOpKeq4HBTa9gr9oKC5BKsTn/MUc9aDJdSAaHLsspcl
0cGtcviXogarS/Z5HljXDicwWrZanZbJ0fZ9nfK2/4VuXpieQCsTMQssMY/TWz/H4JUreicS2ZcK
baEhLlIS12uJD7uOD0NKqLuYgEbs3bAMb2cgyASuJTEIvC7khfwZE0p1+KxsUPcQip14aIrBCFTR
0qYbXvqQkPoHM3EnfkzQcDEVGTlC7Lpu0+6uBn23v+nTcGsft7FJP7VeBXGpiFuS86ilnR5wmwa+
pLXV6Rmd0ywqwMmmuheMj8T5i9Ahv2UD+vqYW+aTuB1Sn/5qbdQBvUuzfrnv+x7hQtS56XOa5Baq
a9I2v+bWzU9aep4V3QCLCsppi1T33Ngt4FW4IcYoQB64xFWNeMlcyIAzQYJUsgefc0EuKrBGnBqE
akFpWCbiU4YBIlFNrA50IbMpCU5NECyvac96c6PVVsUb7o5iQb/zbXs/RLmDr2EIICWnheQr6IXH
x01Mp6Ge3qtgzLcTroQMTygUx+3cM07JeW45CW8CyjIdVjEmXD6ZNUG9LEyn/HUEt/Mdi/Vyn45B
o2/zrO7iSwKNi+hMYQTzPRzgbbcOpQH7nPX1fb6kNUZWGrrds7Q371DWgnePgRuJyjXreXPWKltk
sVLU/wsYaP4HaPzWh1zSNitB7fw1akz+I8mN+BYNZOjfD1m94STUoQzLlNSs8iZUcIhg0AP12spB
pxlBBUu19Tfq2NlRZW/7npgT2iGyArlPf9Izv9TeXylpdJVItI6mLL6McUiKPFwfeefHIuZbV+Qg
hyskKJ5wLpv3CCNs0WISt7Q+WIoNxAEqz7aKZ6ktuM70uyaK7n2oqiQbv/AlcOeINHVlodBTQaX8
3ZaNK0p5igXVDFW3incuL6UOXF6E4NG7eAH+K9zObXafs/ajXUeL+9x/yzifz2BspFXq1PIxc0JX
pgFlN8b/R1Pms48sji0TuH4S72/BaBcVUAX6qCgyiAA3PFxb/7KyAPehMHlB8XJLYCjCgobrfbjy
S9j4+9yN5ATaew/91E6Wc6bqcp3IQ5var9jG9GRAKnpFIeubpHw7xfFSAdbKq25tfkGPpD4FFh1l
BqEzBAC+PUsvL2vHTSlyMpdksHArNnwiHXu0a3YbD8AK1gkgPknG+iIT9tJRk78baHsvpF+qNF3f
t/04qHPtg6/UwyEooe5mt92HguuCh9OLXhS7nVI2nsSS/lK1e+AK7eKyxx4mrZ5hCdqXhrB3SDm3
Nw8AWnbvNK6gPpghgRXxEdFWnMTTWcapKpiXroxaGZR0MB9ExrNrNHNwomvynmKIBFwlbRnLaCiU
HYtmIPiZrMcUgkvi8NQmVN2gWJGKIlwwY6JQdC7Gvk2eoFefwdOICh+I99UGTU9ZDNk2PUU8TH8t
qZhFlbs6+ljr2K6VcS0aPWHUqOZdmIQJagfOhusD5G+yaiE9lxfOWqlKfL4wKpOgE+E5Q2XK3xId
h/cpCaQuKMeYYeFHzb7rNemroYkDdsNakX4eui7xRbzO/gt0IlNyzkcjPi9tu0yI+TDyd5tHlHmc
zBHsyXyotxeU7ZPtxMBZW3ZrH32GPIwei7Gpx8/ZYPivkaOPd9d1FrtjFWwK5mQyiHzXzQYHgkLZ
Qxr4dv0w9jnvbzMOsqbzGHECxHUXzPQ0hGNHK9b2HGinfhEPUyIme2ljqv7otlm9IdYl7QFEljhW
0TCtC7qFa24rPrd4VopxmfZ9nNfh9ymDuNyL1KS1RTSg2Ioa6WK+kLYzFkEVq9trLYb+k55XOnzV
c7b8mlOglooxjYHkHxERoxO59CGtQAoesScnO61PkW3BU6f6tVXXDPpmzySkQp0GLXEgjWUYDef1
DAlVabPxcV4WviE0GWcFYSRv+6fBDLwpO9vHIS6WhswFKqzJdM6nfguLUfHVlJhnDR8NqP7VswHd
xPQ4ToSY80DsJM9NKBAbosCcguDLRxj0xKfo57Mb4qaimpArguYoXyukgu9A8zYB/xyGt+DemLI7
MLRHiMeSbRtPLe6Zzxjv2vyPZBWAe2pngvkyDmDPrjDy2fD3Cuqk8Y2JGRXYiiaNC+dCKUuSRR3u
lZT7YsH7bK8J2LBBYOoVJvsS3jTD+6D3ffMIoum+rhKEvGExa9BCPSFvgTI7nTbKToitn8C1WGOq
iTC40s2t61bZTKZ3jaeJvGUhn4GvSTMrAQOcmChcs5lnb9n4Sg1I8S4tcPRBmTaQqi+pkssvHTAZ
FRI8Ay/9GoCGszdpy6/g8EdUknoMUVRuRuxeBJqNd3Ojg5OCI3+lNk4+TiZQt2mWI6Foen+LqzCU
D0k8U1co5Ty9zSVvKFIAB+Juum2/lEumT8jqWFa0wyjicozINRJcngK1dHPlAmboJaaB96V2NPTv
57CZ1zLWratw17Evm1UCfN5QJe5hY0P/JSAZ86euRSzwzuDm3R4VwtXCQnTxLNJek29knuKtRLLT
9Jc5WJU+bXnIP1BG8/q0BYELbzNPaX7HB7t+hPKk/AWch+PlZHRfXwzCrQb9pMWE1Ubbd7Prluix
VW+BUQ/V9eUKrkT9I48amj5lnG6nYe2nrET37+pB6emLCZqbuhABvU/GLUeGCOGYHlImYp1QaKMx
rWxKOSllrRTisSxO3pt6CD6o0Ul4olll79mSSfu4JdMwPi3h2n3rl95H4CjQMihWGcE9TVM8ggx6
2KKHpJfuqZ7UcFbtUn+RzerNFxGm2pWxwJhZnLMgqGAAGALn7fR2w69mzHHbs3ks/baM9WVRW3Tr
2Fw3YK/bqC8njVyYgGCp/YKgrk2LnkYNBOzxIM9bnjc/EymX9yiXxy91liz6JLdZ3kwQwEWQNKdr
C4NMA3JbA/lTNT50J5HN8irRqSuk36LmTHrrxZ1yk+cP9Uj4i3HJI7SyaaEjDE1GcpanLAiXuFxq
QPhOaexrdTcN8QLmtDaewbPHV0y58CGXp9lT3jzYJt6CC2RRyLuIjctnscTBfR9kdK7itNUoIWAk
KbtuI/KKU2jieLwXUyS/+aaXqiCIZJfTmISW3aVhl13XXLVAU0XOoM8dpnI4DYkJPq0qpAWKCFnZ
s6S92LgzbzCb74MjD9QO0PEIWLohpmizoOqzMOYXLszUFI5v+ft8abdXnWh+Gy7cPSiJTLDIfRc2
9ww+fP0G9dnVnbYVPvAy9264+nATfwy9XfXJLFkPbyP94M69CMnwiJocknIXITyE+ij/gRy6fVbT
DKRtvaVXw5x7HnFZ3kRrLNI74udaPaGM3/3krMtNOch1riLju9s4EYhv1Dg+zDkHSxrIgHGNDTmN
vxjgtmgRgTVxOxm/6Yd5aGZ+EsmSPYZQVZ2vgs9IS7uVJN9h2W/FGpKtwYfR+NYioc2Hd33rh2sS
WfplAh6zQ3yVu+XUhXrEqYJTbAo11flNChpVWqxNpoPS58ZFd1wlPK9M1r+5hLZ+Dmv9oByNK6W2
22ZbTdEkA/kAfcDt3UC8s/dRzPzHDb7CnFq+YMR8BKnKyYQ6S28G631023ObfZQTZMuw6bJTJZR1
wj+wazS+rWPVbwTQfhP1E26dafWVWIx7SmmGe7QOg+m9lExAcVh2+Z1ul58Afabb64T59p995MDm
SylRhZLrWvoARLCXha8rKVaC6cM+m+/I5k8JbcP61HXS34uouXrRPa3dRBcUJ6LsBs4fkDMwBJI+
KQPMQ/1YOQuvbt2m5zqMrCoxcQQRkbANJ3NDOwZ1CzbR7UOw9TYsbEujV2Dn1VcX2ZheSQefVLo4
8ebcrBiEUi2UGfgaLfeTdSPCL6WDi01Q7yiXcdnkLQG3tL1bJzRlSzpG0fAuUIRh8xdJPipB3PQA
6FmenSOaM/MMmLSeym5ZO/txrnX9C02GWVdwwQ5lGC0GrLJhegcUkDZp3gUe+x/FPn1KdKfbszYb
9H6pHdfkmgBBGhU8B6F+sdQhfWxYpJPS4WK/J5ovr7Juu+ySqQGgH9xCDVi2QdgYVo2o9XAGb9H0
lUqPLi9E73DbzKBQUKWmITwf9N1gy4OVUXodst6pm3qFjd9gFmV4zlQeJnfDWLc41FTXletp3xQd
HJosEMoP+e0a20gX6PNYBLiks/Ize1OjreAzIOuSrJAfO1PV0akaxy5vz1ncT/WDFpoj64lcOpzs
LN23GXRcpAxdhD6jk8yyMjQ1ewZjWcNLE6RJ/Y7EqGh8RBKQrzexjdfwYySgW/wjk0DpPyxMzfY2
AbQquhgn2vGJdd0Q/9xEr+QFLHz8l5shYXsXIlvfYLlqTB7DGgWCSo51HTyJaAPdUBFKNCJg6RMb
4URDjPdWdu2QTnsJzvVPEGjKQPIxR8lDjOpm1BUBbh36FCU9uSV9k7lqyUwXF5ZgM+4aDMfElybK
jTrTDjv4aenUFJ288CutXAZVkFItc9d/sfOK2w0tLuMfQ9QDX9EJMWvBmSKiBHn6zCuwwLrnLobS
VaV5nwKxsyCdLuBE5OfUNpC/sjxA5cDOdkCwm07h8KAg+xZVfMmy+tn3JBjKeWVkKYdx8/NTZhtz
6nqLtBEpSKfOnNVh/gtVpGQ59VmbGHStEGgXE+pRwwegW90AGk38wE3LSBqpQmgr3ZlnqGN+MaGQ
NCxQvsBwB4wsDh6NDnDRdpNkoEcJ+rxei4x2k3unEGRJX6QuiviriPNcFjmhaixmaGG9SoU/I0Jq
kqXoug2fA4oP4yuK3imk6tELnUvRjHhBXZ9t43XBL2gr7QmG9hrE0ukr0VCgubZDMiUf8qVb+CkV
OONFtGb6ibRkVt/ZGIDPZ2gb0VTNSmQGREGEkY+p6mjv6R9TsgX599jpAYUHZ2xzAvI3QPrUqZmW
mZ5IXniE4usxTON+NniOpWpqrofrBD3Na5+P7BG1MnqwG7OfDx7DIdSkG4crm4mv2l7pYuvlP0Rb
/uO7/z/ip376r97F9Lf/xN+/g+FrrIWcd3/920fd4b//fPuZ//c9f/6Jv11+6ofX7ue0/6Y//QzW
/cfvrV7n1z/95dTP9by+tz/H9cPPybbz39fHE7595//vF//y8++rfFyHn7//9l3bfn5bDTdi/9s/
vnTz4/ffwreG7X/87/X/8cW3D/D7bzfjq/mnb//5Os2//0bZX9MoTkIMrmU0BY04OpzLz7evxOyv
GWA3lIRxmoXsbbSj1+Ms8ZXsr2hvpCn77y/mv/1l0rgBf/8tyv9KIKyYMjgR+lZmi3/776f603v5
n/f0l952T7ru5+n339K/T1b/T+8pi0ABl0RgbKQMT5j9ExV5NltMeTrSV0YG9VaO45QCrJvouMTM
043kyHe55lNeiczQtBg84OzXZBONfMnyxfmCgK1bvs9C06mPmKNnc6UZahVo80VxVIpJD0lBpmke
HrqZQBYn61chLgR8IOKcQ2IivZV90mW36TbFMkWsM8bmD3R96PoBZjCgyhM0eXuLPkZAP9EVUBEo
hDEx0wI60yG7IOUMvxLfcbgyZcl2nkcgAgqeLi2/x2gzReSaR4sBLW/r42KwLSFvVYbmiY1Ti7y9
RgW/yOc2aE9iGKHjJTt8U8HREsA4YN5pfM8K/dlTDmDqryZNY4OQO7X64gi6Z7R0DtQP9wlofdR7
Mw+evkSc2u6EMAsBPzRIax2QKovostwmSPJW1HbTjJZN1CdNYe3qaLXYTGSXHKJuH+u4DVAWkhlS
4Egp+4DIBVBybhVurtivkuGZ5fo4tetLqxLQ7YGJo0GLxLvHsGkcUnirkBYCyhAvJcsC/YOiqHjX
gpSPlc02pLoMY5ckFXLqqK4wKOa6iqUZqrVjgvroeTJpkmAzagh7FuGm6XDBlb4FpwUf9IWasIXn
dBCWcW0XTTeqUWo+DSyw4hcCEBt9nAfCpnM8s4GVq225PxkGiHbB3VTb0iFkFeA8yN39IlCiOScz
QACFF8iVCyEssgaVd/jVtBexPLUYLzWlF9PQ3CRzL15G4YOtHNBq7k4ijjawGnHHsjIIJv5BZjNB
oSZjqTuhUsF+cJWR6BQj1WyqSSM7emfWqP+A6UbUyTIT85+ereunbuXjfDI2mDeAYXOUU8bOh11F
VaCnE026SOKr7KsgJABWaSTdhfcsHW/zAAzklxRSaqaKrMvTYnVevel0gTaz7OIR1JyplxviWy/C
G+YDQyp0vzZfWfQXcMSMy8fz0rfsw7qk2X0MDnlT5TrqkPCLgcrCro22Rb9ME1xXJ9vHVq5IOTdu
zFc7dsxWYb/qqEARcewQ9HdmvvhsZlspqCC2mBYeZfdrRMIVIQMbu5sBUNbXCKFsU8ahmH+x2jai
ShLlh7LbJv45nVeUIZmPh5dNJnZCH3QIgxLtieWhacacF0PYKrTVVsrvaShY8r4euZJlIOcE/pQ1
qKivqJfFRRetSF2VdOw1D4WVFY/9kqFspEGUoKZ0eiZBOzanhY80r9oZh+zsonlb0cDC7XG/WLSL
CqV5rapuQPZRNii4veQN4tlTzPgoymnMzVjYKe7i8zgFTFV2Wf13HhEpENchei+Mp/NTX9v5mwq7
/McACYC1JGjo3BschRm7q9Ia/Aoi1EXituizalIeFeimod0+ZcP6Na1NBgrX/8vemSy3jWxh+lU6
eo8KIJGJBLYAB1GURMmSPG0Qsmxjnmc8fX9U3e6w6YpS3F71ojcVt25VmUkwkXnOPx0jcdjUsePc
52ZMhTs5oY78dPVAtUxmdnZ+xhi5IUhre7AOJd+sDpw2patQRdwku9yYgGTAurjTPVkXlA9xv94l
w+SlQTKUoGVwnQB8NtkJJcVxDFW8SKctsIhGMyAAZ/krrElfBI01EL6ThGOeopmBnd5UdVfw4CGk
qeU4Pe5yWWl+N1u04S4xkmKHyU18a1SBqLGZaGF1hW0D8mMQx2VSLcEeDJH6IKnlwJc4dBZfpUtR
beyCozCoyV4SCAVc60MO+rvBotN/6MxunIPITqZ2n84ANb4SOsx9Wov1aghT7dHh5c0YeGgjrECt
Qx5vsEaHn5WgA8AtCWjji8y24kDaFdxz3kv2nD1lxkG4qx00yTpuRRqfSm6qhHLbscIYxxS6snpJ
zh5U2GywkztQjPGGnyvaLr35kKloOhHEuYkyFOdMEM4+zI485mnT3Gdu+SGXXXJaCr0pXeNYtfFj
2LMJ2kQc+6W+D6cGvrYzZOC44729qC100LWTqTbyp6g2i4Dzv7oqYruuA5MZT1PdNA+hqq5laxK3
tiYbrytot+zuI3dcxgLCD7p00+dsmT7W0ZxswS8/OAwgzdph+B6Z8x7A8SPZtocwibXfgb1MEXy/
FYb7zFPfphUWpzcI0xgXfhHCuRHCrryyVna7wuzssBTukzX9VjnZc6eLITCG/hoRu/xRW/Nu4TC5
7bVrXM921wOZmgUztfCKMIpwXIJ+7KKDM8VPDX+ClYXnNnshiyUIU5MMmaVkv/vhMDRXKJ7vskkA
PNtOUJjyyLXHKVeJzVhE4iQWCDQ7KZzQZ2h2tJVISjahmN0HdBLial0zh3sFqoSY4Ret1wxKr8pS
v6uaXZTkx3CqroEXi8AeEzDf5ZQnxQOOthtjXHrDn1qVfR9adZsZRXpco2J+0CU3itOAqPEH3QMu
36VDMjwVY+VsrGIxruSSPgPnlbf87Pi3deXchHRgQcxZtHfLCIlC45YnGo6HmP5kj5trUXsva/cC
mOzKkNlzU+RQb5qbN8ljxBbpcBQyfGpF4V01MrsNvVA+duPYuH5cWA8W4H8wKfthbmHOCncqvyrR
8tlF496HBtcJLlbYpJ6ruhBgS66HPIO0VbvDOlb2j+NUlz+VXqob6VbWPhvjZbcMpnPbG3N1Mtvu
u0gjYHaj3FQgrZ2/wMzlvHod5ODc/Ogq69SJVKTbUsoCg2JUPZKbiLhgNnO/6PBXw4Ak92ctQ8RL
lY935EPoDeBNxu3a07e7yXSf1V6GpTR+auf4k1n3xoNFqQouJNptktSfQiACP5+i1zzvv5p2Q0nj
OEo+GpFZPTmGsndhk9nfiWN/Ts1ifc4LA0TRlNQvRETkC6DlJJNxS0bU3mZ6e9AwZuIqqlHkUEr4
8yC/D/Rbjjb9hkJ2C+RpPOo059Ybc2ejFgB6Kw1vamFmh7lfWD9iizCpbrJmUnc52rYAQOW2sxCj
JrHyUhAS2z700jsYGcoLj7urKsv1sBh1tck7jZ9R5Du02vn94ETiu7LzD+G0fiYd82cyGOMD/Pny
JEAVv0Z9c46Zj1UKl5ao8wwsxylrsIdKduUhrUw1VFsOVIH8oIvL8FtoLrV5LywxMkfMGiBfyWbL
ZvWziap1LjgFExC8KWxQgRQDQZEfACkd81oU7TTagYxHL/+JSEbk2s/Cduq3mlKB4SeoSdOyvGta
uPBil09E13C9ZkZXvY5u29cJ9PVizQUDtSK7zO7oawcbprEBY7ymyQNz9nNRIKzxmexVZA9pbPfN
ow2HOn9RRRHpaTsV1FH2tUMSVJLu4yKuLGRrhWGJ+h7ZkjlnN1EFMlfeu8LN3e5+zDyRpS9hA31c
bLpwJJvBo8cufGhvltTVzvRVRunsN3HXwrPOjtVsXPJsZuDj2vmQehPlstlm+c6pXQKRwAqUa94h
IzDs57R068+2DcG/LQUjUz/VSSyN8m+55X/Vzd4mr23VVT/7y171t/b2VP8oH/v2x4/+9qW+/Df/
H+xqwXv/rat9Gtqs+FEmXf/yWzP89p/93d06zl+0ogwnd+jttBRndfDf3a0Sf0llakt7bE+h7HPe
zH/aWylofNEEweC4cCzQ3/+nvbXVX5agDMAzoqRz7on/m+72N2EufzpKLVvihZCQR7QDF9piJgLa
UOiZtyXQtdtNaOeC2PKsYGHI1H5q4v9uRsHfn+cq5qc5jiVd+9IpD9TmlV6h3G2RNTL1jT5cNy7u
q/eScKyzMPSXpv3ti1EpuZ5pgyDoy0AzpC0uhKVwt7k5L8VV2gxdvm+Ifbvro0RbDP00vIQjM/Iq
38qc0LrOM8+ugzUJ5XvBJWfR8W9rkZbj8rtblJ2KR80G+DVqScrEFVIxWD421+zKBf17clK3PBbL
+m5Q5vkHu/gs2Ei2FMCHaYvLcBCGbQ/NsLjeFq6C6rRszPtekY3cj17xyerb+FjGa3JPqk/3+svG
/w9w8itQ8iZTvvxodiyTByUyRffSaJiacaYsZ/S2tbamm1zLGE7WaW+dqfKYmwWCQhKm5czXI03u
CelUtc/dMH3qZpUWG7N2wmNaV8XzO8s6S5z/WJZraq1sZEbiMhsSF2E6GlJ5W1U19c7NYn1VEogc
uAu0Bi2JGcz27O3sNsJ0AMWzB7wsj6h9nQ2dG3TCv6/n7Bm7XI5rSslzcj32woXYu4TomRSVzLZa
l6X306xxpiBJoXsD4NeJIWMRMq5//8yzNv2Pz+SV8KTFC29eJhb1RbE4ApB2S4RTf5Pnkb1xyjx6
xwb6x9ZzXBsKnaMOlYJmD7KKXxLFCq/qXCOZ1VbHNdXvYI19/FCb2VD6bWwUr7NRZN5hFKWur6qs
6Jp33Bf6Ldbu1+/JoUIinc32g1nErHh+EX9ZQWpEDU2c1e3qGTzP87vMcoVva4Ekrs264YVUOfMr
DLL62lhj8iwz02pvvMVrAF66unopFzv/kUdhnvt5jOZ5W5vJsO5iV1pMIUy6BNDLsTWOvcSIxakU
Tn6a0maKt1Eml6c8KswGMVjvPIhpkej/ZCR+ytKb+5PRFYNJ6cNc8ue0nec69ee5QTznws6qZ3Nc
QJagKHLGjxoxGN9hbAVtum5QM/qypYAIcFB6N0mtix5BGLrNs94EfE70Tn+fIpbgES+R3IJNyTgo
hWlP+0p0MWSYUTW6uOoa5TgnrBf1R7vSyY1eZn4ff+6KxvtWVES7nImv0vayoK0NXd73VPrtpmLy
peV3jDI1NzVl2UjKIuqdn6HJl34c21H1V6vZ5d193FjrT0SKAlqLXv61MQGidnaspLnF8OjSRU8J
FcpoFwSZ8FZKK5iWXnydpF5Q+4bx+jURfWf4dMDGvOMgCdddO9X9l0x6Xs+pUcQDD85Mv0yrMctN
Jc0kpuzVdrRZYKwESkdhQMInHWoY2s2oD5qGwxANtJ14RzOx2/4oIg90CInL0u7SVeg2WA2zk5su
tpti74SjNK6Y/mXsikIMCw3hJG9F0Qk65LhmwMkQajUELRaDq1wDXfvhqorWx7iIjtq2GxSTEH9x
eFiqbpqDsHLGn23lxeaHjmPRuTYLVQGJEfgYf2zhze0vAoNPw7emubyPFZK4LQhaoT50Voi2EuIv
Nr+tCJuNHJK1Kh+XOgmtI+yb5d1WWniJ3vPzMCcvZWdMnwae3ryPiOse9yZIMoq4qeJsQIuUNF7J
QOrI7ix/1RxC3Xax5XlY5ZnD5pQs+omJeyG7rpf9WPounFq3qxRRP6DCMnzVo5Fk11k+N9FmHY1Y
bWjtpemjvEzVZu5GN/e1K2q++AqtuVEoXtJt1TEna4/+zelRQeZWeOwwMnlBaqmiC1qZJk+WHuRt
sZDHvkGTrrJNoxjjEVSJh4IYDXi6D5sZbYnr0Opuzcox2+AsEsk3Vp83d5UaI7CeMh4OHKUG30V6
TblZmvws4gBrfKFzdJY9HGOb7lbkVeaptRCybQRuiWPnrC5vqNkvP1CPLS9ZaFtIunRkic9sV6e/
IcO4tI49Se7VJhs8Gup1wpq558Doxq+JXdLvu6Oeom9zGSH2I+MkVFerVTnlfnSn7IunkTxsqYJm
Y+/Na5xuJUA37L6suwlgF2Zuu9oTKEfVR9N8PsemmylLx3AfRba9bkxoclSHOprFFRW/s1MqT9sg
02dPdTr06P4TJBRoTBqNSpkJKEDW/aAMBJQhTzYos0zsdcEcrcAZ3UT7TT5lZ1gOotnPExPdFP7v
u1ycBad1nSAgzGN3GTeJs4ZoY5fG+p6HUhwmoiKQT2TSuqnWuP0ap7SM+3x1m3Wv7N74aVTMdvGx
3C3TXROlHtyo0UbTXRRZi9pNqT3e5Bn1wWcFb4K2rgnxBCRkrTgpM98jlbn+khQuiJ/djbkvVJM9
lk5koJVw3FNC6OscGKs10uRVlSCfNfHSntR0mXx0LfRP21C454MszOrqMZdj2vI4wjA/It1GAIRz
I11u6JL74hoxdPW05qpVN4KJI9KPemMMN+VkMTi8TmqgM+DoOt9188pvAz7iDTejVO68NxydDD5m
P+qeDsfMp3LMxYJwtx3h06JJ7/PFNn5wLHvEPjKAmxkAsbC/exnlcUCp7HQ7K8ES40emPX6m+G7a
QJfSLrccw1Z/TEq7DAnpXFvjapUlaXLY5eLqmh6+Vb4hBMeNr5HuZPvJUK1Gnw+3FIhBGMIHRSrX
wGN2V3yDHqD/EZlWWX9Y7X6CDIiQi7WOV68+EEsy3DiwGre0kK70c4wSkd/yl0eXIXRiX6gGwNUT
ZfrTUHXeM+clak6erpV7TEI42FszkXo1dsJpoFD9Ycz7+ji3KJF2Cg/g8UyMYELoYZr9blzs18Jc
DYXaZHAJGeL060GFQ2f2U7fWVyA7TM5dPIhmP3VKvmIWpt4BcU2W4FqpxE1FvQEw3NFMb9IKPc5J
EyhuHpewUcmnHry8umlkYeR31ZrF2T7KPUL1Jy8fV9dnt3cl0jxjntaNrDknzZ2RWEV2JclY8DwQ
8T7FDGMgRxabvpCtBt9H+93wNKNUuxvVoJH4zE3RIze0Pe0AjrY1wvbczPv5up3QeXy2FRAI6snR
7vdJPQt3zyCr4kBGBGB+MTX98rroTpcny4ly/Cs11gQU5A2KUL8dSrO4nq06GU51islmM7FtP7U1
917QTHZZMDgkyUVgkEj02LZrtDz3sSrn2zFjhux9KZLuHj373PnoEe3kuioMdWu0Yb5sKBVyXEox
yOujZxjRz2LAvXfTVo6HoGtu+2i3EkCSXsMWRoSRwA2GW53Pcfe5rbuSmC5PltO908juPtR5EX9B
LxJ+SqSRp1c5FvuOkc0Mbz4nTNpnaIxX/lMVZUp9rVFpJDt3tVZKw8T50Fv4Q4Gw2lBjwkKBy7tU
uqel9VyBs6OOOL5qL9IwJb1A9grP+Dmu4ROIEOs4U8IwJChANcDXQUxNJHzTcUMDtsFEj1uBlg1A
p7X3KpN0fJ4zFG9bzO7uPW+++Kax+R2b1ejwRs7O8l3U4/rg1Wnm+EZot4/kGaUrPeHa3KU4Oupj
NKdz/kOOVfSh95yVGeZDHtU305CAipsjF5Iv1tj4BhBGzTdkZPyVPt/c+jKVvZNtnaTo28dOxeZt
6rgziLKBkeBotQJNdNL2hbGJBUaITW4DXfm1GRcPCYKpM2el6c3jSH+CXpuNLapsF328ncEl4TcD
k0Jo0jYHtXC3b8dFqwovF1ZYwHrOgsBo2lgFygsxd+gIV8zG0Jnhotk1xglqm2PGR7GDYgO3CpR2
lkqIhAgkYvRNUSiPs96OP+YZOOomn5PpCXCsnbdkQGfoYCCFggYS5Ps0uuvndHCAKRVXXuWzay1A
yCZiQZGZms9OotuXqlpsSLBeWJ/XKsXDpOM1/karVve30Up1Nvp1Men2wVNVX+8xQ2Tpxmlmp8co
5XXu90y2qv6CelswY23pcJds23BkYKOfzojiNujhUnVw5hAKnkvcUwthaSquXiiNKuaN4CzcFKMd
dxTpue09jnHmxEcby5vVB6ixTAEsXsIqrO4YSg40vKAtNBF1tscdWUbmDyVqN99FhUagnjJSA3oR
pP4mHsbpq8GwmmGXTMPwbCTNVNx5lKvfjETgyUf1lGU7JuYV5qZFZvyMC2W2YULs2Q3sReZuoKhf
qy3ZJi5CVit3EEUu/XBKTTQDvhMWA6eqMzkN/3pRa0g5OaONrdvwB07rKN9kc+fdLDxAD/J0huBs
lYa4wtxQXC3Astk+kUXG8VsU9ucxT5TerK20v0Zwg1+4bGS/LecwnwIR04YEWZ2MX7VMRzyPKMfw
cqC3XAILhycYbARZGdiyjNNNn+u232msn/GmrFI9+I1rz9+jxijMIKrSVO1QFIuHspd5ul/ytDuz
dcvYIm7PuZUzs7Os7SI8LBu12ehXk33SoWLkLd8nDfpsX3g5FF8erYC3gtvsu0oq7wY2zguDslX2
5JM1M1BX1tgUNoz10Q/4mrIaSW5PWN6krf6TvURa76ppqaAys0Q7gV2wm6opGddtNFTWD5KJEVZV
pTlUQYU/LMWr0q4wfU6/mqh0DfkFtA95ZMh7fIfeWP9UIuUbWA10W5CmnnU/KLjArZshVvJXSWjH
4NbZvFtjpCGHpRyXn1ZnctR0IMh8LPahZG/LWXzqPY1Jx+2NYdqmS7J4wVok+mZl3nbGDD7cRej3
UPZtnMmanNukj3N9KHp35gfAmCTmLamL8E4ux8O4HWVT0zP1GFoDOcULB55JFtxM4kVxVonaEoeN
NmJwEAm9pi0j2YlmmgyIhKYxiS/L4k9AIbG7NWZFE5tXZ8q8aRlEsAnhIl/sFIjfH/DhaWTHw/hl
TDMTzfs0rt9K0kI9KOAmg+Jc0jnxgfpX5sSsa2zvoSBBAO22JFJGlKLJvxfKicpXE89JfnBUa6qr
uJGxgU3ZEeE2B2OPdqWyY3nifHJGHE5T5Gx6whz/E4L7/0Ht/wkQ+QuAdJaC/SbVejzrqP4HBcuP
l98UW+f/6m9M27LNvzxgHsdCrnTGp/knf2PalpB/Ocz/dKVpuoBBZzXV/5ZsIfNimA5xeGAzCr0X
/+g/ki3b/kuYpm0S3mvLM3jp/Teg9lsixi84kGuzNI/VSW2DRqk3nOgXHEjRVkTYNaJ7cugX2uk5
D8Zzf66GybgLh7VCMj3Shbq97SfRBBRj1H1+VRhLTxEM8x6iJ3T9kGDSW6r1BolLz2iT0NPx3hAm
Fo1fHu8/QacXaPV5wa4pzqAgBb82rTOG+cuC2zrmhurb6J4ZGcaDHWHqm0U27PIWn7szFJ/RZthP
AEnkFRmRU+2x6RrvwWe/g4SswfLA7ahVwQldeRmQ0jdV3GPCzu+N1JGncNXipWDI8oFsBzByDqoO
Xw0V6Dtf/QIc52P5gYRn8c3P/+MyRI6BWl0TEcdyH+N5c/B16RIuzRF3zH1M9rQUnHt1HT0lWQHQ
Y46VJXxaFhcKWYdZsivIs3sQ/YSYYsKKuQXMse7+fY0XwOZ5iZ4JUqhNh0JKXo4cKEK7W1CR5Pe9
t5Q3kxwb0p26rvUdMS7k7DTaYhDjjNB5jOf3sNu33/73zSyQHWqc5rxr+g/AuCNbHoqjK+/jpL1L
zTp+klmGX8W0rFsjbZJrx8lL5a9ANgGq4vbQNba38fKE8n1B2v7vz+KPn4u8LQuU1DorK9FKXhBG
HS4Zb3RS+yTJ+Xhup7bZU7AQtFG0s7a3//5hb8E5v313Po3zRXBuOPwAl5SCofDflnCdJ4zSBtEl
dTd+JH0xPrpFN79SlPaBg287822a2athxPwiNaLppjaf3QR1vK8ihWLC7cpN7HS44C00joeFroZR
BkUO5R+DcL2z6guI37Vtm4NRAsbC+2iYkN/fZnykakJjgNNwqIlbTQejDVonam6qmaljfukxsdIH
Iu+PDMAdnrSU3z1wVXSOlv2zn5zpWlSDufEKxoc5nZE/jVbXP7+zyDPPcPFoORphaUzzPOniMqdw
pQXj/WGRXWOOaTBxh9+VOit30soHuuXaOyyeFz7lY27drdYwPZVZssFwAaw1Jj8U8QLvhQO+xQFd
rgnM1zZNfMk8wvOD/eUY5DNXaTSWOHWrUscz4Pw8M9IQ5L3Sj2m1JnT31cyMaZoybeTVV7pvDgVj
dPeumdqPRk/mQ1r1/bOa3OlVxvH/1WN7u99sKTQrvdj/aoZ0a8rcOhtQrbumXvN7jBefvKmej0PX
zTgQAIV1V1RH0zM/1PTrr+PquAerXiEBovidsKyLcG3YWzgXaToKnTNyYZw9vz+zFelYrfoquZd1
zhWHWXV6XeVg3ZkeuP4OaZx6WbGnP5MfTiFfIdEFS6uXG3xNZXSblcglN7w5/bP5/sl5ScOyOg4K
27NN4bj/8CogTAb8GXr3xBtZ0Y1V6507YbKxoF/2pUuEhTt44jw2okdzlhrXlVVl7xxZ//A6Irlz
oYMYA8LjusgQKkRBFaDC7oT6r/6yeMiYfZCi6pAMQ/0FSE29c5O+BR9d7OPz96X8gNWXVEG//ya9
toohN9R0orhgf2ax117nZU08i4WgqjIYpqkSpOSJqUd/kG6zma1lZ6Txe4H0/7A70HZwqbqKpHiT
C/73lZzhciBHdz7F6DxverfzdqR6mgHEf4wVW5nJLT1YiGy5yG76ckLoloC2b8ZKb/PUwC25puNn
N4ne8W78caXa1HmkdlBmmPwkl8GDoNhRTcVhnrQzJXswoPaaCyXeiqxyvpAkRJCCtxCtwzt/9c7B
9w83mHSUDbSKSZWr7OJ0ttQQuUyUlie3q/VzPYItVyCKkJQoaV5H0Vh3shv1vV3amGfCnNweQ2UT
klO63Cw2681STtPVHC8VWam6f28Y9XlzXGweNo5jY3lAFWJd0qiN2Xnx1Ah5gr7rn4f+7BVthuFr
b8XtTQyXfwJkQGaIz11tFuTR3955QOdi82IB52cDjSlZBnX873vGdPLMWayEGrDyjE/dUmBcdAF9
LBHNO9wZyV43VnIbtQb60gZL4McxClPbL8lef/Yqppb++4LOP8i/rQeVzK+3wuA2BdkcNHxF4XyO
4uTa8tKf//4Rb8zwH5/BaUUFblFrXW4K14IecCNXnMgRSczAXfthByhTHco2TG6IPohusEAbu9Ks
6i9zVquraB2bgx7L7BDHBkZVbtj+Oy7wbmt5g/fOpv3zCKOfocuCVkcuhPTn90eQtIBYWNbcU63j
s9MLYmZvhqY6mnDBz5nEefXOA/lzE2DGB0xCP+OBdV1Oghm7bkzrIjJOC3lL29xuY3jixPS+W2Ix
T0tdyQ9GNY/7PHK925iEOUBCFgfW3LfXTuJ4H/99QW/tx++/EAuCJz7XBXSRl4mZGM5wFSLNOK2y
cx90GHuvLSjyzmzDaUfw6s98HL19ZLvLQa/AKegtHxbsFT89OVXnKw/Pw8Js001pmOl27trwaJYx
rR8ZA89yKOurARR3/++r/ocCFq0HQBDKqrMmQl6+SxDSee8K+wQskm3XjvRjo4m/Y/EtzU0zhV9p
ZPv7qEwJEZJOMW7DsjRgpUIC1SqKhdJb7RWCC19LlFjWfWv2uPginR3LdrTuSIxyH95Z8p+v21me
chZpUR0yhe/i8qpkVsboFtVJg17faICk3XhmlxKanV3rclv207wcXLLfvswzqrEsmr5YLvhrcz4b
Zsd0d9myxO9MGHg7937fAKxLcWRremRWd96xvxSHtK+1UxqtPE1xl36sKh3uU8KlEHHD/yZ5JB6Y
dLA5SyuIOHO8a01EJqB42hu31rA61xiirDtCMUbcFU73OtDVbUbitd7rWc7H0eU6z34x1ohCT18W
seebf8ICIU6kcnH5UxNSaSxZ/SXx1hT5CCOWAlFVB7vNX8okzTaTWJe9UdnvlSF/HhoY5GjWABfo
RfTlOW6Yo9USRS5OxbmER5m+focmAIQnwvAu7Pr3Pu/Pi4vPc5VC+cMxZbsX5zTkGOAF7OfJrpDD
+1356lFi7qs6lfft5KrjlDPbemrr0Qfg1O/t2z/vdbJM+GzuLpNxhpejLpJmGde85FWbQ6u/m3pn
8vUCNjt4ebEL+/FaS8B5t5BJMM99HWSqaR4USmBQ3sJ4nav6CVFv9EAb+96TOVdZv28JNCA2bYMp
z+XY5daNnMkNM2+yTh6Zd0dSGusvY1hTrecx8ptFi/bRjuh43nmT/0CV6EM10iROTYeY+0toxRus
IW8NeM4Ib/M3MQA1E1mXB1Qd3Ra78fSAH1wdW6/WD5jEqkP8hrH8X6zCRRCIj5NO1vtjClA2zREc
pXXKkITkgN1uFwyGE29Th9jDfKi+mc0avthYiRGv8P+XQ9+9dw7/+SiAFS1wzzM06VmXA3k0xm1G
fIj1JDQsT0UY/a21uvIVKbl1p3FT3NRzfrdOhNJOStExddJ9Zw1vNe3vu4A1SAGQQ22HM/XiYNWT
RYRbKc3TTAWKTd4x6y9vr2ZUnsGNsEgo90iLcXblssZ3EjEVTvSm+lENCeY4R6r6C8b+vgm6qeXW
t4fuYIxSPOimVkd17mOiZKwOLYFyz0U5VYc6X+Tkk0GUJ4R6Io6k0k08F3MH3c8bWqbXCeDhnV/c
ekuvv/iqfE1+cWQ/GD0vscS8HJssGjh63hr5vFqoqTU1S7wq/bBobR3b0lAb0ote0kHnH4g0ch9I
hFDHwRjokCIl94kplpu2FI9R4sjtbBiNX3nFTBCYWjdRJ6cfbTfZd1WvPrf2qI4EjEyHoSv0fWJ0
3Ufa5TFwskoHfzfG82zbp2ad3GUzelMKspI04x7dhORVmJcP0JENOiskXkNKIodvnXvomfyQHPEc
J4K3JNndKEbUdatxHPu0uR46F4Na1isy8qbyc4MB4L6mStkuFud7Rdzxg5JzxMa32FuZU3zvEQl/
eGuFDX6qA9oR69qrl+Zp8erh59o3YluvlekXo4huY8ChvZeLFdmJUX1EdWV8q3EIx358biNt/p7W
RbRn4RnSp41GKrJP38ZlwJ7sKd7ZKpTn7sM4ldXBBd19aLwuPhY1F/mahdcy0p/MxHhYCHPcR2ZU
ZQDhQ/JaIU++WRFqb8eVSzO1avfabqr0GhlEsifcJJiLNN5lmkjCM9O9bVfR7EU4zgjLRH4oAQ8f
0mEkfZBL+Eep4+wO+j3ZQ6jOGyw407Gxm+4woxj45JbTj3LNvLtpEWntG0SRHtoQ9j+2i5cCmdU1
xbmxG2B4kKJZ8cn1BuOmCNe+9MshWa5kpe6tnHvdqdebJDM8FA+k0R7I9+ifUf2NH4q3mxhO4CNc
anPEdmHNQYvJIj6HgPTP0szLmxoX5GNrZdchbvFtq5Gd+HJKomNLttXfgJKDhiMwzjdn26/WnVHy
BhNhrQ4Ffsv7LErMva0yXrlG6fkhJimaoMNzF5GQu3TAq6KOzdDwGN5+NLvhQYbArd9wB8tb2nK9
LztyTLHIIjvml2uulon4oKk7YjWqvtrheJuPlj7ym8JRqzIMQKGcnewg8sI0h5c3w2iv5NI/YZ6d
kV8odUPqq3uNVmxGSNESQCKarvQj2N/j220UMfij8OsGj3BplPZTLmVNbmE2HAgSM67rvMq3yB/l
XSKSKljkPH5jul11X3K5HyJloAybsWGPJbX4kkw1A6Gjfi90pTXX/Ghs7aLzbpvS+zCiDLgpvWa+
aieZbRJjNneIdVFsEDyLb1LiUvcw4iCkWJpuMxDvWW/6YUiJ9DXx0tuaJnNBeLuxHEbI4ViQn8jY
nX/qyTgwdD08kDDrHmOHyZKywXUeT8VHq9OCozR8KaI8+9DPWr9MQ/wZ9ZKF8lYWezLf9H1OHhhJ
H+V09XYqxrxmz1xDO8AzFpYQbTKRYBHwMr4Q37veNSZnKS3SV/oi4fgz/vBXSuPswNlfHdKe/AgC
fUdStvrRfpnU1D2DTbPRWpMXY0KV5M9NziakEif1Y6nil6zl9DPSDEezTulXRv2/qDuzJbeRNEs/
EdqwL5cDkmBwZ+wK3cAiQhL2xbE5gKfvD1S1daWUk5q6nJuyrMyqDAUJuP/LOd9xtxphxCs8zGUw
TU10DEOQZzYkqGeRF+WG0J0pGG/4sV5trymr3WAyu+gC8jvaDU5ZnwerLA6KxsLJd0tlQoxhzly6
VELTBm94GkSNK17dVA3PYW3HdO8Ox0uSWuPG6aAL6J7YS9Wu3+pYcBB2I24uUjmyfjNLmzWIAb1r
RzqreIuFwe98a5lvn14+2fZ17ps9ApriMxQLzrCw4nRb5HMNLivOTgqUlE96XgudVCu/ISOoTpD/
3YtdVMqj3otp30odmuyI6E11WrnTTPikTti1mzkp6qDqkQBEePqACGMhHjqInTaCvmfHhV5Y5jNz
7TmmYb8dZdOod8917ZUYJpNcBydGH6mnpcOYfrT2XDn6i11wqntG9aQn6mlGCPU8l2FToq/oLF9P
cuhIVXY0FG0GxSqqbSam7Ni6GU9zNPHTgBPULyYqrvVYzi3sRRfDZ9t3DXRWDxGpWX+vu5AJrFPj
0C3LQX2r7OShlDodgKRMBYd7cCnQ72zYeUGDnPLUgcaELq1bd242IMgY8MPnrkQVW3ePky7TNeo7
a6NrhXsq4uJq2zI9DH1n3btLten1Dt/cbdTZppEGwEApna3OcSuL4RGNON3S7G0oSufvCczV0zDl
eCeX2VO6FEdpophbBUg4gGTd2uaDwaTHiBS5iqGY+l6EP98GXn1kFpKv+8xrgT4A4NJFGnG3KfEX
162PuBzTQEaRPKgy6v1CVirW0xgtZQfavKTuW5sjy/11OjfQsWa3a5/B4LIA7CFgrOtQo2ce21ez
wn/OpE6dDkaIodBTBDOaNp32urd4lxqn2KKk1wk9FdmpSZRNMYNMaDwzO2tjb/hhmQnwuZGEfaQq
a3TC3yt7HE8aVJJ9ZhvWBn+mdsa9kpA1rNr7asIAMOlDGLgQeB6QDCIfd7rqkpcopzUTuSFvFW99
wfGPtsnML6geI1aEyNG/anbePt1mZrdyjzjM5F4YWMrm0GCpWpbNqmyzCGmsba8rywQokLGI0SR/
HF9PoeWak3AuDltAKHq5tupw+73kk6Ls57psN6WFL7biaN7e+kxHLc2VoQrg8oIPcocXKHLXOpCA
nccLjhMVbD0ODrgUtxtSpPOuHU2xqw0DOFxv6l4NwijlLUdCw21WzZg2jVpe0mF5l3WKtkhUxkO/
NHClpzK2tapNhVwrWmc5n1SPKk1yd4WVwWvmeo+TIe1DX9fKljJIe1YVe1dm8Np57CzUZ1UCyxQA
tntfRtVSFS87XBQd9lc1HxV+/Sx2wehpvDMeCqu3mrKCJqKB7+Gjk+Sd61i2NCyGZ/6OlIK1z1JH
gm+v37xmabLGcE55A2y3f0hb/u68DM4iNGNfItDmW9dzq9pHzAeEEt/EPkk1+9PTx+7ceFm/SJ3c
eZd3SntAkqVjpZhb8WGacFl8yEwJgs9ZPnUIHZ4iAB8XF2ZDIGB/DitkyOWuCidOX11x+no9GHhU
cULZk3lFFWorAFBGpUdbKMHpJtn4IMvkgu4cmekw8OOA+DrDI5uG9puKrfZLp4P3Qg5fuGjhqCZc
dZxBzy+r2Fx39G9lGypf4OYia1KF0d4b8K2+V40uS7TPcb5LzZqlme7I3o+HtsMAB3F2V3Z6kJTW
fCRIeXzj5EGLONgWk03DrU5idhvfbWr1KwBHQJxlEcsDHprn1q3Nhzmvr1NqPTuIFp8nBGw7ztHB
93rJH15TsahEJW9Z5fJ9x6qvU2hsJjtV1jzrbbmiXlkoo4XWrOpKh+AcwpUxnPrBwlwC2MBlqtSi
cwbaab3FTi2PGgGl8IQHGRhOaB/mKt4j9CspIpLki+vE72zRqdzikKUHnnljpevCXUcjkoqsgweO
PXhC6D4tBCzTaD5Ht8aXZkb2PK1R9jcfdZuSAh7nXXgG7mWU6w5d1DeevdDbwdDp01MVZ26zsivC
ZJzCiL6Udm3B3YrrH6WHWzdQpiR+FYVnpq/5pC43gDuaKMNGo/niDnGrHDM5DxFRojqqWwdu2Nc4
GbCVo2iN/HGctjnJBKtQqSI/cqIL5Mn9JIt+r7tyPEtbSwM9zcUpDdXvIgG/tU7TJAfo7HJ5cw9k
75yIxgRrbvSKlZ1wmG3s3tKPk1toHqYYz3lvh0XSnNtt3O6zsjRf8ggN+Drx+vHC8Nfrr4gpY2z5
zBBEtjWZeL1oU45THNlq94z0Z5E7AkbfSqcqN7mguRimDAQdaskFskkHMKsGBELLY1D5s35Ax9i6
ftTa4QV5d38plhkmW9YKi35YbPqh569s+lh9Gqmii1Dh/QYAz6sDFpdX5/Y/QwSZQGkRXbVTo5RS
yog15CC32qNeRpBpQZdy+5+2IfVWPvW87wQ5umvPLIbAbPRFDWB012zm0YBTo525NFlD2WyOiyIR
b/jx5CfnufRvrRzXMD8xXLrmqKgpCtzKeyWoI1QRtpkM/0sjr9/6bMobcJyJ/aNPJEkFt1oSgBi/
ShmRXGrYlXUgyzlbo5Fm8lwWSfWCyA8GFEpNY8PQVX6GictZZ06wqHxcPRC0+9HlVydQXjuj7uPY
GWu7q3mpIBBsqFEyZ+24472JCeWimE73bFihGdhexGsYh6ThLkcq1BP+hUqE/ZtTEqG2L+O03Mz1
tMhyPVDfM/g4JNh1chazADnCrALxgqbEy5qb3zyOJLB7V4ig9ciqmYr4B958+H2CaTDXwVWKQlkx
cyx3ReyFJP2ZznMEERJabc8lxa/oU+5GxAyF+R4ye3rMY2orBWb2I9ld+ol31oFh6WHsSM1Oe6i6
vnvma+fzo9rMNuAVok2XzVHoR3pxX4BKn1fGbKiYIZRA9pY4FV2bn0Wp8BdR/n6bhGjSohlfki/A
H4RrhrAGNtQs+uYp7nyaXNieVDEq4uNksZK18BVd2FJ8OI67PGJlO1wRbBiHUTHyICdYhG0pnyjE
xfZZGzV2hg747IIbne5koQ9DJ3nI6uLu9tXOqarSwZAQkUOZoLeXbVd8OBTej0NpVJtEFq9wPmlX
hygqVjLVio2ppfZTgRx+R/8HeXJWGX5kY4SHKo/PaYwDbaZCeFSSjsuWc5DnIwoTPRgzuoZCxgnt
Nk9wmjHUizI0J85Eiop/uyh+3qhGKNOVYAW7E8vEgmiNcYecZdqPsnqGc/aBttW6wEXtYm5AcwIM
TksuB70/ypbsBY1l2j0Y/ebTM0P3oY0hWHA08IEBX1a+g4io81UuZ8Sl0ag599LMYBNOIc5Fe4bv
BZza+LQSoM7u2Ha+4ql4K+tCjB+YwDLmWiplImkbeQCNOlmFRJPcmXGu7lzFyTfSHbMldgLMjKok
X28DmihXeFnCqWZfNYMueuFy5vt0bICx4H+MZ8ZYr2Y+FbDuhZV9BSHkrltogtNaiyfrwCar/JaP
hPPcHndBQsZ9RW0RUe7ydmf4w/ElacY9AR1P2SIyUe0qjPCOCTTZIVakM6R5XhapcBoRu9o+C3uJ
1lAMTzn9PI4w9i8acdZ1vI+d48sumbFdzd2zvcyNt2qqQ1UOKzjI2mJooCi7TwhngVmiyAbSd56j
JZppu4u1sZDTmiaCbzqGgmJHJZgh6GLm/r4e6sVXLHzDiro2vtxON5O1+p1uWY9Jk7jnARiyEdym
hLcWiUmHSHziY7RraNTWc7OsLW7tHfcRw8JO8hbqCCju3SozaqyOAEUwhrr3kpX0M7Q7jpQGN9Mz
Js5D2lVqAmIFYEbPWngPpns4qCaEu1HHizeOGX9rFntRieHDarDGGwlOdVVt4qDKlezNSqZml4zm
poGzdmY4pjwgEaZ5WSZ9tTHLz06DIerzrBUnadXNW2429koDFb7Km358uE22vdDqDnYhaWrGIpDC
MnedXbaX2+6sX0Zbt4Ek6pjqNYf7urfbqKIRmxT8r2G0UTDJciIMVfsADa885wgs7gdvAM439sO5
RzawdZ3lYK0d6x03fn5Ql4svJnLoHHup8Gc1lT/QVwG3GwbNV5vRDCxDpWwcSFNY55IKGhtAcVVF
Diepm2KEQob3iS+TmQ0Kv6F0+o+pUHuMHdVZM2Zt7fRwrRAXhVRFmhsQc4bCPWVz5luCqnxwp7r1
TSjvZyuZEbjgkbJWXVThpzEzvqWuy5ONxSE1rRl+GREoubz/pplpZO7hqPHb9FiKyJuarQOsdf4f
t3ue9BjuKAefHu5OofKs2U7O97CotCovIRvIs5wFORnd1xzhW6ZHDsMLlUyC5VlCw6kFgAAYGlRD
uTd6r9mWzGB3rF5doAhWvRNhke48ITd1GapHTR3iJ7iB71PSx0cKGooyK82OKvi5zBz0j7Y2KXuX
hTyOMXOnhp5O0kIRn1h7JdCNx+kp073xKWTbesY8nGwxkrlbK+3MfTEMelCZ7tmhqT56wFfJxEqT
twEx1eH2xP/zTPxvdnEaqjbWcAbiE7J3/rq8JBCnslTZ2oCRaKxvMqBkTNG4mbJ+a42wff7nn/c3
uzi2zvh+b4oBlk5//XkTr6NZML2+eDyBd5bBvTMAv37E+MlwqTAUpl29SVKB6+0tk/yMf/7xv7Ig
OPxp5ojOcJc9Mv/ll7230mgwQGrXumQKCWo2kdx3JeETnyLE5q3hEtamReHC4PkFP1550if3qV28
WmkmoWs2w/AHDe/fKDz4E5HgYdkaWZ6a/cs3YKBkr8Hl2Bc6Cfu5SasIHbGRRkGNFpHyynZ+mCZT
jrhhRRrCw+pF1m3JZCgLf9ShL2tdnHxINZKfI8Hl4g+Ci7/5wviU+KjR/LA2/lXeUJtGoUTAWi6m
li2deGMyWOsL7vBldJxp2fh5e4VvG+txnBmY/OEr+31FhrwCsRqJJyxR6fT/+sh0Y0XKQdxbF3dI
pwei3aC2pxBDpyk7VFbXHYqomAPNGMM7En7ybWbTTP7hufkblQdSZ40dsqnD/v5NXokgr7Jn1vpX
z+r3KJ5KpoRjtx3mkCGtMs9f4Ny7WE8oRhmRmmOgJwQJZP3BqHDVrPMmI41Ib9/7SCvXpIIk31K2
oBdbocgT4Sz9JIN1+Yc/9e/r3cXpYLLx4nVhs/fLo5Vb1NNj3aXXdtlyU0c79z2q9wOWn+WsXIaR
IGT/KNT4feGN/tThDXOpXBbqxl+/MNGlbjVVHTJjqBFP/Om+uXNS7VtZZrzsVrlvKtXdyqIpHpJ4
eB2AsPoabAQDz3wZfv8pBRVoALe5LcPrPz9Ovwv8+Bygrhgwijj1ft369gTbMRrI5ovKAbTKUG5l
iWIwejXjhSYPy+7Q92Vcwn0RofcnrchyvP11/+jiJgHK4douSr9fj78wt0pbOoJkwShJY3/2xvrt
VuQx+FY3GqzxkxqrLxBFUwYTXW1cDXJmvmdqXp1yp0iCf/4wbk/AL38epmowoFABEQBv/yKNAJ8p
zZm0iOtIgbK1rb5+1gT7E6lwd7elRpWBlt29j7KYk4U+MIPYCfLBRx1UXUmq0MCnp7kDOTPKXybT
fAw5U/3ailucgcte6baVKqFNfJIN6dwz06tXJiqJYMrGJzH2TIBAfpgrnBg9njVxkCqK5HWvFSqe
uKgsXsrboGpapMKqSkUqiJE4UNZ2uOFF/xDPXvX2s6T+ucCo04mYkywBREDm08Uj1/Xznz+2vzkT
PfRPtgOBmW/z10uzGOysMclnvJqJtI9w47M7QucwyZu6tirybDjHVawF81QXMBDBmP/nPx4BD4oA
dvacycud/m+Co8jL6V6kTK6tEit7lSy0n40COunmrpYV+YnA1kWADviTNB/9D2/QDQv114fGW7T5
OKYMDBeGu7xi//bzpwH8byWj/Mo1yVNxa0mFh+DH9ywKYM0167dbqzJOqnZunJikQNB27PFEThFX
LUvYGtvBFqCtJbFmsuH0677VzhAx6RgnfaK2w9dHlY4JWeyA9zBiEGqyjfqEf6RVTGRWWPMBoXJk
N4+hMk6vM3U4MYQ9NJe1a3m0T4k18odSipJtQRXzo5ERcz6Xc9dkq9uMB3u3OpKBU6LMX8ZBClLR
z2yZy8QiKr7E6iCeO28O9zbF9+GnDMVedmXgaxBJJIs74j//cmFyuaa9SGx/U1QOVksKFpTMq4Lp
ixwrTtprrRnRjgmrdqcBLvkoVTehVJqIHALf8IeH6/fzEUHn4ilybeTZHJF//XIjWWExM/PqGo2h
fjQzeiM/TgqNvD5E2eCHVA8uAnIRd08dZ/xBGvR7OUovDwfKAjzHE2Yt5+e/PVo2tJQ5xzx0baRN
05zHNiM9/ONnp2Ua5XQGHrh//rz15Rf6y9NMx4EeCV4dBirOwl+e5jjTdRAufXpvJXmz6uPINPw2
rYzArZgf3ipi7GX1Kuy1jjOYdKFcWN0VZ6iyceriX0s8vXFUEK4Y/1kX8Yk5CHluYjIOzvEgQ7wi
UTK/3ExgqCbVp3/+LW6krH//LXCnOA7uOHR1HOW/HeSOHkK86Kf+ErVJffQaXRwsUzSs4M3Hie7c
p8vJYFMM5JiOxZx99pl4bjTaMLb5EUhXxAM7lkSAtm/XYRWO8ZrR5FVOXnGq0vJLmoE+4P7O5q80
mdV2XPQdkeGKJ7Ks5XdyRqbr7fVh6cJWx07mByDc6jeP8OGgUG2BwGK0xq/FrENo7p1hBxeafUiS
kMLtEvtSu8K40yeh3GlZFgZCDvYa8FgZFIPjXUJNViurklhqJzB97ChqsnPYOGwryR7aRQbzzrTR
RLsG8d0kYDtLtrdWhuBJeXWdNMMzUL8o6NaPaC+bzWD1/WNhcmrNZDSZcxosWUY+kh/lvbColVrE
CBu7oNt0u07rt1mjxvbaYYhV6132I/aU8vk2JI66Ws9OsFirZ70E9ZGGBLF1yHU+SSbT3pIidHYY
nkQA5IB1mbBAt//z9//re4P+1HQ01kAGcQTab3JerO/llGqNehElS8IlieZ+tJZjD/r5xhvS8ecN
+B9ZkJ/+nBLx/4be/P8oS4LD4/+eJPF/fkQxythfkZv8f36akx3zv6jDl2aGps7SKcj/x5xsq/+1
9DZo6LEsU1MsEr3/NSebmJXp0bmzDIda+1/WZNIkjMURgPAYFePtH/0HvE14e3+tamy4JRYFjYpS
1dB01Py/1IJ9HamtpSjhRislaUaG+32KAfKxRTwy3LdXtBN7avt4HwJQYk4egz5L1cAdLISbk75h
ulGd2FkXrEFDUl6UUusx30fARlYV0U+lT4ifB3ygZ4LVDkBiGDNGMr9mqdUiX4t5Q6iBG5hppMgA
I6/0T4tZSvPNshoEXGPfKq+1p1fRK0ldxZehc4YT2rEPh06KJVNBOITmtTlgsLiQ7IPUDGSC7bG5
8daD2RFXpCqIzmIT64Dmg7QqIdRXjFPRZVU4vhDEy+7ouYk730GhQOhe52vDrfs9AwOYVU2u7Ye4
I9ZCwE7rlOSKoF9d4+CCRJKIc6HwqyvCOAC2+zo1doVUyCQXUxsT1tFDcWytkht0jjQHUEmVrku9
sZn9zLQ/RNTGrXHQSBLe5pkq2mAQHe5ZpmmAHhSvZPo+wCd/aWdwdBOruxawiRalETBNc0K5MhvF
UbNJVhQVYkSSmtb4l3P7UnQM4Fgl/eiV6cQGSj7C8z03/dRGZ0gmU+GDgm1emsYkhKBLT4gxFHIT
Z5spP9lF/FyideKLnuk0Ayb0we/tBGJqJURWy6DRY0/zRzgTOgGDhDGt4tZ6UZoGMS2yijlm6y/n
1UgGVKnr0kUbY0FQR48SPyJo6Q5NLF8E8qzMt3uzCLRaTYNeNeuDxcd2VdMarQCyyqG+VgifUDAK
fb2slMkEsQNtaN+zCuwfzB11C3MQ57OXEeua980WNWWX+oxGIe9Z2oV5ZY8gUucKYSraa8NedlZ8
jdyIdkbJDCl3RM1Pz5DrwMJMSU0SqXMXdum+iggPC5woQshR0TzCS21mmHMAJFmCJaxt0tSVJxBe
O5ZeXevHZiXre/BDZI4R4pUQ0WG4sgks0M7N2iJ6vVmZiopcpmEgmuaWj3YTCI5Ogum2VZBHjDgw
PB2qSRIzKx+anrtwRvzEa52uRlOdH8d8AQfAiVLXoKqeKAydCxKECPSOo1ffWMUlQWtDmWQebV4M
d4QNWJYMou2DnKN+Taq3GpQmbL8mmb4mQ/GjNJItEUN7DHBH3HWEFnsfdmaMQVY78Iwa7+gAU3qR
sH5IaSY5KrVCa51kHT2gVRJ5z8uU1Mma6z/sttUAVvM7i+Eu4MGexn2fpYD3AMjvbRjpQcxy95FA
zQm25Nj3iJow2fox50+2rwYxXh3VSBOaS8bGvpGWA65EoqqIGjHV9Tin7R7gQfFQNo7zGA3q0dZr
fcnTVKZ93wyHMEJsVJFUJvxKeDn52b1d4CG0B6jm1LgOMceGyIO5qtqtm4ATJNFPJdVuROjzrhKL
uoR4kgGwmtvR0Dcm/NB9j1T9Xu3zFl1M29SnqELhAoFgKq+ownqCBUcWftvOQTo5RFqUBU4jAYPn
TuVYKxswjRmZbpAS3PtjTiebw46gQkg3I2uzzL6nnMf8KJScbGUz/ZJ7fR9uMRLjxYx7jYVNk7Kr
RLI/bpQyTh6kk59TvdOAw2XxSUATWzGrM56yPJZ7RxnardrqxhaaVrNONVcqq0okZUbb0DW7Oa88
9U549VfiYdo9sSn6gayMiOI+izo2vSMgnK4OSQw2G2HIQFi5x9HXEdqFNbfms16wQ1K+08Ch+m2B
c/GZ8pgl+aaqCBCe5rEaDgoD3SZQMg1ovbQjSO5WjkwNjVxxTh2z/pKioNNWDfosUnIgoUUJQe+V
+4Qen8SR0XoidRZwI5qYGxa3eY5MCGk1sHr81UTCA/8nfdPdOp7xhfO12bdLkIRnyZVJamZ7F031
ySlwxWC6gQ1igSNS4ZH60MRCd12ItEPJZ2PJaYll65iBHGNSuw+Q4i90kYSTuGkOCHIyEXKsCuRc
xOwliU2eelHvjTYp34aMSKW5N20mgLr+ZnjiHms9WUdxzUy7qZ95wCmdB+deN5e1hmbe241GeCKk
QrIHrO/plH1D/AKTzVFUd53GIRHcKXlFLIDLkYOCyA/QeUUDukwKo7xLXfOBK8rdJ6hE101kjieh
1sVTWegMaU232BiKKo615k08wXnJrRPSiGP51wnqrBvoWsW6arV+Tdpq6ndNyZWbFO1eVqT66nhW
NqAPCuKJhmFdN40hVooZEb9QK7O9zsPZ3BQe4MKwlcdKN07qWD+EwAK7QLYQ2IA92mH4KkrVM9dJ
WnBYlLYXwF4DxGh5K6Er0V2OsAhZdaL1X6EllkQsusou6fTyMgsdoR6U+H6C08hakHAVhh5ksZRP
oZOwvspjqIi+V2ZtdY/oETifarDnvUWS7mOusfepI+16VbBGbbZm4kyPegpHDwmpXbS+rvcsx3ln
0eN6VrlybaG+zL2b7A1S+TaTlVJpDJoh9l2XkAkJTIqMqxB5ZJuv2GyoR6IY040h4+NIShO7UxZW
3AJWia7IaYHCOhY4M5V5kIsqIUT8OPWGuQmB8J06ho7EZWothrB2pFkT+vDmRFmjH8dWP2tNxsA2
r7ZpX5Iyy26CBmadDIORr4hPFtlKL0X3NCcZCDW4w0c7rMiNAX9lZBsypmbfLtJom6VOutdbw3sy
+nG0Vm5UoIfU8zJIuSrLehiTo4iNhwQaJZxIVBNiE7WFd41VvpwgCSlXfUBb+UekdRlzFdQ9us/e
rkERZrZhvXLrMK4Q5hT8HpluNhnp7ZpRb7vR7vtVh2muW2lqXEZPEYlE3/Fe3GO/YkWIKsyZdmZN
ZbXmG+x0H9hrXb2YNeEvq5S1YBOgJHPe9USqp7ofHcZoFKXhGd3XQla1MSCQyNJ5cLt7UIi+1L3Q
vkuRVc6+yohIBmMDNHI7mIr8kWoOg2elUV4S5F7riUfpTmlVPbApUEZQ7+VgBC1hXJdB56V1AQPG
YxodYXCRM5/WXZBUwyuR8U2wjHuUicM0xlfrCUQbCUmsI08avS2xnHlap7wodtrzVVX164i6IsLd
qY7aGq34FWjuEUbkFOCLCA9hoQ+BEroIx0u3z8btzDpZXUdxAZtvLGL2imEyoc4brShntzDPOxsV
316yelFWbijuul6XgaXyymsJfOjEtBcYnn5O1MY5hdMgkUtO5LgRcVnrZ0ImWGo7WrMx5pzcUdJM
VrbdrlOnTu/jkUxyXoQp2kPkP4Aq0rd8yxTtRmGeJsOKt9gbHptRTSJiL5N2n+Cz3RAo9axHNmpR
rqBPBBR3alYwPB8Xpwu5yjH53a7x0euhvOvJQvnBF1vfRXlqbz2p3NNyjJ4PM7VkOFeFr13tjBti
qb2vQrBnDeKxTfZIpFz5zMntsnpBOLSfrEZu0O24zzFXdO4Pat3a6xS/58egqMmzQdTvVwJ38NmQ
GrZFZEEeDrEkys6rjPw9hnK36pYdnw8Mpf6cq1IDeKtZPyyDAmZTYqHJlB7c/hQ14N3m0ZryY284
nJQpgKN5jU8n/4KSsviWG84w7QdWQ/m2lP3soQOplY0WKoRh1HOfdP5c9dmTZs8DnDEHpt/W1QmD
X0mpQU8EXmlHJ1eHK3KKLbNHSpOViXHXpCh5Bo+Im9UENrc8m8RwID+aOK782EZHGUq3BSubRoPx
aKc1hwZ0hxLHSm7Bro48CcZwygGD+obXIePWTRtkJUDtValwPa8UhDZr3R3tj3Qohiu5ZBH6RUnB
Jzc4m9JyIkEraeZHb2it+muTAxT2GSntOAhkAQ4TeBumA3C1dz0ic+TmLHng9qXKCklo50OBzcR9
ribjt8yJwaXmwqMKnULTeupM6BsBQyDozrXIuXencToVwjTbJ66RouemjpoQnUNOOq+ekykUxfMQ
2PqoAbnqQc+NG0Lf2m8iVr0+kLK+QDrZOkZcPKsNClrmZFWOJSZ2Xy0dnvA+bXKB/ldtG7zqVXYA
z2l9FGVlOP7gdebbYOZlt4nlEFlBVpBPGhBJukyJm2tTQfWcjNh7T3K6I6CDTFdmAdBxQpi3aSNO
lPXQW+jDSWcZ26UwJlGX+dBgEeuekrVWV3WiBCp3F3JLla9+q6LVQklpRtgauiyN7ip0WvZKnzvb
YfaVsg0ve89eIWjPzKCjabS/jkMrTMLrRV6znurMl1Ap7AFS8tRmsAnLYsEA2tZ9wYRRBDEpVf0x
iSMSeIYusn1ScpcXtSiKH01o2SQUe6n2TAHTNCgwhqVKAlZUDkN5ZoBVfYyTg48M6p76yvg7p80a
wK4fVTPDU4QeId8maVhSxBlVUGqqQYpsalXpyaJR8zCbEKyT+W1tq188L4fJXGu1csqTyL4bqiE8
NyiksHzESfVcRvGUBFPUDfc5JtmPxtbUVT0b4Y+2FEOQaZPNxilW4d6LkWI2b2rjkqtyqINRE1XE
fzp1TBRWlJ4J/xXygdVnvoo0ayY2crZUvNWV2rmbLgnL9NQzLBSUpA41JOE1LKzC3qU5MgZtMjex
G7rRxgo7MwzwevSvhPo1DywBetsfZpncGQNnwJfKC9Vwj3BDtlT0bl6tY8K6mlVq6SdHmc0HhNT7
PFKzLfZKWhNbjPoVGcdAJFw49e02tigKQA/m2YidPkTSOBuA7LW2TF7TuSO93BsSJdu1CDioeeNp
Rsk+R9HRJaqeSq2BUs4IBT7VtJ6RnT+6+VRN61Gw6bsYZoKrRkBhlItmzRnvGJyAMI1n2rMraeXg
z6Gi682+p8/6jMpGVgEQERxKesJN1i5oexR0meJ3vWIfRgKr0SVHVDUN/JX7Kc5xa40ugWbUmA92
Q1vVu2oCoc6gM8ShcdZxqu0YxLTXJs9IJlJKFGWKXX5xjD46UoG4O492BWubEX/NicejZlhI/AY9
OlepEaYFD9wgyLKqwCmtXB32ZKYX+nGoNXjoRQGIlDjzvepN8yUx+R7iMTl3sSrXIJX5yjkO8LuE
U3x2DISbd7qmaNNjXufmj9hYlJOZGPLizksVUqsS4cTMqRY1VM9j3qxhetukIaGEg9ad/wwh6Jyx
9D4UQyKC5FwV2dcBueuxueUXODXZAncyUTyvh2ja3yFA3GBYCdcMsR6JEHlkcfOaetY3pQ/VV5k7
vJOaeBorAjNVpbmWFv8qNb9HzHFXuPihSCGZLj3l3mNNpe0rjnXCnn2HpEoRFLsvXca1V1p7MRQf
1KzvbE7uvbZ+aHTte6GlR71XQcOkBfrM8V1HPblGhruLwvnBS+EGokl9F0U5rVXHemUJHvmDVV0b
t7p3teLNaszHRFUuMjetY0X4KRM10Nd2XF2Ksb0wuDlIj4eMLcK7VVVvFSrIteskVgAGpEUurnWk
qVmfws70b7mGHSfpPPjmTfQOQ3BTldlRAWns5x5jlNwZVwBwYGh7xLUbqr48MB1ScZpplhN5uCK/
6q6okye1wE1F3hZXSTV9Bw9WYFzQCQWtXhoMhbgKZx+eBtGZapgCp1gSK5SaNucOxm9FlIVboZB9
9sp6FpuS8Cz+CM4t/SKbiYdV5+bI/XwOJyTAnjHBFp/HiyW8u3i2H5jpnCqt3ElozW7KxCO3OLc0
WgpUcOuQFJ1aqC3r88EgNY/EXHVkA16eDUp4QMEEf9psZ7PZXv03dee1KzmWbddfEfQsNugNcCVA
dMHwx7sX4pg89N7z6zUiq1tVeSqVeVuAHgQUGp3dlcEgg9xce605x9Tz+DDpiATLGiYBhoCzOOaU
JXr/TNbt6mfQkX0Svqwtbhu+yVyfqbcgztINgKY9ecVg6p7Y9/fWYly1klWdayU6IGG7E1mf7Nmw
5ua+6bVPsM3KgYXN3E1QAe0IL8peyJr1ROTNiVIL87VhBGYr0UbrRRI6w29RqWp2Eq6vGKmfJT2L
vSnPthUhlIeuiq7GudpMs3wa+0W9URBpsPtYLlBoPLEld/O2AyUVqFBQbb2mQWUMyLHZ9tR7GV/k
Vk2XJwthdF3zBXn729Stu5hqlVgG7FtSY2yIQDi1kjZv9Ti9qbTOcNlDhtx8DTYTgRmpp1x+c9Sk
9lqMb0DaEQWp7AORE4t2hZXPLdI8tOV87reGCshcSG9XRGZEa9ZoArJxecNJv9Wj8GFQyPaohl3B
bGWjZMuZZsJFDKjcSBTv4lonARa6i0eYHV8taUEKUucQSyqxfYWmOGK3Dtxn43rWZlIdJwMgMIM2
m9cQtxOrt0M2W3fLYWoPIYzmX/bTAUyz1yan+JV0Y7KzGlhyCYs40DuJPIBWPpbyNJxNemn2UGd3
rV7cwHN7Hsy4BsBXfFJt0BcQw2+QFIgeFI96QWEaJknPdU14DQ3WdWe25a6K1ZJqBEm7lbOP7rzJ
WKJLoIj2FC3i7NMAOfexiYm32VeS9lIZ4+SReW1d6qLByS0m5mapPHdC0TrMME8IS7lhpe4Q6Vn/
YsUI4EmS2hJmsRP7S4LikvXW+RI6xzbyOxw3+Q7K7aAVaQFtfvqk5XeYLrkUgHVbS5rwu2eXBBlp
RXGPJrCBbnrdxqZyh+pqPYxlRFBOLT5a7LK8WMsrZ0grwcVjmcbO1C34Y/O8eySwSbThFxuekbSG
P8h4RTuyW3ZKHRY8nmS+DAu9f5Fx7dtQ0M+4WKrHmrIoTolksce5uU1DqfBb/PGOWcR7Y5qybVQ2
km+kmPMJ47sJU6D1WXVnFus1usq7iDLfxj9t7Me2WIJ0GYKcglRW5Q3V3LFU5tYReaxcdN8jeppF
9/U0Jr9CMe6ki2KPNhOW8USW9g1FSmAWtUcvcs+DSwwgjTlbWZvHVlzTbdYlBWrciBDnLl3dkcgd
VENrQGzN0VBoThRZch5gmS+NHohdXbsq3bN9FmO3ElaqgGiYV7tn7+SarXpIYDPYSzxvS2vYTsa8
64oivI3qAQpflEqtS9ziNtLZQIZK1j3VSF0CEkZPsmIEKVmTRwXVqNcSiHhIxl5/ThqMs+aqQaSV
0QiZ6K8lQkmZBIlu3NSZP5nIinEPEkrd3bVGUSJrlHctvU1A3qQHKkX5KCfGDHi/eouE6A2qP4mK
bOgLbe6Bh06fGQ8JSm+JmJ68KvxL5CI/rJexm1Rob7Aj5VMzeeRRGrrIzyNGwtNkqDab4o90El6M
pb/KW2mjsY5ssUV+sMHhBS+IG7nBG2HGT7MZOpq03EdFwwY6Gu5RFOrP0RopPvceX97syHOxiIFE
aPa2mpP2MWnrBq/CS5iUjwMXFM0n3xkj/WZe6q2a6ds5C48MmL/JyIedAvK66U6JYpSuDHZjyzys
cLrBYpJEu1z1kyarfAwsiatVZRW5DNfC3cAy9aCIw1Paa71nNuaDEabP7E4+lXU4Z3Oy+o3cn6gL
F2dUNBo6g+Ig7ScxJKZhw2femnrPhifkpyOZ4VVVWYCGtDGuGiPzCb48jorZ002QVPkVCZpEGLuI
sBJQaT8CRG9Ip6CPiXegGAywuy3b22RGteEkqPYu7TYDChL8gxqtJrdorB0uQB5v7oUNDRjDi2Kr
esrNSj9iIZo/NDHsXiVBexLXbuosuzWQebl0B7oztHi8pLy/wsRltGedqLhKJVjHMJS3odrOhVdP
XAIHuXr7QOIPLYw09aslmnak7ZBcv5rGeo+UcyEUNJ+A50M/0skwR59hFbz48rE6jzQViFeD3FFg
rlGrqk9vxrUhK2yQ2iH12UlN8U0hyFruaD3TGnivQAtYOj4zmvdHcZjSb7Le4wnpJymZ77UsH0VW
BKNEOq5gYWtht9iDNM1aduTsjPgck/an7XIatH5Bayuy46xXwFMNC3dhVrp1lGgObquXpSiOmTrT
adVVXqQ50IpaXpwqJQO21SpfJqfcnxKRpvvYdPVJMLVjEZbCe8K9diV1C70s2jstmb6+NYV0mkmm
rqDEl30X+lIkfLDcnMpV8ZC1aG4HNPDSkZ4xv5LSFYZEfy+5lXnp2JOkKk+xy6OjujOUhaeGnQ02
mOncYA2vSJLASLla5qZWipr6mzuMWGFU4JHGsKTVBNpLn7FOskp66Nk6yzqbTaUiVS5RIj8DK2aQ
sTyuHdUAUTIQNYRcFmGoZzh36YqihlbH8Kles+wtFUqMfIydZwQgZaV7g547phr+Ian4tyQO/zn9
wv9v0aHoqH8lYzi+vr9W/+X2f978wFi//J1/MtYlBZK6oiCUv/CC8Cn9S8YAx+gfaKkMCMwiTE9N
4e/8U8Ygy/+QJRVVMNw+RA68+/4UMsj/kOBzqaKEDEuH+Sv/W4z1H/VcAkcxVAMRGuKKv0rHogzD
bGM1494gLCy0Tlml3M/KkXFSb09XISCCKXwcRn8iJ+tApObzX67R1R9Sq7+mTH6X7v6pwPrzuJfv
8xfJmhirdLA7Bl1Q6NZhl0u34kSOR3QvxWZACohzZuF4DWnZsJ90O97BRrUTRG9Qb5o+yPkXoCY4
+voNOx5hHhd8BoF6Otuu2p5UMzAsvDwZJk4nK6P9oLK7md9+/d1Rbf4ggvvzy3/R2xnWMDIsgO2Q
JdtZ/JZqb3nyIimeuuROCu989pv6vZQ+jfk0vkt6EBOsNjGVX9iQnKzlarIIhcpPwnPyxp+KhUyZ
NVjlgyQfyLreNcWtkd1nvNXawpcVAjaR9AIWwGK8q16aT2L6XIa88bYKuqA8li8dIypb9UEQ+u1m
CUJPc4nK8AZvdleX8L0DOdB25EWe6SYOIyI388qzYL8ZdmETrEXUyIFdL+k1qkc3GTW/Y8i+jAh9
Os0xYavbUHrW61Oe35fzrhA9Q7lnJ2RPIhsciksceB2jDsZli+Zin+3Gs0g0Z+SznVvy3Uun29WO
XoaWnGk3NTeC4hhdoJOQRCZd5Wsd4Jjw1C8W4wB6F3ajXLOfaHK3Ch1DD/L2jgPC9e5biT4PZJfQ
T5GGNAdyWNT+oSkhoweKFkh1oMeBpAbzeNWwC4h2UrMRx60yfuDudmXBHsagoGHDP2g/tOUmnkLb
Sh0aJ8SFq179Bjv5vlM2WoZA+qgdc81X7QJjjeVqN91E5IldezMN4QdBPeoIWPqF1/nZYvLS+hKb
BlfCdtcgD0ieJ8pQebLHV/VdfAdV0adOadDQopvbpQIbGJdP44aRbmbDCcPersGdvFfh2XzDGflc
bjoubKdvhTmYbpMncCd+Y0mPDINtMTp14Wbp7kh6dFbKwGxqaCHF9FjdTjgmgytV++Ky80tedRlI
utNucs3lOsXebJDlSAgXPlM3zgPF2Jelqzys/Aexwby73UUDcPhAt5ieEk7qXW89dKPf+LI/et2W
194uv7cCeUf2i6/5ome5esjQbpNhuf2dzedHhd6fT9gXVdWsSwxyIEPthdv8Ktw1OymIz8pJOyq7
8jSfyl15lK6K38hovwRN/Hm0L9YLKmtIcxlHKw/DQ3Nqr+bb6iW+hb3kpaf2VDwvt6XXHs1T9X95
ROOLO0dejHydANrvpbO4Qyf9sG6bTXzOjvrBPFPmnJBmBPKjeVLufr1ogUf4UbH2v8/ya5bwmE8D
/mYNc82ZAr3n5+X+wr71aJ2SHT2DXU5PDZCEXTwsO2nbBLpHQyXgEdi1/rDjf/NbV9l2u/JgvUMR
PbRX/bn2k315xYhfw0zdBXGIftemxKBpttZ25NLvVydfzpxIJlTVERCMiDZUJAPFVeEhf4pDGg+2
fIRUMrxJDHiukxmpEsgJu1lcaFGpJ3l0gAxnFJ3DqfKvjW4zZ+xItxrUrKf6IMM645k70AZnzCk2
ft1vND2Qul10sqZ92B0IVQVLgvZo+VxKV+C0H7KFP8xM+Qc7rWz9U69I47KLTXEtHmlSMi4yX5ub
5mTt77qNUlAyoZYC9Olkxz5gZwe1ZHjCr7xcLYId+oUA28MZOOSWA5xxAUu25aWNY7q1tkEfLEiO
ylKSu0YfDBHwmU1T7Ibmm8XqW0G1fcq6d2zJvfIgl5+RuG3pLaXB/C4fp73wnAmET7qS6gJc0nd1
FBDb034T39Kjsk0+2Y2qudu+R2/rM0qXMXXJii7e5ivx+iFpWLT2Mx3XASyB2yqOgCGvQP1EHCCT
6kDEdRyS3EWT3+4+jcFe35PT4iVBFDQPCo1R9fIeURx+JCvo9sueFIPpUb8Rb8TrfBvfKU+Dl9mJ
H/NI5scqIEeVh6h3P1pHdnU/c6OzdcXVlyaWR5+EhwjvA/eKDAUIIoLdbxU397NNGWjH1ltt1Vl9
+Xpa7MkxPWQ9XnYiupK5xmH0Z986i5/x1T5ySdRzEpcfyp44fOoY2/yp8azz8KCjJsQv6iIwU73p
yEtva3ihTwdzxynWW8uOUTFx87u8uZkxPS5n6RS9dNmmt64jhTX5AYOrHd2VRCZWaKBEnWHim/jN
2jc39XP7zE3Q8A/9m3TTrm7bBablqB63p4aA0Nac6BONGCL4+3yvCwJSz61Zbvo7DTNzfJaaxa7u
NQMMgMsH6KUzTLZ0Iy4MInzlWrwyL42jG830lRtxK1y3r+lJu26epOvlbB4EjxXaUw6y1ziZA+LE
Tt3VvmPgFVQ3wpPha4fLxRSc2Al3L/3W4t9O/cYpXbRjPnspp7afJUf3hzvd7zextwSN/zw777Nn
+ssh+0g7Xl39a3KVn8Lb4WnEv84pRbZ+le3o9Fw+jfDv3brjneVemki2+popmx4BG12Jhm25002e
9EYXm3m2B6NU1fejxTaFGREvfrFxVNIeSD3DSEz0Ke9gRscq1Zxt2ZZf+uOep039QCVTPYkWlom9
SaI2laIjkX0JcVT3u9v6SF9oXDbMCAtX2FQHnsR1UxyK2KtjdBUHzRNO0XUiPFQvht8fxoTWiIPe
YPpkuH/JwuDGl4/CuAGHjJUlUXwyw4mXZ5ifvaheFKg7xU+plvSt9Cg9KoHq9Vu6uyYsl63kD6d1
O5yak74rHoT9ejVdj++yZs9tQPRg27g8kewjY+5kFECjnb6ndFavQctFEfhJFE6bC8Qm38Imbwd4
SehBDma2Jy5yGtxuvtYYZXf7tb+SFXsVEf50NsQyI3fl9SpcTvPirZtZ8qZ5Vz+Wt9k+2veHDgVg
/YBwvjberOxFFx6Np2jNnjvRCBqUiIkYOyKQqrto+RSglaReeg9lZu7vCDp9M8rK6yOH/SgtKFbK
KUiPxJpQoAIo0U1vgbIz0hGw4w/habwbr6zHMa8LpHHNC66eg2H5ei27ApMmToYfPrObb8U389m4
ka/Eq+Vc0GZG69dDRn3vX6Pn/ma8jp6a6Ype2EbUR0+eG2eu3RgsQiV7Q9MEl1jS5CXKN2jybTI0
h9ruGTYl92oL23abl2DaGKTclELk9Lfmt/4DJQdVM31cXODDqT+rz/otRc6wPNHQ2xrAL7pZ3kr4
yRfWiJkYytckOY/jJhq35Fbkka/eVB9puB9LJHJ2fWs+iONb1n0s0lZ4Kh76J/Va5I4b0Z5WtDXy
nW461ps8uAzEK64Pj3hVOHXs1CPKKD8s/QQlc8M1pPqsQ7AB86GmFI6QL1jdh4I0MHPV2q2ZTHRO
o2zj+zofvYrI3/5RdY0jTq/1EqjqgMXjDQNtUrduCskvwz3EG/qrjHQH2kSi1+6pnonE0Q9qkJ2b
29AnvDp+0GJnYPSLDRGuzeLUi0u6T19T6nkYWRHezBSikacCdMj8svAm4Kzj/VpwhyWO+MzbjVML
D6prXYfv0UfMzKblY+vyaimeddAlMblWiyMs2xEWAonEhnsZfMBUUByVsSQLhGIX3wo2Gd1Gk25W
6xqKA7Ai1jl+0/QTflN2JR/664V7rw7i9lVR9nl4KNQ3S0Uu6eralgkVezupvU/a0oHmaFtTkPWE
fMLOd1OCqStXk/ZKup/zNylOL4otLOAg+XQnzh6Yu9n6/JGEd7w2DQoYSJDn5YG18RqJbsdTL+yV
4aQNp+xa9ZKb7FU7109K9ZI/jbVdPSa31Vm5D4kHlfoHBmdYud35Rnq5Yk3yeqe+T8AXMWNnpxXn
YDJ4zAL0ooizNeK+Snuh52cFaHqd6kKsm0g2fxzSch/RjRXH0RG3C2+9zeplV/TK8iVY3qLqWr7V
LI+oBCdmezKVd8MtCmLCts1H6SjeNVdoQ2rCTBePXccco3Gx5+vpXUGIeklWspvEG/Ptmji4s8go
drL3ytMOSKzUR+MOed1VrjkpXkI3ZJtAWO9t/2KGdHt9Qd5Y9d5Q79p6n6iO1dp0ywcXSSiTRBdW
Gsrce8A+5n64La/zb0LlIKMEaI9HkTostqu35DM9zM9EDCDz0u/jQ/YYnkjkEBQbSZ0UMTq214/m
0aImQyJSXwobWQ4ag96+0/D6ju3WF2/4mU3RoZ/13xKwPmkVZiPZxCg8BBYjcVAC3UyvhSfdUe9j
0+YNkH3ToSeiMRNPDBlhT9vhjqAmitwHecZwYNc+I0aHiChPaFxRnDZ1K9iq8Cw1r0MOhmYojrm6
eGynLelpaltvrj6/l9//D9pjp1cawp/Vf1w++r2qlzaJ4v5//PjH7o8/R9+qS+jfD3+4kDn65Xr4
1i4337oh56/yQf/8N/+z/+c/YwTvlvrbf/+v7xV+zsunRUlV/rXJdfEG/p/tPfZrCZrp41sXf/07
f/TFLPkfOjB1OAkGyWy0uWim/JE9aJr/ILcEc55BBwxz3sWx+6++mP4PLAmA4fHtqYqsX9IF/mXw
wRRkXIIOsENqmDL/rbbYj9tPA6i3ZfHxuASJ/sLW+aXRU0Qyg3vBSoI1rVS4zUvKCIYEF30tiYlX
kBj95dL8pB32BT1AB05ULtQIAwIBGRP09H7oipEBk3VjWUbBAu+O5bML79QxLrYL7FPYVmA55Zz5
7K8P+gU88P2gtBIlDFEYrdSv3lW5M6dhrCB59Y0mHLo8o4tR6goJOXn2m/P7cet56TDi+waIgYuL
VujfXKPl2C5rrcuMhlG8HS7xYC5KNFZ5kQRdJteMm+A/br7/t9gUp38To8JJmqJMRBr5FZLFL/rj
5YXlzFhBM1veHXisprxQ/L5ahSsZiN/CGx2VPfHGKpBUs3lDo/Rbbv2XS02ggkyMz/de6yXO8mt+
SDaNGnooqQnC4fIjZ7N8jz0recmYY7mIudYJx0is7mvg5VHeDGwSS3a5EcSSxBlh89wa+gDjUhqm
p2lR8uiP7v0fT/5P7r8v9/v37yfLNKFVWVNkFFI/XqAEMEhC8nETQBFDTciol1J21gMzH2fKw1L4
jSleuvRx/mz/QhUEogBWRtJIg0Ha/NW5LLQ9I7KetFhh5bDolQeZUm/BeOyJIaE0cdWkNyki6UyM
Q68w5T7EQGQsh7nKst779YMgf3n88BgqovJ9wZGYhP49GXIwqhaRURaMaNJWG7iDxU7fkLtdI0uM
V5U2TpFRMYxLhvpDT8p+00366nWA+SlPQzO+UUAkvaiVTInJADtCOKgk6kPUD/W2ZWRMS6Q2pNGZ
e8msbPgiAsIMKzkUZSPA2TMnhPJRLvvhWIVHlKniy69PUfmxZQ0OhlO0ZPjC8vfn8Ktvu8aSWyEc
Rg3FHFCy17LpoFr39Xyftzp4GKOeH4iWQxCwDJJ1EoF++E2OMbcdVKwmodZv0c13bxBJhCvkdvlt
rg3iy8x4/qL3yG/TTILghFB7i/k8/VAkqvhq7eXXYRUuOMyyny4bmlF5ULsODG4HWfkIuxgrI4iG
21+f7uWB/uvt9f1sYQQBCVIAKH1lLhCFHmYIxfNgHVZKkUHNnG7RBOfXR/n61HAUSeRhAVt7yeXQ
vzTzTC0zhpnvFeDAjJ4EkA01UOvt2K7aN/PiN/j14b4uIt8PByXmspApZDp96Y0ac9fEa8vhlKIi
8Q9pO19sdlA9j79ZDn7yPHyfMSm8a3kNy5dv8pchTUFaZ6R0XR6g742OKM7m+1QX89tVaLrdoCT5
LYSD5ObXp/flHXG5Q7EKqjqTLcBOZMn+eFCFCCMx70s0BcDP3/p0Mk3PyBqeRGSykoL0VVcelgsC
hhRfHiLGpL/7QX92hTW+xAV3Y2EGufzgfzlvYdKNdISdCQrFEOBhiBX3DfShxSFjO/xN5ONP7h5+
SeI6LtAfeC1fDjYqaUzcdQSDBBTiLWwUVtpkMjYV1YYNt7Z///X1/dLl/r4EkOMokyR0mR5SYv14
dpDL0qSxiooxGzEBjjoayCJio8KCqfbVSE9UyNYryYD0GwspSMSwMpPDIrdY0cY4MdNtpcnWsQyT
7m3Q2+GtkOsRlugU4hFMdOEQqn39/Osv/dNfhDGnarEyYzf78uaWCz3T5RgPxJJEmg32LvNDIy/3
VqQ2d78+1M9uet3UL6UjdnNEAj9entJMmq7hlCiH2vAoyZ10HLp5wjjZmDtkuuUeXLEe/PqgPzk/
sGqqbADTEHVDu3ypv9xx66Q2mVwi/5uVUvUNpQyPC3y5oNRC4Tc0pZ88X3joLU3nYAql8tefP16a
HMZOhUl3isFE6Gl6KJQVOITadNdDLy1brEb0grSh0g6TWUS/ueF/dq4c3aJIV6jELLYPfz3XQVxJ
eDD6MihUBCBFzxlKS03rNqms38yPLufyZf1Hawm56hJSbvyttKVAx88Ur0Wg8s7azSXSkk5H9c3G
clUeIpzDqWtWK67Y5rc/6U+uMyGdaDIMDs6d++U+akxk59qk1wEozHGjqGFyEzcLlsDZyMNjui6s
XckkkzCNpYZnL8co6P76rvrZrQyWQANQgHn2bz/12pkIs02tBrUq0vWXdR3yZyh6VdJdEwYoAeKW
89/VdD/5eVkxNZkKw9Iv0MIff14TbR9GfBbPKFWtE8xnKjoDjVjs4m5M/V+f4eUifvmBJaQPF+WC
iX7i6+JZs0MCUG9WQUOtdkqK9n7sflul/uQg8mVjJlGvXri4X6riwlJalE4xKwJ0n9TGj0EDQ4jo
tf36ZH5y5WSgkizNKqwz6+uVy7t1xAU11cGsN+pDlnRM52pct86YKWX9m3vjJ4+GzLuUPZVhsY3+
uhVpqykbCU7DNMwZb0A8J7JriVS0pBsX+1hohCsYChgIJkF//fV5/ux6qgqx2ZeTvWhif7xDCBFW
lX4u24BkUsFtR/VNSHnr/fogP7n3FRJpufmhuP79HW4JYmPM5GkGjaBxG64UDWs0M6DrJyz+WTOB
x7Wi3xUvP3mZ86xjZubMeFV93UCtUGfjJQ+LAH+k+lBmi3BlrnNzZypVGmCi/d0Tfum1fH0AFHay
igXFSLYoB3+8lpHGpDxf9SpIFaXQgxnMWGMT8hF/8jAY9ywMFrIHiyjXtTbDK6ucyFPCPDSOdqSl
zWdNPvjtlMrsAtpyMTZC3Su4Paf4TVMTav9M6yfFoSzAgmA2FgryuBmDionEHYVL/fjrH+0nT4Aq
Ugxpl3cvofRf3k2KLna9SihrINcCc5MaDb5rNKHwiCtq/E1m8U+OdVkYeTHI/FbsPX+8cjBianOR
M4pbXYjcXppWf22FbgN4+Xdtj58dCmwq6xM4zAvf8cdDLSJQEvBsefC948FAhhYxBlYXWFsa/PoK
/i1XE04OWzvaDKz4ukIV8+OxoBYIkziHPFxzxI6615WJfoFeb6Q2F1/Ihlg1JCtatZ77fOHlMyym
/iHGWX7bCaAmnZz77Goxx/XQw+m6xx0gjR4/CfznSqjefv1t5cvL4Mf1Gy7opdIm5ZFFT//yIzTq
0mkLbp6gIIxiX09K/ZobuXCou5lJw5Qk0dsgxu1drzUI6jMMog75F+t1ZMTNOV1VJqqS2F+3VY/p
EFPcTZUPI2kAfUdq7QjN2iznjZgwVWtDvdhPKFl/s2hLf99Rs8HkDU9Bw9b6b+UM2EWBgtVkfi03
GLCGyqrh3XchwAaRjT3LzwnsBB2MPp4cMZLelpyYll9fR7SAP3ZSaFpQz4F/0wD0yho//ZdF1Syr
pU4iqQqMvjWRobVNFJ+nUm2xnqW1l6TCcDZYney1nx7AemEQ0toEDs8cJ5/kdD/MbYVegXZcfzuQ
28TDkPZulFVzYC5t6mhQvPZqn5/HsnWFlQlDF2nAtbU3+PR2iBiO5g3D8PGmiaPXconvdeNyeykz
IQvWJrGwATSYB239AlRRMuJ6c2cFcoQTlYlhHYxN7Klxea6lFo9Euunq5V5EoTFaLzK8IAF1SZml
18s07ifDWrcwZdw1np5bQoBHaz2DLiAwVi/1rZkahp0RECxHy3ZtmwfMxXY9IRzTzEMnJ05EcGnP
7FVJZa/vGz9lFDt2xTcymT2MUhu1S/FaxJ5mjM9Kz6gqoRqmeRGjBojIfe9TwROw7dl5JgQrxqAZ
B5s4IdBTmWl31sjoO+0V7KHayyCBW6xX604VQzcrr8hasjO2S2s+o/yIu1PSMxEpV+GwaPGN2iKJ
KPPyuSTjZkZKTWLhm2I01wsjIvrdT7Q03FoWfUM7ZH34kZDRsGbRXbOM21iVT7UB07c5R5G8H832
ecZf1OngpEAS2O2EMCC1PJD5jiSYXhiF3rAu+1aYM3cl/guyz64u8eE0N1O970TtadQ/1BXZsGzA
ES4Tv10+1EroSEiSOod5706vxW8mUYeoFIeLchrEUh9Hm7y9CMm1LRxzD0L7PrGAUi6K+VBL0CQs
Wrzr1B5xKBtsLjNketJNPvSBkSeNN1bRndzoPncxkyDVVkSMbmITkgmjrE6UjVzXZTzng34fcTvn
Rno/tB0ebSaFYbYtVgIWdQm8cu5roE5caQ5PBq60tdPva0a5cgyKJTUavAuRuoE4YSs6CdJF9yyA
ErZmwCHtIr5oRXVSFnKQwlDYqGCN2v2EboZpgGPh7xdSYUvbB6Y/6koUgysMi6HU9xHWFQV7QFkB
u8LzvWtaxEy4Mv3RujcwiqEPvzVnJHhCXh6tqqvcLJv7i0/PNsiiUJT2GafwO7OI41jH+7LuQH0y
hNflYg/866hVuGWjYvLABKLYmeP7dG0QzxbXULzeVxSPKzWX04ffWh6uupU8hpZz+55I2V5l2FyP
6UMqPpW4MzMeE3IkNksyPljwVolafFN4beAsY1zcxJ+d2W3DiiGuUH3Eo36Qw9aFPwzoAfHM2HrC
OKpOHjMJXMC/IK6M9HBbZRijmR20+5FQyVzpj6ouYxw0kMBrd7k2orsH0WVcVhCr4TPkTQppURHG
m5K3Ih6JiPk0GneQLvLEDBfDmUhPVhzim5ULWDfZPmcdgTtiAZlpkM2PY/0M2LMvNnkVKzhCZtqO
VM01fu42rI95rD3LJWboPEVrgt2trOHAZChx9NR0myW3i0jxOr0G4NMhdApNag/mFLaFcCXrdf02
NzCaNCD74dK8jeKUP5hd47Gj9xvRejXK8aC2w00DV4Vupm70glOMKhqKPgJEMRIECawoK/sDaYOF
E5HUBC0sOpOcBUA/Uz8KQbqzVkbQMV8YedeqwStvABiVWeWueAGolxnqxtdi9iFVKRCR8amzhKAb
5uulx7tWGE8pyypUHGDn1Tuu+DaoojV0JWNFiKXE2iNsRgJIZDWsN2a1r9s2P+fQDn2r6XG7Fl2D
JqrQQk/MOzQiY9vELDiRfEbozHdeOoMUqxZyAVFrU1+9Meom9olo7sTtDQvN0qKSDrGmxi60MuNe
UvvRNgZOb1Uri3nrHIQyOcVzI4XIOi6IAkK+hQ9wKApVSpqP34xuvVmz8lOULhlLi7ESYyLZZG0z
0gV8K9NVHdZXcW6FLYY1BBKkwZ5yWVi9ahnrO21tPyw4N0eltsSA3jKcCBJSGA4rGi5aGKj6Vra6
8diYwjpsoCmZW2zt+ZlcpDyQhQVt0VSGwl1TLcnTIjcIeoi9QL2tzcKnJnf4EEEeYDXKkqU/wD21
7pJGCc9l3uWULioKGtlszdqp+1rz+5okJ08AceGmQ00mZ2iM/bHK2WjRiA7HV4vgONEfRwQacz29
4KfX3haiepBFa8Xy3M64A8muEgaPhlS2IeA8BrNCgIZXTl16QwMl7+nPj8+U0cW7NPfYp0Q8q3mR
1w+kBWGS14b+qH83yWdyBlTJnOJXYnZuO4MHvsgLYAnqaqm+rOItslPY7OduKgw7nYn2Bi+zDqMN
KsRCoZfklR+LYudgrsqQIcmwQiuxuhKasjsQGdo+4n/HEt2Gyc7sw2orKCUquEI1j6BQ0QGUVW8+
66oAQqu7rD0Cg3m4EU9GjW9eL4R4lyoasq9RI917VoJCV+jNaOatOlevRt8XQcmm4LYfs/ZOA54Q
dCv9yEGuZiIP22I8FfDvMjsSldjrJJ3XWdvIb3Sv/hdzZ7IjOZJl2V8p5J7ZnIdFLlqps82zu20I
Mx+EFM6DCCn8+j4aWZUd4Z0ViWqggFpkIAGHu5ophSJP3rv33PEBcgnST+2XZ6Y67kn0oXzB027t
Vpqa13aWgyuVz2uGcFIV83RmdIfM5AJv2DbShQzkrIBTgJPvijGDzdeWC1oFGcLX32N3MsSe9lgO
YxnDS8mZbILY1krtJvhOJApHFc202NhTlsZwV1LuMwdnsuLPpS9Kul6wzcImX9NyyYK0a2AFdGsM
GmetxLVae4zAUa5v8tzzoKJcEolEmDindXUM+qXejq88H7BNU/gKS3cQ462X1O2wcbZNp9SYssad
U00RiD5Fe9ZrbPKbac3WtwGT3WFZCudH0UObzkQgXixScD7X/iGzIpcrH0X0wUkQrGadL++WNeuu
o6bIbTaMqYhSml/gZcFAcZbMGMJw9YOFm7vbKHHsz24AUouKcjnP1MiPo18JyiHLRZgyNyfTLevZ
12G0SYaAG9HcOdSOk3Z/hKrGUM0gbjvay7QPGvdtJHtMHK2mZy49LBPAWXDqaFEjn1BiIzq+rrbt
FDVJH71ks6Xe/JKOn2jCQO8CQ24q/l5bHxeYLt9icARjui5cbMuZpBaAxBrVaC05eXphvDtQuahc
gtpfHposWd8UJtNj0CzudomU7u4Lr4GnrQj7+3SkKQ6kyZF/Dg3wtcs5DRc8d2k/sNa2vl6XbeNl
kLPhl3hjqhtiKPKmkLuMIvvoc689B7A0n60gR1hFwq8XsIjd7j5ovNxKTa4dtSlrIsCEPZWc5iMu
uU0w95oQ8Atrf6mTem+rlSpadN5z0CWUSjxn0msL7fb7VnXo28q6/h7St3rSvud9js3PZS6ZNq9+
9YMxFUEwRUQ6zDUcAb1N4N8+jB6b7xJlRGisSHyqyo6eeqdOrqYJKlsE5AF506zZzHOvzz5CPSZ3
UycbWGgaAFjnW9kmCnBdhnNNHmc9hWmg8ytEsNWxXqSdNo5X7r2Bg9okyImcfuhJw+3VPrJcAmlX
n981QFm3VNraO3Xon3ozXU4QrpPvmCvsMu2Z1DwV+D/LL+CvKZYjd8L/MWNyVAqKfD+ZHwER2DfW
UvloPk33NeBWcmC4LR/cLhgOYxx1T5UbIL+LrPy78Zv1tQNTtOt7JLswrh9U5L+OA/Jv25rR4s2X
+jB3F8Pu1RJ3nAJo5DfN6LR+vSDAb1QcCEzxKsQCW84dwj9CgALj2YjtGOcBuoJXctVhAgU71zjl
Zhit8vpSLdz1Jhzas5rgfO/4C8HWBY58wYRW4mH1ic3yBhXuaqvlZAsSV/IjBQUmHRjamfCW56G1
4kOWx3oXB+gJIhdzo68dRLQdEVPsEFP8tEZtaLbMtzJrU4Vd/JwTWPhA9l2HLta1cgIAJ4dGxRh5
P3J7QBBZeaO9bUxfPIROkG9hOfTOpssJM8yIOT8FASUK33517dvW0TB5/oQAmZCtqNESA8HQhzDD
8LTN9VBda7OO3/Osz/N07QKxbiu/7xiHz3TqtiIq3N1CHZSS7tz8rCwi27swD14I0A4uSE4trnVV
eBd9m4t5MWk1alkVdiFYjFA9aNG5R8L82pNb4/VewExemSSOCBUO89vOeJelrdYrQoWKAyFRdMoA
fjrckIAHQGD5GGkJpTGFeWqskawPbLAlkYAVd5c+qB9tCtkdQUwAOX2CL6/YsH7kXkLsHtXK1dgQ
8N1K3XzoRbDgI7HtWkufpilJNn7c62tBzcmd06vuKLnQpTu2SeML0Za4GHBS8/BmD3Aj5aqcL8UY
W8cpi14d3P1pXPZEPpeVDRuEkA6itIC4mbYu06ZJ5DFc23wH72vaZk1gHQvo41vHabzrjBLBnecW
JAxdRApP1wAr4dy3GOLjDurzJxQV9UGKIb9ZJ1hg/LFu9n2kvbuyzL1Hj2zLW6sztC5mxPuBipLH
AazK04A0gwxOd9GbtrZR09gmPrH227fcG6ztNA/Z6yL78cGaW4lWv41a8sn4isYIt1bgSkXCfThA
dJjFziu/cPqxizeucJ7JzFnpABkurswCaSI4oiluBF4oKD/iDDniA0L4gLZ0ivfuWNpHh8TuNJt7
zL7WYA+PFDg/oYQQjro23EPy4U1ly/A1GpJP2go6NRF7IIim41wGBVca5z2zYbh47Au7hlycx6jE
4jVnGM1cq3jICT9BbSmFOYi+RnTqIkV3VDhv1YAgRbn0WIdkqm/scCR7OZz6XdbXw1WcgMXK2yrZ
i2xO61EOJ59L3g39qIPhgC0BBBgHw/sq3oYYgq2paQF49XNl4FXocerO3CsN6NoMz40H4It3YNr2
mf+pIMhS2y3hLnH5D8XmroHz8rVocGxxw/XxvocZxMu13fZrHu8sOVr7ZUDBvYQ1NLNiGXcuFBsK
zeHGSAVhfZheE5t45dIjrYdEsg6ZpZPFqeMUYOChJCf0HbJsWyCmfpGmJr27s3o8FJHTwfNrnSQl
/DjZwfgPbwjuzlNnbfVB15Z1WIkd5gCooxsZL/UdYVndt65pwkPULE8KpP3ekau9z1VRv6lZ6MO8
4OEGO/zcJ4vLvL8LXi/oy5uB1OndWM6Q4yEGbe3iWPiNOVd2Z59cAthgNE/6kLetOjo9mtSpjott
b3UjiZjC+wY8gDS+UI74UCKKMxUvL75vkpTvv0sjUuvP6H3Ursm994LL6nbxqnVXTTMr3MkGusPt
cajlCrCq4FQklowqiVhAnEaIqsshUDhmSaqJQaSdnLz65ozF9DoR9X5kR9dn8GtMkKSDewT02ecM
NBPGVZMjifHKV3o16mOwwvYhKcLiCziGjd8HzUHVsXc1zdm4RTQ4bFxSN0CJO01yLBrayq2/dDvT
eSPProKLXSNx/UlucrH1LuFxEsiCYuJY2EcQHvltEua4MCCNpLZFx8vKVX8eDNV0rjO9j5zW3vLI
UDJ31kAJPmFlmuODx3dKi8ghmhVUzqYfp9QqymAXYNWQZYzNUC9maxGauq/nUoK2TbrHpawE3Ff2
wrkuh12HUCpNIvaekDvMFkJsexOWCxwKO+bOnBRls3cmMkkttGZ7axBetvEp7AF2yVLfmKqHHh7q
8Ip2/bA3obeyTsPzBYDQbBNvbu+c4gKtpgI8WlR1p7gEqmkmL9uD9RaPIF2nDR9AfEpMShgKLmiG
8RIfKwt+0mITjuCNvQ1Bar2u2uLTNnZ4Sxiufqjhd+iGAl9b63eSLXAcQYOIiwZO9uy6P9scPoXq
G/OwRljhXLqlX7zCWFdVS+g25mMFQ8kO1Uum3ea6b8lZgUd0O2n9zni4I7HFfmvKUt9ZqiV3HVTl
xiUXNh1JKDtWoJy4y07lQ6dbzm3moRt7cj78qiNcdsh8dQbmREju3GcHG+I4b/sC8cXPklcSR+Wu
ksW3MpjX635kdAULATsdrBfym/RkDsGa1981tdV+QuB2ctxO3s+ybRFls+dGNsXKhnbBdLHs9f67
r0tiT+vK2hHZXr9Y45hdxWMY78ssNKkw4C/AxhPCsggD3Cf8jAWuA7UWpKEMefRZ9l2L7UU6xyT3
/WcVcOVt6hAZOL1z2i01zq0irCKOD7m+R4qnBQtu3Qi/EC9tkpAZrWhKRzM4pZFc7ypem5e6mRoO
FPTsuvPK84wsioaOwcpXueFzqLHLtvN4Svw8PLSJHj4mJaYdAY63Lem9+BJZ3IFKuodQAN+yq/7V
9ecGhE4EAcSAolnjpTgndRbuIS/jcQgLIKJLOKrrIWvHJ+g9c6pq7o/pXC20LrulKAm1h04hRP5z
tRm2KzLhdhC9bFT7uj7bGSM2emHdsoe36+7teiH6uZZHUFl618WMNFxAUxuhRrpsUpXEffrrT1Iq
/Gsri7D/rNmNVXjTkwdrao/aAIUkqNft6ETtdy8Tber1FkbrlTcvyeMAbiaz8nuJUgxxJ7vjW1Qs
8yHwu7Mq8/6WWAHaxtXynpTDj7yQ0T4aGCjMwWD29kp+fDLP9XnRbehvqi7UPxh84Ni0RKtfZGLy
tyqWxA70P+UQcdcMWvvoZkwLaL3VWL7W+quApE1+fajOg559POE4tVfXcITMIRxJMrlH0qycmHYn
6MUD/H0ffwp3+S4XLa28MHsUM5tXJtbqWEyNfOJ0XVKXhMmtFBc0ZFfi3fMiv91X7cSbVFqrKWkf
jxSMbdm9Z/W80FubMjpR+FQmVeR8rY45e1HyOUAePg9zkh2gRTI2QPR5ZxpStze5tK/JhhDXc1vJ
FO1am+wHyDA2N/Qhn/c5NwyH6LHM4hwNOtiIvhlKvQuJXrZ3gW/gKjpisAU/UN/N25HEFqpj1Bjj
tp3XzcAV5JmWcbNvGVqeorK8zwPyOVtBCZ6vDHR8UzLVKdd+b7dreUI+Csyvj7vXtSa5nDh2EI8k
HgCyTd1KmH1IWtOCZ1U5hmZ17uxUUTzSs2I4jPd16gzlYBSRShsnOIC8cHVSwUiGgLFqvs1i/OUO
vODbBfhy6uaQq6s6wlmRtWnY4yNUxYduMM/CsJqOzJ6KvZNYu34NQV9mNu2JHjv17BEcXc3+PZhE
/HwDTBXuTt2LrX0MlPYCwjiDO7xr52x5Y04OKDzgJt3aYf8TpGrz0XI8PkhLG3ruIEQB5ecHJxTe
DVYFl6B2QCcbQaWNw6h25Y9OCOcQZf570nU4mZLG3Sg8BCeHLN1TZDlXpOu+NWPcnKJ67LZFr15a
h7545Xv6mNTjuA16f4UcE09fdajC+GAySE2d77P/jtDdSEfPgifapmR+e6o/eF2lsMkN5bmDObzP
XT+HCMZKxAmW01kewYO6VTbuomRkyhYXxa2le3gvrqW3IRXfWbFKr6gM2mPbRRhsfUFY7RQSaVqv
NjXs5L3QUqDFHLcuqQ/heBPoJbpPEsHsfk5YhW1MHa5oae/DkVeW65S7F9j6HtasCO8XA1hyzeno
BGJQl1qMlNJFk18PpEp9lEzzMOUlix/DTq7dJ5vYeGtjGxF+LxD4YKQdCxCLLoyCaGDINFE3nDMl
xhsOa4Z3cRZd9VPYMbVyrOio3LI+NVbiupuop7/TB2P2ZY3y9iQjTdpzK5xXhx7TvlxLyL6ZnSu2
Vr1yRUb0+D5kiM1lATyawNFlV0RTDYV5JKm8bSL5Zsfe8OQMfn8r1EDNXUlCGdKFnYzM79UaLuD3
klmJkE3xIVrDvz2EuhZbE4sF1NsQbWE4E72ZS4jjPbkFpbkMpLJ2ne9WyxoeMBm5mM+a7lkSREA1
gWXOWEwSCFoJ4X2EM/GHQk6q3EYrKemblVTf7zP8/Gsp5vrTrsM2SfNwkffa5HTkLyC88LqeGoqA
uG/l9RhPCL/KHiTdNloK980H4fVzVCWEcAPQ/cqVMQfzIqPYAkDtZvfNXCiOXm7c1zYIpf5miBrL
TZ0Zk3vf29F3U2CmACfQ/xSmFfEVdRj2d8/nXF0sJ89SlTgXd3I5NFdd2AR0ikarf7ZE7r8mVT19
I9LlAhXPhMTDNSGXmdmq3tUIABZOID+ukjAMhUL6W/qR9wreqP/p+779zkOONoxUk2E3u5YPA1RC
T0OsIvBFQriCJ+lZKELRmeM540pH/750j1nuuU8dOR63Jrfx+6q6AIIiXFBa+VgjW5jtaaRe8mmS
b3N1cYgkYnlp1hjtPEktWDb8334uL9NBOsKClHsKzP7raBYA7EWp+W83seMB0+Y3caLkDthbdhOQ
lUB7JMmzo1mi5aXN3Mo+zLVJQB2va79xQ0WapGgim0wGCBwjBNIZ7VxmC3GIahQzMOXz8UnDjnb2
fi39PezmhtQvGNlPzCoFxtSYYMV0YgBLDhDTsCJd64Y0+Szx6WzAiecFkt6wHUemrRwIOfr52jje
JomzGnTeWD2Rkj4dOlWD1JoixRcyEjzDTQzlqaD87xx/zyqVzh7tBJVFPaLigerP990JuhtpBnb6
iZaG+EIbnht0YnX+Xjmz/d6O0Ximfy6Bxcvq1V4kOaJEZC3MQ1uo342Zvo2zmm4d4NKEjkhVXCUo
f25pyPLPl3Cb2bURr8RTwjrlRp/dLC0LM8WqhSY7Ud1Xwnmym0RKcQMzGqVur+UxzkIUPQ0UxU/H
EvI6MHIcNxp7iN4NIY2nVOZckHYlTUuddsgQWmaMpn2Kaub6aTGWpt5OBTT0jQDD/N0eY/7v4GXF
taI1/kpHAArFUHQk8rQV4Fbyq/tnOTfTN6kzFw9r7IF6dVHoB63XP9PVtLjcmTbcFnGJxxWzy/wy
2N7w1pPRkJK8Eb9yZwih4Arof+TF37RDSH3QVwBtGkILGCiO7FcoaKjHM/cioKs6ofYylwiHxwBG
0QI0fDOxkd7yHgDxX2jOllAmK+TsngNkfut2GcMD5cWeOKhotr90VVnEaTUhBqeDxcoatPRfYzr0
BLX0Hg+ilwFDCZC3PEziYa50gVPDM8OYPSK249ylGVzfFRgdtr2O85ukSqr7ZGqyak/gjQ+cY+Gl
JzGwpQFawwRHzGbyM1rhAOJDzSJgFPq1cqfwe+jl8jrvhEsb0sxsD/aEAH6yfMIFIJODWF1hh+L6
lTYvT9VeJIuyW30SMqogec5ziyUPU5VRfkdCFeBIJkf70VcIb7UMPNIt3Rglrk6c+kiPan6x4kLC
4nF5YRkYPIkCHQdxKfY7x0J2k0dh9WSCqH8ukziHpg/k9DuXnZlcDj3xbhQTbhQKghVmdmK1VGYT
yuoDdbQAc+dDGAeYo8WXyqwudVbbuePJhXj8yFHUh9t4KDN5gjAtj0McCZQovB91OjPieCceifXN
9OoWHcp0MEFb7sm6YtctjfjCdIqvM3Jc09zNY2woOnKxQjLNiMj7TcOk0CL/7GyS26Esabb7sPNY
wr28vN8g/FV/G18cPw1c8v1F14jJfGwad+dAaXRTPoR/NDHzW+URurmZE3d4mjwzM4rKSGORl525
4QDYg95dru0ADGvStN0jMQELkyNnWnYU9ZxAZcgf03EG3Qiv/ia044HvAAvI/RhlbfBeVgOR8hSN
IU1U+uqXDhUPiYgyAoqanMvQUNcY340rw+qOpEZ96Ke+PdlWR4Rha9nnac15FhxyXUiAVUyTOxog
LQQL/93mKzxOdvgiu6uCkD2yWD32uSBr2UTs3vJeuVKSYiwR9gTCyh8H1vddfyFBzjgVd1Me6KMl
HIZlCzV1SsoLX5JxixpfuW5Hs42ahk5rY8WZdTa1XUHcaFlwrg48P9VG6oPrMnMlRqOn2Lbpkh5y
xjUocNQab6RXspM0QNkkE9MKp8uk+uelc3gXmyFM7nRHvAvfQ3jM+gSMrAdbeTsP7cBEZAzOLfME
JvYxClPX6YJnn9V9KAHBCuqyNvioOFCokp21P3ZivpE1oqlrRqEcWVOI36TxEYJTPMhjskjvqOQS
oFAKWCqaCW1KAlWZIuzivLBzM7/49hRSNw4cUkHsIXX3TPVEoQXjgbKHxTtBLac27WIXXkdUcWBS
HbpXXOPVnek1nLcuRxSRjyOOLrk49/So7hQsSzgktrMJUUykFonYx6FbrLNS83imNcFvE+Qk3ae0
xq3jUvWUgHWk2eM12/+D4nKkaVEvI8GOCc/uds0cDDQWoF8IA4tTWDcoDy5pA+AZAVL1a/B38f9/
g9f68KO9/ah/jH90V//mmP6/1uvnfxrc+Ad79v8MPzZyZx8p2O8UhBd3+L97uS+/59/+sm3L7+2/
/a9/e/4oMWYXNQLuH78Zxk/f//aXf/z9fwcXes5fY1wECapmF+9ViIZz/jFOf/sLVpy/xiETHduP
PbTkF4vDf+QvRn91fS+66K8Dtk/fQ4Y6tmrK//YXjz/y+BHji/eIO7Md/pfAhb8qSD0/8AEjEsEY
YSy2f2P0/c45w9G6grau2gdR/5T+y4KlcChHZuYRyNJm116IHDmd3QpqBakRTTb8KwHorxLsX3+C
X/x4eTaVXjLwE/QQjSowJwwptm0st/MNjCq8q3H/UKh34ovglNNLtb7/9uj+G9b5P1/CfwAM/Kfs
zv+BCx2x8H/OHfjf64/h86OQH39gFfBX/r6qA5tUUdzomMCxB7m++49V7ft/jULywSMCe7B7MJP9
x6r2We+8BUlCUxlbT3jxk/7Hqo7/6iHxxoOCa/C3l+G/sqp/cUh4AR5sUp8cN8ZFgJz7F8fJmts5
POwc0uLaFkcLxchXknXqf+GO+lUrfvkYigKEK7yflFnRL7r0hjLCoV3t7MqsiU6GWDnUmhOwJ5cq
w3j+99nFjaIHl4H62Jj7UArMKaVTfoRLxfhp1UJupwaNlMYDi6QVzVc2ZP35dw/u/u9y8N9DQi+S
9d+JxC8/ZoB7N3A8DjDX/dUcV2AZGN2SM57jG/Zbmzfjpl4TsJ7T8oPM9uymiDmRJ8T+/8V3++8f
jfc1ubzkaC9+8eVxw5qBj5TuDtJ69UgxML1NNdzLwiOdb1WoSFeafh81V2dY8fb01sp8fPMV/JE6
HGj2avMvpN7/ZGngrUKkgc3kElv8i86bTh5zY9U4OzO4CuSUBbaniur6259/5//sY/AIsuuz/i5r
/o82gn50phpE6wJdph5IpQGbFQTMXP4/PoX3hVoqsTGk/iL/b8OOlKa4p9NTrQlK0g5amp19/vmH
/OIEujxD9Pm2ffFVOqEf/rI/Zz1N7wTN3q4qMg8xqm22RjftI8MNQT8IBUuV+NXuzz/08v38Yc2y
g8T2BR7Ch/MaX77f3x9L3pg1E/dOCKnze8c04n6l/trIpBHvbtugjTFlvR9rpqKJboPXP//0/+fp
XT6dHSThkMWX4P/iClpXyNFjn7i7UFf3QdJG92Gm1eOffwgG1V9/SbwmEf+8RwRzhGP2l/1DdAC6
kbDLXd9aZjsHOdVsKOSZSJAK4C4w/K9ZYhh1us1wM8zccFcXmir1YQUndvzB6Hp672xDsFhvi4am
ufbmd6FIi6iyYL7Ky7k6o/NF2UNLx73w8XcR2Ho0s7GRDw0lNCqUVYVfaTFQblulTSxpPQbw1aUG
gBQgrLuk7GkyiIStEIqbYjdMnns1DkH1sHj9TNthCL+WZbsepEyg2vmV/Bn1vvWM3dzstZopxnnM
JgVBATOtD/XZryJgh4MMU88YrjXdIDfEov7gPt/9UAFUxmqBO0+Em9nNtMx3TBiy23rhug4VQkZX
CIiTs9eHzAwm7a3fkWGRpMHfPufki72MvP8wwqzCjGknQti9fFP1Ju4656sK5Qzfp3nTGD3oiNON
4B7kk85eM5DG+YLaPxKXhDxDpAs3dzD0NJq2DMmmfVIZ/RZ6kbnESybYOCr/1obLDyBs1OuHcAw8
pGGEdKtrn+TEzi/W3TCr9tHULpJjr4p3zGC7jSujgBTbkDlciGqubisGbabrTwQskNLBZOYU+VZ5
GNrA6s8ejzANi+VL3tJ9C73BPwTdwmCYTRwrLuOCwWrDE9GdDgoreInKV8SS8YM+dkjxcx7OPSXq
fl29ZNvSFL+XBHWQyTKFiCxb/Gh+aSMWh56isyejrEehJnPqbZtAmAiyi2r3azE21ypgaIosPc3s
mvEJosbjgACdeVKpricUt2ke9PSgSNyYoLOcJdoutMvtyBhyOnphhjZTsYIo9OoGybvHfVLNxVtF
6AM6lCuEggRkwD4UfnBPhs6jDOW6W0UBdpLI7PtwiOtTa/nuqWmrK8Bet06DRSKKmD8AznkH+dnK
9tvkVdejpV4bMQ2Il6ZzZjdfgs5jni34xqowICuvRpzgEli3mfPMIMJ0XTjMDlxScREhFJB2dnoZ
CT8mFCiAxdpO8Pxa331qgR4crUHax0QlDKR8QHVQjpBzTQ+xAZPlN/4IxM27s2N5C5PG3Q62D/kx
auSmKwln3LiDHG99xr+b0UmgsxXeVjXu+jha4PXyXmfcIcvPJQ7HQ2GUvnHzHBNZiRKU1hBGCWJe
t4xWd0VdG2wOCPAJ5KND3Y0auKp3Zfr52PsL7ELkFgzZvzQa0hwKaTxfzYMFmuclIY3vnuZt8lWr
fj1B978jfi65b2ogdMXcN1vHGtadO2gmkhbmk4gfO+juQ7EcmrL4jpYcq441IEzL8FhoKxhS8uJe
Wte/boOluspKvrTEeddFh5LdNR+kDKBvaGKiK7qjMzpYKKlWEqh1hTs9TWjYiEJYh52OZ14t36+/
icAciCu5En2HQjZpv+AF6t4ssv2smLC0ds4RwFXW0Z+j9XZcrG8WN+q0apIcP4T0zJ2h6MO5ZDxG
ywQNGZulNTFkvAyePzPj8OaF+WFO8nfyPO/adniLi7zHgFCBuKtHXtDLJgjQmY5EmSblIjF7EMva
R3QknCzcdKG18xfz4KzVyeEKvm8tBqXa/PY6VfeL3capizCb/YBJYZ6wgY/RYRym89zLTymJjY6U
dw7Eha9Smw/dW7QEfUQtHY8YRe7bkIuBrrH5qpLoVjG/2PVzgn1kYFrtAzv4DGsbm/NF0gyh8qUZ
5Rczo67987MqcC6lxB8OZESH1PkUG1QATI9+OavQ6NvkQkXdLrEYCe8rNXfN3iVQkZciYLqQZt5C
f9tChXsZL6FlOM4DErRTEuqhAOaHSosmv9tn+2Wa8seiqFkXGU4TgSaybT9ndKgA66mn985I5t6s
p/lZze34E0ZF62O5six8CVWP2KgflXk3RZJ/WsVqC2RT5hJo04is3gsVdDTPp/rD8x3U/wsa5m+N
ofwuOkA8KC/oAm3XKK5/4pQsP5SPOYK4zHj6TUNF08y25QVOKSIUX7pY6k+Wn3s3WfZwbweiY/fW
OcI0k1vFPTqpdmUq0RNTmNkKbVLtjvW5GPUcpGbNkQ/F8TLCvISLdCv8JX60EWPIQzy6ujsts1g+
cmsmIiNS4foxq4t/iITKYn1gspOpnd0Pnc11mLsWc6EZ4byJZpqfgrJs3Ix1E0X7Oc7ab1kd9d0+
0ZZr0Uxr2Nj8bKrvYl/S/iezJngJxppbvIUO5p7gCo/TJUB1jAoYBc8GalJybZX5iMPQXRZytXzf
wQqEsG/e9tMcQ2NH3fbohS1SUwZ2PlMmNwLSyB2MJLIawBQq8nKobwpXasaOtCbRdrneMp09O5qT
3eDN4ZLWNk1U1OSNBwi5keXbgmAZuIGCcru1ppZcwciVK/BBwUx6HysCJq+SCBXBfgim7BiFIoAk
bZcMDTDILCFRc31ijpVSCE0Tt4qCLdnJnUnDKBPfA8xFqG7JaCbEmnkIJHpUvz+YSLPV1xoIqtuR
zbKJq6qhUMhrPzpAW7CX3WDPAFpJAPGZ90uBO5z/6XcCU9zwqqiXvt8pl2PjNlyturyOgiHO0Db6
zeicqxgMHU1Q3DbZiWXRlsgRMZdvLeEWJ8mIZn1NYm1dMgP77A0xLYjSDPNowNC28M8SgsGAdPsC
JlIS6E1KYprv7aZ6US9DY7M9t1G2PM26LwkO5mSAWBnMLgGorIOH3s3tCvOpqEFGlvBxsG6WKBtW
Mzq7blhdwRcoICOgJQHhaFDtO8SKITRidZXDU9gW05fccSw0y+vyhX9SqLTMZflNcXH7wPFFsB+N
y3uWPLl42ioCdTRutDBzElLfgem4aAfWemasxagZAQo4t68CTxCJ5DKh06vnSNPiduDqpnJaCbmt
NQHVhZoXHlc5zt/GImCjszJFVPPo5XO+qwMHO24PPvaxEBHjakYwFFOFBuK+ZzuPwm3QCflmEYxJ
llIxKEaH7aqvYzHLD2vUY7ZdQpfjzHcWmqmiH61XFJp8EaZzFr1D1KMZ4cLOZ8jDoOFMPO9U3kWO
ctNFWC6B15TZ100ZdUwbnRk1B2YugFU1zpQJQKfIbobENqStzRN+kkqM8fvsNT1L3Y1GxhQRErVW
lDNU0CIpg8M41bh5fGQcAMXpg31Z7UhWVwT3uupM4LPPab+GOUTNuJUu7DZ7OVGkxB+BPywvZmjd
cO84FcaiYm68ac82EbzWRpJirNu6K9HJypUNTE31hoHUyuQNsfX3ypBotliDwXtL/+92Nnb2tiZo
vc4Jq6PYOTywmQPfzqvz4stk3ayLgK9cFgsbkWEdzsfGGZJgi2/sovFofHO3zO44piSxZQ99NGVV
OqFUYVDV8M4QkBZdfHBDNcBIRVbE6IqH9539lU5513GFBCKAHQdXY+E/eYEW0LVJF7tfZ2ct7hy4
gP2hDMLslgweP0495nw2s3NpI+ZrqEWJWygu2Fi6HM9JUPjP1exZYP/aHgVrHi8lkRVRP9+FvRk+
ExJakICLEF6qbaYVkHMmv2Qix8XWMue485l1DVtndcRnyBI5IWDkIsFcmfAndFy0UHB2YXMaL5sV
s+nY6VPHHYbXiFxD5J1MhJt04d41XPU2qoeNXeXzZ952FmqowfKDbcTsbJuEjSDUwlqSx6ZdPQ+n
Xu9yHMG6uiaLpX+IEyv/hhuke9KGS0yaxc34kfmWfarL+P+wdybLdSNZtv2XN0ca+mZ6W7AVSYki
qQlMUlDoG0frwNfXAiOrkkLo8lrB7A2e2RtmRCSIC7g73M/Ze226NKR2N+5WFlbfQs4e6xdFRpO+
ddpEiB26x+qRzk4b7XstQ4NdDNwG1iEc4OyQOss6ak0b/NSFNF9V3S6HjYGR9A6JhfLqWXSsOf1Z
+NdIJgeDgPoEN05lWN9UknrbvSBS9Sln5QdOrIq+3NeogBEjIv8sr3Ottr9NXVg9dEMb15vMKkPO
DKBoIcmZZGVtQmzohNuPGp8mXFFYngeNXWQ2BqxjmH2m/kgeXvqYcYAYiLGTVXjhUCj7BLk1ua9p
OPIdsMo5XbhQCVOr0g6JJH4f7HIhW5npIjX77LsRNvIQ0i9jBoR0gRQK+AO9ljh6bC1szpyI0gwt
I34IghRaQ8sv4Fn29i7tKtyI6eSSNDaBHfSoTnvTXozR8EWPlRBkdTOVD8Dd5oE1n2s83f1C5vjw
0NoY93eJm+d3Q+sN7Df4sDob01EgFQ02R6hdHGfZj6j36JVhAEDOXzc1uQoIQT8ZSWIa29op0da4
RQR9PfYG6MVTH2X3Or7kZoPol/BJjwRUzjNhMNN7Iaf8qHpCgfhtU/rU9i3nGum0fNGBgeAuxW6c
iWNB1Gn0xc4z0qe7JHpRcs2WSH6U/ip3usy6GlRX3KYULh5qWSB+1fXA7Tj+mF20zTozI62hdyxC
XGRGskDoBe5nPhe4qlM3bABtOxTEDrE9YLlVlK7ZOCqi942GKva7lIgzaGJnjfvEISludnBap+mx
CQy9uLDiJrx0kIm/9HqZYPXggyS3oHSCcU/lkjjahA7otuuS1n5y3c50B95OgbnQTaBgNxMWsW0i
aZUeWk0Pnq3W5EudG9lwn3VWCgaPDUS3ISQMbYSOVY4hzSbuaPSeUPZxOYoXw+lj7zAm4+jdVEMz
KRtX0VQEIsSCzAdeR79pOgsESDhh4mbZb1RSB/gHxymnznNA6CU+10mI+UXEQ/SKI4cP4ZB7DJ4y
isgotNnPdRh4a0LXPTr0r1EqWED0lIj3efeSXEYhKWafzDZtkIsUcf3viLGTkNIlwM7gfOoh4bR1
sBouxLxFUVa3PenoIfLdxrSKL7oZItCMrVnWSD+ffG5hal8qK9euE5NQKLTD9b7L8YJv9aJnumRe
414Ir5cXdQVvaWORCIc3tlFJcEoUqf0F/lXu3s4f/xd6NP+vxaLx8D9owtT5K1K7991F/vu/OzAm
DGc6JSqsCNU2zbfYs7/7iqbxL9OkfgSeDkSwx79634ExVAhZoIpRo0CP0t93YDhE0FaEI8tQhS/1
v+nAaKrKpd6fGFUqt2CxdHwS0NP+SQuu7abFpIMjiDzYmCJaFe04WqLMniJnS80VJogw6JagUnw0
CKY8Qin8RlOJbK70JlJSm8XrK5/di3CsnozRvmyi8MohiCqtNb8lzLashD8MMXmBhjQPmHyAmBf5
11Rpoit0PcSWwi7PvQDfX23vNC/Ovhm5h+k7bA7kB90HNokCemHol/RkblQZftfSmC4Jik6OiN0G
g0GChVP+CIMShwEbwq0yf5yNKEdg1vtx4nr7qWu+KlAVsbQNw4WwEv0uqjW0ydP00LbWMaTHc4PF
xn2wk7y7H5IpQaTRZqQENJova8G2kU5Hg6X/U1d+boLyUTWLjcEX/l5PQ2JAELiQFI9PTAYc6ohi
vWjTpDwkAQeoWU/x2KjVpzDAM+/l6W3VGS0k2bA6TFhvfjS9egDvmlz0Tjdtohw/s1YEbBuU+GJI
xhdBvwhZHEXQKZfXsOaiTYeRAYONd8hioiVIJQXNSxzpVZ2iCQzcx8ZU9oMDXT5tkkeJBdzPjV67
x/WDmcoIsRZjCNBHhQzcl7IfSWGTfHrJMt7YqufsVCqL7eQ8VUrzauhdj87E07ec2MydqIhddQaw
ASQQDcZzkfNp1aLpW4ADc5tn2NNkVc0K8e6zHhfsHQh1K3FO1Y+OSuSQpaDPdqGEPCu2gVGlUR89
lypcdDu26IXT5rmo+Krh8PK0YPBh219DOqq2JvIPokVobSdFsm1HYpDMIQa9wMH8K5tt1GdUJNDw
V98oTg4/4BMD01Gyx752HpTWw3xuJdNdnqAFK93ZQDTv2DWZcBxU9Gudkx8BFxhOOdhvsI47QAYQ
ugc6W6YZCq0FyWvhzWpayS6GhCKj5ESNhHHaiDq9DVSoxggxd0na/UjUr2WdfK1dcoQwAfY/ooLq
QYCdbSPrAeuIGIJPOh8gdoa5ckiVofEdGfVfe0rtlyaHk71gSB7qNH0AYaxshZuFd0YBXzDhs04j
ISWIyR6C1zhjxMSBfHRt1QCAVBu3BoX5LZ0M2naZgtoLVa4fItVG4h2MD65FqTTEhoFOJy20bWCH
5GNTu77yiHT7yZYivek1LKCY2TZdn2x7IMeUc24QBM7m3OxxMjjpsn4h3zOPkRO295PsqudCQnPP
TJXchJ7Imgin3CHTkmQ7Zi4DxcqhRIc5B/vuoa9dcWOFsFdHR+T3lj6SgpEON65Z5pfUcyELocvf
g2kT+OmylkJfbU/wLcYOXIFaOOImtgCb5IHePMIWQPIT6njaHKt4SsGd3jVv286RpsdhIHZgkzRW
95PSVO7PeOoCWJSVIejsp3tWTBJwNDSXW/aiCciEQPuUFsLpd/nbFjefOn0eMLZ84GwtP7WFPVxl
g1M8OG/7Y1xZ7JVTT2CyijmvbLvAjmqkzd107JHf7akGDZBhItYqlGfmN7b+8WVXscMAkVQwkbpw
ot5R1LnOzKyN73Ho4pR0qsw4EM1e7hFTT3ttTDiXJSlGDiVl1JsYDC8aW5IEU5Sqt9dkE33NO34M
2bbapldV5drOxhEmSMCjj5PYwpQohjtJVeNnY8AiiDPZXUxW3P5IRElZvWiD4TB2hXehQfCgfi3S
H2gYwew49XSrSaXDsRKmnBKqyeYIbeTRYcJOhPVCt/uvBZ6F6wbcFhlcU4B03JycjZFP5kGrSo3b
HKZpZ+CFv6o7Sm3kYesXqojkvTFJ+0EKtb4yI2t4FR41KYASlBLGurI3qleMj4B0lIvh7WzltCWz
yk06hyJD8dfYRMJX6Vxc14bKrlcb9K2pUGpQokRczXr9Xc5SfKtbivscBlG2V2a8CwfxMKTqbHGw
U5K8xE+SB98FNRad6lDWf0sG9vi6Hra+SLXmnsobMkurz44BS9xWRzS7pYdXHSI7yh7RAClgprTu
wrbIK5qqNDiARXQo3r2dMEeN48GYt9Zr7iUaWt60+Na+nUlzLcabm1niUWHPv6UBSKmdeh4XJ8Mr
KnCnVoV93VKevAkaKN+b3Btx2dkoDnHS2tPWoxyP4aQjeCZqMUFyQKQMT4wOnR76P1RlyXukorXH
o9dcl+lM7u7BnKml0z25ETXM0FLT+zgIv7dBpB1CODMbLXM5sMmyOMgOuEtTKRpJzaXzjJ+o+UGu
UPIlNNzx0uh0/WqWU+1Lyp4pFsChOnS2VV1EWhcy9wl/9oVqVQcCx7M7JezcA7We4dYSw6NlY6vx
AL1tKxwnm9E283u2RM4OHvZwlI7Z7sqc1S6renGddjRQglQj0HGYHF/Fl7Orc/zjbkSOJwg349s4
lYy9EPeQYmCaNpTgSbgEQZm5ll93OtHpRu3dowvuHy3FpizRNAdpEORVti+Bwme7Gr2IlwGYvpAX
VIovaqNHnGsAKhDRIaBes7HdHzUmLqowuzTAIacVP0rpXMoc83BMdcRsG52arrarKqghqM+JxQnn
UGxBWo9S62BQIMrBmXoOe3BJJaa9G25+61rdczOWBFzKjniXueeI/f+1b6b0AX9E8rWVIxYFTmPP
gQ3yylGKT/loK0egkcZNOg4qAgkzfnJl7z2MhIBv1LlOWdoDsW0xifIW2dCX7CEezBlMM7Dfii3j
aMtirzn4dGjYfsrN6JDXLtAQeCzpEOuchuxDZisPuEqIMRNEFSjmy6gq7bNF2zvnHHFt0Sr1kab4
VecbgY6VtjnANO9mg8AO7e9EINOQHdoccBqV9otehL8UAV6Lg9ZWFGQ7qx3WJlLI213eQKQxEx+s
ErIBbCi08khxtIUV791cfEH+UPmOMqNB0mCfjgQp5pW7EaN4BcpGzLZ4kPlnBOa+a9ovXlzsaV7e
qj0daGmH6IxGRL7WsfP+kuX4UNdpPvdpONGx6O9gofMhH24BcN/Cu3npYhd7ldrfAfCiek2cX0g9
iW/rsRX2Hq2g3Nud7mAUd52rOMsPqTriB228R8pm1Dyc8ZfaUH+BusI5szflDssa3X8lgSFDndXV
raPb25iwlfSSQtpOi/NfItT5l8PnqqeXQ0OuErdEwxwqS/6S9vjYqRaBero2sTeiloxbY06qv7YB
tu/ivqq2Rd90vm7b2H6F7h2tGDkG3z7lWW21+GiGdI+7BoUCnnRsZ7vJG42NGaaTr6iT9eDCR6ma
jiQ6M7gv9Rk83xqqemwHa9x0Zn8fxFr5CQVucWk1PK6iisE7j+aVqKle5xELuhtRWxh2+uhq5V4T
2Re4KjQYgnL8POoop0qbtEvoedcZ6VgDZU/M5vGvVqac1vXevqCpTqk7oyPnIP+1Sdkc+HTY01Po
SWp6NGBuKuow2DM4hxi2e+Upieu3XuhcYbzHPUAUQvk01ArtaZkPSBNd1BUQavyBHt4F9rz6WNeF
smXsBo9qoJUENXrOpy6K2m3ipuVlDctk5+mkS7pxT56ZMMilrErzGGZE+WJq/uSomD7trNXvsAP2
N5gq+9e668QDYIroGUZac9BbdbqikUWclgtqmPwLrDZeIccvgYuKeK/3IV0LT3hbKvkk/tkOfBAj
IHWQisWtOZAk34ypuTVrNqONNqI8AGfSvw4Qj45Jh4okENOdmDBn7qjKaLel11I6qarkkj6TdlUa
JF5Voui27aDqT50+paTq2MldwR6L5Ju2va0qq9q3CiEYFTaVe6dMnI1uZCTA1a77rUtT6wp0EvJ6
x+yuSIxpt4Nu4DMf0+90EdOtnUNyNx2h+KEYEIW3f+UhyfZ20G27SvvqVsUxIfbQ0Y/jFD+VsX3p
Tr/AV2yR6f3SwZViBwCy0unV3unyaxgTvo6ZJtBZiFNJjagMju5EbVNxv7R5/8puu7kotQjQtgkQ
E9T4AXjnpyi9G7XJ12z2U305HkH6zdN0TBNoqIjg66EHGefOHDSPxlpT813tBwr8AJjY/k/9Vm/F
HaK+1tiH3pTt7Roz+qzceC6zmBZwPoX7PinRhEjrro5jTIUmVRhVjdiMR6XypQ+yJODDYId/qTEm
uq5pJ6zTfVmyC09RlNu5szfiKUMgG9mfYqX/YqGMgPGkGJqJK9YQL51uUtbNW1ltA1y5P+jgNHuv
UMkejBvx3CgeCRtGGRTHCr/WMWu6et9q+fCqY7dGi1sFjANg+tfoUYiaqyxM01UiD8BOyq9V6mTX
uigfU4CdnyliyZ3QqO7ja5LNNd9EPhZh6V52zcD5D+BuQhQtLmWIMKaD7TZEt0T90lS/x02HWB5s
RHsUWuXuclctD7YY3F/SNZG1dSbBirVix36K+fRYzw1Fq0qJEA0wDxYxJShpVd0xgoQ7JxWWXxXO
t6AiSuezJE+E8mDf+2kP3KL12uqQxEHgiyJzfihjG16FhVo/6CiwadSYGi5uEdWXoF6yoz2LcbRZ
lkPotbgQA2ACmIvgS3lsqoGX3ZpD05FCuHucT8Mz/u6SAnA5UTWbRUBGPQuCBg3hRjqrhKY3wRBV
XOM2mlVEqCZHVua0f2pYKaA2oDZq8VwR6j1LkPK+6CmnUrjEAAUyo4rd65L9Fyf2oSIHPcqeOtvr
5xmqvSjuLHQqZ82TgqO22dZ/S6FmVVTOJ+5ynJVSkZurfzkBmgj8SJ13qc+aqnyykFdRSVZu+1lz
hRCVLDdEWsFlLrMbe3SqVx2RljmrtabaMtAGzQquWcsVz6ouuiFwQN+kXlNWk8k5678KvVa+0NtJ
fsWzOkx1wulYBK71Qkeaj4HSZvdF1ulXutrE+27WmCVvcrPuTXoWzSo0XjeCtGDWpnlvMjUIR/ZL
/iZec+kg39tvkjYw9zDEZplbPrjUm2btG3k7w1UpW8s3ZmUc5iGWt/JNMMeDar9FevUK6Fa/E7O4
jtQHcePNgjs5S++SNxVegYaLgYA0z3atceeN43c9nF4Iorqjg8RiqZRXbdbsxrxz/hZd/P+i5/+Z
k6NOVz1vxu9F/r1+X/Wc/w//tlOo2r9o5MLep56MfnfWkP9d9iQJD2i3bUCSBn7+Zoz4bzuF7v7L
MqHZu5QP/5ar/0/Z0/vXXKe0PaLV6NUj+/xf2Sl+F47SBDCpq3ukGVELfSdXnaZC1gZ2LVbkrLwO
8HZem60rzsGyfxeM/ufyCz17kVTIPeZAHdg65UWQyGvU5ak/DgObDBypFFSlC5VvI4riTNwJD/pd
Ffe//6TqLQTMkV46fdU4lU9RB5UnHZv2WdKroOlulwJblaDrcdfSBku371723T/l6n9+hqDAf3+G
LEL08sRU+jCCA5MtgVZd4Rkspr97Caf7H/PL+I+U6T8/af6p714S0Bmy4bKx9M2m67sLvQKWdRxq
SiJZqFN6wWls/rBK/RPaEHFNE929q5Rewe7eKOoZ78Dvcqr/3MNCWaxkJso2syMc3pS0zAbVDNV9
MmTdI1qu7Iw8/NQfmf/5ux8a9a0FbsYpfSPklFkMrvYryYRrbu1QAa2x7nXNr/HdH5GwCm0qFJUv
4sIyN4PRlZhKR1usHA4LwdmMSZQWkDT4KwWUGWkP9xZGxauP7/7UI5qbF+/uHuUB2zJUsz6wAPMR
b/QExa2gaYIAZtL048d/5dSQXiwLauhRM0Gc5SN2LPeK1rKlAWBzZiyduvpiVUBcW2ixk1Q+fmzo
fX2NJTPnFFrvP777hfbvfwbrMmhEA61jjkpZ+aBp5fApjK1Rxctgg0a17N5yt+hKUGaGatk/pND7
4wsN2l91Sc+5EtdW3pjxfgha2CVt7NkKUiRb0mSkNqydu8UTc3qZUDfG5VBS16n8YHIVOB6l2kT7
1AzNHNxukqgvcZtOr1rVg/7EXBldYljyyh1YInzaDUWCft3LcBeLi2XiQHXTmc+nDBBsITfTGig6
78fH7+LEu+Yr9dt47TIKf8mQCD8sw+IBriJotrEGDb1utrmLJQOFNSQOohf8zMqQwARakT86BCp+
XXf7i8WiHYjdJO+EnAo1Sx6VqE5+DqPIz6x3px7OYqnocDGDV00FBPaxMTeVisAWX4LjrJvG7mKx
yKbaocqOatlVW9TbnhaKJx2ycXvm4Z9YjNzFMsEHdgqigI/CWLeoW2mBTSbkk8Ft2MWHyq+P38E8
VP7w+fun01M1R8SRBEsNQt4ChWteAf1q7lXD0M1uZdMF8Zlvwzzo//CnnMXmgcJ96wStOh/iAb5u
Lc1M28+OJqUD9iZotV3H7+V02eoiGs4sBScGgbPYPsAzFppRBZXvUYzwDk4rhUdFOyTOfNXzcxYz
3KjlAFh7KP0wrTjebkbdKOmEKgA2qOxizsaUbrfjmcTRUz9nfovvPlA9OEU9QGPqd03lFns09mZA
szkqHj/+Naeuv5jwsoLQQh+THWuqu/Tcq6b8y8wws5x5WqeuP//zd/cPU6ICNx0T3+ZBQcJDicWf
cuWZl639nh7zP58mZzHl8cXreY1O2/eI7DgaQ+tmP6NQi+VeRcSsvyAB5YQaOREtUXqbKX4jKxiw
51St6pxZ8udH9adRvlgWYK32pqbxipSq9xDJGvpfg4pMcpu3rnK/7jUtlgZbURwUQyPb8Locwm0y
gX0bAsc5syb8brf7z2NcbCGKDBahY+QCk8iYNluza0xvH0JzDDZhGdOqM5pYVJsAeSOy9HRMX5zA
Nn5+/NtOLEhLjyTlyHQUJtsLaqV6DsWX2BoSFqJW+URPblA+O1Fblg8f/7ET4/Efwb0KPXGnyDhC
NQSrxKmNFQR84RScWcNPXX+xOlATV2IhW+ETC6XsaGCCMGyJ+vr47k8sqPZiNci9KurQrld+ZJsF
dGCv6x26u31x2YnKHrZQx5xfvbSSbOXPWSwPo5ULKP4905fCDLoF8Vh32AE+/jWnXvxibTCyIGmE
mPeVQ192hygI5WeYLHl0nJRJXinUi3cf/6UT49s2fl+FdCw5ZQzB3R8s0rgftclVP+tWHpHcWKjx
M/BI97FV8sA5YFkP8i3qKGTyH//tUyNisTzAzdVLgOWVT4KECUy+c1H+9AaFu4+vf2L5sRdLg1e1
kDRVjjDVGM6CehqYKCErnBFk9UgMdB//mVM/Y7FEhJlR6W2gVZTQaJ14jU36FIPuzI84cfUZu/H+
M1ESh1N587SkRRF8Jh9B+6wQ2nCx6t6txZ4gsNsYMi5n1Cqsh0urHT4r4IQP6y6+mPGRhvMaMw0X
n5OGa8dUD7UItZVXX8z4XpQ66qeax94YxpXj0s8xSlqB6+59Mb0jwni9XGFsxoBLvxNRQ3+x1+xm
5XOf3/a7jz+gvgY3jaz8JB/LT6WlIDry9LM7sVODZjGr8dtolT7l3P04/DJITCcOpU726x7NYtqO
RUrTriw4CdV5CUUJneJEcsRx3dUXkzYhWpC6iVf6Mokvi54mHk6Lx3XXXszUFol0ILHE+BF9NTpO
GNNa+rdnPkEnHrq5mKkIEDMSiLrSV6QVHloDtHGPSfHHqntfJle2kP6zWOW5FMocXEj85yYuc7Fb
d/XFVKWLGtdGxdadgCPjHpjwFcaP+kwu86kHs5iphR32ECN57CHxQxFB5zUl0QLIxLl821N/YDFZ
sTtl9GlBnGpuDR29Q8nA9n3dAvyPmGWjcp2o0UsUteLOrKs9WaYrn/pimkZFa/aePXAig3QCN79l
9F9Dqq6HlUNyMVVdSwCXFHXppy0o810VKEhlLLCTT+uGzWKyWnLEcAbZ2idJYGQhLpuHblSjMxX2
U691MV01R3Z9mTEogTo32c1gE1KzsxutOrdBOPEHjMWMHQF/TkaEA1xPNTFuW6yzmEI7zbLXLZVv
fIt3y7xV083T5iUhNwrk2HGLZidxh3VLpbGYtPTaY9g09AMMADw7B/grjLtQrLz3xaxt6R0j1aRE
weBMQH1a11phZWcyck89+cWMrSrpqAOmTl+HMHeckjb7SVYM0tWPx+W8ffnDwdOY/+y7516aauRl
oEN8Qw90Jm5dbzgdPBeEL1itdz8R9OOnorXOTIP5rv/05xbzOG96g2SDiu9KXCXOdpQajXU0ucAm
BQDula97MZknKMF9EvLMpIIcR61CkzgU01m3VMxQqvePrG2IcM9TBhMT2sF9XGJMb4NzQcWn3vdi
KpPaBnuzYBGtXLs+yq6sLx1UtOs2a/piHutKaXWGxkIxmrF2bSNDuQt4+uWZ0XTi5vV5lL0bTTpW
Qc0YvcxvyKzahJo67SXC+nM3f+ryi2kMNtFujJR4TG3E5LHjf4pnxbTbbt8LVYiNU8m+u5Rl4JS3
SR7WYGmaB8VKZiY4CW6FFkYkLgBSSXcjgjX0I3NeyLYpy7ma03jJa4ov7r7V0eTcUCWn0NS5RUBA
UpG6ZHJ0KQmBDWKGmKQIdKHYVjWZPpLLkz0S1Cdg5zSGC+DFnOhiWLbnk8ttKQdQmLGKAgum9FGG
CBpQNLYjATmJmVo/PRKjjIvGae1ffSUb915OYzhtTLtG/jzGRLVGkY5b98w70uZZ8Ic5qC/GL3Gj
yjRgNvPFSBQ6yUqAXA9R05S4JicHW1+IAdfaqvDFq2u9I0f3mLiIOXYlJgbp68ObTpj+dVGf2TjM
o+9Pd7RYQBELGame5wVnq6n90hZ6fEuh6nsw1Dh7J6NPkManhrsh6on8eOTW55gUpwbUYnEdxygu
CLYufQw16jFoh71OLsmZVWi++z/9qvmPvpsMVjEAnErj0p+aVsBsD/Vxx4Y9tzckF1x09TR8+XgN
P/UrFotqU6uouoy08DOXEBBNI6t28oD3nhkwpy4/j6N3v0M2yCAms8r9lswLqCuOuVMzz7hYd/OL
9S7TUgvsj5n5kdlLEpTbhkaU07nVy6rrLyFtbTnFGFZJ5sHOnh4xrYF+jNpzn88Tz+bNH/nu2YxB
PwwO0fV+ktWgr0IVOq5WO2eoe6euvljvsGbH7dCkmV8R83PAmFofrcKzzy2nfx6f2mLWdcOk2ELr
Gj8NnYIUrEbof/XRaChnrn/iW//WCn73bJRAyMzQp8Y3JZI+1GYzEMGMU9ejt5pnX9e93/nZvfsr
mhUPqQn5zE/hklyRPTV+drN4OnP1+Vn8YQ5ri6kVZaa0QNS3fmWF5F32Wg2qKEuNGZ8AhGlbVknd
nVkFT73txTwrLNvCj5wpR9Xt0msywv6KPQSx6x7TYtHH9JE0USmDIyFV8ojupr7o66g/s0ScetWL
SZxagBYC9Hm+qgKo2Xi4ra09BP2Zsp8HoC0+/hHafLd/eB3qYvvSYlfIPLjyfoMisb9Iw27Uj2qm
py9klETVlWU2DdFAPaLSIxCatNiZRtxZl9KytOK2g5c9nbmVP74skImLLwfZDXlHb6b0LRmhVHUI
I3viC66YZz4ep66/GNbEETlYHNEuuzJ76nt+DyaJc4KsP17cU9XFNk1hl0aachOhiRbmF02UxH95
Kyekuly0wM9wUhFcvHClP7oGBBC9Hdc8d259nqjvprvV8Dqd2gj9dGJybg3W8pcsFU6+5rlz/cV7
ddvO0jnheke3VlUSEFRBuhhi9I8H8KkHv3irGukWuWhN70gejPk8SM3DFKtMTx9f/cRitWRASoyG
DspqtmuA+cDlI6HeQHppCc4sS9EfDK1SqpW/ZLFYeah08TCo7lHAnN3JfuR9e0Z/+PiXzGPlT/N8
sVppBk1wgudDX5LMFb9i1RTVpVZWxXBUSEhp99T3huLSURXt68d/8dSzW6xgTR7O6CeyyWIFFEjR
gKDdGFUsTBR1GtR8Mjv7cP/x3/rjKGDtWKxivXSjLLIS5TgECZD7yBtqLLaG2mhnluNTf2Axv8mc
DMh2IeoRvJOLdcZpITtBmcqnlX9gMcfRq+h1BZDx2NtB/DyQXXmv1vg71z2f+R29m+PCAtkhx1xB
VFVyOutHDfyJfq7ff+rhGL9ffepljC5/LDATjd0naxy8A87+fwuuTypDT119MS9A06U2cdeFb2lW
cFGzF79p27MatVNXX8wLL8xySw1y/UgakiU5sJCaCLpPmGukjDMI+PdnYwjE0CzbuT9MA34LDI/D
D3Y8U7mVyLhWrR2ut9QCuhkWEG8Onw7GJPYdVTMJfoiDdb9hKeMrQsUjLtZJ/dwERkIScntNFqn+
Bctl82vVAF0K9CpStIyeRQlaZFxdto5d4Ehsw+/rrr4Y/oEONUd37cTHp993hyKTkCfZoof6utm7
FOjldWeJSvIH1MbpvpI8Wz70kwb0YN39z4P33fRNYmIEcyWA7Uns1S353MTbFmjqksO66y8mcKkH
Y2eDOvYnJCxkT4/FdEWiYmGfuf/5U/+Pjw/DczGFezlVtp0F8Tw8C/JiTPh3Cumw47YsbfvMSz71
RxYz2alDBzBzwDvQyoheuNmRxKpneEi3RkhJZrfuWS0mNMrRRtUJlvKNjqyPchD6Vm+0VR1I11tq
81LbzMJS1olfuLDhNlaQV5+zRNjPq25+KcPTe8JKhoLLy1r/LiIKGqEw13TauPXFFyybgcW6Q8Ln
0ETVHejxxCdX/dwMO/F2ncUUHuRkTk1NgTCMhEM+dTF2clsQyPUFYz2YuHXPZ/7r7ydaaE6iqojO
ttWoxYIIyDYEgWK4q7puPKTFTFbk4ESJ5UY+KXvNXoAJH3qpr9nJc/HFNK6cyAWZZUe+Blb5aAiQ
KdIZVxW6ufpiEldpPyACMmK/621EyHBorasC1oJY+eyX81e19KxWrAjzhfJlzD3lWqvdaU1NjJtf
zFqJIBhHcRj7eqkpJKpz3KF9aHz5eNj8WfDoekuxXKg4WmhnYeQ7k/CyfVi5ESbQlBNsLyrP3cZR
Z/4gPjyPv5A5pXwfc00FSju61Kj9j+9hHkF/WGOXEroWlkzV22zwp7QT362hTW+LMHEe1119Mbk1
oyYEg+7/HHiqXziNAG8wYmlad/XF5LZh5kuLCocPnM27MgbIhxj9zgqeTz2axawuMwXEbcYrV2Bl
Xlnkp+1ILyjXtBN594spLQNhhYQ+h77mBb+sBqQSNZNov+7JLKc0XQ2zjTj6i45Suhpw9JdkYZ55
7vMD+NOYWUzpvBvb2FXVgGDEOSLaJgH6NhKKicWg7BrjzF859fgXE7s2TWDKdcPIHOAnHxOAxA2Z
rllz5sN/6vqLuY3r0E6McFKOTkgoYOdquOeHZLfqBSwlcJhlqBsVnXKEEYnRLoeYmozBulm1VMCJ
nqU0cbk4xkGiEMsqvSpH01o3dqzFnK2JYuu1RPGOUSzia0NO6gXgnFX6BZc0ld8/lTldt6msXO8I
vNY+ONZoH4K2zlc+9nnEvvsQx7ltZUZbhL7Rlr/cMgOUAux43XfSmgfSu4sDwMaKojQ8dmD011id
iQcui/j48Yg5Malmvt/7qxui1ooumKh3VQ6GKpNQTng2PTF8VUBM+8oHtJi6NNkwmLsFJ3rb0P2+
HyDuk2y6bi9nLaYsSGyyOJPSOzpJkuwDMBvEyOrFmSbMqSe0mLCaK9upDQKWnVp4xdbqkxZwmStw
h0eFNqyq/kNaXBSFwkkHBY8l6GiD29pmMjoSLLByUVtK4pxO8jkX8fzJStMN3LmM8BaSzD8eQ/NI
/MPCbC6mblwkZA1U9BZqWxuea5LM/Qn4wt26qy+mrjPhx4gTIzgO1WBucBI/NWOrrbz1xcwtQdYU
9cTFpRJBRMqDr2ai/Fh344uJG3QlIhQvm7NVgvTCMMLoWilRSKz7UJmLmeuNJehDoEtHUy1+qqO4
yCq6+etufTFfW7JXbSOOvaM3JOk1NAaiJNQYutvK6y9mrDDCHtn+qBxFKq2vQWx6RHqk5w7wp8bj
YsYWpjl4MrJJyECuf51RKfOjmTm36tkspXC5Ow6jlHwGB7j6kLPBqo9Sb86sNvOo/sNcWurgQPya
g0a87tGQubEbUYawKGsNFPg0H3ZZlNrrzhhLSZyeRgWSi3r+rGC2Bfp4M0xxfFj3jBZzNpY8bj1g
vc8qHRJV6jzk3dlT6alHtJizeuUmSoJwm8Gjti9uO2oppKLRaOGm4tG4toQkaH3dD1nM4SQj6Wfo
4uCYCQ0uq+n1Owf9y8p3sJjCoFZGExMEv8SpdblhB1H8FJobrNvrG4tZbEHD90YH+U6RGCrMvyT+
SVEiXHeEW8rgxoL1zSSC+mha9kNSq+U26OXKErGxmMJzwlkKgjY4/hdn59Ycp65E4V9EFUKAxCvM
DON74iR2nBfKyU4QF3GRBAL9+rNmP+1w4riK11QFM0KXVvfq9cHzczxWE6kObTSt+6bnVgVHqy5u
6xB23bNZ6aHWsJKlraF7Su0cPu2/h1S9BRp8hrIM+U86PhTwzksVvNX3pbcvbib/Ddjgx64GPqJ4
BJxAMYOK3LWAUzvSoXOLFazeNzWDzQou0XAvGHx7cjIHcOETpb1aQPV7Z2ZeXvYPu1ywWcKjHfvE
oW03r0zlJC6JMjA3BpARfailCMGG1a3nZ51smvqdcXvjUAg2K9kkXgQ8pvVgPTmbD0ky2zO0Xvbx
7/vEWz9os5KpqaiDC1qSexWvf/VujT4POiYffQRzfgZgwvDkt+3yTmL0X4nOn8Zvs7JHXmCDdTj7
e3+MAUwXMN06QCTUFR8Gf5QfSCyRjFKJjsgt0EJQCxvrguTEe+qe20UmVVZK1ybHtekA4inhTmsO
bSwqOCpSAaTB30flrTHfHPNKr0jxlaGXS1OG35RpoJD04Yz6tO/xm00iIYBIkH5BlOLDm3E1bXJm
CUAzu56+FY6FQ4uAPBwLvPz8Kwnrn3AOHfYNzFY2RnkNiJc0uOz6izz7VpVXQdnuTFBtTflBHOK6
hAw3B6XhIW49GCJ2O3POW9GYhu+RXRko6q0lP8o2/hIV4699A77ZFGxluKS8QURSTNBIzu16tYzD
zqL7lgKK9tAK1rB4cU70D2ClPtexeidme2Oab0ViK8CGc4MW+xwQ9eqaNj6cJTvq77vd/ivj/c/9
v58Z3Ar9Duds1YfPlHnJByRg4nzfoG+WaGFWY3t47uf/Ag4lAa1LKLerr5HDzOr3w2pZjYIHqk7y
IVY/zaC/wU1+37BspWDY8FoYCkKAQnDJeu5IF5+Dctp5/G0VUlyIAtH94OXE8OpLJQr9PFYwW981
6FuJVF1oFLOCBFElj80d8nV97uKWHvc9fXN0J6zsID0ueO6rLvrkjOofYAAy7JswW4FUgKZx2wFf
lSvTg+LiAZB4Zwa/21kW8jfnNEzup0bO2AXKOF5ztQzLfdzCX/zvY/MvtvsPJ+dWI1XNqIjasoXu
ajHyB4MWob1zE2yZhbfqIa/L9UPgD0foIORrMSfzKW4dHHoDgD29bElgKZCjy+dHBV8gdYzDqYGh
EU7YE3T6ncwk/sUcHCwNP1da8/Cdt35jg/kXj/GfLaCGp+c0LMBarDRCXrf3EgXQk166faH81nJu
gWm6bCqGo64KpxNq0XBz7W2zc6VuNoGWjmVt3czz0gJQBGrqfTGJfbknSFZ+32HArcKdbyVFztYL
bmuAxEkCsXr6+3T588BDC7B5+kxcwWtkEswKBFtJiuLow9N/1+USdb7fnz4bVhOwY4sc+YThPh4E
/ySoW98JSd969+02UJOOFcOEdydwna7KmMFK3NsnwkBG/fd3Z7yk4BZi+2XwVXz1q9KcgkEUn/aN
+2YTmGAz68Uc4TS8qZ6KYLTo1Fnbw76Hb2L1YQahWBJEAsC9SQCJ40+2CPcp43D7+31cdOz1Hl8R
2XloCzgxOO7cLW6Kvux79c1pTWcRBH6NyC6BZ2Mu0V2UDkPxnu7u8u3+f2/kW/XX4kDeDYcJGshi
Ns8UnnavgZs8+GZ7466GCTCjNuvVq3oXa5vwfGlVezVEHcz+Qdjct6K22q9GFmvXdxHPqwn8H9K+
MLmryRMvvlmsFvjGwZoBga+LgREG7uOqGBp/13Wbbz3ZOBoLxrhBkDdI6wG3EwD44MMSeFcPD95+
s1xtHVHDPIkwDx1vB8/3b9Eu8Z7c9A1BAefb5dpCYxQD8wMnY9UeE8sXLNhoKQAVIi62eUu9cMqU
J5rpivWgox6jIAJTZIQj7t6JtVnVsFzBnVhZnlu4UB9RtOlSEOb3FVCAOvt9WXtTrEjhOZ4j+6Je
rVnd2XfzuusCwbembXIBQpRxTNvQa6/iZKCHMbb7Sp9869W2guIrwwa5/F5Qjcb24PPUwt1+14a0
VYB5Ip6TQCE/GsoEDFtQW88LUFjvuGK9cYRtBWCujx1RhUaMP5YLiqtgz4i4etr36psFjf4HtMkH
huWzlSA+rrJqaygJpFa7Lvl8KwIrgQiWczjxvDdgTkNnJh+FbMznfa+/WdGDhzZSF4yAFnElzpC4
iHxaqdp1Q4FX6e/zHZk40DIZ6uVW9BUMzuf2aDWQofvefbNWXaEA6I7xXSPQLfJYD2jiQTvkO8nF
t2bNZq3qDt6/cOLFuDP+YUkoeBOxv8vSBafA5gSWEMsEkGmyfCx0/Qx5N/1op2HYFYjzrfBLUVgT
DHUcQ9/tqo+M98VLQnuz6+rGt7qvwJ98O/gCpyMQw2CdmWV+iSVQ5vsm/FbU5WuKy1VI45zbBUjK
CnfQMoOxaPm4a9rEmxVLwf0BzQoZOeAl4PoeEvV5WFy5K9/Ht75opjRjaIIK1xScSp8C1vIPYh7c
vuUab5Zrz8Kk4iAw5kXQj2lttU7LediXZ4GHxe/LFa71IDQuguU9fKiPiVy9WzkU6sO+cd8s17FI
aFOLkOUXRf1hLD16cF5D9s35eLNc5w7br76cT6AtH0C7q9Mg8tedU3KzXEO6Lm294GZrpZnKFFRd
cSWV7r2dz9/cbedyapw/XA7XengC0+ElkfT730f9jWh8q+VqikW2MBwucqOq/hkuw67Ok8ZvSZ4o
sTOq3Wq6tOta4G2QK7IN4jEzyDINwRTbNzpbTRcycwpCyZjlpU8bXLWACtGpmOti3neQbGVdzCvW
Sva4TYwLGdNZyFwne69y0WbJhgvt7LQynpuQ180B3tsxhU31hZT99y/8xkG1VXZNDag/BhibPGQz
/PYHn2UimeTOwd+s2oZCHsJL7DgDXEyziTdfA+u9Zwv/1qsHv284mk71MC6ItldLFOzvodiDhequ
hBHf6rnGxsAVwCBhZBwI57IDHrJ06t0m4kvy5g/X3GizZmHdGoOiZ5O8ahJRnnXdSnOtg3h58DiQ
eNecgLsAd//xCZA5N2X1qusOcA7pf00GVJvIRI35AkdO8rW0cC0/FyEfrmro534sRZ9EELS3y4+/
T5E3NoGtSkPa2nNVq3Bs2BY8uNkjTdpWY6LABFq8r3//I298zK30bJQTnaVbeN71aBE8oJSxiqxU
RUH3TfSt/Cwa8LKBRay6gPz1JVij7hXwtH1qb76Vn3GF1GhZBlhGo7gfo0Wjg8a97huaTRJNr6sX
D7oDUBio7lPEKvasYdCz794XbnYYTnBa+9Cy5AItfDBl7NaGpSYZoDLZ9/qXL/6fxDGyIEE7wDQl
d/DBeInCOPrKOzp/2ff0zQ7T1jAXh5ccrv2Lq77PtWyudMH3CZR4uNliCvilQAAvkOsqLuzisoYk
OAUYIOL7NshwExusAVNL0uN08iTa9iuqAtg7V+9tM28tqs0uU44saYoJes6+MVmD+vQAJ4xd475V
oCUwPJiY30V5MQ7yxNR4DXZDvG/KbAVoVHRLORdelKNF2aLgQMbPOnLjO1Pmkub7w95LN+up1Y5R
ISzLg6GLgEql4c/AKO1nNOpPHfo0emc/iYkU8MiRO3PVdLPM0BcPT28HpCL3LJiEElTa1C4WCNZ9
32OzykDAi52idYRceIPog/tr9DK1RPrHfc/frDM4t0OZwTFoPvIrGaWjyag37Kte861KbAzHcAku
Uivq93EqbP9DkeU9s6k3VsFWJNauAU7PHg8PQ7i4p8vULCEooyzcl8TZ6sTcBHh1uaBroGZ8eIBh
oEujIbDfdg38VifGUUYNZyRrc93TO/jluwMRWpz2PfwSnvxnb5YOt0FbswviciWgfbo2N/AW2/n0
zV05Xqt2UOCL5vDCHtIypP8UTfKeX9cbX3UrDqsMHXtqSJhPsh2Psi2hdaPzvtvmVhs2LH24Gpjh
5NE63RfUBw9vABn274P+rwbmDxvQVgbWjYi4hSrifB7Ctj+j6GmuTQwgRxq4AWzM2RqTRiIchrQK
Gq8AGLNSYPiiAhLC6HtoxjSpm35IGVvcHUANnZe6wSseJO98ICFnXot9eaxgs+xbZAykNzokKGPI
1uoahrC4D+5rkOTB5niNoP+H9kvE+WjVCcfeUxPqnS++OVjrEjJZFyGzal0R5IkYp1x20Xtp1X9/
/58+4eZkjf1uXEOHmGwGWXU68rWR5QtM3HSZcRiHjulUeeRD5TdjiY7qqBTXc3UhmOsLbCw1UTn5
x5hMS3zwoKdeDjMb7acALFRzbOwY2ZQDyWGPyq3Ldx+k5wPA4R+WCWFfSjpPvrJOggL+9/n455XE
tuVrcL+Rnmd+nNtEiDGTBGaFaUdV+PPvz7+cq/8/VmxbwPbmsRODRULRwTzRA4BbcJaFziX/xKwP
P6+oaezaidm2mB0CRmylUFE+N119isWkviWGqH0FLJZcfuB/dkuYKTJEOwFyi148XYEkjKRCt7OR
nW2r2R0f9CqBR8+B841U1hjS3/PJx+3z75/hz5+Zb7WEqoLWD8pQBFU9K1OwHkXaB9HOvOtWTVj1
mEBJHUZ5r6YfBIsaNHbw7fe9+uYgaS453dLFUR6XRZkCM/spIfzHvmdvPmrLwG1OFDIsM3jcNx2M
9bEkfb7zzTdhH3LFAWFKxfBTE+YhMF70awFF5mXfu18+9X8mZFTpmrmI4ZPOYfDdNnjvQwmh2Hst
Mm9tc1tVIdpQJ4n8Q4yCM8C4tLHzS9MGqgGKuxBJSiCn/QwJOL8HUhVwayQxOvMsow7Gqwt63z+1
Luju65gP6oDchf0gVSn8g1ubxaWiXLmXoeaoUaj1J3sP5GTksrmY+/pAL571B6NgG/TO9H+jQMyS
zWBBXVzFoF5F2OZqBjFyXLpfog/CMIVWZ2VXIFC3xZ2AWdgTKkPuFjKYHn1qFZH7NLG4Wf/+udDd
VVZhgVbtwPeif6exwV64c6ZtDrylLBxEYgHLG6o8l5JWTiQjotrH/0B9eHPk9XQG55iisqJNGOY9
LGKONVfstGsqb6WUSTOXYHz4Ue44LPwk7IevAbGsd1bmt1rKFTaACLouWQ6/Ln8ANIwUJ+of/j6X
Cr5VU7JyUma2S4QQKWQpTnBka6QYdw7OZo8aoC2v1tjEeSEQ9IJNWXYvYiiafSXurZxyBVRcN9pg
7GU5XlERmYwBE70rvOBbMeUA7I6/GI3Nu11RVETJ7LofdzZP8q2WEoSyFqEQD3FzNJB3wE80BeGl
PPx9Vl626f8PXfhW9Mg1uCXgZcd5qH0VZovo4JgcoPO5vG6iKf7197/yxsn8f9LH1bhRW9Rzp2Cc
Py2zEBQO0US8Vy9+I+Hhb1YuXCIj1zY4JpRir6pfWjiH+sBGZw6dg9laiOgn8/v+exMhg4m2cYRn
e34YS+jvG17La4pYco3yodbf6yJ5VXKfCSNkeJvNdPJIy/lgoxwq2OIBps0dmqO1v2vFoWPj9zdP
wlAiZkU44yYibnlYkvMkomZXMgW+nL8/XWi5zF1HaM6nZL63olafEl7UT38f9T9PWggkfn86DeN6
7cqKQlQytGsmRNUDY98M5mWEkfeyKwHItjI3mFFNIulL/AYElmkxVp9CN0T7Js5W6NaGZeTqcqZ5
UffFsayr9UyGcN9Zg9aF3weoaIuFTKQL8yKuyUnOfo+GSn/fZg3J1O9PH+BQ3XttG+Zm1nJMF+ep
80yaneVkthW6xcgWG6/E84fEU3dr5EMNDtLcO2HSn/cixjdLFm5CmoiyDnNPzTEESeFPfWGQ/n1m
vvXwzZrFm8NZRuGgsZWrb0hTVSlVffxOye5yG/j/zZptFWxzvyykm5GS9nUvXab6RscZfIxWeIMF
fAhPOpjUVzEH5vvff84biRy2lbUVBShojnAKyT5BFqBadaTTFR0gvy6pqbup57K53FdMO53IUsRD
DR9MJAgPtPCpTh1yTOSooy6YU9f1Tf848VHeNEXttymiRWav0U2HcvjfX/eNfWGrkxO1cBfaIc1t
R8ySxpDdfPEhSfg+jOUut3CAijcJRd0yl0jfYlcAnfwwEh1mXtct7xzHb8yfrWFaUIde7yJHc2eD
+azoJD9GaM/ct+dvtXKthQTNCD/I4XUyHuAzb667UVW7wiDGNtuCHWipxj7E0+fWpbQNqjvq7RTa
s61Wjk5QDsWsozm8VOgVbZLgI3fJe/02l43xDytra5M216iXKHhr592QSORuumZ47pxqmxStMVN/
CP1Y72JbYQZt9ggN5xQ9SUry0fWY+kCBy+98puvOKbQ52OPSFPVSsCDnAr5ix1BEINENptXv2ZC/
NUc3Z3sje+z7l1lkk6Q+AypQHASkFftefyufk5M/slJTH/VCzjMRxuyAj7FPScu24jmvUh3ymcDF
W8HMcS386NDKcV8Fnm2lc61eSh2jCJ9HON4zlMBgySnDXWVstlXOtV7LtAOyNqd9073UwPWlrKD9
l79vnW981K1ybuWiCWXvkzxW9fwFWfv6rlnke2SoP8fnbKucmzuOfEivSV4OI/Tqy6i7L6wMi29w
xxi91GivmFJPl/5nX4zznJdwNt2lsWVboGhFg2itZ0sgl7SodsABNEPR2FztG7bNWrZRKENbG5KH
pq/zsY1OaHvbGWdteaGrKTlvl4HkjZrs57Cqo9McROa479U3y1j1LEiYxKu3Jav+8XuySnR3w6Rh
1+O3wjoXhd0CAghOA6T8n0ytJ7SnBsHrvqdvTmEx8XlABOLnoCG3J4mcAYqGzS4Dec62ijqK451g
7/BzXUGMmQLjq8GVdNHOHXQrqGtXDkcrMvm5bUlxYIuwcFlJ9kk62FZRxyJVaqiXSA4ZQPV9EHGE
us3eRBPb6umAsYr6uS8IrPWW8dqCmZRrUvu7MjVs65TGohq30M7iw3oD+6IUbX+4pprFO7PyjXM+
2qxX5rXlUElsc5WEaWXqe0m7pLMHZVOqal2/IEMbL/sW2FZgJ0LtlXCMwkm20vUKfhjrfTnO72mm
LjP9DxHLVl/nqpqAH+X5OeLzxd7SoGYPsQtX2OrTaC6zYmLdePTRhBIcxn9j1V0rbytja2bZzEPX
+XkFVN69T115ayah9kWoWw2bY2zmfgnrdXiplQ+9BnmgXVe7b3JtNWxTJUu4hVUwdmeTOo6R+A7w
nntnar1xgoaXKfffUsU4wvPZYV0U4Tz/0KuTnyPTvsdqeOvpm+B67DjVgSyDXMnQTwEM7LMk7t6T
UQEfdtn2/zCftlhRD4V1CffWIBfgcSqoAeZ+jVL4PtXtlEJlZcfjUoLHcuWvIdxro6WZl4vGxGsP
qwti92mCHzOktTAc+4e3jpq0ClckHyKLzFa2qk7Ox2Ls4iIFibaCyi9ycXXrkn6qUmjqWXRIzFj4
mWbodMqQrZuSLB45mwCOG6s646YJ1qxcat/muq57k9W97tc8ojOdzkkZJNFxstHE0wiAvAk2xFPX
n1YqIVZZV+era7SkzupGtXqYsqZGNeeDKgHiPkcVMgJHMTmwz5ogjuK08uoguJmcgJutKGcnULEc
m+lDBbDIs48oz3wbJoCp8eBoFlkwWW/JZO385gedQ7dkWs7VnEr4C1aPSaX9KvVXEod5g+uvTS3E
Li9Qs8LHKTZjS9PCb8x6zVaHCQpcHdpTPhUdgRNZY1w1niPm+cUNHTwXZBJFHHcXgadWH1bfrcVr
1w0X1QS2+CVIlwYgAFCTGtW8whO++YkPx4tjQgNFvpOgMMU95W2MMy2qlyYdPeORVPp+iPt5ocf2
ejLIBGYLjJz9M+z36XhFYBna4xV9xTPCjOwQ5sTkFTDGcM08UA5ZVpceeQwiL0w+SKCnrgCEVNF5
hSl6CXwgXYonF4T+fKeCoEZRFtnAKrqmnp6KrOpLPzwAN9T9Uw227o6lN9QJPMYqYu51A/lv5q/J
3BwNYomH0jZgfxHj6Hp2zvE5bWxRmCPcypQ7mXIMvpJGxON1aUNYrQV6lPfLUIgnvGEFPVcJ29CX
IVzWp0qY1whB6Wvjwf/oMA4rVtSwBupz10/rozRt+GRXbepjsIYQq0y0ln06tLUHK2cCl7i0lXFw
mFjsfUxgN3tuDW4TSHIko8pGE6yPAbQkwbmoDDImOoptdG5F1wUHoiJkheBIVum0EmuFOvLax8M5
JkrcAQbddp9D2DUnx2QU5hlaSVkd1jWuzdeaDkV1opZ162nkhAePdSHn4LQMdVGfGtQxMWm1b7tH
HpQRuaIgWy2gJ7ZKHxa0LEJXH3lLdQjRO+2lUi+6PiacqvXcK7O0VzSOMCUxd8sKPtSGFEnGsb+j
lO4165C2giFLOdYapKnFJPWYVeFAQghBWhscPNz874WbNH+03Vhfj+hKbv5Z1RywU8+kX9+EAsAR
hINCo/Cl4l81EonfgzGOHshA5XJkDl/3zCc53ZXhGuN7uqUej2oNh/nj7MJgeokiDE3WKEh404Co
ab3t1sB7mVjjYAgBZ/n4AUTnSqY9LK36VNqh9/H2cLa4FwbEzENksc5PCZ86e9cqk/gHfMyCH4kW
7J+i79rpZQ2QqT5A6cbZiSRquGXJhFwklBHeKxogSJyJcmmR1aqqITkEA0mao++J+Ra0J5R+PQn/
/xvZqyZ5uPB8pUrVQC/wzHJE98QaKv0pwhCKQ8j91st0CZXpzTq5tc3meFlgM0U8+n1SWOLo0Rkv
u0lPYnG8uDmOJysw8h8LV9nwTIHE1TdxODyJxjvKal5f/XLEd+lgDGoPvAQ5oE7jqL+4bvaWBfwY
Tl4I/GK3xPIaBsxlg0/G0RE0wV5jueUTIaj+FMHs7kbwsL/zhU/mpoKsfH6up6Cb7mpZ1ctV65HI
6svpwCqShn2nkAbmAoJS3xWtzBZmZpnFpoifeYSk5dHzpfrHLxp7mDxkPvD9L9IYc+zaIjkslTE5
CwZw2w386WPXf7tICNJ6omMmVPNL+FAIpsAsQPXPo68FPPZOdEHPZ4d+rEM1z7hC8iHJfDlV2drM
KsVtLPqINIV36CxkzUsST99XE3XwO7HPCviyIGVYzPeW8DGDA1V3KFGVzVphEQ5yLzpiyogSQxEK
XLMlK29q4c02m1TsPYBSCnm05g7Dant0fafaDwWcgyAhSCFhn86K2KwEEBdHgCqPTE30AG7bF5xg
4npRfZD5cFUs07JM7tzSmTIF8oIcIlRrZ7jMeZ/sJF6DkBSvoAkFH+M2BmF99oa093HcCBtgR/dF
lYVSr4+jNvoF0KbpZqgD/2s7CP1C2VBkqqpc5oesf1RK4ge2XnKmZPnaLexxAnU0lUzJLIxFfIAT
TJBiUgbXLbRRkOEvDCbCdf0F5g3sgcz9N09WSNmuEgSH2trHRaIBIE48fRAFvFjGoUBxyiTnZkYq
NGohOaC0+NjX7UfaNkvGy9DkXm+exsp9i5QfHBd0AeYd/CVTrzH6Oq49zPBBVj89U0Rp05Uf6zh8
VSZ+AIjqJklic1JL9+DckpjUzX71A2Y4gTtGU5N8qZOwRJYIPjJuno+RHPm51QAt1wPqNXQc28xZ
J39iZcckc4360fcOHmk+l9cITtSxFerWXzkOK2AqXkIAY78V03BFg+WhlWrJSOuH97Ft8zF0HxvK
6BUOCv+WxcKd5ihQqT9x+zgt6/yimmZNa8/wDGtsuisoxkkg+ki7qilOfYybjC8mliHYEM+FXNfH
DmXua+Zh+lbwiD6MRd+mfgnH73lWa26G4JsrYwyaFWmUtDrtqTytPZyAKMwVczrQ9Z54CUVrU6HL
FHI8k5UBCb7BUmn6Lib6HZ5ZNINYRef+wJ6hdazPmngwWgGY/ixAT00pC905XoehSVkI12gsNAyP
CV5ElQA4AuQCJp2uHlhRryyFgUv50pQ40EysTSqGTiVHzJEjL3t1EFIE98YX9Ws46vHOxV5wmKV/
Clk53ocBgklj2usIgVpG4mY4+nHtA8slESIFc/isUeQ+q04saTvKK9yMo9vC2vtKeJ8bEYRnLJ4j
KSN2XK2pUlkQly6RH2TNKK6VKT4XZTNnFJj2rCGLTlswClGlqKtrC8pdhuH4GnbTK4WFTTZAdtim
lizjETUD84peTnnouVeV6WQrfWYNdlpv5f49zMbYAyUixEHh7LOD0v0wi16DjUOT1FSlGjK3TrbO
1iDQPyvoLqqDP+m+ymzLxAGgiS41sALE3tJF38pw4WW+oGLWQplT0jCPJs+MmSJeew4Un7NVFEtK
SRSlC8KCLHDzN9wlTQiNEeFx2qMZvYX0JeAK1JblJqp12B1kM3UuS2ZWZ4HClkgWUl5P4DEt92gX
rlKIEuODD0joYbroN2FJFqBZkF5XBRG57QuVia76Bs+lJoXnSQkbQ0YOC5vo5xHeZVm1AjGEPxIw
dx5oEUyw1Q/DU6Ka8SaS0/28Jl8q196PUl5PoB2d46Qy9RN6TZNbxINh/7GDPwYOOW7NVyCY7Zr5
C5UTVssAYehsPw5ls9YHUow4HCI6JLDk5TU5SqTUqtvZ6eTUGUXu2rqLRAo2UcwzapewT0OvS3DT
SCjiC4m9Jq0MbI4VhuK2AFHra6kWko2I/B+jhNcptb532zl+FBW7QQA03nlUapGGs7ZH4fOvU6mv
+9YAatEiSGsQ+z3Acz48jt6aD1rKB1g9vBgK3XIyyCTVs2NjCug9z2a/weWlq8IMWSWNqRFpREm+
f52UbCRnF0qPpePi99e4nQQSUtpo/VXBbCZfCtmNh0at5RGYnDH1gm6lp7mhFYLXiyU652VzqsJw
yKYmvB9RQku9UrQpC8bmpNjIngIUBYGzAnN0hKlW2hYh/hduumm7dhg7ORj/SlSVPhQ4QafMjxp3
VgHmKUwpaYQOPNn9bGmlgqwiZf9YuBoZkgh3sHSYE5kcigVGAlcqYs0H1yzTMZmW4tB28LEb16p/
6UM53Q6WT4BFNSVoDm44dGTWJ9XWCILQRXAiSNp96YJBn7FrdMdED92xwXl99MRSPTYkIR8JYgqE
iqvXZR5jyVW19PILWOMQqoGdC+ppO1RXU2jUB9zR5ruQEJyL3PHOAILa0SxsZgzxXPHw06zM+NMa
eLaOTR+cg4a2flp0A7uqEIjfwkCWZtUy+o9a2ianDUGDzISJT6DFhE35MI6pXiKSEngxqrTqhv4f
n+BKm7j5c7Qk0aFW9YCcTtdeQ7tZo2u1K5/aAtae6O7rhX+cGPHiNK6b+ocubf8JZUh5q+yM6Jhp
fR2wrscUK4VJE068q8RRcbD14l3TwtRXHenZERla3nxQdpzqY9Oh5IAdmy3QAcE+rVjDUhzgTVs8
2ajueYplaV6SVQAIG3LS30GaUn2xhfG/RrTE2AnVdk+UaoKLtKc8BP8xQZU0aJ/jrlOHOblE11q2
sUtZZ+Irv9TxzTiXw7eoRKEf9xzETbhV8mORwJ9LS3jQe3DXux3WLjLnQk9dGnS1NHcLhUNqCnsp
LzPczE0mjOdwOtWywH0nJgw1gAL3J7okuL9YPV8va8fvkQ0grxckTgrw5YjJXDYWWCFVXs8L6aNU
dbF6wqHDhyyONSSW8MksWdrBHjiX1vT5gs7QK2xx/FMtWPNM2sAC5uDdFRoi/FSFDjT6hWAHLAbL
Do1OsGOG49KdcBTbIaur6d6DbvKAIDz5ia7bsT9iVur6vlEUfVOXfqbMjkgYQKTOcOQGyT3myXe0
dFqg5JMPwzph3q71coziKenTeh2wwwnm6s+ACd44CYBnafrniSKJkC6z73fwC6sHeiRhE3wkjA7z
y9xG3XIC/zhEO1tDgAfqXWZt5X9YWomdOA7Gajo01o/Qp2RN8G1I1PrVeuXcpGvfJx42tgKsRVuV
uJkU/+Psy5Yjx7Esf6Ut31lNEASXsc564OKrdimkCL3QIiQFSYAECIDg9vVzPCt7qlLTZTmTZmlp
ppDkcicJ4N6zXa9+ali7AgahHnT401B7u4RG6ZbZjdmbJrCNK+YkRDcIPIT5WVwjmDibAADtwtXD
XHhI0IbnSm+2iHmFoTAMkoPzGnQoYwLK3hUKkXzoKlk22FluxBQI3B9LMWWtInV8SMJqPVUwGD5P
YJfKhobTmZnmGQqk5Dw0AIwE9oQM9jGxIVwOQA6ybnShENR9DONZ4BK1QX3olaj3OEf49bT1YxEF
qyxsWIc77vcRvFp+WGfV7Lly7I280SCZchTJ4tlEwbAz+DoH/MKLGeN4L4ehAcrgB/0rYNLpFYJD
s490XxfUzn25YsPM6TDWR2BsaO9W4KiAXiAIHtZLhhwz9xxJEEXcROKxrQYtMkjnmyFv/OF5wiSF
jE7TpjJEt0Y7jOnbdlpgR56IHQpHIlr2yOo9Ts4F2Ygd5ZYlrsmgHMYTbruZZ0hDpKIg2GQLG1Tk
WIWG/YR2lB1QKKVHMaBxxAvehwJvCTn2pkAFyEri2mf0rcHOCBffR3FyG8uhfvE2+dWFHPxLJwrW
RxbhUV31hGlj/IicqG7MugVDUjOO+GKUfWGbw4aBZif0SXJuRspzHmPymQpm7IIzskuB3MlrpL/0
WRDzKR8dxI6LaFe4yJ34MTGicovZAGcvGIOd8MJqF3E4PvRYDd9qy1FQL5je0no1KzbSuBLhjvZe
9pbdDTiDv2DMIGK/NJ0POgBQsc3VITZNe8NN08OjjuCmpZuetpD4WQilGfbwsDu1GGz/Mui2lCg+
L9WYyLbWRiWR6NhHcAnY/UWBtomh2WrvuyE2OUYnN+XSkPcoqqP9KPGItIE+8CVIs4CiBCNbN5WI
V/25IXz2e4Km4hSFmJ4WCtFlA/NlCTbB3BIT77lgS27i/tuqvemivdY7RgKad4q1mefWuew4nYpq
xMfyOV33QObJUaTr3YqSa29sg02XqnMchm9rP7u9apNbP57xCerhzrXsJg7RKM5sAmwUed/qlPn7
MOVAVREReDPpqAcwAog7E6beV14AE07i4MeBh/VplvSG0EsBxTjJkd7cl1ApfY28FiVlIl7plIw5
GeMfLVdTEWCY+E3oixmrxNqM28197RAlVsYrHFitCPJ5VSyf4UDar1KKvFYjAm2XBEmidOuuUZ/g
nuJwwCD6ze9LwACouhRDL4FIQNyc0UPAv1/vqnVJ8t7AdzYgtfqCi5JM9SZ44Z6vT/6ctAXmB8oM
9cMKzQr/ZnQNpGkRrLQyvB0mgbKUyyeyDC+pihUqBs3zqQ46aAJruZtMZ0opqtfOFxAVR2E5IWny
pg4wqtGbyL3B2Jn7Koxc2UwTKrhG8Ex2GNNGTbLz6iUtMJA+ObS6I1lD+DdeDWwXR/NCc5ZW3kuE
mwCoemqeEB58dLjdWepBAoxHPtqRsMJ+MKg+t0Grd0gnf0hAe1te99nWTKvEGd4lJ4eZaXd+KtK8
kz62JDbBAbU0Sh8t5sefdapZ2bAa7ZEyCFqbLWjDigQ2Z0K7K+4JN2QR0n++otp5Rc0qTpby9Wag
zssjb13PcDs1d0Rri/Nv3PDhgBQrk3kzozcAWcW1q+mLmZPudqR1vFywYrl81dAD5HMgK7xxQW+Q
+TZnE5QwGZQe0+vCW/hfYq5xqUZYeeYZYLXt+UxPfZXiXJ4gVvYAeTXxHasxY2C/IG8CLurRcQ4U
vJruabNZtVu4sMF73W4m9xRcsyfJZhfkvAK2l1UBap0sakmqbvq5nZur0LNBhu6vL3BnDZYgzlzx
eplC0hxHGmPIMILKJXmc/JT/WCs5xS9heikvsrljyY2SZD2uPK4nlCk4AF/HvpuCE3D0Kc5hSbos
YIg+dx6mqW4wL7s4RC2r/KEIyYR29ALHPUfKxabA+RVCgcc8dtUQ3/DHKo47+UARFLnslroeqjuM
EB72zuPokakVaDVdP2l63W7MnKoEomssBHbn+853WQqqqLlfYEWUQOrm/lqHoXH7NSCjKaw2qj75
7TYOj9J3OGc7sTqztzT0eSaWYKm+2SokpgQECn6lG/UXCF0CdDSXKitbOMGkNY1KQN37NmBwOMKX
d4uQJ0R0ZuB05l0cA2x9tyPmvp+X1rNbUa+Ye5w13uamn0RsOISxRqJ5l7St+WLTtD64qlMPgqpN
nZPY8tsapxIWRsQafRw90z45VaP5D9M1fEr6Pno0way2fT1dqou6jRHti9UITFRHesZcXETLh+jo
ljS866OR3PJL9PzORJUC/D4uakVeH3T2x7gJubjG2a3FIRiQYnzsg5Yc8Hzh9JITlEi87afbDnjB
myIjv4ItcQCj1REYFzChPUkwonUVGHyAfqnJXCQDjgkPHedFr1glDxS7BUBSaMUP+LPscUYnQ48O
ua5070WRuguYRZSMctUKo/sluRg7VKXfkQQ7PnHYwx7M0gdLUQ+4Q+D4jXkfmfO9Am134N1h7Hp8
6AWJgRGpkD2asJb85ywV8k9QOmKOTkXT1GYVLn2XV/FMMbh2AQeheV/PqNSG6mvrlGyuBWYAh0Vq
Wo1l0nhGnqUn+CnVWlx1yIH0S0xRGVyGKWBVdBdHdso7fxzozeCFZizWRqZDPnjNOwXpIXJKKj6U
mMrePGC2G4VbWov1gEY2IJljAQAfZ1Jk6Hc43DJwNeJnTQKwIk06zAVw7W0uqlksP91q4keYIIN1
x0HGnRhpOu9nT4Afl01qDUzSLW/3MYzYJ4EuV1+ETMmzL8E1Xq3tuM75QBcyvqm1jYI6SzifzY3n
NuUdoy3y6b1gG2vKWSItb9f3Q3DCXh1Pp6FGBl2WktnIfEVWJcuXiMZ3uBlMgGvxNQqRLoETFyEa
iSl6zh4wd8YIbHQNAcJAthDwWjCqg4v0JHOBWgzCJD1XLT+PYRX57z4w5WinVlcnl9xNhKy+MZAe
4gzyRNN7zwMCVDRj0HV3sttAES44e/aRjMb18jmaHdtkjJi/0MfeyY2gMo8wzfwZktL1BTnx/XUy
zcnO9dv0BYIEANgWh/d5jZlVOWx87Zx5spIY9RNOwQ+JkvFhAFf2NEyuT49dO0xo74kf+w+GGXvt
rWzoC6zZ5gP3YPs684TFBxZ5HpIe5SLzwBPhrVv4et8t4NmbHt1l5vUcrUTQU9oePVEBawK23/So
UAHYFD3h8XNKrLtF8U/vQAtVImta7jiyQKdUv9BhaZPcpJus8ggQ7qXYqCf7QcgyeTtKWow5Tccg
vW+42/YxOgMM3m7gV+q7WdxEKQOBQDa982e2UuyaSwJovyFkyH3OOu84kpi0oG21DQQglkF4LzKa
Atw7hThUzOZ1SXUFNrl3d6shMVD7zUX+W8tU+4rxysHVWE2xl6cIvwjPgwwWqPuBW/N8AYQESpEn
wTP6OGvKtePsafQie1zRAa/7OOLpM1Uz2lpkJw3Htd76/oMjlhOxz9JcyF6wAgd/8Tf0WOsmUAgn
rH5qNTVZRTy/KbfoEoM8TGDms2mu7CPitbbvKf5fZVvNHM0ofN3vq2h8uR9HPLXlhDL1YQAKgV5N
tCZbPQGf98oWTU419jBsAWsCSGzAPs1LRF13ft7xVdMMokHVHuTE1sd5rtMfPRco32Uwj4+oQ5tH
UnW4EJVbJAyJIGLfeqhG2kzgOLDg4/0kLZECiO6OhaBcurpSx2qGpz8Lu1XdoaPfzoZt8XnuKLLq
MP5EsKDoNK22XA0d+YAXitW7YB4agYkNa4fBfhCSvze9HN8CNQT6Qq9Ld9yApn5oWfGqJD0g6Z0l
6GCBNPc4e5UVPo7acCEPndQArkk8mKEAn65ELtMI20VPPRxNGxj7Ckh1m05Z7VXpC4C5uj7XAvsH
4Cjl1Qfo6TR0n+1M0NjruvvpIq5/CLXhCAAbuLxPGpRlzvxhvg/adU6ucHiCzSBjDzaQtoSijh3n
o+f17NrMqnEnYwgP88brMWLHjiu4I8Ij/mUAQxfgiYbycQ8HC9lK5Xf2nQH5fPP6mPbnFPnPVbHa
Brix10rs4QBY62bvUwQT52kHUjvHmiVhUUvQYSgjt/ZL34X991FOg3/a+koku6pL1DuY+inONpd2
ORVJ8H5pP9IcEvx+ygdVzbf+OFYitwzO0BxEOvZ6vxqfox76i53uEtfvK+fhWA5ZNSATeYsAAnsg
u1FtxfCSFrU/96I0CIKj5SIBgJWozvtvC2jmDLtLCFbb9sMuYWLGTssXeYNN2Dv7swdGN5mWH8CN
U5WT0G0AJv1qeMTYUTwx2voeLuk8Rf7eEAs/9cy8uAYY19nkqUX0ADtik6UsI5E3Qo1NWv4lnp3/
bDzPdW+xhpIDhoRts4AtRCWLbbEwf7t+SK43W09zQXQ13rAmnX5swA62fG3lSnbKzOgQ5dKNIIhn
hvzzDcN8cnjIiHe1OH9B+wscaTdKt55ng1+9BXYF2B62NZ4cJO+UvBJ4+yt2RY4V0cTDADajGyD2
0BJPBvryZcHIidnD9MoJdaZEn42Yog+eeGjCtA2XPvOWlLCdTFL57ioGOMBHxk1YhFs/PYE8nunO
b8Q07S7ZOnXhbbGDQobK4RlRxvW2r2BZfasnX7pMRKkJymlE8ZYjqFJ29x1pLXgJ0QL58zhACTzW
QgKT6TTEvbgV11aQ9moIe8jcfRFVa2YJbGZHuw12BD2iUbdv00x1mTSye8b68P2nKVkDheuUmKRY
0H4HOQsCBUEJ2oyXRG4kPYyzjxCpNkFFk1Ww5ZmHZd3CEdWomIefZOjXdIc/Yb5ic8Nk7IZ34Kx0
r0PIMuJ6jkuk0qs+Q0pAG0PBw3i4I2CgXQ78Qr1ZOgdLafEkTBmwXEzH8GcwWWVYj5EqGi/CZR3j
rUPRHm/rW01qyq47jaYN7ecwbhdoKlrcTQzY/ZxKsGD5QgMxll0NwmPvr9VwO8Ob/SWpmksWyDiG
3wTaU7uzUIVMhe4GpgqHLsR/QVLdaO+JWuf43Og5hC0ZIG3Idt5Yr+i9pQ77L6DHJf5liJL+3Ysb
5d+ABUjm3erBh6pQkcI/lQEXwMFEIyqTl1agjIDiBMGop27F6VJgSFuIRj+B3iOPahw0Nz2IcA98
SOuNOYMMsL5euYeNk3aefgw7GX5TweJeIQSdD6lQTYyPtyloCYKgn44z6cMuX9c+vhBzaxK8Nbyf
KE74ERXdhmoPV2hPW0HMlo3+lvSl3ESQFDgnL3xEp+8wF1M/tbIB5e3RQN8Yr8WbjlTbNMCEJ/es
vRp5hXoxz2sU0LbAOBOzHZO6H74udRyqvPaXZstxw7GVYhB7tKBE74M5R5QJRGX+5GqUe3MYhvcx
if3htmUymQ4rdvC09MZWkRwnwHCdSJ4kWQRr5zuwmLnKY5TkAAC40fYyKyi0ReCWYbxykre3fIuZ
l80mQPM7Y7stsEXJ7YxzH88zQ7M4ZjwCYMy0Th9mqNNF7obYb/O2g9MhU8sG+EpR1KqnVHIfwPQ6
9foUWId2EK0ntt1kG5YuA4aEuEI14NHuiRfCn9jZ7jqc1m7d18hLlV9HDi7vCPYQh0oMPdKaAYkl
skySavIvkzamrtjCjpCbCdcC8dxVwNPMT/Q4fXEOmQMya1NkVeHY4FFzh1EiNbR49Tg+IWmK3A8J
FXciaebvuFQoixlsA+6YuLURqBSG6DtEhBQyhYiNK3zRdohKcKEpxoittProTLT6+bw0DcsBGsSv
JK1X0KNCLlh2wtuubDjpq5Vx0CeRm9pSBSJ4NUG3Pvpxz+UzMaDtDjat8JLAGGNzmH2MEP+ZON7B
aFzhtpXWdzI6174ky23S+uanY2Z9S4SaKiicLn26h72g3jkVBAvkdr7oijGmQVH5fS1LD2EzPxMS
gveObDh4GQ5a/xukgxveY88jjC93latzDFEMDyuvMJ8risU+oeynXGZMkpkizx8wjtnDoUct8kgy
ipgHWghoPYa7arQJvw6wvKOyS4P6BTNplH5KXAUEXWIoIyuEH9IzKjDtP0Aqgyo3q1bW/JyrQd3U
cZCGxWZqnHNy6178KaQqb9al90ppmvUxhnZgwoeo0Z3UteJ9GWIUZl0EdGNxPkTthh1B00ZhXB+T
JptlBMiT4JxqMgJ+lAGSjlR1HEdPfPNBWi6Zs1oQwFezQ0TMyPVSmsYHqTNjNZ5b30+Xko8JvY4a
3b2YIUBR71vQ9IEfVxsEfytYoXmjgZ8ztCyPFbcrPXLPNhXYHV1VBwhdNlRtMQlAQ9fgJN/gr1DA
kVM8znloNkZPQl0+Bdr87qFfvOhepwKYI6O4P37FC8WDFgy7nZLjwCEaQ+rTqHEZgK6WGKhuZ5zh
NDZAuRYqDsJz4hol1zjvJiR1J3iTKXmjFWufBqMq4BeLZwDs+dbb4dxp5a5Lww6ChQEGohI8dfLS
TLUBTR/HGqUYcj41CFHWvXqD75674QIpQfbdy4NsNtlgGMoAaJLbpDW7lEzG7BrnxW1BwSXU0K3Q
DgffGJkn+A+gLW24NZfrjjb/qUsa/bg6DLO/rxjFsk4iDM/KeAjXXdZATiKLKNXtB+q2EbPXqMbl
H1mDcj2JGrTaQAyDtcQeAVS/SQQHImy98BWVawgaq2oZYu+SjjxXKLtawIdkpEBYh6DbbWO83EgM
XOe5nQL7fYYe8qVylPTAN+hYhBg0GeZ60pgQoYJKjIVoJWqUdVEO5BdaSOxEM6FfYm8EaFyLwV1f
RmTzPXql2mLcN/jmHZi5TZ0aadxSgOMJQT52Q+gfCGpHXrDVu6TAb53+2bgmfpgiNKOQIiRIQe/l
hpf1qMHF34KuSXNW8fDoYTqAPqdijfK0hmeqHLUCCjfDcN0XNqmDD090y+NmGws9kyFqKxzUpx9d
OPUq1xHD1EPKGgBoblsqDKhNPWchgt0soBTStbcNhMSXSx91b8IT9rUaYiwkf2IQXyES5QyRm+xK
m0TLz9YaO6HyGhDIYtdKXYuqo0HuOe2RIsUwpWlHg1jpsp48hUINRUu0A8C12F07pZ1Ek7/Fw372
F72AXqUmhV1fyfimSmzVXjXtiF0pkD1bQBuGQw2OWvQCQ0vn7UEhBqm9cYkcAhBJYbDsfMHTESf0
pdTumavDfETAh3ruoR5d/sQu++805Z+c0JVjBJ8ovZghhgUVNjTrP8JE2o+/5hT45LVYvW1ZFh8s
xUi2/hLHNF31i6J/4rz6LaHnfxKsf/I5wjGPgZpr6++jCgXr0auxSvdjCilAhtFmjS56GqIuRQu8
/kAzPbwR3YWmaHsMJd01aLH6Eue7jI8L86K/Zjb7TVz/Lx4AsIitiqG6xSYCWXTbdGtB+J/N6fg3
3pXPgaQo/gORMCAmWob9V97P+scCyHzLwlEPyMMhGnDTX7p1n+NJ60bHQqZ025N5qc+r12HdhSZ4
/Guv/insivh0RsSf2fbBChMmo5N/9H3V/jUfxufw01S2fh1gcvV+5YNf+iOROwwAI3/N1PM55bQz
qfKTDu9dkbRH5GMUxgGm8PDmTyz+/2ZN0su//8sT5F1GLJp4Xvcg7H/43ZQ5Le//2mX/tNzRZ1CF
eajbHkvxG0/TEpOk1V98YD6t9UE7B2nshQAUUYe5nAEp8THUX0vi+JxvukBVwQafb3tM/+NnVWuz
01v410bUxJ/TTcU2dC0KjHWvrWnfo8F0t4aq5vfhCP/5tvyv+kPd/WNLsn//L3z9pobVtNDtfPry
70+qx3//dfmd//Mzf/yNv+8/1M33/sN+/qE//A5e9/e/W3wfv//hC/DbQMjv3YdZHz6s68bfXh/v
8PKT/6/f/I+P317laR0+fv3lDSXAeHk1bF7yl9+/dXz/9ZfL9vaf//ryv3/v8v5//SX/3v9Q7y0M
nf94sf/+jY/vdvz1F0DQf4uCOGIQZ6bQ3V7SVeaPf3wn+BsFwZFCdHmp1y+jKiQMCA1+KfxblET4
XgidHoVLBjuHVe63b/l/C/3UR6ggI1EaxUhO+O939odb889b9R/S9XeqlaP99ZffAkr/eahAIwFQ
DwaFlFJA5Yj8+mS3wlwSjkZvGg/C8PpYxZHkWWNtHvcbO+thmu/kzOpjDHnSYQQZcY6hv7qHXSR5
XCoOzYKbuzvU3EEJ1YZ983TnHXQMhy3EzvWctR3ENsiXZ/cTWKyiXiBnAPG/cybs/uR8/G1U+aeP
ElOQImkSMHyiz2ZWN2HYQasbe9Dp1L5TY6FIIUod6QxJGdS/AD7aVQCdXNmZ4lN/BQcWAciK4ntG
t3a/rD65WdGF3GBw8AEDOfVhCOzwrYHtuWwRbQnSv20PoZEyR4Njvs3Wn9+ShbUY1xGpI4Qgy73v
VPsnZ+yng/+3exSzgOA24RGiAfu05zijNKLO0FeamPcQViz9dx+5e+UAqdhhXVZg1YFv9qBhW0B8
SBTmUyTAEZHoFEVzu3e8dsOfHDp/TGa5vCcWJnheQkJZ6NP/y9nrw24JQQnEw5e/YBCQUNTVYK/n
dA52WwROHnV3s/+XdfX70/uvT+v/8EcZi5IUkYF4+snnZLkxcG6EgHw89LjR39px8Lqs3cC2QNKh
ozuxSncA3Q8d5///3wV/FrE0oCQB1f7HswoxE6yWG/6uVh2ebIbeYPbUF74YPB2+sq9w3vzJ2YUC
9FLX/fN5hqSYEZ+kKRprxJ8mhHw6IaOhCwFAd/MhlstJhcIa2Atq/wQn1fjuRk7fYlORbzOEakBv
EQ2PPJzhyZiwuUL7G0ZFPwK0pWQO3X52NvriIRU/Uy3Y3GzjbWr2A6CTy/CdrU2+gJjgOeQXy2Ob
QJPSj/bNRs0Ce2FEixnmlAI+RnPQmH4D1gIGjhcEXoEImfRxMYB6Wt7IJ4yu2EoKedVrt8ZqL6I6
/g5cFMYgAbKlD2sL9CGon8dYWp2F/cSuAjkkT/6IiZDgmRKWQd6S2MzbgDFbDz1202+Xr2mtIBRX
ydoWyJByOaieZa+wn50TxrrvWHUhbBUpHBrGTOMRGcyrd+jWaX71AmFZgTA7g5ExfawfYDiU3wls
QEhdNtUSwo4QwQKj5NLephPidND1jbcpclievIFS6DIkFF7prHfQLxJg8BDPVP0SlMDJ4xPQlu7s
ww+2YlwvhTSqhZLnXcXa3wGGMQewHhMvhwBzParKvAjffA11BFABCRHg06t26O91ssIjAePlUxfY
5KxwKgN4p3BsJxYrlzYmyqQLmvvJNRjk16s1huQPV8ESKFzh2ASFiwCiD4vxDNchEA/MUYlpvjnc
/7i3EJuEcry1razGrIdIERSQ4qPIN6Yq6NkIO9UNr941UIonhHuyc9qD3rLLskL4Zzy0gJG44nFY
z+VYw2nlGiKeVH0hQlMbTXlQJSlUMpK+krENrsAHFSJugzJldVxuxrsD6zEeRhDb1+1S76FWYXfQ
0Y6ZBARwCkJoSpG3fPKW5scqois01u9p5DW7tO5uKaJ19huPRTl5FvQ8PJoP0IP2u5qNb1ZtSLUK
4qRwwfyIBlnXuwEClBhHgMnEKuRTEqT1I8LrIA2iVsNFkEwYkT3AnTm0TZCn25gUuM3NLu5D6C9g
SHBVppFeDW1htd6HPAhvKu6WO6AgFupGNz5BgRAnZYybAT1Lr4DX1QPW4BamCncjXatj7aIRUu8t
AfsxBAg/FbwGfaDDA0OI2GO8+fTHwlPv4MUduautN9+akKbXgNldEQ90zhy69j01XCFy3SP8TqKh
3wUgjm6j2cBH0cj3avIaoBNNVQrsELdwD3qIGQHxPIltyhM5tQcz+MjFXNb1I7YrCDEnXttUV1ko
78ZqPIZW+XkQhy/a17dWe88BpG3Fkk6uqNaoeYKpS5+41OMjdLdQbDXyTa8iPfg9DqSD6TAQCDrR
tPmYulrfOhdDCs1oE1zLJTVRjrjc4UBd3EKLDhAj4UkmbXtaZWUyN4hdN8g7DiXwkSQeBZuGoTGP
EYKlSyhasXrshEjtdWM7mGm7r3pK2xUsO/zy2RBBWQLJOpFpZvoEoHVQj14x0Zl2hQH6BMUxzqYS
u57K+1U2B4hbl4emkjD9OfiGsYAM9GyuQ7cnqyuOCXYtRNPpybgqoleEhtsL1NNRbkNMIlmMfzex
pI8Ok6WQmriRnca5OQcBXUVOdNJk8NL4UBl36c1E+Hhv204WflLVt9KNUBjXy2mRDIaAerkDgXwV
AMnb2dBbbxFWt5zCWP4Yp6+hVyW5I+FZrDBmZ0mo2p+18J4s9Al71AZIq+ZsK0G7ABDFYVvUergd
ZuBNm1bsCWqEqgwdDFOB3G6SWOEOJF2zCybS7wlOrTdopvvbiEK8nqTguqeqEhJiBNetOic+k/wJ
D268q1D8HRLDal6uRI83ItlqiG9q4+0HdBWnloa0zkNUYX1GEIIuCoi0xsxPI/4AuGH54g+VuvIj
JQ4Xw0reEZsFSROfsa9FsJDBCawaSUyWrAClhYHyHbBkU+JWqhdY46P7KrV9SVm/lRtycMcswYjy
h9D4ccEQ1nlsJix6V5UJhkCcZrXaKzKFEBFsfXizqWrd2wDJpOP20q/uKR0neqCrPCHtHqfQ1rsh
BzTdAmwm25HWA4d4B3Jabls/j+Q84nZ4Bgy3mr/hLPGKSK+wLEw4O9Fir9ceDG4lprvcDekAuT1/
bl1z348eOvzE9M0NcvDrPTRA7ABjfu4g7nrg1td55Y3dbtU4t6BNsi/SxlC5Og93aRmQV5Yxb7Iw
hVfkrRMQYbe0tQ8JMsMfULB+gW2ZFR6cdXvY4tl9sKViR2II7iZM/IJ0Qc+Fb6bhqIIhveKQ8O0b
BFOCJqj8kjURdB/4cDGl7WkRwXPdy+MMsJ6v31IOI+gmsW1S/bOdE1ZEW4VpwSRkMIaMZzA4P13V
3gtQRU6DAwvjLsySKkEyAvXcjx5QUD520bhH1svFLoPtaHU/5qECp5V6U+nsKUxHOFO65EegJujO
Jz0fqddGJ/jX2Rnb7XweEBJTanfQ7GfVR9GdgirpqcdpWnCEiMG6VldXdaJrvFOoNnQwizKx9B6U
VvSVL7MqMPUI/UnDfLhRR37TwVMBL0ySYQS1n4sFSlO6Qne8rjVmSyREHtoG2Q6NByND4n1VEBLD
4gjd88TPmF+St1PY7ZGAJ+FXiZP7tnN6d1FegWwLIMhPFaE51ALzKzDkoBzgsSg2Gn9phXka1Qiv
tPkew+RX0m17H2bzCA9WfZ/UXZ7GAbvWWtkSlEheKTIgs0Tp694YmFORqZ1r0uEFxAaXHPSghw22
gnSDtjGcIEcGHN7DUTTGxx5WhO9+V427yofzskqTrtBz9EyJ+IaLm6uYR8+dT112qZFMUmGYRN8F
/5u6M9txG8u27Rcxwb55ZadeoegdfiHssM2+7/n1dygq65ZTCFk4hfNyUEACZaSTEkXuvfZac47p
GPWcsLSO3UEN4m8h1RXuFsyjYSw+pLr2LJPC7gVS1t7pmgBWQpxeOx3JMhLVu1YaM2ds9GYV69Wv
IcQgVIHS5US7FYJqJ4qJE/ZMsnSKrMxkF5U3rZ7iGda2iRl/wQJyj7hl9KoFlbRhjKqNDSP3ldF6
6+rOloTI5B4AFFuYb8fV/H3WSz/Sjck3RGrOsXs1h/mgyuYW2QBpIcxk90EW6msZGaUbozA3ui7d
W6mCD0cvra9Jaz22Vlt/mUC3VaXx1gjVa9IWeIua1rpncLlq9BDMsCa94Dyv8FZoTjPE6nMpTqjb
hm7xFysaeYUiznzMwNy6zRu3lOdhY/VGtMsCXfdKM5xwjWQ7JgWhg6/4acEgvgyNxINtGHZ2Hl+M
lfWjj8BDjmLjlaH8nRa+uBMUK6VvDo2EAedGNEFeJI2UuWlWTbNdCFO4bTKGwfqc3pUcx3fDPKn3
GqLRoOmSFVSFR4uKnjx7Q32o+PE3pFXUK7lbNno+nuLgu5HG4DWmwU/JzQECEBluJAY4gE2OAZpZ
8Igt8XwvNNVgc8jAtdshUGNwjda5w30tbIte6TayWPhsrIdsas8wDGXbm2SbStW7msnKUxhQEI1J
npxS2CNO1ZaniGwhNhYnb4v4W82NcUmNgQE4W489Bw6vGJp4DZwj/qqbEu9v07hVwzjDKYjGXtXz
r8mKdnhnOs4MoRatMgEFAiIzZuKDPhwXyFhOVcGvHyq/GKufRXGSxuVAyyT2ESs32z5BzldGXYKc
e9L3pb6fypRkDIECTBYGiwdT6rE7wZ+YptAW1QojgSBE6JLyQXK0SAr90srGbyqmUz5Vpzg82cIx
0nMMibO00afZa6lX7GIsrEcqitFrUx3bC/K4wmrQb41VWr4VcpuTw94QRDpDh7AXPNmbRNbx7IbS
Y2rMdtQrSDZALrzQfXAmpAro1nJPa8X3HqG5McXZF6nJd7E16uv4bLRuqWEKrDo/GosIdOR6xbNk
4rgKvmv97Kr1IjrsvKorSgjkwwkJVq7pTqM0kl3M6gY9sZiTAcP4khWtOilzaQ+WXm2bZacP7TPO
/dWocx4UhufZCnbSIm8HTWePNKIngbmqj9lrpdXgIiWNMEFmpYQELKOdKNFZSVUjV0RSKvhoh8zR
lkfZ8kIkTk6SNAjrizq/Gz50GdFwbJOHYGTZQ/A7RBN0DfSY1hqExXspogEe0EsHyuNo1S90dXF6
bAECJocxZOTVgR7BZjR9g+LHu8vk3JGncPFM6bHNJqq1eVdJSDDPLU4JsmJAzamF4gtrJ0p+aZsi
X6Olve6sfMNhFlXEc23kuAf1kNLXPAXx85A2FW+yutH7Bs07K0/ebARrWEnJEy8ZxKn8FctMuYln
5VuoRkddBYkuZ55ZfdUnUVqbyluVYG8ezsnU6glD7Frm6fzRorJ+HfJCPwZhsFFRSDjdQiromFSP
yFseWf6w0zCoVTdGEJpYsywCPoLYnDls4EOyoWnksm3KKQuDRc9qGYK7PkqrX3Fu2KSnBAfDajn4
NCI5g8b0nLU5IouydEUjcVF9WZrdm1gqBLnGXShHnL8Za+6xexj3AkubPYgYmp25Ljm/SGW1H+cw
+mGit3KTGQ9nFHThHlOMGywgNnKQvSA+dHVxownrioFz0ctkal8ACp1T5rFpJ4Z4D4BnvCtU0bxD
kz+6+At/aKMgOcEZe6wsxUjylhK4Xf/cLq2+DnKZw0ojpDuV08bbCDyf13kmXskcpeFLlinCWgoE
6zHHyGGoFpKIaHxCZo9BrpfoQaH+vq+UoaIujjpfTPTUEVosXmkyiaZjpKqy0SAA7cZCmJ2kD+6U
aKRIlCTZeMCEpW3yst3LHA0xmQmNi3wKwxQZiw7ih24zorQ81LTVfcWIviYIih5za0w28I2W+9zk
xG5HmiZ/04LZLHmM8Jpw9BpnT2sE+T2mAaHpHT2zLgadVguYMRkOI00cMVTKVTFuckBSjxgn9K0s
zKUX6unMllGEdmuM4Xpm3u8YQXvIpzl0G0VqTsaizyh2ldaRZJSXtHKSI0kV1g7WSbqW9GkzBrW0
VzWjWvfGUt3Hwtk9gQokRv6kY4Qw4mn41omStooLomklPdE4INdFuqk5f/tpW3+VphQJMpPHXaDM
4V7RQt2Ltar/OZut9S5XA4Ptecio+ToVBQxSH3VfY+pmdIcG1m6EeTyJoZQ8T6oc644szZQCcimZ
XxDwFOygqZaeEgUBL0eX6lUuF/Fpzs82RIxx2VGRhfwEASf/ZhVkqIkMpe1FEdRTDGcAnTDFnpYb
RnBMC0VQMDHneEVAGbTrMhYeqyIdd0ZrAc5v8NCsA+RHol/WWpCSFsj7EZczZ6Y+lzd9EJhQU+Pv
RtMZLs/jcEwU+dVQYO/nnPNthEfqT1FkqIwrIRuOtE0Be/XCUGyoOqTh3AMd2feys3NIRM+a0ViC
CYYNZeh6XMy4tR2R2/FVzgXZQm4lwSBaOCbk1fjIwPyLhlRVAufiREqB2hPlTe8sUorQsaymV5SH
4UEBze8LvfwURfjoS6zPr4HSbTP6kh63/yXE8enlk473AMTjHAz9LhdBY2QVp3fqdW3Tz3WQbfKh
q30DyOdKy4Z2rcvLvT7hJqbFId0vSfvSy5Z1pKKd7xvJSnA4COnDwPnPHwx+lTMhYlVbkXHIwnmX
Fo1qD+pYbM7HcRQTi3rHQzp7kR4L09ltE56sKLWO2FbAQhmzU0Wq9p1fsXQGI/3KCTz6IBkMA1JY
Iz0KCNlWKK2SI+IWlOIy6yN+9aiW3ZCMhXqY00PUde1aifvi1AyZ8CCAQ3plH6gfx0IOcPHFNKnn
VglDcPoyagldTHKUbkIS/ZgtsTURBiA/qSwrvePsnjocctSf0yiOj2qjwHJSJaSdlmDA4IAMpca1
uRYE8CiiYAYP4xgYeylNEbJqmsZBOWBCxioLpIRun5+16SFfFmQq4kS9VmAk0lx2m6xeYYueN4mK
LYnYdRBfA61e8knH/GscUOkPRShthSVKXwhW6Z4/Ovpo8brnGsXtZoys5rULI2Lt1PYsTi37ozaJ
feTCpipdegLaTlBFwRdnoC0B5tWdqs6Lz3np0Jl59dYvnXREwJLHTjZogZMtufYKPaxx1VEQTsGE
hVIkW/4NLpR54EBdQa5orG4Pw2NusOoDKrGrvFveGzWlHw8vA3ntMpm7kSH+qYYVY1t9XHi1VNH7
6QLpUMdhsYtMSaffBIGmtebsMEQg0cRWUUfbCovxPU+TwJfyTnrWs7F6S+fQvA/Aea1TqZL3sITA
WABEG44W7M/IXpqc1uwiBziSu6Xsnq0uzVcZsUqwKRJIejlSAip6gg5+CgJHCIqvjMozqo5zr47v
M4p/fJNzgfCoNx4INGJsIujVaYYkjg5B+D7FTQazrlQ0mFezcqxnqfFDpQw1ov4we+PTMfCPZejO
pGos3DoRy1OeS+mhQnvE5i6n34HFFU7c5uZ91UryZmx1+btUi+FGGCXNm1V58SetkI5awSY8W1P1
JuT8XzGZVKY7XX+cOxORfF51z10fB/u21O7OjuVnhbimfS5ClEALL8LV6bXMvM8iOcZe3BcrDbND
ZNPIKzfIp5HfBUXux9V4DiGcKxrBHPWfezwnSIZqwFZ23KvhYVTU3GlyQX3MW7bbFT7qxQ6LgV/Z
lLNlpcVnIGGLBm1IRuO9w4Ni2b3RVW/VHITlCSpKp9mCgaNARGJ1H4AjlmjzF5ij58r0EKOZ35Dl
yDC1ODIQiVNYUA3zQfcRw2rHgnHtszrRIXfDFpGZoHbSpo/g1wky2KBIlea1rtMdYV+nnFesEV1u
mIj/Uij8b8+zD/F7A4jxV3c50P7HDPz/0NT7LMm4PvXmVNJ9+8eU/Pzv/2vmbcl/SbKqq8yuDPLW
tfNk+18zb9P8y9BMWpWUH6JK/Azz5r9n3rL5FyW6qYiyyNgL1SB/6e+Zt6z/pYNz5H+cBXUQ9PL/
ZOatSJ8Ji5hsWRfk0jAoAnXqNPnsCxu3pYYBIeYADgZGqOmrIITcyrVo/ADLVJGeoykm9Zqm67Md
K7nUPceYXF4EUXtlr0rYqa2qQ3fVTW3qG21kgg/QjOi+gwBKpyc3hjPSQ5DuTZwqFafuzHqbpCr6
OsqN/kBLE0mNraqSJTqS0kugEsvKfFxGzCt0GjGH7Dk0att2mMKHsDKkijkMsEK6Ar0O11PsTF7G
WKUnii18qw3M1WpTDua1QtwpQkE9ClSITGhIJLWaH/RGm+MTtJ0YrZ9S86oLjWFVHskFSUHpDjXO
7dmmGjg+ZvGU4n67h7u3nNSiHLcKRC7smlnjiGqdUarrxSGCbvB10MN5q6mqteeYF6+R049OVo0C
jKW2wQgT6+X3oG8Lf67qwambZVylUlQeWhqUO5SzkYcSnwAU1O+hoUUH9kQsZFIHA9ZWlOV8zJzk
NVAQuweP71qC9tKoemjXJg64lM7petY09AaZHutvWSyU6zQM1f1kTMAJawSqnaE91vV4nr+FvaP2
4rLCStU4jWmBBlO1Q6Er03twttVl8jwf2X2HrZF1M+ZjQX2qTAMam1ajgMWmP6wUXbDc3Bzq1y6j
sVVj2YfYM7JRn31XjV0hvNzgYpjQxwzSHRWa/CziRfSNpce8WqbL/aJYCKF1nD+eKqByhG+atA8V
+lZ7kAYSO+vWKlvs/xFCICEt7YlKhudHrHd1wvBbCENHqCsRVbHZueWQqrsoFFUKU0a1gyq+gtAa
drOUqocRxuUrJR/TiIUkeAJlyQBoqhouDqgIZ4iaaK1yA5CSRvRDc/01KWPdttgZmOwjvuehtAyV
5oQxMOUY6Ak5GmgnTFManV/CgugsAjDhy6BMLdUfXVQgeh5Z39nUyhgHmimtrEZF4ltBlDgAVhN2
CuCEDOlI3wCdmpu8deN6FOV1mE3ww8IEPyPOw+ABB3lR+YsmBXzeAFszCv1auevniZIWJBQuvS5j
+mdrWoLxgoikkXl1Lh1CouRf8D8YWOGzfOCsE4bSPms08SlmsogyjL6Ep3d4Im3NEFXpoYHzYww2
5Dy584U6kToOioMs8DfrcKunKY3MPNIY/GN28ovQPBNUJFW4lxFmuLIsE6eNSoLXbqzFA+a47jW0
kuoQM9AV+JJlXzuaNJpY5OiVK4Fe5WuYN4XHeD45CP0YMY8ai102iKrllpjsOAjyE5Eeq9aRT1Cm
iSx+jjoGE5HwLEoKvbihZ+wyduKDqpUyi1Ldh3ZUqAyElMIaN7o2aBslqKRfBl2c+1AK6F3OVSc/
dXgAwPNCUZDcSKLG8QKAqRgsGFHfkXjHMQTwOaUNTVE5XQlGP72jOs02uolRw247ITshi5m3PfKh
wU5iTub21LZGb2OVLe8WWRLuS2RRPp6TMzMmCoHyjX25YXSn03lIRsJQqyQzREZRdPBZh0Ppa2cm
4I5rayy2sLCXraiYsA+6eOJNTQD3nHi45r1cG4wwu3KhEk11RPU2WALLrdld8KeDUF+3QxztFAzO
pw576CHQ6chAneB4RVtgkPfzkIqSA4Un8VAfmOOKcZOxCYQxUO2W7M2jFkjGXhzqOXeyXNI3lKiq
S2e6pFcIo8KWa/JqkIszwrbgP2wkYUB4nxRmjBwhbve5KTSvdTcNM+8jRn07DuaHspWfjdiIH6nA
prfK1GvSUMYQ5LAmyOshmMZ/6ZH/twuX/0MliawgCbpekzx9i8d/1iQff+FvIZ4s/wXEU9QMCXWY
Kqnobf4W4knaX5as84cK/z51CRf5d1Gi/6WYinUuSnTZgiiEeu/fRYn4l2ZqFoIzxFA4aSz1f1KU
SP9U+wgAyg3qIRQ//9QWMUUxBWzU0r7aS3eQaU/5Wj6lsq3vumfB/+1u3NRP/ecaFwkYSNlwoKWs
gPp9f4xe7NEX3v78X5Y+p6mLl4nT8NJjgcO8tFf2xkOwH17LfemL38Nf6g2UPeLof+ih/v3pxcvQ
6XHUYHbIrbhvoiE9dcYceEaYNF7SN43H7t6Vbm4105aG83qW25Z+RhysEeeBFpMZudhJra5ySK+g
YLDuMFqBxKG1BgTSNHblVjGxHeZgvGs0C0hIJJfMjcxH4shMQ5VbF8905fUjfEqWdJFJfDS6BsWb
p1eBabOJ1W4fMTeQEAa/mhLZKDIm1ndJ7Mpfo5XqjlFp6rpgzWCEO4XOIOY4HWd2FCovhE94S2By
GfmhiApqwfChawua0nQtNWpYBy49AgaKSHZvod7ookY3fcqzk5iJ752plYqdRH3yCHxH84khNB9D
rLWroVdBkNZjR+RJj7EFe+UqT9ChiJZcfqkTU9m1TVOtZGIxPS01mUO1meCWRl6u2lT+lk6jgC8f
NNHQtRIHdL14mmFUe9gdx112BkanQwnyKQgVJ5xbZNYJ4qkuz813IyVKSlPx++RMe50xEkJgdUax
ihWt3slRMKIZ4rRmKUEITz6UoFE0NIwDCROWUr/leF4PiSww2pby+oaK8COc9z/Cuv88SBda10To
h6CZaH8a0l5QDzGCBKxgwA+nlhansdP1+zHemBbynVv+gs/DK0TWiH+o3K0AgicRgso+VwDqhSj0
nG5OE6fp8cWAt5Oxo09Y485qlT+/kdeueNZQ/qar79XS6PuZF5IvuAaDSi2wQo4l3pBEytde+Isz
lDGDt53PLzydSMpu/UAncDrlfB2h3zJESR6iYgeYFM2PXYMnoFkEM2NbIBUeHv78FeVrK8KFwB+R
da1ZAsHOJroNK2yfRiP3ltZyozo5qCrDxdw6st2LtpikSNGMNw0zuxc1CDdxuBOWuoo1sIHS65nk
XTN1z2gCOotRvo1CtTublf/8Sc8C0c+eOI60v/8YjKN1RJztss9gKubD/chMR3WNHM98u9N+9PL6
z9e50Iz+59G+2EWwjip6JIcL2g+iYZ+GET86fane/mLgztZ9BE02NMsy2hlbhvix4MilXWOCO50p
xPljlZ7+/EmuPX4XWw2I7pIDpTDvyZVGlTe6hbLXq+8QjmDx3VB8n3fsz27rZSwqaHpLkkBD7ZnY
uunubvCFPeMbFyTjYdhoPuA4h5GeWzqjJ3qhrdqiPznH2rVW1n3tP+Z2sZm9R/S0x23myXa/u7XT
Sue15JNf/DJL1cRm1yctH00yV6LoWSSr64ccIdDYuuUvJpiL7hTjFvKhDVC+/v7nu36lihAvU1bR
gBcD5pxlH8I0ROdKEsNkeWXOKKQ9ls8wp5jsmsndjcudn9/PvuXFItBig+xQpvICrsJ15Ej2ZON8
ZZ1RtqF/615eW2rMi/V6CLUsMi2uQlr2qn9hlrBvHcIr1sGj9Vyshy1zaAcr7SHwhM2t4LxPm0S6
Sd70P9/Zc2dKZBK27EWTmAvtW5zcJYoHJw/oQBcdRyAmhvbEaBSAsN2LqduTHgO0X77xdFvXHqGL
1U03cKcEQ7mA8zoDzLIXU9SPiqICHUEUiMgmYShg7ZryaxtyVKQbU6Sqn2nGqo503QVa4CHNCLVx
Iybdt4wmK95bw8tTpjJvltK4pjX74rQAs/26mGgnRd0lIc2PGoyfQ+fVLeb5jZDQXn6gESRzLEbb
gqnK6cutUL204kOf8Aop97H2msw0UZYXRC22aN7LfMJSGr00RkQkhw/SfKdA+RR0JILxu0HyQxts
guVLb66yVN5JWXlKIL7NXbKLhMAf0dApNTo+0zWVCEzhKVS7zYRROi6g0sSbsD10hb6eCCibxgfK
nXE6jHrvVIG4AXrED0VUi6Y/6pP02ln912lgJ29HNOmddoQD9B5J/QEPofvn9+DasmtcbLaWGWdd
DxyI9yDeaXhlD9kOQNuOdAbkKOvOQ1P2Lu6nZ/21O4yP8r69seBfW2cuE07jfoaDFXHlUDjJi8Np
vlCRsG6CzNNfSrA6LXjtfHu+U3N9EJWvk3z/5y+tXVnizy3c3zc1ycB72uXNsp+y/kAvy1lE1bMy
NjXU6Sv01acl0TZAp9CsvRRI4yxoIZh2HKQiav8UosdqrYcFa0HTfsUNTvtg8SbjSdNKGgOBL0q1
nxC2u6BeJ0yvFr2MXmDV8EAOASiWYQWG1ukb8ew+8Mww8ommAPEybxNaDUi8iDGIPWaGJHZJwTZs
gI6kb82EIvUu6L1KeQS8ZOdYZ1SA+FG/72UKVoZYaXpj21euFCiX7hgYXUS/E2K112q3Avj7BQVp
Q5rBqv8lo1SRPJ5fDydy/QgD33r7xkc075pnGbyeg6pjeEGXcqyIR2icCrLaXjWQ/Dhh+vTnn/B8
ev1s/dYufsJ8wbYO/0cCALSK/HmG+evBL0/oJRu7xK9w0Au2/riYz2fViq1NryzxlTP+pINKM3ZT
Kvu6pcFzJ8CqORa3lr5rT7V5US+JpjCZQ8faexZuM0AnO4D+VOqOBerq/CDlb1265gmzLX1roswx
aJWXEmCW/Ibn6trae1FHBWMeAyZmbWx1NNYToSp7RRJuPBbyeXv8bNu8KI5S6paqtWp5Hze1CFs0
Aktfwq7uyIa2EzD+6AICzS8J2HEa4LxbI1IkkkpSi287KnaqkuYhZ7zsJlJmXwqgpLd0tMCDWjwp
EH7sGhoEZIQyRbgI7nXspPZBJiqeV2/Iuvd0GIHQ/vkpuvJtLkOolxxiSRdyryj05mGNac4mlhpM
5/uf//vXduLLBOrJzPpCbVho5u14hHjqaJ7gCE7Duip5v4QfsR9tC+fGxc7b+ye/jXGx7c9xJalj
m837KFz1UvAVG5gn5vecWcmL6EYUfYi4SMMgrKHZlQnO2f/yNl5s93E0SjSuqRjrglBmbPxgLIW7
5qZjWTm/PJ99s/Of/3YitHDMZGFhzvvcq7+Knvn23m5GdwMQ/8UnF4b3Hb4s6xGwL/sk2qRwuO90
R1eG239Pv1Pt/PjzLZavnIaMi5dLHxiXiYEx71PpcJ65lz7+RZiY8df8pb0fYl9fkYgAg9O0m5WA
psyPn+iNA0yjf0PgVGVLv/K3IVwDMom2/Y007wsr7P8/OxkXbyXMlFAY1GTeJ7S9reRrapLiSsd9
WC2/UsZhYzg5Vv3OyH9cadV26ZGt4egH22vR/Ni05AC12yXyZoNuv51rt4rs8/U/+d0uXYd1KCo4
rPjdFp/1QPjW+xAyXPlVp9q98YtceegvU6KxKy8L43Ye+n3rdfvxoT3UKwq2Ype4xdo66F/qU7IG
/u3Q2F/lL5qr2KEvnW5c/lwmffYNL8onGq9ikUEg3s/ZqxWtOnkiz6yxNSx5KKrk1VKAn8zwvyFe
Mt2oes/WCRF7E1h0W92gMG/rezV+wy3q4pBrv5u1w3fpb9RYHyiCzz7exSlH0xdmlKY2k62Ci0I4
dHed1h2Xede0zjA8ZyZdK5wguAIGvxu2eAgaT0POW61gnDDEnCLfTP2peCEjBidji52pAFVZiJts
OLTaFtIgbsFTWxwj1FJnyOOf7+u1N/7S1E1ggyUo5w/e+JNrevg6bdSttuEa9uKyhrmtrTuCjc7S
zp1ww5R6o7urdBM7i1NtOVPZnZOt/vxh5Gs/8sXCShSANmdSQbnIUKbRIROZb/myEYz7WFzPI3o5
5djALylGbJK5Zs8NtUUMo59qKCJKY+r8MPm6wAuN5mKtgbaKgrNwkpPYgOvifkSQJQ6Q5f78eaVr
n/diPU4FozTG5vzaUXs4HJUk2guhu3yvj8RplLYINQvN91E0nkNU25YrTTeCzz+oI589cBcrdV5l
tdgvlGVl7vZrmYQ4Z9nKwMjwoYAg2pQ0UG1wly/ta3pU18mK3QgtGXp08S70lHmdI+z6Iu3Czpse
Z09/zO/zX8FRF05V8koaimfeeMKuFWqXid25Mkh4gPik5goDsRuuDR+Dr6Ns+cx3qVtsI09z//yD
XOv26Rfrs0pHOyl6rhUfsSxuCbJ/qvbmNqcUEJz8ieHaSrWNbXhKN+FT5Qg7y72V7X1lx7rM9iaJ
LlvQOzE42Wp7Oigu6q71cjBuVJvX2jYfR6zftua4DmCNg13aW5INze7RWA+vwk+dptEhFehO/fkO
Xvu1LskIMXMsI1a4DN0hHcOf4Y7NC6bqw7TuF4/0J8PtdtSilPq6d+OaV7YW7eK1Jy51amOZa0bD
SrRcdbqXeXsfCcZCnEY/8i7eo9AwROIlQyf9fuOq1w42Fy9v3gdgVtVA2o/b+az8l/120d0w/DL2
niLxB8p7P5wALG5KfZf1pl0rp35T5faY++WNguI8m/xsW7vkNURKinEH4c++nNZ6vSrqLTZryfIZ
HVVu1dklp11vFn7JJ7T5CNIHNw7d3ja1lSp5zSEZfGv4JcqnMXVJcoitexOSVr6tKh9wZSmhrrA7
zB7YIglYeLtx565UG9pFcdYJAeGm57dMuQuecVV8k9YzaE0WuuTGI3HtZbp4j+VR7JmxcgXzXnKf
Jlu9C2yMEjeWpGvdwsu8bqPBLIVdU9onGyQK077cZavJHzaK2x5itD0+CX6WwzqxmU+Sl5FjfOOh
+0AifbJsX2Z5B2CMZCvlynNmh8f4RfHrB+Jlt8VqXldus1l8lN8naafb3YtwwN24ip8nZ3ixtoEd
HXn63dEPD7TvNuXjrdvxQYn47EOdH87flpausECqEV+6tx4FPDe0Vo6oxhyLBfqL6JYblsu7W5XS
tSmwelEpoegrxfK8jrWcxRsXyN1D9QJBXfKSQ3xrH7jybqsXTQtINoIOZhF+vZt6+dbyZa9cZT72
L9dcLa7u6nb0MG+6HS69fedEh24l7rTTvPqaedXzf/eaqBfLmhw2+tDgWNkrPiYq76exGjxrJWxu
7XbXyg/1YgUbianLSK2U9oTN2efv1a50F0K0g/zPlRwwC67g/4huvJPStZt6UXKguBJT6/zLRcH3
yvSX9kArInZAySL0UrbktGXbTnjEf8crREzGAfGUdeMXvXbA/5jv/PaMYiDAuXeud8KX8tv4sGzG
X9PeWOuP4nv5JKxaf3npH7Off/7prnVf1Iv1Jwza2WxUriY75krfPj0sTsHg4kHlH4sr+XeYRu9C
x7RlFyaj90I4mmPeuM9XtoRLpF1CbttiNVwbQakH2tjGLH5jd//gvX3ypl8y7Lq5TUz9/EiSHEvP
dbX4Jkd40SZRepN7+UPmtk7otx7ihrXiSzbKCV6ZEyk532S39IkyvoNLvGNExvHLFW/8uB9f7bOP
dbEAqQoxLkT8nV9X0Sv8ad+/DPawRaW/rzbxOrcTDw8vViyvfZFsGqK/yj0WNj/fT163WnOS3uAj
W8n+zC4xrqNN6Bu3zr3np/uzz3axXi0ZsfHq+SVDwr8e9r3Xr8j69NIVHD0vcK1Dc4xP6hdykg/R
CuyCE/t/fgg/OsCfXVn757IMgQ2dcENnWLSOcNl7XIkmXgEMU6g8yc7lCHSo8Dn2vszuf2c1B6FE
DGnXtBteYJyEJNA2EODt4qWvfPmevE86EVXtGURmC4KLFDkmtit5qwlla138pop2WphQWeupXU9k
k0GeOc/Ff/YBbvAUXcsLsdgoLsMOUchd+AD400Qjuth//sbSlW3/43T920uu5GggBo173Tuan93V
K8lnQOT1z6H3SrdpNa1UX/Slbbu79aZfO/9+tOV/u+RZTWGkIpfUGPQS27J6kfidSSZ3ZSdiE0RP
6S32T4Sp961beeRJrmqvc59Baq0kp91E9uONL39lef34hL99EhA/CWYRPol0t+xRnK5Up7oDtuFO
NuZ4N3TGjXFfn6pDcgOreG1NVS7quFTAsBOcrwjg3ibNNxG2i31SoEO1SHAwUnyTePIgQjswFFRU
Ojfe92sFxyVdUFQqMIvn3xkjjZcf023pbLR7j5gM7/HWi3utJfPRWvztfkZ9vOhSxUXklcAAieQD
W3vP+l1H3gi/sMSLdBKOw2aCTLS4jWYv6+FhcPCxxKItv5BDl70ppcs8UjwFzBT8oqCcPprjqacu
724981d+9o+5y28f0xgggkuTKe2Xd+HL8sRgi25G84PJyrcBOcIdjpYzjWKDsXmjfq9f/7un7aMF
89tlcRJUXXP+7Yn8eZh/LW7Fohadl3q8dG7PtpbQyMMqeuthO69an6xmH1vtbxdM8o7OlYGcamHX
/olPu6/vU+aAmX2vkejoVrTNbYK9AChbTze+5LVrXqyg8gBSMFO4t/O9dcd8LW/96MfQObCp4VsT
Qfa1YUVMjYdZP8TxjWbstYuq/1y2RyjHwdRqqKqmr5L2YsWgtZO/wZn4fz6HMV5rA3x0Pn67jZ2Q
kB0xcBsJGcl1Wz6ED5WfHtRH8UvDYvHy5zt37aG8KPWmaWxKPdN5QefM4EB+TiWJxC+EJbcOSeer
soIIUU3Jjctdq7c+hua/favA0OhMJVyvfjF6G+rzMXipD8kdNBGUQU+g0fbLNt4QtfmrXcvraiv7
jF7c7hkCw42j+LXV8OOw+NtnUOJkWUhJoh/wS3ODAwdD5UtyIn9sWWEvrn4p2+qhOUb3+sOf7/G1
C37sgr9d0Jo0jCgWFwyP1rsVPKHF50IYLEbL1n7Kr/IjibZR4ug/wCW60o3T+7Ue2Ud5/9tlI6K2
gPjxBN0Nj+VDd77H7XN2N7r5Zvn1/zj7rt5YkS7aX4REDq/kpnNwO7wg2+cYKGKR4dffhXV15cPX
mKuR5mk002Uq7Kq99wqaF1wzp8XG2sIMaNRlZKb0WDytqdYuHI7vVObH4KB0irDIE4GrhCFp115C
em8qaSWWLuX13zP949cppB9gTodtJDu8V2/gv2AA3TSVRlG8Dt/f31kXMlHW9EYsVu6y75TgQVz7
LqT9GDPJQGpqe3wR5nIXkp0InKivp8jtgy1/St+oqKPYaMBu6Nl/VrwaBnfFPdpIYAG7QPsDcQNW
BDr3shHt+y/hnkCzzFM/CsnsniHGxG+hGLWyxZcmfxaZYPQT9IOCPxUAFCu+RSt3ycKr7VuT9McM
ME2jaU2Fn5WlF7+wE+Wtry/BK+ubKkQBBuf347LUEvyG6v4YJlCylOm+I99ndOEP3EaweUknGwL8
qJXdBF6Xb9JePUIq6Ek2wTyZ6mfhAcBSJAn73GbQJyQr5fel1Ps7PP/4Y0aNAYWmwk4bLEBnsb/g
uGMktuT4umz+FYzqGFqRTd2Vb59eZI822SwfZYaoUvsCwyl6ZEVIPEY7tOGWYMvmqdAFo7XwiDFl
D166VrYPVvb20hNqLqKaDNCdUwasbONNiQYPPQs3ioz4ELZ6tNUu7bZxuC3/yt+YPfiCpnguP6tt
+FackZChAiDbkmSzL7WX7stjb/lbMVg56lNm+GBC2Oni+jH/IgT/6iyqcQ3WLzBbB5QcTBvA7QjL
osMTrowiLw0z/fsfwzRQIwZJmAMfTAZEDq5Txqgy+4qJoKP46U+W8ETds/0GnD+jZqgFOxVdhebN
mL+W7bXmGQvqELo6vSIbl42wWQEgruMPBTLpYQtudDJZDB+i2qzhjoYuTqRWZ2aSYo1VENg+RNZO
pcmrJdb9PmtMOkg2J3UuUW1NfG1j2D2qG5/l3xM0E2HLLAkuCe4w3oO6ChAvt354K8mt5DxfZu9Z
xzlhDLP3pi10jfdiiCeR5DmmxzgMDIFFfi/DNBuiTEwLm/Lft+5Mmfj/tczZWf5cyCHLwdgEac2n
CO/2wmQ+YPZbXmuPb5z0k/WNsbPy55XRlhZs9uKDPiHHwnEKz1rQ8EsTSlCgFRZwByx1UCj77CT3
brVPZJ1BzZpuGvDTAahKgBcg/ErePn3Yo605i7JsXSrQSsWf0JQ8FFNxJ9gKr7g1zVYGWEqT2Vnd
DyJ2aVINmNLSbs3Bil2CF2Dtth+MJW4+yWXKShOH3zI3wH9WJnbh7mD5f0+CmELXNwsavGodSFkd
+i23JdfAC03Ok+3aAVdk2GbO74MtYSXZWWKahEkHyxGwLzp+uEkQSRWC/galHLsbJBN6IihAkAMN
RYdTYeY2wH7PhxCP8GdQR12oBRdCl0aExK0u30SAQyMZ5XLQV1b+uqWpmAVjyENQsRkEFOjwuNgL
r4orXNsjAQ7OFNI3Od8pAMgZfrjLAa2XrOYKSC5np4wxPvmAmwOR1unpyoafNtX/bDYFAvH/LgvN
agLnaCyLOryX6q3R1s7tw0sdPzwLsJGa56QHH3QH/q/PeZAoM7jsDpJopT1JUW6lpfX7dD5MNTDQ
dJJ/hNiUoMBW9/iCChjpMGRhAcRAPGxbD4mThPuq//p9nMeBCANN5/XHQCMsS4mfY1Ohy3HM36nX
PQVnWMC9qy/jvX2LV1aEn07EoyWZhSAgsCuaSpg50akO5S7ZhEZiqiac0HBNy8BTIKVodYibboun
xEV14Xntvn7cvMUnzkJPi1YivOQxdHkSRKMFyBjV1OBNuWRu7/GfwrsKdU9xHf++tHazQAT1uh6C
ZRivM5gjUkRrNHs3tBOUrAa7cCLzVTECo7fW+jpL482CELRhhg4iTOiooFin6TfYP+/W2EqPG1OY
vFnQEVUGSigsfrwGSmE4BKBdELe3eDysft+B045+tDFmcSPMWw5ULmzAJHkTuj/SmW46FsqRK3WH
x1FTgQTGvxs8giZ1F0whurVzr3fLY+pBktkkNqpc23ZbW7nZHVUX5CZI0+ndltCVy+G7bvfgy+ZM
FqmF4CYREBGxKi+J3cJYDwYwvhNDd0lyx8KFbNvUV4UGki6h0AN3KdjEvAbQ8m6sYStYoEVSyMLC
yBCac4ZiRkfh9PukP86yMSuz+KJ0hBZ+h1mnAHvbsoH30p8ImgQX0L62EPY0233rpCasv1cGXFhm
dRZnaFmUKgV5d5ffx138JphQSktsZQ9n0itw2pMhtS4faid6TdceBNMOejT/s5AD+0S4lk5DUss/
x+602hEANiA8/MegNme60JjvYzhHYO9uULHrzvUm9YRnYELMeAdmrVu4g1kakpe8Z0iu4dR4W6vj
Lp1LdRZkQIPvOjq9pyTB0vJb7gQQO5T0YtsTL9yGKxndwkX6P3DyeIA2IEVVJO55YygEA2YKv2+I
xxUC7MBZYCEjw9ckQhaVQw/xNYCh7kXgjPLoC68pzIGgVwDrVDiZjoZUowJ6DcSLxp3xxFee2u7G
u/42Sw7NEfTEBlLCZ652RtEKvqq/YYTHkBn5NvD2HkGtA5Lx4AFcf/+7Fyd+Fq/EwA+GYYq21EKJ
SA8cYvMbAD4d9fLfRpjDwlMiFAWFQSiqQZ9+aopCocPBS89ysx10sMaAwrivc3oXDuYcIw672yRW
8w7rAAKo1b4oR+RAl3qT2fFmPId3/1ofgCYs3vOVc7lwXc0pP4PUwsSPJVORgHpcpksWdDn7v6sF
xIdVARh/zCINpBhHbsCtAq4+ttRziP5ssWdNBDX9z8oKLc3ZLLIQPxIzkUFkbzmzwFEnVtVOAjoO
fBX1AiU2aPlcVYrc28PtbIunErY5CnXLlWO5NP50XH882lgI1rCUC9DEkfTuK7m2np8Y7VpPYpqo
B3FTmYUWLmCHsKAMuxuP/dF/hwdwbiQn+am7BF7X6ZzTQ2E212GQLX/8PqELz2pl9oLx5QBiojFG
hHMzlDtrPAW9HH63Rn5aA6lPS/Poo+bhBqoCIQNHH8C0+49kC9223//0pcmahQN1kMrUL/G7PvSN
6hZWBRA4proWr12cCwPMQewFq0Emv1ch3hChfgo7jnOAssdOO7eGv4OuoZNZ6ZG5rVkHPu5CKmCC
/7u3qiaAm32ssbsE3tVVf6YCNTvZquVDFEJzwBzRB+dAljzkt1C6Zc3593lc2NLftaYfW5rjxzaS
pnkELOgJB2ZPVxPnx90hfNIsIjCqBFF2H1MYHIY7OeV3AX09YTDG9/i4lv8+rn1ikFlMgN0fR4Ct
Bg5oI1oghm+Vl34Te3yhyxR1VxGuYFt6xP2pws+zWNl9C7FUngUCqHjAogZKsLt6g4ZF/sQ5idt8
KGs/v7Qos0gAqVOo/HZ43yiwCbmyElTydfGjUVb++qXkE6p0/8SxCoYNPRR5p07kAMmyxmg7Y4Qg
xhZ6tOMFxs6J3XBmU69U+hf39iwI5NJIIZqMq0dh9tyHtO/AXCd6sAnPcAeubJQPd8D0rYy2EHHm
qGvYCSmwGsY9NKV/wGKtPJwW1mSOqFZhVlByjI/oLEOZc7gzBdGlOwxNNG0FVP2NdHgQK+egasiu
lVoXK7hevAJADwkkp8irb9lJ2QJ84knnzCyOFUBYuV4YLOgOsh2ZIZBZgHbf1W1lNbqyWQN+Pe6C
wrVvmogfkQHtGbXTyFRuBwArs1mPd2JU9PxbsW126GUY0MS1aw/K4W7nwr7MxPvPFAE5kl5/D00L
EXjORY18Sa25DhlkOZxksC0itOgGi8GZ+P33Fw7xnEtadDBOoUyOEowu7JgDBFR0yMZefv/xx5ot
mL5ZiGjytsYFgl8fkzd4C9fb3neUt5befai5ojwOjEsDd2dnZbiFXS/NQwYjM6XG9EiJQPSAkvyZ
kEIvuc0YGmjeRXhexiqk9EzwY+7hWotzKZBIs0DC1DIbV1O7kXYf70Jpw0IPGqh0A3V7HsoCblM+
+29I73//yMf4dMzpLI7IfC3BegnDEXUzahuJ/+IhS5tZIswRJYPNR3CU8DLLAz2mEHERPX502XhT
wLan08vEYwAdTM243MFDTpdiCLPCbQcCdsKo+wTqyFDFB4mxodjZzA78LFK/isJ7ihIzIPm0ePn9
Mx7z9vAZs7dLzSi+kCtYK7IbgX3soX58UWzIEJnltrN7vbihKYoCnXzqv4LX/j06VhDeuVen38d/
XLFXtDngvA96BcaKHUjUNntv7s0h8IQDWpWmZOU74qFw/CkDUJZdWDP5j4/bOdRcrlACVaZy0ARo
k7a5p9jxudhGaFFCsPCV3dbn2vGt37/wMaoAXziLXTxs1NSixR3A2ffWRkqyr2/UIZdoL330O3+T
70I33wBuiN6PExjk8P/BMJpW8UEUn0PKtaoT4HyLBwmYRi7XYj9txmwDA6IxN8LBgvwiR4f/lpDM
keWcn/Eal+DRCCXxPrLaq5+89tqdf/59HqfpevQpsxgGz2BfqaCgjEc2xJv1QYOqxwXcsWGtcbp0
ycxB41BfgkJaKWGhTPFp3EBxFGqVjn8SnqdHNgphQKjDodsAZwznwiPTYjlvGTKgZiWoTN/y6Bvn
IUyCYxOpc3HHi2Ryfw/2edWu3OhLxZY5Tjz1JQLPM3yeCtV2UmyyG8vbSO3EjaCZtWa36pNPTzK9
Q3d7BCussOhFHYyMPuf0rsKTPUtfVLLpFa/xKVqTEgye9Gz0WpRtkBRKu1bSI3HTO52mB4zLo4eo
pNuitEMQ72i7sssWLsrvr/vxEsjlDFqoCZ6L47EOnoT6MkCbJLJh/QKzt9932lKuMMeZywXTCVwU
cTv2Ht4Et0Ytr0d2ryd7PG+MlUEW9vMccJ5XcqNUTY1coVHOjSB+cuETj3a95Kaa0Q9fohYbcRda
6Mu8VlF6aSSITzGnigc9F+Kghbb2Ovh+RD3Ydd833I8pbTIVNhxTBZONtxK8+BjWbvMbbS50OMo+
rzNhbyjP4pEHwysiECFzSmjf59C7d2CRkIaQwRorM0smoZoaJxMQUtYlx1T8C21SG1J9BB44LADT
va2pVpqz8EbejQysT3UiOhEHqGNtavisxAhES+b/suBicvAoEZM9UVD+g2yxIHpZtC9pbzaBCbaD
xYOsqdY7Vnz7fT0Wyg9zH/ikGjWpgKD8jjXKq+z9bb3Max3i/P7rCwdbmCWGgzhAbMsvEYelT7Z+
9YOVQ73wLP2Gp/xYOigJBjQNsHRjekQ/IQ9duGdC+3elcbJU6JxjwEeZ8FImImuGH4vkm+lT6wke
ZyHx6PE+/X1ulh5uc3h30yeEUVrUOlsb2h16rBcbzk03cFizUXTUTsnKkVt4ls5B3XIuwlVKjDFZ
AkgqyatSwp+n2fz+FUvNzTlyW8uDisUuwgZCFnvkoBoJlTo8o1K33ACVtEUXwMKOL93sDtyyV99L
J76toq4WwuIc0s2r8I8T8xAVXD1JDbzixHu2VXcR+OhTf0UzIme0QguwYu1VWcmJlhpIc4B2HsOt
WJWwq5NNa/tO5bQ7cou2qaWakqPakJRRP4ed8h/3yRyYPQwsikMZjmjn9UfVi/eAFIkn5pLonME+
a6fh8vtSLhzW7/fBj0MVlnlLUhWbXoRXhQDIFJFuv//yUoGIn8UBmK/Vghog6HNNs4fBEArCIfAv
/lERoCYm9ZZQKUbuP/WsbNERnXBfMCUGzJK0QqZd7wpRsMT2a+WvmfKxB4H/Oyf48aE+NFelkSAt
rE24rl2afbr/CwdB8J5Ut92HK8/tpa05ywbjkBYQbcaylVy8Y/nWqPrcaum4TfvYLMV0k1X9yiFc
SnS/D+ePL+pElp9QBhOjXvRAUvGA+9F3jJODoiWtDPK9WI+mbZb58TnPacqEsMs2vFU50yCBFe/5
V9EE4tABW6jcgg7uBNfEIU/KCTZfsAxCSqGt/AVLYXkOyAYCCHiN6TMBPQEvjRoRcBNgoxprMVl7
vDO+s7Uf8ziopGVLDkWyuLRpiqvbrWKzsjnQfGqvWXOkX6rFzQHX5QjFXKXHTDJupfvfSwZOjQc6
GzQ0BjM+ruGmlr5neoT9+J6RgamwwCM415UF+Anc6FBiiU7leQ1ttPCam+OrJd9Pg1jBALJX6Xgd
n/v9GjB86adnMaNu40YiOX5aUJ4E8d76thCDUX4swpWy+8IB/V6dH5NDBaVRmB4DDJzTXOC3rmuo
UlAw2AzZX7l7l/L878v/xyD9mBEG+RUmP7UgrNfk7zCWVFHq9YQMyv4HDglGBdmcAHYc0E+gX7xm
Qg050iBvZP8e75ZqHXOcNC/BCqPj8DfEaCiLRp0elWQH2KMCvbsYlqJ31cyZew6rT9I7Tf0CoyQZ
igLpXrVboAaQ+xR7Bg5B5p/f/6ClcDXHSg9+BBuiDn/QeG1NZpsfeCs6O5wjSTr4FNbKKEubfyoO
/Jj6MpSZiO2QMtXDs5RvymHL5pCYhp7gKL9ReCGKDZx8c+R3JsyL9JD3cviBMFulv7HvWadH8RpW
8jENQdHmsGkmU5QABmjsTur4UxOUdvQaZQMMfeEzKdmR0O2JsI+E80B0GY8KcodKXcpt2BqpxD5l
wcDcwn58ZU8uHKw5Urop8lDzKf4YZoDFdA26Ew+Zc5gpsJDiDFee0AsvdHYWeZCtpnB2Q4grFHjE
omsnXeBEgVvv98VdeNPOMcTNGEPuu8A3ZA3YSBzVGajjhtIKK3rpac7OYk9GW6bWposGxGen2I16
uxUOrQGWswW0Dsofv3/Fwg5lp5fYjx0KEx++TlUM09rNO5Sl9YmewO7W+nJLb/M5LBj11FbkpuSO
h7DUKbgORnKMPdlUXtL39pl/UaAcCZmiYM8ZiWZwpR6bARRW1npcS3tgVtaJuCLJmnb6PKBb4n4D
WXYtTM2CrHSZFgL4/4CCicB0YTR9Hhj59IDngKGig75yTJYerewsflRjwMg1g2c+jJxgBNDdM1u9
QhTdUju9MUevNpTbgBKmdE7c3/fDY0EFBU4T/26IZgxhIjnly3xnqggMLufmcJgG+5ToPVpNvFsS
Uw5QMI1PzBQsh5WRF6CCMMv6d2Q+q9ko5zFy/wm+HQz8YCklo+ltBY54TGzGIHeoYuBLtX18g8kp
/mmttWfKYyYPvnsWLbQo0AY4Gk1dt+Atx2qOtmjAt0e7Bq5vDq+xM+ybPTCyJsg72YU5j6UOFew9
2cp27jYGgIvh35U1mJ6z//vMVeeo4CDUxJAXELk6IzMzu92O58oWjMKpvDXRl8V1nsWXkhNjNZQA
QUwP2kvWYjaNdoejePdNakAueefbkiXCnV2XAOJaOS6PY6Y6xwLz2VjBDHAUdmrEfzE1sIfqAKnh
Ivv8feYeH3dVE/7dQgMq/mEuY+K0YwgyZrVbQ2wuPGBUbRZI4g56pkREwpbt+HcUwXEynutPwUa9
rNi1J7qPnrBFrcjJT/mOL90EdpSe9AqvnpWpW3ixqHMosEKhEvyNay6hcfAOtWDYVoB9UDE6XGWM
/q+qh8FaQX6hvqBqs8AzVCMNSwmdkxZYYJ1MluiG/4c9KZU+eiPqXJ9Qyq6eO6/z5NW67OPsX51j
hXuFYf1h2pL1S3qnoHHgOfopm4Lpb2qL3cb2Kq12+owHB2yODW4LgRtpD+BGc2EgkqIrTo+bNdtT
hLmV3HvpY2bxpFGHlhujGi1lNW1cle9Go4ppuXJtL+Sh6hzQq1IYDhIO+zF4h0YUY7UG5JgD44lb
A58shWN1FiDg9jKETUPZnXINLugik1v3Jd6BSIJNQRSBeg0uIXcavGzfmUmiD2a2X/XMmU7Vo/WZ
vUpikfxfWNeIJMAr7VE5po5mZRAigFUhsUqTrhyrhYgxB/JWXE+SEaZ6uwTF8JGt9EE+qA2nM9ma
mMLjFxYsmP6NSQpRymDgJwSAb0O0u2TMIYROawpEEpMZJeQNyUo2ubgpZuWRAWZCY60g/CndtY9M
v3xvFNFQIIDfBK/MC9O/RGsanY8fPijJ/ftVog87dzEADjeLTAFM02JTp38aze4Vu68S8z+F8zkU
V0w5VWJ9Kux8LuTeZVLAzqwn0AIquxD206nW6r8PtBTv5jDcNuT9gCuacRcapAOsOCZwOHlJfLMB
JDI1IWFtChCkzKmeZxuYxLfta1aGsCde+wMW5nMOy4XzdpUopB13re91+bYZWHgs6wU8hUEUhHit
X4Ii6VAv6mGqvhk+Efab4G+a7IqUXdk+3+3IB6duDt2FWXOqQZcfsqvlDTxBnYNBXTe+sooVCjvS
W6MPBTZ1PDTFIa7fBpjYxZFocPlLGtk+hfF1Qp+6PjNEFsxNmhnFoFxI4gpQGNb6wCobaqUCNVLf
RaUDIqQwW5YcGaK5XLrli8JKyXuHTlTGQyKQtfjoVil/hsb+j0s8i2cRK0S0jzHDzNb3+K/sBnSF
pxiDnRxKlzvntyzWr+RpZbSFUz+X447gAchlLbw/GiNwWYh6dhb6vnYwiWdBvS58R60XUtVQZ9ZX
Dstj1SBFnQOHc85XORhQQe4X7G/+VsFhmmbZkQ8gU5g8VTKoJsFJlCCsNd4yIjmhDHZ6FltJlO1k
ZTxSeoMsCYwKcAQgrCvLViAArRDqKekNaOU3g1mIOSw+Mzgi9LoSWuLk6CyvHIFvCN2j7TcLlKoS
16MidPAA8uEKCSAyAjPMM92YKKhE3FQweGA1rkco0TT84PDhn5g5FHn5ByLXepB8jvF7k3POEPxV
k+eMQ0Fr04mMXopuTZ4Zcmygcg3tY+3qx06Mqn4EJQuJdNsUp1yGRjXsxwU/MSn3LKORw0rZUcyd
omB0hj0L4V+onMDkHcJyIaOn2UtfwvSbcRLNqmCUMeDnoIijwdUSZAtDKS0ZFN4uX2mRLlQDIITx
b7hlIoXGtQRRXxa1AM5kLpybmSjY3ukmBO6OWWlqLkWhWVQn8iA3VBKHnQpAvQhBZT2ADUaQg5o9
3LT29ffDsQDgUueg6ggbKungeovXZbeHb4pmx1+lAwyq5PIO7t5KR39w5FSjcchOeWk5C45WkqLz
Rt4VOr+LUby0L8xkfVS5bWg0FYqZ0NFoDzUUQ9SVDbl0Kcyx2A3HifA4wIFCQI6zD0iKb8XjaLGT
FFH8ohh1DSI8uDIGR8y1RGOBtqbOkdiSL9ds0BMWJeECeP/qLI5oLoCyKB+j50I1g+I4creu+Gwq
mz1T3xhUvVdfRK7Xqzp/5kGxBIPts/FHU0DXio3sttsPgxEmZoqin7Qnoez+vo5LKckc2U148KFh
xczuuMqjwWhrBHMCdULILHBWFbxqYO0D8F2+snStJLKwQ+c477Goiz5mMST0+C6JHWxktzqtpadL
Wd4c0E2GrIqziabQgmDhIPvmD1KBGd60H+INZXKIuUNBcjtspZt2zr7aS5kY44mDhLaTb9e6XAsF
e1WeZ7GyoOVJNR32s+yRV3gNOWTPbTgz9tptckz3qHww0H5L/4j4U35fSwk+548f3f8DB1dFwDpq
GNSGKbmJrHZmh5eCiT+ytjnnglzD7DsJOZ2LgSoaoVHANS8Cd4mkwCujyiyrbJ/TwOQRBbPz4J/U
yM7Lc5tfCQxncc8YFG0HWCfqAlyfgr4/+QV08tPhT+g3Xh0Mh1JKXTVHd54UcP8hEF7mISQdV3gA
lUg2Nd9IKWwoo3I7+jWqMJ0VJIHVQeETJtyCD6ovW18YThv0UpMhP5LbGuyBaS+a0MHXVX6Tpbuk
oftOu1KQPQV2A0ybVWdqCOrekfOtulcNhn/HlWfWfmc3av7eRBtWag0Onyupr4SIgOTAO4GFD+9H
msPNJEleB60wMuUrqDRX7SsjHnlq4rqJa7von9nUZmrU1HO1JEYSQBYhbiOdH06hmKS6wBWHIIUp
sjp0wDlFHdyi69iqm97DY0ktN7DL8uDg/uYHyRa+nc8tSUwtzp6ksHcKUXwNtcToq/Qj7Ltj3Ycb
TnOaArqndca69WTu3rl8RXZFVEJIScQpHHiSQUFJjLJGr3IJgUuQrWyELwEkrvjXOHZS3iPBn7xq
TBEKQPAX00MCh2ol02EIf1TFFoyUpmDrM+3kt0oVDlqpEadUGjm1lFQmn23K048mhyN9hBcX3L20
HjMINS2YOjF9ZgYwkNwwAZwpUlopOmZx0NtSwX/Z8rI1iK0uCQheIPpbmQaJa6Z8CeUyeJHy7Jmk
b3VStzsplhyulybzcNVNxOGNq4bEzQWpeglDaFJrYvY15tQZuwr6khapr3547JqnUj6GYWUwsIQo
7KGGnGTrQhMfL3olC09hacS+ZgkBLN4N4ntDlsLqIIXFIrzW0aHZlCEMW88xHUA1+wOzZT46CaAT
h1sSbFLi1oXXl8cKT+Ew9g2hKUwfck+9Ds28sNPZ2oQ2LbZuiDgsmynj9NCprqOd2OzYwWjEM4TF
E9FFIgoBOJW5tP0urABpkR2pNFDAViw4+QqGH9/ZcQ+viLQDSrJkzRK20MywTVi69yEakqKPAim0
kzqGFw2GjQMIKXlx6OJrgX2rvAwsLMYo/C2vktrs8vJvSv/2OHNiCXMM/r3osUmE9gKfbkeNxWe0
68AQU5CSML0ZiQRwPzaEzCe86ElphDjjXHHLxNPo3/KOzzdKxh4hNnJMSm5f8qVF4fK1GergueFU
O5BRTxwvMXdIQWzru7cxzrf4jKFDb5KBcE919+lotFq9HdgA+GvN6wRf29QZfxUG8QJPW+EGy/bK
TWGFy4QmI/TJViIoSuDwFmkG46EMQlbYGiIaWCW0nohe5KwhJs8CDc1+IDeIlHYD1jyENS1V7Jwe
2nGkhqqwG0Ww0ja1+hiGIaWd9uNzS0FQh9VbqzF4i+p9cGhek0HGpKbHtoOHLgM9qbBFqTwCvBwW
J0yARlZtMdgqUhLZSM9AGoUhTHfrOWKXymjmkmDkSoVFYumGo2bGW+zE9YLqS77LmCyAfumeUcwW
VRUWktEW3I/M6XdEuEL2u0yC2j2vOSSSNJuyVe4KIRDtmly80kI8Ffzg79Lg2nXHhv6tSanDebge
nJjeVKy6HKFaVJvgHeB0pHJuKA1rVMJWZtxIzXwzaw4jJFzViO6YMNmkKPYHbJwaZaTdfJgLmy1u
Q4GRr3xdwfqLiT1McOfQZI/KkxZYTa2XOwWR7ciidK2c2hoapmAuhcmZbXUmeQMyX9WucA5h2w9Z
8yWdAVzjLdEcdnDhoCHVOpGNOjG4D/yfdNyQ2ihgrKHqXGdwgDKiISDoLRT55ejQwYcn37GjHqSX
nDtF0LzKrBoJTEBtldvW/pkZv8IUFL3sk0sh3wHvCwVitXETPLVl6DIEjvBh8lQTCkHaOOedKvVC
NDpolTpqGyo2zOBNSYMDcC87Fe6rRuAhdh8bVVP2RgwFXkiUSrjSJETBScpxGwg3RPJogC3QAMmi
NwmthEDaasivxKyDBIVSGJLkhuxYG1leYISgrvc0U6IP7lpGdi9ZfgKun2zwU3sWeMvUERTFARkM
Atq9YnBypGPzWEElGkwOBEoEHlJw6iTeHJVaZ1RYKSr7CkY7aoAgOm7Sr2SEtgtoH5cCngwxjNA2
tRwbdQ6POpJ1r2LVHPsaLm9wVkDpY7CyZAcruZiHXBmc7Fqr4bxCsJjQogJ6xlC1qTGuqhlhF9Wg
WGDW3qP4UEGONkZa1IGDuc/GjRAjlxT/CiyUBkRzyA+EfUpHRs9RCag9Rba4Ci2W8gnSUY5U7QLR
DELwAmlzlvJD0VoVJLtEFAJgjJrC3qm+jucWAB9SX0DFzPwSznmZBXMRVbGaCO4C4tMwIB5lvS2D
el7xjVEPPQyrzYZ9U8kfBQ4VcLsf7OhvoyJIgEmbI04B8ALQLIztuE2uCQbP2xxnaeWtDJ6k3BOm
UKHL7T7PtuhGBelBHqwSYtuoUIt6rhhFgTj3yvTXdLzlSFrExmz9DQ9OW+NktavB+RM1vpcx2KL/
KOJwjOE7XKRsldd2mkz3eOXBt7dDJV/haquhKeIQGS7FIG0CrGgRsEcRWWhSRPWOwLYnK0u0o9Ce
M0Q6WtrYewTiI1bAVrhihvgIQ1A940KLyPK7+haWVpSN2LTEEGTeDapkCykqr50mHxVdtYvtBg6h
dIQrXm63CPQF1gKVm7rvPeh2GBxtzGw4JOjSt1Q5lbWh1V4S1ibfU2do2sygJd1JqAPIcNIWBXqk
9Y5nrr6QbCv+HdbK2eCDnV+3JyFiTqCcGBQCoVCZvDUKakqMJzOwP6WQmOw7Thd7g6hk3/VUQHjK
ZHh05uW24ZXc0MYBLyvO5YOXRkHJqBEVPKrYCo89PMpCXrGHtE8/xhYXPlEEk6Q2wMsQQ9ZyRwxk
exAbqDBVZjMKeoPqP4qW7F4pcH7jDS4BRQSJPB89cVBtPkNayctOSLtj372gX6xTsTJYaAeWaWfy
8GAcctEIpZ2WSMBlZ8NWGynsiSEpgostkq9FV9kgVsI/Em6yqAVoTAr7ZDZ8yXzFYfx3FiUDVNv0
UfM05QyXU0cLeBifTpsZRCA/E3X1XJaOlPpeoalfgxAIZkuYU5pt/IJ95wh8mCIstdRShy86zBgq
80812k6jo14BJJckVdeULQDfFK+QsXwbht7RSsg8tfdUe+PZez3exQHPOqtIziOsE7naHmDcAX13
fxNCsxJPAYOXyaXjhb8t+F0GCyMU6L41QKWlRxoV+7zVeF3ImI1cYMcypau09v8h6TyWW0eWIPpF
iIBpuC1h6SlvNgjpSoL3Hl//DuetZmLmGhFEV1dlZmWqdSCX2T9htl5iD1jo3mnFeiM8nnDWrjK8
uTCyHdvzC3lJ8bGtyvk0Gz2heNWQ7JN1OUwYbu9Y5n2cauVsDGsSavL0UXOHh+xe2kHdfSlb5lWZ
/bssZKzWmTMZr5lB+45kH5w9vRHtTiinUn7nGYPJVBJ+N+P4MrVuXyDfWscD3ey+jaRjpWRh0kQB
MaOv2PcdhZCCdabFmar0T7OxVI7JmtMJtTetT3k1adJ47QzyyamWqCTq6sLlfNRQF/fdacs+U/tD
1ikVFzO3k13Oga8mQj2JKMi9BpCp13tPaikl04LNDnT3sd8W4p1Zxdql9piclsEKu0i7NmZ30iHd
4qY8bovNChvDQBf5RZy5tVLx+Bo5FEMNUb6tpyUu/XRLHX19k4Xx2SyMaUp1LBUOFIhrpv9m/UdC
hzSUDYnxbAJ4ra5729hf1XRwZM1P1O8ertfSqidJeWwwT+nmFzJRT6UobssQs2lg8ScR+HMZ+RvU
fsXtvVhp2rS3vqs/Vs0O6z5/rZL5VQWfWdRbO56WKvkl94LsS5LPyMia1oh7Ef6mlFim20XNc0wy
psIb+DSQJcJZyL28uVBh69pT+2MOCa34qx2UxZPNOECvcT+7ojkMthoqFdll3P7tzFtCgvizObb7
NqXstrq7SihDla9ZfjZWd8zYHBLKr1qM7/r8w0voMo9RP5yoLL0uydwoX9yo/WeYxI1rv/XkbWZ7
Wmnk+jk9KZq8k4Zfw5J2CqnU1YtmPZSpW5o4kgN119hQLGCpWvWh6dnNjhSyiaR8v7JO0horNQ4K
da5d1XjfkuKwWvVLm6Ie6MtQlZ1SxtCaJZpCd037YNInav+y2KW2DvmnMHlITsoaRsaTG8Mm9UT6
HLFdW70nmmth4CFLJ0sOy28Ixk53YizDq49Ze9etPV3CtgR5D5KhHNKZHNQ+OZi2r7fc1IwpR30Z
b9tsnWMMM9g3kvvKlaB7h4GWFsPUyXAm3KyGHM9UeqLhZ9nIdiKlS3uP1iAjrKFjXTwtY0/NLqL9
MlhfsqaMYERGu8mXjXMOcosJJnljQ+635sGoL1TPjhtmyk4au5ryg4qx5ML5aQbXkgltJatQWK5t
fcZY6nQkY6t7HQ4y+lpfEoQJ7d1/uFR9c3tdWOnrC2cAdCJlRNk3HKj2Emm+Hp0tm4Aih0mnoeMb
JHc0L4NWUouOxYDb7WZfLLpgkbeegh8UgPDY5a6SjyQXUbLpsvsy3sdMXJqdezHTgppzrGU4tce1
AvQd3GaNzxjdBf3ARLEMB2lIfFvBMzO9AwkpIVGtFw+/EamiabH67VRT4+pd2gVTHHR6gRPkSyfw
2AlKxTOLiA/RHbMidutMozdOXUNernNt7vUYvl1oP3KMGVXZhVztN2kWvlT4EQ6Ly3vE/kZXFftV
9jTjUJd/JqVnqRg7PAW4NMr2KsrKncXaNkzOfmw/TbGfENfX61ff3ARbH9UOfmkg6YcKUOzovvPJ
K9Zd9UvSw66tjdey36vJZZDeSfcOpJncMguTAMzkePrW4JLjatlnpaAzio42V+1Us6SWNTU4Wa2n
P3drSKZl0xwfknqeP/RWXj5E1PZAldYoDpJU+9q8BFk1eOATrZMkuW+QDh0NTL4qK99Z/Wdx1uKq
w5B9FoeiWw5znAaqTXSEsd02RWVjKveHddpXSvezGUZ6pgV+tuW4CpGaODg2PQ9a89iW818cM7jB
Ye6iKDGDIakeG4v9qciyH+XVNnaLkTC9rBEpttJDra5OTxw1n8uV1/HbKqYkiCPlT7IUrx6jn3V+
zNvL1jvNp9b+gyMcWf1g5hldrXCKfwYGY9nUeet4b+DM4Vi/SSo5OLjRYVFnBXeyxWIiE+cmZcHP
MyXSslxl3q2Vpyz+UH/VKT/9TijPot8VjZOI+3rCnhMrai8tDpbi633sRJ1POBoQw1q+409JI1gh
+XUH+aiA2DUtYfB78gZs+1bWrEv/Gd/KVbxqH9LqE+6tBMroKobb9H6RPo3ZedR7B+ZYvw1c1nrs
AlawyYovdpIEeX3p+K8FH28Bbdv1xXnM9hXWm5NTZUGL46V91bLAIDwbUXFlei2RzEzB8UGi0alf
DEylosepVb2x3E35v9TwI1Tnyl6cNZSI9Ybb4reZ5bsigvJ8bdla68NMO5Zls8+MgBB4Vl3n4TsZ
XTXdR9mvlHxF23M8/Jvybd8ofocbVeMy+lXAhHGHSfCORNq+9ezmWpsb5RQ5WwwGlh9o5Lam9jPr
y56yS6HjKWzwyzgeOkEHDXm5onKWjFcj3+dPWhMzgT62mcddsmauWmGBlSVn1MRB2ycnYZ2Mq96c
2CK3MNJBNtO49j9papmyvdh8LUEmqms/7ZWNRPgcqh7bsNZgDj922YE2QWJtXybngKVK+6W0943+
nigsIBbzoyH+mRj0ZgBMhNTPFLPqXXRkO0qGJ9pTWbmJ/NOr2P1W3zb6ufKvmW467L/GbnntYfSp
6AAcZ7X8AGcakmvU7Fv9qcrPnX6q2Z5HAl6yPY+4SZY8Lr212yvqnoZgq3+qyCvILS9K1wS0Gzzs
UHcqWFW2DPc1RBzhk8lwkz+upIiowUW8VL2gzPqjBNBCBvF4ph1p2DL7R4/ntk2oYMn2VtY765tL
pX+tf/XWj9vnwtgLdvLJuSdWZ2CzA0vjQbOna1TWDySY7rSGh0lQvfxoRwEBlon1wmcx64fqSSSv
8XLFa1jaXjqNziZJnSytLs3AHM9QbSQlUqYxMGQ+3HaO3ippY2WaxCR9L/CKyxuQm2NhF4FZZZx4
LAJtV0lu0kHgIV3hHH4q2/rV4JYsaMLUhGG2eNXrW7zu6vIhGnjlzwbjTCX4BpAEygL7Z3I3Vye2
bmv+ZG8bbd8ZZn3qrsjVdqZ5Wutbpb200UWnoa1hwQpfi9xJDcvimLJnPWqAh7kPbpVV+/6xpg5i
ztyrvLLMNU9N5ZvG57gdSgmMN2g/+zycWfw1vzQicmQuTdYGl08+l5kEs0w8u/KvEiHg5q6oD3rq
Y8JCBIlt+uMvp0yyvUGEMKAzHch2S82Xpvodiy+j7R/A21EhaP2pGRyR892987NW2ceidbu2gzI0
HxGL2nx9vS2HCVhEUz8s5ceaXjYcQuL3vop3pfaQRUHFPB7vTPtFLC6wm33JOnAwLdCqPeosx6RS
TQxigEAF+Sfmm9IeDWRHeXKcaGWpI4bT9bzvp4x7fzQY5xVqyia5QEO0FF21pwNiWE45j4QP8S5E
CxvVO5zZQb1sFtlsP+Kui79E/W8u3vvOEewUYUJjX6u6crDoNcBKlGNfg6MYV0QMU0WoUWBmN2an
SuXaNIqdqb1atBWRU2+OjCK2f2jxkiy5PP5y/abVt7JwjDiItR/dLlzdeM5jp8j2SReMIoTk4Bqe
TGcmzqF5wTc4K7Atk85r9dSTpd1cxuyW9G96BYB77KXZm9gZyIrPxd5r8h8dXSvFjkGXotLHJMd8
Y4Utd6UFDY7TtqRi7CreeboXmX5kl3TWfo7E01DH8Cd8PoxaiGXVd/3PXIeclCZxsy6wsrDraF6e
+1ba9fFvZByN6LAhgk1cswimnzajVcPBiTV93UteF3J4F1ftr+wN0wv2DHjqsw3iftKIQbYYUQCX
ZM5yyhUYGKAkUrZv48ItutfcIA29hPA4ZiNNo7mX+q/NMh0jPZT4Hfa1I5thhcSZpA2V6zQwL/ni
CfV1+9XSN5VIdYnh9y1iTZ66bFSOXPLtkx/lxpVrUrHKM1ISSf/pgVufV2GBbe/Ke5gNdbQgGHfw
JRYmSXGCEVh+FuENR9zIVwUJEPDiMzeQGeFgp4aq8S9f3rtbzcWShCm+LbRp0a9RvM0ogYGyCkqt
cLQhctHoTAbtObAj+Mdu7vcraknd/Ii1cy9wzMn9OeEhLS/qfORNKFowQkdjHa917f4iD0g7AXtd
VbylgA/mbVpc3J805kjlVYLvFiDJUmu40wIkhhjD3Jntbx1dZmyl7b34MMBzEtrmcLWuNbla486w
8B14naXaRfe429afOx74gezXlE/y8rAgKWL0b+pg7b0m8+XZqSU36r1+2GNbLaef1rTPs8pdZpgw
eXzQpmi3mVYQx/jM9w/Vwglj/NRJNkCld82ax3jyuiZs50P30hICisP8H7NnhBRSvMWoFS0vehoR
lH+Yf2PuJopTyzjUh6q9Y8vHmsPpMMAfjJ7KHf2rZQfltxQ492MmGEfCG+NPa3hflAfxrGFDoE4P
/bu2BjU/keZt6wZU+VjFSkgPQmKZwxQfpZ+bJjsaki3ME/TK3HMlg8swLfAcgvwO2VF6r7H+paRU
Sm8oj4D1tvqbxG7Rf6dFANJKQra1vCjSse/cfAkjOWDgM/5EbjrdRyZ+mvELkJfI6F32qdJSP+WV
xUvW3DUNWh2UIO/FJVrafWec4bF3xXoS3LrSCArrNxr44ELE7NeIA4D1IP/V9SOjRGGEIq537XLU
a67phbl1b+b/WuVH0x/v+D9GUFQ2tbz9ByzdXzmxy05pEmIdYzt6HcIPoOKSAYaS7dvI9jJJzPJL
wVc+85s3FqTzJ/DmHVyrGT3JT/AmPdnMxhK0y4tePGW8U0mDmThWtfOj2A/NpdECc3WjxQctQRBG
GAAm3CXqRmYZThf+RkEn71vF530zl8+RayE+DbpnRs4YB1FTuUTC1vPTlmB5cLTbJ6Di+d8Yt079
LsQTX7vcuwVO5UYwdT5Q9czKw/dmHLOIWAMihjErbGlqpJZvbX3VoWfS11763TpH5cUxV3iP4z2I
QNx1bI4dl47WeLZSu2P5g9uDGXvZbeveNAG+onATYr3/jleclId00c3qTeilJK7/oBNIAMhu7r6J
r7X1Y6EHWR4WimPTuxKRY+EuNgSWRY32C0ZfqhCx6VIZ5mPA0TRKH4RbIp8POKnwZfs1+VoHJvUS
bkp1piTUzYuCzE89D21oq/9m/uO2n8x9k+8q6S1qXpqvSo0OUfYCc3IfeuwRkX6HzVf/3p8FkH63
aI5WPHTGUZm4zBXWll/s6G1JEIXUDl8CvZpCo73pbgYlRiXu6ZwNGPJpJ093A6TUzWu03fzT3uio
mmexlMfFYGgT/sy7lbOGupOeDZYdyl+hKR+1wu5tAZa3QGSwXdWpGjfHca3cwWjO5v+vdxIbahKg
1nl2ElKa6vpLkH/A5orxYLbquwQAsZP08c5h16XTd7D2XEMWyLNe5qBEpNXE/XOntYd+TfZqVTvG
2IRdE/3JWfNpT9a3pKZBC7W8y43UEX1o5LlfzsIzLU81Ji6WXRX7gmn2hpAJAenOUtw6+VGTbxU1
gnqMrIARnLDBTtsrzfEOwyWubPxB2Zc/pNCHqYbpNjt79bV9GtvYG9e/cdJcFCg9FxeYcyj4k2XN
UzZtDJahTRzs2/xJ9zrF3yy/gmrRx/RvMQ4q1MlijR+V8BjG294R1nzOWzyYh+m4DhziEkxMZb0G
kFpNL/Wj3X/EuuxnM7Zube7HZv4ABODn4z2+S32cpvtgD1C7EJHbdPc+Wcbenyto6RYvbimvzXYG
U4u26UOxnlIte6ijfcav1nXpUUhPeIt2OdcERve3JDlzb86rv9n0WCf9L55/Z5TWMQjAjgYfCwrT
VcRxRrqo4ZYV46jlUGrvTS/M8HBHH1aA7+E2x2E1HVaQWMgqqAQtfrAr+At4nr2uHDcDyF31mpwq
uB3qFZhov22wcWdu4XR0LMMXy1OF33a3iwyvZkEzIsUkmOR+X6+X+sdEc5Wb0w1wGZRimm7SeJAe
t+FEnAU7lJP5oVsxT9ct1KA0Q7uJ0Tb8Glil1Ff1adH2ZY53356Qu11ObCNVbxp9Bm7RPQv7EbUL
dtLICST1SeXVp0/mO5qFu8THjC5DpkHAr8XCSg3CKMZIigy+iV8IeN1/F+bHOIemul9xKiKua/mZ
0ASWEHjXiVouRrq10suhiaMFv3EtCfvpWmavtnFe50sOywrQqx/EgN4OcLe9hwAurV+MKWj/O9Y4
sCdPNHm0KAr+jC/Tem2Vp+HP/ilSYzemnhH9axYArDR9WozxQ+FmWPnNY/JWN18FSjB7Pk4k+Qln
Tn1IUW1wJda7hsmxTu2k0Ep85HSPtJGFD36nLTs7tEmqiq5FHhTVkz2dusmTiqsMtzzmRxLYLc16
W99bUM9fmVkb3DNofuroV7ec3GboR6ucyw7PXdYv2+LqPO/FwTnXcFZB4+pUr+lMWpJSekn60bRn
+dvi14y5t5Q/Uf064ugq8hsjICQk7JEQ563O3EFwf7Ix2CuHuO6PooMDxJEIirGU99vEJAFyDNTn
c5YHeqezUbzmG3Q6cpYRcUDR+4LHW7xhfbOI9djSx6mGaw+nTbkWrbPMmD4HGG344hiZ94hT4a3t
xyLD8ztC+13vcgoUNbbH9KEhW2lpNu7zTa7SWKAiKZwaxI+WAaWPzaJv9tE/K4wmjTNo4bJ52qN9
m7rX9i2zHd4HQFDACiWG3JL+iuoTV7Km9O2PikZTee+AWeIslCvbXatdjEK2dDVz1ySyq97SCjrc
vfduH+vqR1HIJpBsfbfkrV5Bz1mxhim62lwHtcJDnwMxHJqRicYm+0M9tuM3K7knE89vsfkSNOb2
HU2oJarn+UO6O8EMJwmVRteQYjv4KUVD3i+MSvWG0d851lDF3u8ZWAW18aLxvMWXfP1o0/c48Wz5
U4aiS8WbkduBflpkbzHgHo8FCLwN/UNwh5waL7Yif4+ldIxbbpoIo8dXC2xfat6NjDLrJiS6Y4I+
fWGZn+Qus0aFytA6rToWVwZfDkJ98btEhzKTAhn+Oon28swDyp7GqfXtMg9aEw4H4m67NmjpYghQ
hNjTqYmoE7FrcLSb+l+WXFKQ6Th2OkQkcRdaXemspLMxMCTdty49a+WMOGhGk8+6JyckNmnekT5W
iZ9tFT0EuLbBLdUanpnP3qqjxyligActvw7FvGsU8zzC6OPvLDma+jDGT0RMwnXHNgKpHf32ZHaM
9/lj0uAIMBV6hwYKxERtwtwg3MZiCi8LP2FWhHkGMRnerObLUgLeS4ZxIEVpPnf1V2HzTqQALnSn
VlJfFEt1KutB6t37o54exHAt+Qvj4os/zcyQMVoPhfiJGtyy3zIZeb7CAK4+S8TsJrq/bAM2Rwy7
9MkRqnBKRRkqfyqgvZ34ICPtuiGHjFThVsab1PBQjg2lcPuq7e8+ju+/5cj7n6GKMWLGhLMw6btT
RxWP85Kg/Co/uLItBTjRNHYTEu3SzD97Awi1WPC0eQMHYU0HARnEwLvcn6rkr4eHX5l2p79N9O5/
QpXrpl9GqPWYGa2lJsqW9V7TEqXd+1TkB81Ck5VkB5UfPLbMI7GYx3JRnkY8CeZDJZ6j/CbQMsbR
q9zPvbvZynUcpsjr1Hu3WX8kRRaUR2n5sBXwa4RuzshHGV9T+1FVJ38pDv0GTxU9VDGIkvYwxIda
hTl8VKRQt7zNjlxj+u1qL4FdMcw94a50u3q1T6WXVJ3otP8Z9bcAYkqHvS6gW3ZZR+JkBfKe4whb
Pg7zcMlK9bEQYNXElyXlQcdGsfwnOuQSwyrDOpcwndvX3HORJvYTNtacuaX7Npb0RbLh2ptN9ytl
gn9C+ah19b4dOeHDqFPXzH/jAFLCDazMkhWOufUVJeuBnL7neDws6ouJrLhmhSBt33QpfugBtTsG
jNSUpnMKuw+cZslOlULs5jQtvq7Jid+o+qNpxOmTJhAItTE9fbXVe2HHT7VJeI9AOFr/U+PcU3Vt
L7WoGcvtbZPvEBAlJ5ZtdP+XIoHJRQglorsykLlR2N1baROlJ1nTQcwTuwD4qu1EpYajnUROm5m5
M8rtFCSD+I47M/ZhQlEtrMnZihCQCG0iO1Shu6+ukeQPRSgUm/02l72DWZtfJe73SL+t0zPjZ5cd
bYvdiTZ1KxRJ1bduCNckCGHb6R3jVI6ZvsUmjNPFf6n0qBFSxBDKqoytzQ9ENEHCKQgbcoUds2XQ
iAls68fCko6tIs2OJWmeji+HykG1XWt4GvXUVapw1b50C/5LDYqBt0H96hZG/BI1RVPBlcBZWneC
DhfiWnNMjIy2pr10SfNmGAqR2xNMlOohZheHTNGvE8abwAQrXawFhEXoMW1wmBpwBdqHSPCoTJJp
3/XlaZpHAasVwXZhMJxYQdvKfJkszDmmVUZOJPVi17VC8ZKY523a0CSjmq0uBM+5r7pbqdqORRWR
luai9Z92Zh1KjEbaaaxJcNLdxUaHqmvNjy6dzLrcp/HIbtyYgu+XgRxd9cnPSEGxWcvSyIFfpatm
YWiLU0B1yTQaZ4cu0lRCQig0boslPrOnlNJ1ruXLahykzlftQ60H8fI0WUdBminrAZy2oRkeeK1j
fyCwAzpLbGD1mQQeqaEBU5BmKV62aOD+ivlCQjDXfIVJU7p99kt3AF9hGq0Hp+yeG1IzYqabK/S2
ZB5F8mjoXo/VRO/aKTgTRG/KzTIyWRRbyARgsyDFSqtleSMbDZqH/MGvMbAdV9PVYj5us49baz+u
iT+iQBhVBsv2NZm9dhzDttD2rRgE3BstU4bmENEz9fe1fayBU0frn0ndpvkdpq9isDGs0T6a7gfg
LOqqyxCnF6UOC3U+bfavsAC7SyaUTj2seu+vBs+hkfZW8q0JQlskl/Uz3KIOhdI3jl3JX7IdEPno
dg3yF7uLvrqqJUAnixCRoMZbFOFKtfGVmspG50MwYD++DYocqlnytEa5E7UWaXfC0aMUJUQtocOd
+jXoOxO7z6Ue7Z+pa2RvlFfLlZQ49RQ9+lVq9Kgcam3sCZRsBmTDmUzeQqlrNf8D+iBpuMm3UkbS
2ZMIZsb2EQm25sIAcjr6sfTzLAvH1j4mywKTR/gNKqYZQr5eYrCxRl+cpK99oLa6FkjOJuAba6qy
Y7a04FLJrWWprQUeGfPqLEHGaZMSbigRl7H+mBXbT638ijz3kqfZQ3RfUNTAnUba+429lRLVjWEY
sieP1egbzV0hdln0oywy63FD2lnPhu1Xd9EuOndnTrDJj5K9Me02qwxtpP46DZVgOsnYTapRKWhP
A0e+hV6Kyo6WbZA9Y/qatk/Rhipzp4acrENpk9CesKMnubHx2KuXxbTpdRqXZOtI1XfqwI/41zdY
/0XGKUeB0NEoVyZduvGVSy0TjGS4S/lWNfmLYq3GdYXmBksoGM3v6m0l19xiuprNzUhepQ6U+iBX
9f3AVSm+k6Xx3Ri8aNo7mhZ/zFlHk1EQJ1r71yDlz53Jek/jONBSyIoWFC6Xhe2sg7UnNojkpb8e
T5h+ocexn5BwdNN1qn7y6DuZgDs5wtb6i8hgpsMuM/bxB1CKVVa8zvC30e/ZjpBvkwjM6CFSLlo0
JLeczU0NFeKTvmw/aTPNh6x/tYpgKIxfvUyJWZkCHbkYWX4+SvlauxozuQFTAbHiDo2TD8+poToG
/rDm7BSocXNtCIe78g6/a7Qhi43m1/LSoQBiuNXteU0QPKFetdQSlr90jaQLjQQltoe9nbmS5MDb
tZsxl7o3tRX8hAyzJ4V2IbE8+c7li+wECVeHCkRm6m4+U5z9SoXyKryumi/bvE+jo2pdez1zYkpM
Pr1O3SOkE9TyXEKk+nYF8obo1GYt15EU3Z9krjUYmmTKPycpueZ046I7LtLnONs+RfshFa0vzS9C
E1ivzuwmaG6VS/qDTq9XFsgZpp5KWzzEhqWHQ7fhAUL779XRCG+qPPDnT2riIGKiQebQ1vlwSpnE
ynI7xwpO3eAUGiDQMGXQquvVKoy7ikkJSjks6q9txfFjEU63qY6ifAxRfbCXgs/BFmz+ZZpop/iN
/R0OhIdU/soRAaza70ww+YFdjVorUhcwfFsNVk5BOortYJNfrW5u2SQQJBh5l1Y8oytg7M2k39Iy
UJCibkRon2ZBEvsN/jA1AHaehlOzWsx3+9aabou8st0y9WmDqSqEdlVAXIuB8bPFEMXoVzAHzZ+m
v6Q1rUeUAe1uSqrxNiYg+pT9BV4rTpTVlWX2PGyAquwkj1nrTI14NZGhsOBRG/qtqbQgZc/l0LGV
zOKKVIVWSZyjROM9rhYHdkNEuahR4t4dnd6bBt/fdXvLt0lCvBEqg1xxAYKOdOkQqPF5IcmpMYW1
a9XsWklegUBkrDGY0zTGRVOCWZAtth6LLlQnCUnrAgZII/YwSvFTPBXuumjWaVjWr0UCN9R0uXMt
FfVwbdqPrUJ0mr08grjm3Vt3n5R7Nf6rbVzmU+Wm0YiKZs6d2jZvag+rXFzV6BmVeuHl2WdL4Mjy
NnZcmk37FFkPGgbW6AlHmSQB63XJ/0UMX137lswfCsUtsZ4H423RQXWVFxnQMLsrgt4yAVms8fe4
vDYXe2Z3IEra9mSukEyRXiihmSbqV8S2aglxGm9wcnUUuTbNlTz52n24GyHOo621QVLN/dzl4mvY
Wm9WWxaao+clnUItMt0yX5Rn2fqJRsnhWtDbNH1FIkUug4Ego9MaE0XwLH13cswGSvbV9+VvvCWg
ZG/N1u/bLHqVgBfk8TldgGQTA8FNrxd5mJiLyvFB1VvLbsnrt6MOWbqpsAgQn4QRFvK/NSFk0NLQ
FWv/ytQ6A16MmyVDJ9ObsJaD9I06rtcUTDOoqj+tMiAYByyJFmU8ykuiYBb8r57fjJE9ITB5IWzu
uzzo1zI0QPHi8avGJX1MntnEQu6OCnHicVMe5pdxRhoq5IppJXN1EBV1gx0yRRoOtNEg6GBT8/3T
ZJ1ftQ/QsgWTvG199Kb8GFf2Z9mUNNDgl8ZaSmgL7uYOiB6DsuxeB4P2DsAtM6YzhsSZ5KMbj4cl
MFmIQsEsIEQst+uYdrrsLlMnImOXSNAbENqlhupFN5B/N5kevQP8UsDaX0Ntvie+WXQcSoJ0FLO9
/IaRMTCJ9CiNF4tYGqdnvnDX9g1fR9QsWuyUMygnbskja13KSJ1kmCtr/aHkn0q+ecM07EcZEchm
HUk53bFWvCiIWjrLKYY0SKOVHGPgGeltjfnGWuXcmCcgyHM3AXxbxk2J6xD5dBnP3ftCjmw11uwP
oVbD4dkc+PcK9oNhed0CYaLi6zhYOtaGzd8cAeTVi/0+5h3Uc8LULbHhXBoCXEY0PssJCx6nF2Tt
7b4vbCvc7Bb4NRGnKgPtoxeS3bi227M2ojSzlA6xsXyIVJrhrHezTGeqi3kLe3miL2UTpdfRpic2
bKGIHozZAEAy9YtkWk9m3jpKdKnX7mTQ0WtW4vcWYLHlUMaOuU2/AgEW929tjjhlXsJaaFdCAaHu
XuAhV3Ysgnn+VVvzWGa2Jyy+Yfgv/r5n0N2unMN4avcpP5bSo+GfXmpl9vXsk8IfrnV5TG0zjPqA
4TgZz/pLhGanacj2RrXS14oTge1u5uQgwz4k0UfUUR15URDXJOl2amLdH2C3xbIAxVovDRZx9Uwq
jXEzkHqzbg31LDvt9itQag3RuG+rT5ssJuwf7p3TjDau+rH/x9l5LcetXev6VVzrHt7ImDi17YvO
gR2YSd2gSIpCzhlPfz7I3sda2Gr2qVXlGy9JjTTDmONP9bOk39fWd3hgnv/mygAp8NjqhS+9tfh0
66bNo9LRKIiOCPtFmzWIyALY42ButPhD/awFr057pjxNK3pYGbMY0oVkreRKulfTYmN72qrAPn7e
j1iM1rlbTulrTcCA79NNIz23ebg2cbK1/b3aPWWIkdSGXDddngu/HGEOU4mKedRINCPHSd+ysAcY
ttQfttF6G111tqFhffPIt23yaN1ZOrHiCN4ShDcxhDw1NGGZQUwwlb1PHaQj3nRK91A2923rr7Me
6Z+Z7TQkBIgClxgqjjr4WudNSQ1gJ7QrS59xRm6Qz6d0yzgmuUa3C2F7GHTpYu++MN8l/142F+iL
oK+99uq7mn1Y4PJKjqtr/ZomAxrQoP3ouxRtfZa8KmlwznxMbEutOiud9egNMv4F8TDP7H4vRfvM
xmKuJN1ObBW6YgGnyvE9uB63aSFBLPhOCFpk1/sOKYn9eE/vmLnF6pla4dpNoZ+HQJmHOjt7zj2H
GS8FFN7H7iibXOV1sKyM4MOgcdre99Ij9b6fO+fGALrqMACQ3RaytVNx3qAlz/l/V4XwwI22vZWh
pA4wbe2+2VQcToTwo5kqkqOa94vBiHe9Z6h35GXBidUqNJN+1S1FDQNXUVzW7khZZ0b/oQrrPVHf
rOg8iHoeFRIEF7WEkhXb7lEY3RsM9jS0l40DidzpZLrK6VgdpU78qBR08zkCL9ygqhkXyYiEj+4O
VDZd1nPWxXZDS4Cyes7EmWttZLFSCkIWfdilyZG8nFWlFnOL2Yw3vi60fRgDLlfC2XWhdq8H3io0
tIVrdwgx1lmwViSYpVDba32hFuskOErCuUMMUfkfbWvduv2L4X5H6guUzynUNKSF6t0pxm0gaeeS
PnthZUepk+emLlapKZt3VhfChPIsbcUhDgOnuF0hRfzmt6iuWhzaYhHob5YT4jbb5ISBRu2/ynUp
glSqhBxPRC4BnOVIgeua72R0q8GDc4RgskuehXiD+TdoHxlggQbloVl0EjUMC0r2JMzhgTPT1mTX
SRSwEduVjw0iKKl674bwaEX7PgfpcNOFn0RIKyxIQ/0m7Pq1J9yjBNcg74KDEWQ71TXQyHTGqs5U
dYH+ZxkZOV0neZc7dA38zHsqQnmpw2hDYUtsPIzhtFxVcXt0S2fuAq+kQw8vfwgWmrAWUdrCoStz
5S0bbNOjtYLFq/RcWsW8tllRNyQ40LjeqpDbWtIATNRqi8ilSXvS2lcW3lp5Fv1Wd/hoc2SWFPt3
g4d9C6z1OwrszL1nfOj2LXxuUW5tjsyOeMgSEzTmfjBXXXpTUUkoOU0DvVq3wrlnfiUydnrSZwpJ
XuvCeaHXzJIog5hoZ1ClgkxaKJqo5r5b8oKVJN5FZYsXHU3eIFgUnNxdf5GD1+Rtu7My847wrWxR
GultWd733lrTFrqv7TM6xIr2WOUpJbTLQWCZRo42y3MkaelKBnXVRDePRvclTitacgq6GuH4M5K2
rS0na1cJ1fWgDB+deddSm2XD2Za+x90zcDhH9FERSigOxryGGOZOGqyAa6PegLcpdjnMB1FuZE95
b8oMknG862jEqMlONN9dbYB+7n9YakQvXGLvs/EFe6pS/9BhAk4gnXj3Bg5rjjbsdRD8gVqi7k7o
Xeii9Muejbw/SUzsRjaQIigzv+5ekAxV9ndf+6GYm6Esz7FxAskEJu7RG0v50SuShYYiPzCKQzSc
Cz1ak/m6LMCOtPi2SF6t4Kkv2AfRmot91MJlL6CLa8cCb6qwEDQpR7xilVpIp/xFNLIQwWcNilZY
aOVgHQrph4ZlboRu2CyQwYwkpdrP0OaLJQoiD1+6stqQMzSPfW8JxNuTmKiiuF1BflZNMXebZpEO
R91M+Msgcg6AiM/eKuW0FiGiIklMok2f3cTqjUp9I6+rYYdnLI392YAPktUhaB2eRuDLXabZFoWu
T1fS2NIw0vV11Zzyeh7T5nLvdXeZJxTZsLP1z3zMxqIxIsJHCXYHPAmYSt4NZPJZqL0Lzs+gCfCr
pAbgtUChKx1rDyoK8bchZDybQ7mq8Y1AB/wTiKZksL3CrMideO6Xyart25usBNw4+PW+7F97fRGY
xlwN91VwW3YHE8Ko6p8yWWJoeuFrFutbSwje3oednQsp2ZkWKG9hw8pEGim9U3ZsOZbT7kOoTR9p
WUbeYqjELrVtYgERbnHETStw7c54kvUfRpzA6zJ3vjs8BvmbrdQxuhWkDnmrLFCnLnq1gv4QrqUA
gqzYu+MT1e8c0/ny8KXoTiP9q3VnmVTZo9zUNz5wTG1hHF3spcZFJiYtvcJ9cINxVPi3hu3vct60
6igrUJe5VtTbSjsIuTdwRKWEDdyStL9wI1flEbExxd2DcNMXhBoQAAAEVsSwLQN164QYJTcGpJJ+
SBZ9824YGu2imvaAm63xxaKfWnDyb2ucyq25avdbRe77Rd7qWHImN2kQ4cziUYUlTUV3xWzcbuWI
iqy1nGNv3tXrgYQwLSxQd9J5qrvy0S9SZnvpyiTcGXis6JWqnl1JMR9H3z55YXK+X7iNUW9thcaB
a9NL0G14m6KDJooECkmK1D/nwwlqZ6i8hEU6H0qcCuDD52DPrxZbe+fe54BABsIJu1g5QfGmV+fC
RCzRowdru/gzKRE796VDjVrD7FfyJ4vI4SKuKb/a6sPT1JsiV3Zi9ILI4nOGd5GZCn+TNrcFjWMw
tUEJZy5NMAFwbClsi0hmOsNY5eZ3wo3wOQq6rdN+ukiUbY8DnOfc2g1lUiL67JQUkNTQ1zecPMmf
NdD2tcrJGU+PGVCIJr9GivGC9ZGU1ts4Cl41Fz1uEvd3FlkC93RNN5SelU7Pqzm3EcQnBVXDsmSu
FfWdwK4H2r7vffTVVvWlpawuhVVvQVfWGUZPWRTfe/hlUTcNUNXwFqREJ5kBdl+vf3PDUxwvXOjZ
sEL9HnZDf/ZxNZ9RZ+MfAPXXk6xzPAxzrXXmQbn0yvJDrbI1c2nRlN6+5uSkhdLcAH20IqDr3Fmr
dIa87l7vKczMe0HXdVE6/TC34ogSG3csKW5+xOOA81fElq018wbCTu7ctzqhjCJfZ2N5Qdctz74h
+a3blfBRs5FPZdIj51mRHuTqChKRSEGp8TNKrZMMhy/gfKGEmDmb6I+dousoJZC8oV/0/GgxJAn7
+FAerVYaNZG3dHfS4CHPVwhv0eKffcDQntPbI3xR/ANknrpzVXRjNBlWbvwg6qXT3yl4skhbpiWS
1sxeFdK3toJYE6xqY94V3+B9u+T7ynels/Pah17ZNs4mdKVF55+d4CaCe2ovOvU+yld9+z2Jl3by
5oPKm998A3DqqQJF9V891or2SY6WFiFU7UGlwSkl2NMknGeHkvN9fO5iOuZCGUme/o1rUdicQhYN
u7k1jUXSHdXmKdHvRWOeJNf4lrF3RuJIDbyQmyPQZCnXj7m3q+1njWI5ow8eNU66LG3TOYm6nasl
H81H41GriMA4rBD5p7e1dbJzzA5LWPZpZOl7bRTV5rnA8hNYfF7gcR4rJZVoeSS0cdENAUvUENNj
jLVTVcDG0tJ+U0sCJCotd46VsizUvbpuIGDNc2RXSvycyx9R0K9ztCR9RkpvMQwY4DQ+f8nY95qz
VYJiW2T5JpJQS0XSWkEEIHCEiW+8MQ+mW3rDd0/MhROc5LSyaTGbu0yROXkosKfpam5tQP+Stl7W
vnohQfaJSgFjgm0oa8227puUKh468L4wKIh65Hh5/A3fuRtP5hCdogkOvNvGSlh++7XAI6eL15V5
0tSTqm0FLSEQSNm6iTiql/1BGMrMyPNip1ueswg84wVsAsMRYO7Cw0IKYNHjizeK/uGqYhOg8QoH
EO0QBj4oh9doTHFtZqposjDIkoP3WMB69YBmelVf077NdIpaMewKLTzEWnnv61B+pehRcv29AzfD
kNyjUfraTGSI0KpgYwtvow4IInBY69J+gdVGAwCY3OL9M9OKpyxAz9AuU+nGqbGM7mNjno3yoxCU
+LZmqDYsrtqoVDZDFro8N2F3m5rGc1Z3dLeB5tOZw2nRUzvEAn4Zz+pcfpFy51UKgIVBpkwTtwPP
+G6yWRfRUoGYb5fbzl+ZPuWK1/9wg2Cf2DDYESpQQRkpTbp+ZHYm69qulxY0Nk9Jlo5567n+oYKb
Y8h0Kcb6PEKBm5j2TikwdXpQLWzkLLhAIY1dkLUqXwRo4skwN1AXltKTqxYLG2SgijwIG7cudwSt
OzDyxTCA7Sb999yGBiIByWD60vQIokR8Y9E1LCCY1j6UIliBMw08MI6SZannd06anMzIOxP/vO1i
cc7qQ9BiqlTXnxBpAmkjpJMbGgssN14Ux9s7sSnPQw9xAlU+MKQ9o4d1CB04TkEHofhrOypl9Lr6
jRmgOTG8C91kiC27RW4zk+fvwzOC59lomXjbztAMXrFMvGBHPc0IzsKgMWTVgMGnrzzpIavuKufp
ygOMN/qbBzAmPuq57sl9pKnKXpbbbCSIqsWhV70AKqIBOqT0Wf5ahy3SWKMwqOg9MNfP2hXASvrg
wT64ch8XXL2macJhpSZFY8POGbrjaJ8boWcHAlwNC/hd6JTUZR7NyUsH83SkQ0C/Qb5yaevSK5hY
IBeVZg6mxc7Q6Rjr4t1luo6MIK9b0suDLX0fEs8JdoO8Nq6jfaNtW2Vr1m9dhdFByQCT8nVlo1VE
DeJXL3mkLgPJ/s4uVnob5i+NuYS3ac5yeg96easa/VztqdRsHiq/8/rnhGW4fNNyZePD/5BtROaB
a7557SN7KOInJJlzgcLMyTqiJ+pNYEi7SC+h1+P8PtRUtAjnGdgaWvx4ZroPJJJYBQ5nOTP7TW6Q
VSabvC42SljtEk+Ci6QT0kpV+D3ifKDmO5X/1kUo7zRQ3K8/qTa+v98NrfFT/5LZ0GRhlMaJPBDE
6N2cFvHOOadrf/a+eCo3YTWT11BL5NmzNEdaB1d2tmtn9/VCzGhOz931D3f+gQbpIMOFXn59R6p5
aZRNzFU9IamlZLnajas2GzyqZDgeUv6CxfxLYamzzNZoT7pLWncjCAarFdaoH7QolDTqcuwbQS+i
iupsVwNXNZSemxzD+/egfPapzWMcTY1z7p1tJdpYML1rF9f1HpSpxcBUNtQjNNdz+yFnj5Gx734Y
/XgBC8OuYRMnd4H2JOGSmC1hs7gn2cO1aqQHHNVWIHB6buDnJeYOvateL6E73pI4vbTu6UoP3mNv
rGTsMULsQg8SBU29sCgBQaAZUjv3tVJghEMHQpy4HHQ016ukpeW9xqDwbpRT0qf90VpwXZAezkl2
kQ/aBxZ02bmt3zTWZfYuBkcc7iMAnyE7gbl2GTp/aQchsxDdrMXErJk5eEEl9D/oKrVP1jPwraHd
aGxj1It1swG6QPBWtlsT36A6PI4uXbH20GGmC41M/V5mTALOwA50AnLHBvgS7buhw0f26pUfD0ck
iuwwnqfOZNlkoLvnqHDRBOlPkaqf/eDgpnBi7FMM/RBDgoAWUbms+m2p6vA474V6rJ1Pwmyq7qR1
+dLI34dkj6QIpPqpQINlEuyRMUExUkIVo9DJUu9DppSS3xe6X+O8Le7VrDkXdfKuhtbC5syjsOXH
CWc8fOrwhuj3oWHPOUn4xbLDKYDDJhXcTATvqkMiepetPDBWsq4zdxM7b6V8TCikObZnusC7Fusr
FTcTaE2bMGLV0Y7sYQPdeQ3qbcJdhe0adim0vCHAxySjSNQISdOee8QAKLaC8rHod3WyV2EYFHCd
4dDlAbJvP2D9NOofAtM2R0buqLdzIqnNgW4AQXloGKzuXOuHOL7FBUZxt7aJRY6/pFRsSXQv0aGF
KOPc11L1X4TnPYXJJpHndvYYVrdZoi6Uxr2TqPvipkHyTBRYIuZejbKk1Lx1l4YzyM8ZFMg6Tu+/
ns/WhY3RmFjxMkQaYfcZlE7cWJCp4NwoNW9+SZ0LW7GByGqC+HkUbEOk3Er6KVZQfeMcCQ7eesUM
kkunoTwM6XlEzqHNrR+SDr85rkYxxltGi0vmWEkd32C37t1CPMYgYe9BaEZbEdYQGM1iDo8zt6hm
mB7hVilL4JpDK+2q6CCJXRPvbFOBXvEQgbhFkGOi8jbrN31QnhsaQpFNqz6rq3VE43ZmeN6t4dsf
qWPMU/G9dPYOdB8Zen9c3dMTXmZVdxt27bvmNBu96+ca+vkuwi5YdY/68K1Ltlp1sIbhWn1zYW+U
Jx6fidk6Rq0r8aG/DcClsGT8jLOVSj03EizmNMHpIXz9NS98THnyMS3Hy+pE4lJp4ClbkRSI4/ET
6kZQ8a9dYVKs9UkmMq9Fv2GM4aTDRwmiX13Z7S4YacsTS+JEKtqAeig8BOoChqIMZxCxz9hIXuQo
oK4ZsOu/3VOtaeyNHmV9IqwhPKQoaiT1pEXbr9/N73dGzJ//vFlT+OuF6dchKHBMl7PUZpZurwaO
90aiPn19jQtf2Bgf6peCoMYtNSJpSb1xQmaWL7HjssjDuEkx4fv6EuL3L0gY0wEr27CyI6m7AX5B
BYTBXoHxGpRTbGANN5gJmKCxG61gkRwSuBFZeCP5Hw6u45IzQNPqFnFzHGAAS59hTn/ZD7duCahT
SCuR7LyQJVmh65vBLS/p5sXNwojthQYp1h9Z/HmydoD2OF/hnxeW4s6LPhTl3guaBf2wORtwoRxK
bMC0kiZo6L/WyTGFmo1Phh2xvyjfCvIv625lS0+Z96GE8m0xAOkF8aLx4N4puCzbAa14qSaj7inX
bxuStKv4CJGiywg46L5lPpbkZB3UwCK9vZP4ijQvCelJPrrhUS2AY7z4WHSIUzjhgYAGgFF+lFlX
5rFyYc0wJtNMrjhoG2YJdFCtPQnjOrS2L5LuPuouApWdE+Mji8i9+Wszz5jOvCRpeygT8r5yM/Pe
KsLyBP6ETCBOUxt39STBGiSyFpCqQmzRhGWcvx5rl4y39cnZSZYGWcuSXttLZQF2NzjJKuzNe6mm
xknggiUWawD9c0Ou6Hx9xrm8bKQSFmfLYbmmt5nSMrNlX1wZ/Bfy6YU+mcStF5eN6+Xa3mtLCe1l
VDkaHvKJ9OqnMh5OPljf91aFn603FsCOqcqwGwyML/UqwtLD0ruPIoxGukyUbU181nHFTMpkX7UI
4fJQLW47iypHTZ3yobXNAM5rq4Caj5MO8b8PBS8acHSpRelcWbS18Tv+5hihT45ntaIGgYzf6MGs
TTz4LPos6SrFShFx1Lx2LEA3oBk5+ybBaDVEeuh9nHv6k6v5IwYDV6P0P5M6vs+ifq1DQ44hvHkk
TApyAl24pEVRb9oCiAb1aVtkNOQxbLT8Zeya1yLpLz3D5CjU6bYjq6GdYvjUAk3Bo5nLb84bLtMB
rX+sT4SG4k9sDI1m0QIqZAY/+9O4z2795q19lDhvgOG9t0emFSY962EvQVHi8eGT80BEjWCO824W
WG1srOCNHiWmsurMfq5+hNENpHLG4WdEIDvNFPaN54LoDn0pfVCfSrAs8I78hEYklctwV2IcgKKZ
DLo1zPEqwRhtln9DyFzIs/iMN6XQl2F5iznJ4LnwAve00JMr+QE/nfV/960n5zO1V/J0wMzpBpP2
lbYJd8ASNzApZx7p0dLsQRD9pc/NHRmqc29lQ4KcSWSPZSuTGCaTs2O4cGZUrxv6auO/WsRzRI8L
7FHmOp2ZN22JqG0dzVEXnpAxHKM1BfUNbseQY9eAgdtoXW/qvbcUK6RUf3UET/Y9U7hOYaY8FSnK
cyT3a3Ut3yJFxe+ZtO92gW3S0tzymmfdTF/gVTr/fH10F+GKbucelXd+zQj/wolcn2yO/lCHHau+
SmAbqOMC9ch8fEXmjGJujrB/5q+8xyuL41i2/e5Tjv/9l82+YHkIw/FazkG6T7bEEpz7Dwy258ny
L/bF9MlGY1cQQQq1t24cG5J4Hh6FChsv6Si7vn6I3xdFQp9sLZXc5KILW+tGkUbpY03STR6k+KNL
KzvKr0a+XFgdtMk+kmh2gd36QKMEtDNr64XeP3KWgHZgrVqT1IJyL4b3yL5WJF2oVbXJNlGnbZM7
EaT3psZCHmdKKd/FNF4xlcM8pV1kKokjyZWBcKHo+9kd+mUcaCCrehSBmLFxrAf5TUPnbV57dReq
PW2yrrq6mfWhrhGW41q3TY4kD3PEr7/9pfaVNlmLLCsWqenVdCSLFMeisABRDz3brOboJ7C57szB
WMoWctkMds1J6UB6fQOTKcz7vWVseNSc5Llicq3hGVDnFd2R1HZn3SDX8INVTEF6yJBk1WCNLkv+
3ixVeRsJT97XOEYsugr5SoOSG7OpRLzqKh6NJO06kMz8wbZuRKzg7+k4WGBFsv29xmR2HmUd1P1I
T/EtwIru6zdxocltTTMnNYVpJgI/PLRugD+bmTT9SZGSGkCVXV/x2EIGYik3mNgGS+CNdmkPibaR
lO49rIS0UdymvZL/cGFGapOlFCS2GOA6kjlRYseDzzfr2RxHg5lqXNmDLjyt0KaLZGGYiHy4hKeF
/rqArTdL+JjLxoL8ZiiWvGw7qzyoTeacfK+od1GMyg2T1wB5VTYsAhbZK3XDpbkzWUO9Pgb6tsyO
MZTTMfB3AlJV7+dXKvVLL3OyfkqmZgZy5/Y3Un4gUUHtVsLGPebKp7p085PFs2wcPe00wgH8qKBr
jR9seWhUefn1oLxw7+pkzZQrP45yeLE3psBFRpftbyUWqWrZvkdNcG3gX1iY1clCidzUG9RB5iI9
LZg6gDUep80uiHWqS28v7OE0aL01w/V8oeoQUr5+tgurmjqpeHPcZfLcUTvUb491/JoGV5Kmx9v+
zZb889jwy1IsLNDXIud3XWUXJqONHqxsBZWltzSHxV+798mqafpVnSfpeO8S2LRY+WFyZTO+9FYm
U7/Ai8IqYn559EmrwvtWvpImdWkoTSZ8TX5o7LBY3cDtx2K4VxYwi3HN+/qFXJgG6mQOF2XrupLK
rxuWNyPuwlExhl9//duXPuhkAkPK6dxgvHMbjaeMUmhUpSd3As8M+crtX3o5k1nsxY47NBFUFl1F
6K0BG5tYLXzQ8/z6ES7UIj/DhX4Zk37SDi6Wt+nBhBruyoMzUyxL3eoNdnpk4QkGKmuvHYGmpyq+
n19f9UIh/DNt+JerehFEq0FP0kPt1+9pqBl08rV4HUbYKaRhjcYBD92vL3Up7VKZzGazrlO2xCE4
oLsJj/LjECNFnku33aM2668MhAtf6WeH4pfnyXxfZKSOBodKSzkwJLmPZ2wu3gML7meGWv5a4u6F
EadMpnfU+baiOSW2q5DY0dVE/pPV7aUeEVr50njZlZ7OhbmuTOZ6HkuRrsPvPDSy8B9zPvzesVNn
8/UnuTAlf+78v7wtzw1c282K4KC7q8Z/CJqTfC1I/tJPT2Y7yHElOXoUHCQ8OWOrwx93mRdXdtRL
c2Uy3VuL6lJpeCvxE67oCQoqnM0ULATnA8as19bZS1eZzHhDCxromOO7B5Zr1sV3MJuAdAZn1mGq
8fn1J7g0K+TJ/t0LpWr6iKsEeFoVi6AhAgG3hBnKt1raOUgF8isr2IXnkceh/MvXDv0qJIaYK0Hk
hQlP8xS1rCiXeLwXRDJceaALH16ezHKblFknTPFx7O3nJnqNohK7i4+vX9al3x5n/S9PUMWG7XR+
HGNVcG5Qt+KD7VX+lddzYUbL40V/+XEEV6WmQiM/6AdM2WsEZXS9z3K+1NMrK+CFySxPJrNe1U3T
JFyhrp7wHUOPd+XWf//D1jR/3jYcr07MLDqU3UnSb0iRufLDF1rYlj15KaXXRyKP4uiQIdS3ge3g
XiNPntUfzkuJSpHop2ukhEsPMXk72aDUnojz6BBA682tp6q8Mmp+vyfgCPHnD1sryTB4ph0exCCt
dUw4CtrOPjbq1rV19Pe7qGWrkytEeiFlCVeoJTzZK9wtzo70oyrws9SCxddj/9JTTNa83vXpMBs+
rweBa63fhw6wNoh8OlwLvr70ASbrXWimval0HmitGj9FZQVHU3r9+uYvvKBpUrwXaJJdDGF0GD6a
B+U9++G8IDj8+rcv3PY0G77SqiZCRRsdqt40cNlSnwtdunLuvHTfk8WswoTDtXxeev1DXxK692Su
vNuvb/vST0/Wsk6G6JUHLjOL0ADwKShlqo4XyBCYhGrhL+tE9l98Q5NJbGWxWbsVbwh9A5FINZL8
r5/h90um9RN7/HXJzEm7wmeMEVNB+tgnK/lsJ/vs7RqWfOn3JzPXrksjES6vn9RE5YGcrzHGuEDT
OYNt8PUj/Kyk/vdZ0BKTudtkqe/JPz+xMYuP5Vt2lu7AFrRv2tx9FZu5s4SE+fW1fr8BW2IyhSvp
f0aTzGiSjiaWjdkBe7j11z9/aSJM5q+OD46rIGAD91HxZ3iPyqevf/hCJ8ia5ro7dpmaUZlGB0Od
pUcoyDDBySSoIfb+6B90qMfGwnl2r5zOL7ymaba7lJIz6Pc8R0jb/6l4kO7QigLWrNO/eIHJrO5E
0QLycwG8SAace47mq/qAQ97wZlxZ7y6+scnsDnNJEVrAJdy37iP5CH/oP8pb6Q5+c6WsxUd1UK5d
aRynvxm/PylBv8xBiDyWCvgaHdof4TCHyoewGDezO1UnKHxe7LzPevP1MLgwvqzxv/9ypUCSTVk4
cniQEph31tLWpCsT49IktCYT3WsdtY9GNocn4YCTuiS1lQYHUZzlwGRLGe22TzZFEtNpbtHOLaTK
ypbCLOtjVab6Oo2qdMc+7yy/ftQLC481WRR0s0wrLVPCQ06OLKS7F/fRGBlxM3QGX1/hQt1v/STh
/vI2S7lFuU6Y4SH5QOsNhTISs+hZ/bBunRdOMV9f5dInmywJdp5aMpEK0cHy6AzTNk+L4soDXPjp
aSa4l8ktnHfuX6arH1tEmgbOlbse96XfDOlpjrcca32B/odlf2CYJRLKfq3JOpwi23zx9Yu5dInJ
EpDKFvYQQxMeGty80Mlj6WECIVw7Ol76+cn0j+ukJ0+XsjmOweP2vb9uvSt9ogt1wzRQO5a1ikhJ
frq9xbKbQJ1i0b3F91+/lkv1vjmZ413uG5JooQSR2dg9NGe4OWMa9Kn6Vp6ab+X7lcuM4+93X3gy
36Pcx/4i5CHIdyM7ph+zI2bYmClrH/SN0Gbtyii9MJFN9c9rVuc7tuNDxj3AQsGDy6gwG1y3zsz/
yK7Vn5dm8lT6MIZX67jdUdx6xNsSuILih0plaRUryB94/ItreOWlOTeZznkdl8Qu89pywggdaVPX
xpX3dGHATtUPgax0g5ODUTQSVm7EKkuvKUZZX3/uC7c9lTRorVQPNgromwrnN5kCzlHufv7yf310
/8f9TM//GjLlP/+b//+RYqvmu141+b//fEhj/vff47/5f3/nz//inwf/o0jL9Ec1/Vt/+kf88L8v
vHir3v70f1DP+lV/W38W/d1nWUfVzwtwi+Pf/P/9w799/vyVhz77/McfH2mdIE+7+3T9NPnj33+0
/f6PP0b49b9+/fl//9nxLeafzSBWf/rTv//5Vlb/+ENRjL9rhq1rpqwZimGqfOT2819/ov+dfFuB
fZ1NljoMrz/+lqRF5f3jD+Pvsq4b/GfTHvvK+jiKy7Qe/4h/I2uybSN41EwDCxvjj/+5rz99mf98
qb/BIjqnflKV3M04t/8z5y3aomhnVLjuuk0EodAnS8yQEUetKy355n5nEi7/KBUhiagOQANhdU+t
LnBfDm7ChoC4GLPIuvE3w5Adezu4gmyOq/D/uhNb2KqpGapFONCfF4e69MLYcfwY4/52i4CEeBlV
918NO1OujPzfPjTvUNV01dI1WR/n3S+7fV4GOKrGdbytZOfZ0+FVdepN55jaRsMTdZU5Tgc/sI2O
+ChCpPbTfmkWUbAaVNXfKHVpL38ZLf/+Kr9+hT+vhz8/AtRWm+9q6rKMdP/P92PZOPrYshxtHah3
S9ewX1oR+ySA6FvPxFApTkMYEbL5+PVlx8ecvPE/XXYs+X95DZIZakqf92iacoIXEoOiSglLba4I
ceVY/Ztv++uVrMlSWSu9F4WFEm1xW31Hrbh2AnTS9WCNtuvXnkoeR8p/notRrKqWoPwdXyafd9rE
dQq7kLG3CLdSBA/dsVBEYL4VwXgmzbwwntS+X8e28qNwtkZKDkO4yzxdJbdJvKh96a1x7mHaInvP
kKfAIlRSd1u1mMf6eN/FSXj0Unp6WOSSMIyG2OkJOZelFMcVVTnXSV7OSkl/NwLvlA8YiKWB8uLw
8fmCYJuqssEf9jEcIAGXZvkYSIL+dQPvMvaKZqEYAnWv77yyQKDxhcVm2JaYB8oAqUAVRyfA4I9Q
9/SpqHQMX0gRfkU8dOzrAEGW5j2QsVfg9NQ8SyQS6xhY47ys3iuDirGWcL0DBlgHuyN7MEauiy8x
ND2D+KeOKPIaMrHSokxVcPDNupiMKJeJSNjFIxpHhxSHGK1o7Cj3tpbtdTcJT204OmbiUBn1FQ4F
o9V8MVbPRrLCeedTJO73XCHeBqHGusLknflFz17yXsVgrQZyA1IgQdNzcZ7T8OnxcUto4xeF7DNc
j4gRktdp+WGqWDkOku9sgiJMt3WaZcSql9kGh49NmZIupPsvTV+d/FD9DIO+nUOWSNeih+fqpP28
xTl4JpsqgHyNOCjxifNptUdX6QhZKd8lBzpwCcNvXkffRJoKVJ5i1lZIh0qc/OIaE6vYZTkqTDe+
MWr3Ra6IrkGxX8yKCmehoiTJ4/9SdybLceNcGn2VfgFWEOAAcqvM1GglZUmWXN4wPBXneebT92HV
P0gsyRnFRUf0WjbIBHExXHz3fCC4Huq65aITG80m4E7egTZy6JM2OOiNfyetGbY/vMMzDCGVYFy4
E1gJPcqcp7azm4OcML1BD4sQ1C7Pkny6UC5mQqCu2j2dnpxNPWxht5DyenQsrGQM50mT8zfTsd1n
asI/WTOmgrnGuYI63nQfG/gl9t3BcZdCOzVezoYBO978CLZoBHw7HvLqKlbV9xGmFl5XXTJ9xN8a
kwBUhwqHpTbEI1WDvqhlAcTrKrpBjg9509cBsQ33viY/jiFZh65RkNCdj05V6mdmiodY30qihpKu
NrqfYwF+Kxr2+piC5pRPdqA/xj7wHgO/px59V9UdxviZyoqbRjxIN78Kxh9BKCmrxvBuTC9S8Iud
tU8h67f5N92c91aPy4Nf30rsFab0S4mlfAQ0rtchY0BsZkIvMDHJIWVaCFKdeMFoYXe0zAAY44KT
yjodKj0cECSuI4JUq3wemV6hbnfsRF1K+6P83BZnCMavswZkGA5dGgXei3vxhWEmxy7NP5QJbMvw
yBY2cO4DFPlGPR/0ea+39Q7HuKC56LAuqpLuQ1d5CaTYAjXvXH2xnOmriZF590OjRqvDeRazQhX/
aDX9kIq7QHyaQ6oBRjwjGbbyLsfKZyxxdtVK+Kf7IfgR5/WuDv8YZ/D54ODbHxEcItCSMwYALRB1
p7wes/scYwHfpcinB5EDXJvibigxpt0e89qicEtRwUoSD7+FMIT0bNgHzf0cdl/SxVJuqTmvr/3E
2UXPdK/bjPejmeOlgWX3cCypm/JT3CcQjoVYzRTUWYXp1Tw9aNW+kPqNicGbT/LArczrCE85LYXr
YAysqgzhPjsvQBV1BTYo1Xcr48hB6VLXXGgzto+Bee5koSep14rzhR7q7lucrJa+zIocLASZdohT
siUq0btVVPOxod27kAuS+Bxg5r1VoUIGtQQWvQd7aJflBcZ91FSF51XVn5cTt3rUv+f+5wxgJKWO
sxsfTPylBSj4CVMHgVtaUtu7Uk43jvwa4aKOr00c4cTh6h/aUFxWev1kUzfo5CbYhvT3euJ6G0ox
ZrsQDi4saNrUYJ1lKtppwAZzuMxJsW/AmYdRtqu0O0y4LdO+NwG6DdiDZ7E8SMi75gAv0/o6Dw92
aC1zym1OxsM2vVh+EQJwO1SQhoFfJPfgq49u/XXIvSAfzubgu1UA5rBr+CvtDrYoWhF3byEY6GF6
KP/Ypt2FzACTUDEN1qlxgbsvr11ZKS5NXc4Hiy1qRmoQqLF+NdhNdY4f+Je8DvCf8GPSLZaBGjeF
vhYHzmc9COxd1mJJQBX/edL3t0OGfVTHpDFPQpxDrnjK4LhXGf6oQYgFXTo8jCZ8aV+04HbSJLsu
e8zj+8fJd/4wJPWLAjCMfUFRhgMFsMaAHSxw61yUA5WTQPh++jMTEIzvI2vWjRmnP4qea50o7j7K
KvlQGymqVJBkrR5c/HqrZP5Z5/V6U+ECo3cNW5ksf2KdYYlwJWsjy6WqpdL2ZESr+9i/dCCgPvQZ
fr9JON9gWA5vSxcuGEGp4GIUjq7fuDZFqMKMsptprDA7asfccyaKYbPqqofKhY6WtbI/+G6Ms5WE
MIa+s/kBS9VEOs7sg7/ZU9Yr4xEDsefWj8MDwlxAKT9KSCwFJqojc18aP46tme6qXBuP4ARqIOIS
R6Ird9KiP4Qc1J3dzdlXegeLGkpla4o3o7bAOK7gVRoX7gcE0X2HbfBM9WgUPAcIgGEZDWehe9Q4
SvdC/zCYHBhjUR0ApD3PORgOGbCcGvZSi4s/DC5VfXdlq9b/VsywQ9HLPAgxtjdmoVXAO3hMO8GJ
DCt0DpMdJju9d5hDIO7v9bCevoVTXDxHU0HNU3XbNu1RGtg2tZiH7yeceQfLlwxoeP06s0kWjsuV
m3uIHabWAAdIfegpMZqLbxIssYjT7s5X5acBhufBmuop3cUKd754ipJw5y55Ml1OHhSkARJPU3EX
GdYHa7F6zzvXv1Eg2oEgulp0Vrrkc7OiYt3tU/28T+cvsR9QA4hmOb8cBs2CnDewlMjmOofB/rFo
xTN0DGvX1fo1JmjarVbPjFcQdsovC2wQXarLMePQLIBheQUxbpQcweKJbUmWR5C0h8m5ZuNl7isw
E6CjtGCfBczITCHMTS6M8aLoL7PCqL0GJdIehRtOjO332MUuAObXOFufpllc57p5ZcgoOUxZ9sVQ
+lMdtp8DrTR3zUzZLXDyhvpMwjqRsroIdNhVICLFrW5TTpkNdQttNqq/gD0XwN8WXGs/ltSoI1bS
Pqbu0H1vk6J/QDD+bGZSOytMFsrS/AxJ4M+i1bukFR/GBXSWp/3X2V60Dg2Q6LEYoSD2vofWamdm
bEPmBQiVWBd6B6EurBexlaA6rpVIarUWc7RGPY+ASvTe6D872H3mXyDowTefxwKnLSiKLl5ns4Bx
znySHByNO7zelA3SZrlAdye3ckn9J21b4a0xfE8amxVNAkD8mUqDWp48fJhLAUENRSI3KYwY3foa
69dxciGq8Hvi1pF7UHHw2LUdxnJ6+9UaSy/EaabVSvfKtpLgEv4Txu9ZH/GrOhOHxy/5wPywmzoD
c0GrXeyfu/FZjeK67aW6S8TUnYWVmPfl3GfUYAU7IJy4q2OABCusnK7KPo+uc/9DB8tuTDkqaOat
0KzPZqCBC5oii3JmU4Gk6snJOuYXSHX1LQckdk3ddND8oDukZot45ZabFhjiLGizC8CeXUEzO3tJ
GBHYV8AaUoDhjVve2iawUdZLqha5WrjJiH3X+gPnzBFLjYI+/YZfG7eN+c6tnnvxrQAzi902PEc8
8XJEuwVgxoWH82gmw25OxDPgzgieIsydh8JSuyQNwSvdVdizF4Fx08zVnaTWXagPQ/lc9Tc2XlsJ
uwhTfnWGO33GxAt2t0vZ51kTfU1aor9tQHF874acuuekvZgr7bEiYPMO6JuD76ikBD2Q36I5vy5C
CFYihJ/DypiTfC/tSziP+JQYOyyYs50eu/NlESEwaRLzXAfN6ABkdaMEryXOSOnnbviZNdh9hfEh
qtNdgHBeY+bqKTXChH2X5PahsodrdOaXVk2F37KnYhu9N9jRYwtR2cyVbRarvZZlN22ETYr5lAm1
9yPz3JQQ1rFa1DCEwEAkRveK1+U8X6TTo2KK6GI8QUEFsHin/WMaRt8M5ycZvDiHu4TeOL0oe8CB
fhgvBZSazzZsrCjecbnLUEK7C8E8zeXs3I4NC2rAjRQc05+lwjFQHwYSsQPYwlxQH/ovrfD/WSrw
Vfrw4mex5Nua/wf5QlO+2F8s6chX+cKHOvqfD1/z5OvLlOHyX/5KGTriN0cpQwhFhJqSJOC/U4bK
/c2SwNNMZdq6a7zIGLq/OYblWMyoDv9LJzH4n4yh9ZsrddN2FReCLm4rFDj/g4zhKmlkUrvMWy1Z
S/KFnJmXv79IGpW5b0t/SVeIurc+uvZY3bSwjHCHj6HIvuiVN/Jiq7TRX89ybEXuy3SktVZSRWOa
5JHKSd4zWzB7UG05l2V26fdlcJfEUvyjKy4Q/vw2ZVuOUKZJ8mhdOatGdEm5KsdDQ7qdbQZagyxL
8DiqsKz49U9bpfz+epSyhbTYUbrmWvRuYvbUSBIbB2ow3TtBqe63zp+6RzVIwbSU+v4tYFRA31pc
N+rwzx8OjUwJHi0Naa2+4ahFbjNVXIqA48wvDdU4FJPMOkhXibu6bonmTpexc7XUxX//9aNf3zr8
1cXkdoHKCCF1fvjr4SMDYWiWkiMGOXF2K+0suTTKLtr/+imrG7M/HyOk0l0O6Iwdc0m6vxylKp1S
aypAP6dLZqvo2w74YBFflFklHygPwt8zygFL2emU3HFxvazX7cSprO/6E9nmN36xkA7jyTVdC5nJ
Kvfpt2YbjxnpFpA+2EIWwCmGsChOSJJX911//WJDJ/iFIUihu6vHBLIYo9jhm0pnmOfzTCTiw1yl
EeclU5u+cK7K1Nk8NPjstbNdg6kxnOBROGkrTnT+67vQv97E5D2YdRymozWzwQxql60Pb4JiyL50
+ix4MtvBvNEoC/geDTgj5kq697/+4m/1sqmYkMiqMarXKXTHqQatnAHk6z4eVgipf4rJPXkKZNT8
9wz41y/jAxrWclvy94e4bakSJ7Wg+5cR1kDL8YX5aMOAIX9tM/svOUkm+tdjt+5McCDJMmAMF/Rm
FsSw0O30hIjujQ6TrCDctbhEouMsX/HFPC5BqNi9qMbDmCT+vnEwqK6hn5+Ywd8YC1wvMck5CqCi
WCtWa5X2lin84dA2Dia/S8kd+7Oo+DTZhr63xla74MDdnhiBS3SvvpMhWeiECSKOuWb124wES+Co
bujBYcrOzRTn46BnzuEGyzgxj6/vkpaJnJFg4v7IxTJb6tW1VVqVJkfHuccER2PP7OaR8dVxCog6
zlzjaSBI9OcXo+ip2tPSPgd1rKb4J6ZgjReK2K9wB6rwgXcKkYQXvw6KN/qBpAXZCpZ/BtQ6KKBy
GlEgjfZQW624zgY3P4fn714P1Cqe+NBvzD98SJMVzTV1i2loNeO2vd43xThM6ID0nWaUF6wvj5HW
Xws9+GANWHJYsTrgIXSTaJAOfv1D/zaYbR7tspoww3KhuVad9p0vJuEACqAYIdjNEpxY4ZinCrr/
th2xhWWwoPAMw7T+Vnfdj26t2qhsD7NmYMdQUvBFtgf82RwMIG+1w69/FFfA63Fss3q59CaoOMMi
Ul/H6NAV86zpMTnrSRkc30ZqeHGzlVZ/1oRANHahE8ofpVZQMTAlI85NEEWi6FJna0+qetBBpAUN
oxFcuD4F11LvOD6Nld19SDMBG9Vt++K7D3hF7DsIXNF5muYg+7OkSQA6hK1pYtTgd1zGjqTfIPnC
yjlThS+icz8PVXVhxqYa9q1VViOW1pnxMSQJHu+wN9SfVOyATEwdP/wMoBD7WRmxGO+7zMEkqk0p
Nd41wuiwCrScRn6qa/xoOKNZTrxXeRHBmOvxvrvLk7KYbua8sJ27arR9g9uKiR7AXSz8Lmsm0IOy
cTYr4157auYQkraexZ/JfnYPzSjihwSsC4YzZKEWXxnlZg95H0dUj+SdNL40aZSanNA4dmHo2DNV
lE5V4EUViJZDfWNTx9JZQ+o5dQQecC6Skoy8oUHl7ezqa+qnUu10rt/1Xal4WhFWPvZdFrwLvyUt
g9lqNP1sgowKfVxhm5++0CVZZyZf/VILzDC88oHtfog7d+ZMyze3DpoBInuqeguDgsRJzGKXdKQD
j7KDlHJTkYYtqNsr5w5ChjO5AF+DSjPSYxHUJjDZ3gIj27o9yJ7ZwbWd0m8WkL2ySsE5kxkgueo1
H06j9LX8i2202Ddyf0Gav8xr91tQNAL30BKS3KGYs+i8BufVXpuOkGTjRvXcthw3z2pL+fFBTxgw
971b9Yv9jtQ+OlpiYxLvo2Y4M8bcgTCEFBaoUM3eYwdrGibs6DRdf97WFey6wgncr6XtdkAvxpab
Ly1FEXrW222kXfdJZSpef+ogmrfCvzUp8vZvuAnTXVwbUg0ecou9YjHEoJldE7uzG6PXdDjCTD9g
1CbfvEuCwKgh51cWfij05uOUki66dvKunQ4GFfTtTaHMzstMi1xbkJH73I9KK7lUGwHROrgPw90M
RulFvR99GCEuInmkxuMP9gLTM5MeqNrICnGbn3IzhWftw8lvZWegT0/8Krio8dPISJMX0ffWUTHX
IPnUfoWaZYndvGyycc7K6j9SZgJ336Rl+hDZI22McB3kIYwxUbpUYVudW41e2Q+jsaRjcXTCKlQW
fNpDbbZg8uZxnqlVMmWBzW9rLOajVlkCkyqthox7qzdNt9OdRlvo0GaGcW5VSNw8Ebo7V4WD0oB7
K5IYJCLTSju2U1p231VQhdmnZnRdnPDsrvxU2oU9fsaxtPk49iS4SXwZy5wRAoQHK+jP/rlmMdJ3
+RiG4PUnJrBdYlv6lYFCCsYyxePtBxOa6LPRGHgXsMEhkd25gfxLUfyPkg/vioxeZRa88meOTfTP
n+3t1/L/Q3qB1fV9ORIJ4Px1aoF//i81kmH+pmzXluyTpTLMBbLxlxpJGb9ZnB3QKJmcfP9KOvxb
jcSfUDCJZS2Sgksnlt9/qZGE85uw0Cix4SYZ8Q/SCq9XcCqNSWmQ81gvcS0JT8d23OBOz4cB15xk
sZLCbuDF738jkfBe6ythjVAWfPhWC+6gnxW7weS2tI7r9MTe573WV9vMpLfGzO+F4yVU0+wU9gBn
nW+Wl9vefdmNvNigBwrzKKt0Ta/0kWO0WnQLKvcUDe29V1/t1hA/NaXSR8uzGvcTiaVPbG7Vxk5f
nvnixZ0YYl9lSrCWIYRNo1gcBvbb+sR43fRcGwhOYsP0NF1/tHwmziQbmxONr7ay/x2L8nXrQ2G7
serhcU7cbz+Hidtd13qLdZk+qvOC/NshLQrjHLrygq/l4k0VdnziHP/eB1kdI+okIIlmKdNDMhnt
uImFwC7/Ue7lv79rdaDMfLds/JEPYo2DF7jUeqG4Drd97XWlvJ5oWmmTQPawzUz2oNw8jD1PKbff
6ZV1QbzS5OSg25CeNdnfy2pGh2T83DSU1vXvraiVUn4uuXziS87WQOmXlNtmhnXhe8E+bYr8UHot
eXtu0TVsnJ14C4hjyROvgle3sR8kqSQ9d5CXYgg+htgNbeuV5UO8iN1yKuoUHml2l2UaUnYfMYYc
O/fEufS9z7kKX8tIbb01tPRuGlIXeadVNHcde/kt0ualY1YBbBlV36u+Du/iqQ05bsBAMZry06+7
ZnXi/08Y/ZlzfNE3WufnlqrT4C634keZVC5alMy66IsYbR3gIeyUtUb8ZCvL9hXbKPDcrX2Y4mx8
aB1Im5ZWylMK8fd6chXSShgmZN4WcDbo4Do0nUuZl9nVr3/pO42v9ZNdP+nRjPkN/lX+g99z/LBn
f+Oiua57D2SAr2tbOp5VuTr3g+W3MRQnSATvvfhqQUbajXsZNF0vIjf8ycTCF5dD/8T3f6/x1Xrc
zZGwtIzL3jyyuXQ1Z9/FlsrIt9SFMnjXCZTKGMgfZ1npqaSLgPl04Q77WeNx2zddftWLwcsJE+/0
0S+8nBsBZEzmcGuNxvT5160vM89/E2//CY01j9kYxn52XHSAQ4+JMPe5WDJ1uXVt1Qh3fv2I97p/
FdsG9RChP40OtuLWwefYfOYaWz/tavE1htCvS+Q2Xme7+OG5SYkJc66dSBW+9+arWC0mQ1aG4PhY
KXmLaOxDFSQntPNvN41d9euvmi/3OzPnK0/GlY21ndVNeEiX1ab5mlz+6+aX0qMKzyzlGcK/cjQU
Rqduot4eMHLNbvPNKK/0dFJeZCLN8RPXfpJ9iiYn6sSJeP3zKu3vg5ITzeu3tzWn9I26cbxMcb+V
uqK5roL2oWxVuzOcKLIxpQzyp6jAzHyu/pjjwLioRmv+NBkNJP+pFBewezn2xj3+BiIKkWH6qEXC
cEw+Bk3zDX0v3gJlcd8V0ZUT4aYsSrO9qqtMutdjJJ+2jHxSnK9/h676oK4w+vJaOU+7LJHtPtcR
g2xrfRlaLyaGoYj6spIzyY0u/t4PA6Ue8uO2plfLfT8YuEVqlespbXg2bBIUc/5jW9Or2SDN8wyH
OywVOh2UvtRLz1futlMj9yOvuyQjixPGI40Hlrqxb6CQnFiflrh5a0SuZgK/c6TT0qinVKofLaSU
h0AX8xnfl/KDoai+cg2D458mzBPF1e/E2Rr1YLQu90dJqTyTUo8P4DWTa3cGO443uLXf9CnWuXfH
FL1VIZ/xCgY+OjnKW/t006kICPbrL0EdgJWEae16XDsgcCyq6nPn1/2mXTqKwNetZ9JnE22wajlJ
dV3J4kspwxNf+r1+X8UsJbOZmQaZ41H0Eh0tQ6vPtFCTN76DzdWv+/3P7f4bo2nNe8BFqnPy2XC8
PknV78mE/VhpI78LSdM/tnC3PiqnRh+Ydb5zCEU5XySRrx2GIheXc1yKu2zCIisrlI1pSpx///Vr
vbMkOaugt0iNYzWpWx5ya8oBTHRzdvm8re1V1CeRbaNdjtkDuMmlo+NSW8bRlhJqau7WPIjcwIjZ
Vw2bANy1z8Gfxudh757YIL3XK6vIN5MyMaJWF96gSHNZcWqfR0UdHzb1y5oIMYshnAa9Fxw3MRkp
ax3YE3TnbdP4mgBh9KLUpB9JD/N065BMQY9ROwL3be++CvE8HKXqhW9jkwbhnRqoT6lbddsWN7WK
8DjoTAC5NI4xyb2dSezDamvbYCT9+WrhRIIVD2lMboLajBsktzgxnyRivzNc1nCHnktztwgq24vN
Ib2pnSH4ZnYqfLB9s8aOPVbcK9tue2+mfnDmFJF6KGb13Q3y7DGPEHoKe3Sew2qq7I1faRXVTtKN
o0FVkSd1WYbYzEgHBrxpb/xOq8DWg8l1MzBlXmXZFyzp32a7O1X1+V5frlZzUSUOd9Z2SpmEis+H
pg7PuPA4xdF8r/VVYFPQHmqao1IP3xD71nHg4QRms235W9cciFhw/chJ38vw+ETfB1g+228Ku7U0
QLNLru8oGPDYCFM0ccbV9z8SmPz7LCjtVUAnJna/sy1Sz9XTb3M0nzci2TZM/vRPe7FXzeYsa1o1
zZ6m6d/yGmJb3eJYt61HVvGcOHWs15NMPeqcuCaNJR4UDoLcba0v4+fFqzepk6SG4fieP5b+Xosx
V0knfGi3tb4KT9XZ6B+iaPZEqVwU4ol5FsTOqZuI5cu9sdFYYxv00Mbqydcdzzf1n3OOUcqQFvl9
pbAfNbrB2DXRPG/KPcm1nGYoRW+OSjne1OXBTSGD7DAaabOx9VW0uk6hpamVJV5OzceZ5rePetxc
bvoGa2hDF6AbyRsSFF1cqquFxnLejarfNhWsqQ1h3yXJPPiJp/lpc5FR5KcHQj/RLe984LVeam4G
Ycdl53vKsmKJQ3Ta3VrdgC6iaAedm+sycpZtHEWh2/pqtS7r1jx0hj/xa2yOnGedFO0+nEp8Bra1
v4pld6r8ElVo7LWdFu1LSq0nDMm37baQU78KZVhSyWAaXeJNAdh5q8Xbt2+t8cQweucWCunc6+bB
MYAnKDSSLsgjDsifo92MM/lF1uj+eRY27XXVuxMbeoopito1f7aFYNe3reNWC3Ht+zLxcUT2Mkie
Toc4161PoHKW7nljFrFW63BSVTpFx23iURuNsaD5c/SbbVuxtddSpoVVMIhm9kx0Cxj1SmpoEEJs
6pK1KDyctdEUWRN7jgDAbeXogQZ5IvDe6ZO1M5Lk00mK+f0jAv4fWsrZsKioKt/24quFeFQjmCYz
Hz019Dg9DsHRxqJ4W4SZqwhmws9HvYhj7r7DrD7jct/6vZ2sUzL59zpmFcBOIBvAM3bEzie8KN0O
V/viYlu3rMIXkTB6S4yCPV1NS7W9gaCQil9tY/Or8FVgydMpQ8sSjejL59Z96EawD9vefRWeAkOW
MJj10SsT66m102SXL3SFbY2vArQMtZn8QDB6cwOHWE64gOXIGfbbWl8tvWHJ4JiFEF6qYvPHqMAJ
VmnvPG1qfe1V42rWZFaNPntpWP8UsvLc6dS8tQy5N+attS2NNHMBpaBvvXBqoju/HjDGhPz6qVZD
87jt7VeR6qZ255iqaj2EjPFHraKwOswy83lb66tQrcdCZpOlkBtzUryss9K55VTpnJjCllbe6p5V
pIZBj3WxXjWeCnPzK4UJkCeGuLyYAr+7wDMiOaX1XTrjrQet4tYeIstv66L2Kkg40P9q9VVlRfk0
OlNw35pVGZwVnRmcWIaXVt962iqMXQgnQTU1zhHZ4HnkajsNVeC277EKYiO27TlEaOfp3RShSHTG
XWX1clsUG6sojhOKo9EwOsekqD4U4kFU8baDnbGKYLuAExVUpnOc467bNcN4MZvDNqWHXOvAohxM
yRzmvLZBkeaUKEpRJ7/eNimvHVPM3E+t0jC0o2aFu6KhSj3fJkmirp8B9OJgR9HzqEGX0I6xKvAA
1O4Gfd62xq5rxKLOD8aCfOrRzsazgrIwN4g3dsgqajVHqgHPIpru8ge9QIHRZ91h0/iWq0DVY66t
i1DXjqFmIVEPlUbha3FqGngnMOUqMKnSjuw6sbRjVFCkGyeQmheY3bZXX4Wm1VHpoZpOO6J+Hs6i
orrwzXgL/pMEs1xFZt+7UVBMpnYsNLwTddzkk+DEdcN7nbIKTRnEfj+xUz1WTnGAd3YVZ/nvm7pk
re+yu0bYucNbN3lyLtqnBmXvtpad15HTi861ekgYR13PPvRzfV4220Rpci3u6h2rnmafyJGt+bGv
4WioduMebK3tEnqXdH3Da49BdTtSCJuW9h/bemQVlUupzlS4rcbVoBPsMqv73WrEttn7T9jvi3nK
cqsp63Pahs7gUAg43pmy+7TtvdcxOU5aCkhAOyKpu+8yuEtBr06xed8Z22tRl20ZQWLrIwOwAhJk
6ZfYuW4cgauItP26TmTsusexn+TZNHHW6Mx+Pt/WK6ugTDKjqrpoYKAU46VtaXty2ttefK3QapLa
oNpMB+qj8kONUgVVz7Zj+lqfxQomG8vlrcMeD2gBSaA8sVN850Pqq5VySIagq/0eVl2MWe+yClP0
nWzb9uirTW7WU9ugNco9mtX0SdQmfL65Kzd29youq8Ac3CKLK2+WHdZknfFJaJC4fj1Mlkbe2Gnq
S3e9CEy3DfIwEHPtJXPxFMVWej6p+d41rVP1ZO/1+yo6m7oF6DFmPKCMxrNIWvgM2+yvfv3677W+
XjJLwc7EtNHchSG1xjkAPJI8GxtfBagVDWLuI1V6sYOncB6A0prSU6aN7735Oj6dRQBngEKKrC49
hG7tXJmOfuqC5e1zkVhLs1JdGsOcIaIU8dh9sSDf7Yq57C5lkkDxWEjgJwbn2+NHrEVaZaFGcp0V
ukEj6dkRkck9UJLjPsKdJcZ+/ZXfe8gqdn14R5PeT6XXNE5yZ85K3ThR/C2PZuvEjnRZ9f8eBmKt
1spKjPRmCh64ZDBxiAdH52DfacbHGC+a+6qGK1hRKnk+5jo1RL/+VW+PgL9VJ0cOhWRarS1rovG4
sKl3uVZ/39b28swXYR2puBocv8o96LvysoP/ct7iCbtpNRdrFx0VW5oxzz6njmB04bbMV1U8bbtm
o47/9auXJJc4ageLkj8Mb0vT1+9nEc+bbjIoTn7dusSMTPPduSfZET+a/fD70FnZiWH63gddhXSA
tjwzZNwg+Uvu8HO56+1ymzRerKVUQ97i957VjWfpFUifpDzX4/nLpsGy1lC1tRzMKs4aTw/wcoL5
KNJ0Y9OryO068hi9TBuv6YoAu8QKQJQmTrlQvDMvrCVUYBxdK9Sc3qPQEzRfgznxIdJ77Nj7louj
bb2zPPxFKBWlSKd6SWSXjlbi82veiKa739b2KkyF0GQrgSB7ulDXmq9+7+zux7amjdevrbGiWEOb
OUeoS/ZZ04kPdgP0YFvjqxi1qiq0RR+F3LJPwGfz5J4Sn41DZhWhLfLVHmjkgPqku0tm/wuFveXG
b7mK0LHqVBCPmnusq5Zqb9l8tJyNuRiqEl/3eIuTfNSVmXsMIwbK1Ob1PnLBzm3q8rUOis1C3LR1
3nqz7XzQnemDH9eP25peBWm+0ClyQys8VTC3mBOOR2Q6t02KaxFU1fuaXVVu7YWW+3tgGgHl0kG1
6ZBDQeXrLoeTwBbNnnMUVtVdRK40Dk+F5js7qLUIquBrJiJmBcWc5Sdm5gFmj/bvHSX5l4XamC8V
a7Mbyx0t2580nqK4+Yhb+1x15rBtmVarKM2FPVCT4sce5uTtpQvAtQcgfmLHtExRb+yY1CpM47Rv
0E2VXMEp27iINAfLrNDaJmcARvP6w2aNEcawemJPhorqR+66oRxsrNT6G001g7Id5kUbcUHvPmoB
hG1H3yYh+Rv1pAReBq1Fj7xxji5my/8+a9WwbQ5Yi5soz0nruXciT+bhx8iK/4Ayte2iWazVTTIR
XIqpPvIav1O3btTmv5uhoW260BBrpxo3izJNN+kVO8bCKxt+tDkI/k3T19qnRjVRohlREXlFVYJS
7/QWq6jI3DbO7dU62hglVUQYNnipoz87lvnU4X62bW5cS5s6u1VUn1eBl0yI14cgujQrP9jY+CpA
9Yai975ZKmJh1++cMQjP7MJ92tbnq/hEuyfj3OLN9Wgsdo4FdzMe7WTbq6/FTOnchk3v9P7RxfBj
V0P5ghM1bcuniLWYSWX4XWgwh49j7H6RTnddiexuU7espUxa0MxpERfkgSL7ojLqR5WKjftQa1mo
XuxD+96e+rKJnKMWQ/YHGxrsizqPN3b5aiU1IUQDgi0U6TH3mRzcvuxPWWO8s1KsFUsl3iqVLwN1
TDIA1GkwaWdRsrXHjde9gmbANYtR849FrjWX+NZcaFO67RoWA43XjcPWQrzVJPbRVKPzZYwn+4/R
Jsu8beJaa5KKUhflEMbmcSor5xzyGoYfifvHtqG4jtCwibWhHY0jd7Kf1FTezGW/bYe+1iTJmaI/
e7DlEdYeDvQ7GQPO2fTWa0lS1+ixhghsOOJ1nh96LCXsLszOtzW+2ufOc+LrAH+Gozk4N5q5LETG
piswMo6vR0rlxrnZB2I4WpPuevVs6BCDg1ZtU/2JNfd0ArdTII1rj9GcwOsnNblL2+ZpW78sgfti
ZqFGS0/nymiPhtbkZ4Yx/3QnfdswNFfxWQHDQ3ss26NWyMMYBvoZEMONU+Ia51nFgLh1Q7THIWsv
50677/xT2/93Jq21H5SFDKYcySUfSwcquJiN4AyJ0uO2Dl/FZogT1li7aXsMcow+MvezG2Ivsqnt
tRYpavp2pBqxOdqxCWPJTs8p49641VqrkfDz6uYk+F/Ovm03bpxr9oW2AIqSSOpW6vYpbsVJ7Exm
boQk80VHUkeKkp7+rx5gAzHjdgO8TkCzKa4D16pVxadsDsKXRjdPfJFuTuUsefb7JWzMOPayy6cs
qkPoevhC+/fbHEVuCWhgGWhdaQbEoDgvX/4rCYqtkPZwDJ6BFTx3oD/NUkVTNgTlmkai5aAHm764
fVDLOn2xNDUKil220hh8YLqMUjoWjiYUWPYZRtN+5vjssjxekk23Bz8kbplzYEXPWpTzGPlVB6wE
tKr0d4rXrduRWKmtjqWM5hkrT2wtbmSxQpGJB46LW8YJEqpwAGeuytY4l4+yMbRONRig5dFp8zbW
SMe61MtOVQYNVvBv1jSctluMe+9uwB2wq762pF1MZAuGQEEOt/yw6ClTglwZ6L3gFW24EdoV0xKx
SGVtUE+gtAdCkycgpujc7rqNOaJrEbReNMgMkkF7lwbjqn75hAef3Y7eslN/1zmGYEyXRe3SffX6
nCWLJ6lbDmAjjwIJVZvSh6h6LKfnJhr+1eHwl9vGLSsFkzLvt77W2bD9oybyMwy5m9ullpHuU5R7
bYOVZ+On0Q4m7o24RSIbcYRWmQ5HU+lsISN0EUKS1sXomDtTy0prxgtDVT5nuY7UT9RE9hc8BNzi
s406EgXG5CnBNa8E5vuLYPvC9sgJh+DbpFJshoi9yEOV9dsQH+XUrneoy1+bpblgoDb0aGiLBXT2
O0S29vYh2nVwKGPj6Blt7NFGvNm01O8zsucRqCObT14R//v+DT+b4BvlRJtVyjP1NqJshrXB5vyQ
z0Hw8/z86pLAdI5JtA1C6oNdNFVoxswfGcQL88V0+8eqm6JrRDSXTt8y01xiMnUa9zEThQe6zx53
6Lh5YXDljC4tb9nqFgBGbQrTZzsrPkJyRx1WWbvh4QCFfx01Ol1uIAfdp6yuhhNdvY8Q3XLCNYIS
+/XSQkZS17tE7rXUz/ECgbJodPO5NhQparsd3cUGMa72eIqH47Nk3o/3r+SF47axSGU9L4Oi0FNc
Qg/Ykj24X6fBsZ1jw5F2KF2VXlAMWTME6yeRUwj01P01yvhz0vyGNdl4JB7tM7g+vD6bFYm7Qwzh
p3+6qlwhWjdznUajhhaVZK1jymGzR+3TOuTVIIfMW/0Q2rloVkFOU6/j4f1PcYFNB4zir6/QWIPr
NcynMesbrvn33R/IchJzrr6hdy30i2TDIqAnVBdc3YL/DnQy4DUh/VdDOJQEQ95Bmb6C0EX/gCp3
rRIU58BfPPcQ0AyMH+zpHNcYbRTN4j3nA4QCMyhnPa/TGJt7k29cfqg8kNreLgqipUUFPt4EpMe8
c4uVNoWVprzb+pX2Wcn7W2C6v43rtdf9hZE+8Du/PjuRiyUovX7I1KB39rDGHRF/R1DhqFPRzeOZ
R2ybXrpug/Jxr9XQ3oz5BBY5003BlZz3gnf/TzP3twpDLZTJR7EPGa9GHR9noVdymPeqHvAwgASt
4ylajoZ0nd+DO3zIxH4WzlX80DAQ5b1/B992B9DAfn2Mg0elFg0dso30+jOozodjqYvpygldWt1K
2jGKDF6/Zh4yXZfDs5IyuKk83Tjlj8QmvGLc7C2IxaYs2PIuIdg1wxB46nYw1tPaCIyzzdofsgHt
zCTIxUPLPaf0FAzArw99X7xtp/OGQ29zDKrES5tgHtuNDRB6MK9Xh9IQNIPVOqBWAi09WkT33Ouu
HPnbVx5ySa/X1vksl3zJhyzf2yglKPDc84qD302u+ZUbaTH1/3+yA0iKv/4btG2hJLkTuF0Zy++N
mn4tEnqAcJYYn92L9W+Ql+YfPC/vDutKtmRqpL6DiChkHwddfpIB1FDmtkcPca35dF/mVDyUmE2H
Ejf+6cpBXLrZVmLB+CwbAhnFbAmqT3swlIdoAZba7e5ZFi8hXl4bDrPha/u/soBW3eBGmgPxqteH
GwSL3MutHbMwikGY33wA68C/Tru2AVfcA3lwNHVDRjsxPOJuxHd6guaa2+rnpOA3Z8t2v0MhDc52
qs2J8Kc88pye/8TGWzUrOzPrx0MWD/4z1yX76PF6++K2bcvUMdm4ArRaoFwUrEjON6FSUEk8uy1+
vpy/nUmuS4wLN6gYxaprUlFCIBuSE9dmnc8n+2e6RWzWqRJKMpDHLMaMaFQtPRktp3oj6mGKovZB
hgHk0qFT6QSRh8jR65+i4j6AfAviUFE2v8b2rFKZr+ut2zlZxjoVzRpMGKDKmny8QXfxB/ge3Fy5
sEy16EqxTKCZzvZmOoi4g96xuVLcveBrbeRVUYBnqYsgzAtNhjzttITUptcBxwuosFuQs+FXA6S1
+Lj2fRb63gMe7bfjuDs9jwi37DUopepjgjOv+BJ9bVCQ+bSyfnb7ojb+Koy6smxa3Hxw9XppV6Hy
vXRutUxi46/asalW48GRVYvX3bQGlMe8ED+c7qKNwEKZNKzKXHZ4rvN/w8LUydrL6ui2uBWeTVdA
GqLB+4tB+OUAMpAqgeKJ23sIT4zXNoqpHm+gje4y4lUfdky2Y+wTz3W3rVs2uhPZajOhIdDt5bce
NgqdFzcHb8OucmRycbMubcYgIvswdRDQiMPR7Z7bfFJFn68G83tdJoLwAJrvvxrVfnU6EptPai87
dI0ElmaAix2qtvgJXWa3jhqxUVeDmYdcQwYoawjIT1dW/DPt1PFVYcOuAnDhe6aC6+rmqbmjofck
8u6akuU5ur0Rl2zU1TSaPJYBUdmioUa/AX91qCrh+DmtkFrUPpRdIOGY4WH8g5fFBzXwK/780r4t
45RRvbTruvVZXJbBrdFFkFDR8we3y2IZZ+UZkNetaMD4DWJEVXj30L92C842gdQ2NCaoC6Myrz+0
YRhhwD7IE7d9WwE07ISYBEOcIIv62ZbTfbWBJsdpbRtxNZUjaHdilBZriESDhycdC8cU3YZbldWy
M6iMd5me+NeIJvuUf3PbtBU4GyAgF18tuCYMUt9DCtna2PE8rDdt3ptC9VXVZkJgzX7OW+i3XEmE
LmQrtv6pmGlDC8VwR4oYmQqv9fpr1PWQmHk3z25HYxlnvEIij0P/EEC0uT16ov64RmZwi502RxTq
6LGBHF6bKVTMvDC/17n5y23flm2O5a42ShDbuGgegi28gZjVv+8vfenYrbA5zgWGHSExkfV4I9/P
oRrSGsWo+5Dvjpu3DLTuiF4HkyNhMRM9AngYnuq+d6Np+UMeuNtGIlEnhny70DehHEsgR9rKzePa
uCt/83yk50WfqSK6bdhBlW5zt+SsDP37y0uPXnOWiS8zwIAgVqimL3NTuXlbG3WlFYsWTMz0mTdA
w14M/OPke27hzUZcVfNSh/4Ij4jK0zcQE52qcXTLVs6CVr8fydSc1UMhb5aJVn/Vm/gcjdWP9y/5
eYk3Ir4NtwoWEczd2J1bRPOSxHGPSnd05UTEhbUt2wz6xjSyl302+KRPWVAGn7lP6lvB5vggotyA
oJ546VBAc+79X/MfJuKtn2PZbLRAAHDiosvaYd6+bZPBbG8pIfynY159kBXkR8TijxBQnPc2GWXc
fI53gvS14/1f9SjWz0zNOkWBRX9s/FzeNm29PRMJzdei4p8DqHGlkFTc0ymOm8cZ8+xJ0/T6ME69
uK36Eeomxoibesv/6Sbp3ZJtJYVbiAktbyEiXYQeUX0WkFkmGBTSyahGx4Buw8DivirGiuEizBNe
fGTne1KPboQ2UDx9fYGXGBhnAmL3jBUF+D4hGbVFTXN4/6NfuMI2EKytVUFz3qhs2/wj3yjkCWPu
BoonNgys6xZoVkDZPfMl6CS9SDzFQfU/t42fA89vNSZe+5DPLCKZFf7wjUXx3UZ7NwZkElguYyF5
5G/zJrOIsU9tHP/0c99pIpbYCDAxjLIRAkbD6+Jn4ckf1Ai3RMFGgG2Y94xzjdOu/Wi+gaDnitLD
jdtpW66h4hDkXCZegGmKdveUdO2jv8TTFeO84Ov+YJvi3gL5kU5mNfXb281s7d0OsEAPYaK04aF3
8EIVJWaJ3Ij7iI0K8zrVlAu6NNkI4dTyqDUG5SLpwxc5HZcNCtMllz3plYK3obcBx4yM13dusFBI
O76++dvG2ZxLPAWXqnrxQjMdhnJ3k+0iNiZsy3tFwYxcZyGBsOxSkzKpIrfpHkItm913NEgILZts
QBU+yRvagp6bf3I7c8toWRiMcytRlei84Vu1hjSJZ+VYlbCZqEB67AXAU3dZWS85nvWPe9ivVy7L
+bu9EXZtUNgEsAal0FgFcjDfwgOZdJVimmBIh5HR+xDyjR+6QjmmQzZOrILi1BZiTgaw/OpLKe+h
c/6X2wewQixkixngm7PMNqOaJFDMQFhHfn5/8fNT8I1DskFikCVQm+QUcL8tvinj+BDV4pbE7d/+
fg0VcEFkg9hgMVVFFfSRQ/yAWZD1aFj1r4pU9eS1GLz0ltJ/3k3BPhS+mMOkWUjzGIDlQSdSB8NT
mHPspPdNtaV+Xq4/l8lvr+GGL27NsnlQJ/iaAIKXVf4+DcnSI1C3Rd4/VgqcI6kMZEduxpBWdz3e
KbclH4PHEJKK39RWBQ98aLY7z7TlqeOcHYCKG9wK9b71co9pUcll8GS28y06tAS64c3kWHq1UWoz
2Rk0xxHidRDHN5GhbbrFAKq+f6POfuGtG2X5C7B8Mm/upg48akuJOSajDjlo2xxXt4pqw0hZoFWP
soOPKe95L3SyTo7vDpsmC0q/wQxkPZ6+xPCEQTwC/KrBFXd06VysUK/yUm+ME5kFu0m7lvzKqecm
AEJsbJof1ygKSFQF2onjqqiwTsDaduXFdI4ib3xQG51Gln70WKfQeykgv7mXdE3VFogPaysdu2o2
SK1VoN4LO9ZkchbiMM7yYdmqa1fm0v4tGwcXF8QG10Vick+YewHm0LQZ/ADGPHC37NNGqlVVgOy+
q2U2sGh6aU31FHizcnto27C0BpRNkoCoOEOD1gf0Lf5aQKP9Sop44VbakDQDcMCqlMHOz5MTvHts
hffk5AhsNFi5hssocumdUAVnSU3qPOFi+vH+4heCuw0HayWqD2rER4WC2TFvxw9iUnddII4VprQo
K92SHxvytfVjHJEcZ98U+be4iB9jNbthVQmx4jokhamB9NR57eV/ISnvijh6fv903ozqLLZRXsuC
ZmkEDBxKSgOKymXQq3sCyMytanT8VxGK5sv7f+gMI/nDN+APWW9oBdZiSGDHbRYXEXRbWgZNDuiE
q9t5J+ZebcMKyPzajYnISYMe/7Q4waDxl22rJrhQhuH0lE+/VW3zT9M7MQNiaSv4rkqDHrFBZTjk
8qaRGN9UY/j9/QN7096wtpWqxxsdum7H2ru3faqDOUh60zkpD2Dx8x/97e0++PtaQbmsydAo+5AX
UX0QFZtv3HZuRV5UKbsFrRpkDVqStNHzd3T8nCoD2Dl9vXMBYrRRjqLOqpIC2sfAfhRU/ZUAdunM
rcir/bpsuqJo0OPbfhp/nNPdNK47t6wYgF3q+TMcUT3Tm2X2fszV4kTozEAQ8PpUorIcDFvxPWMi
QpA2dd+mInKpOmNty3KXpTN9O2xNVqwkuMlzFqUg8KxunS6LLTroxdQPeI3KwzaN3heQ1D90/rJf
cToXvqcN4OpXf9tkaJos3PbyrotFe4+q7rUG5ZuRBQdjWSjdlaGTr5qsnVcVpkXfkBvmB/XXbgD9
lOZse1x10B7fP6g3kxP8Nctk27grB+SYdVaSsDpGDBS+4B0pjlvTOdU58Scsww04L/aF6yYLBpAo
ru1nDDC4eTMbxdVHSk9iXSoU0/vndWx+bLq7e/9gLn1ky2jbWho6mLHJppWXx2XqdIoxkeLKsV9a
3bJao6oOsjm4n2bVLKnC+KElANs7bd0GckH6NIZ8Bd5XNOw+xJyUsKzIieGGxTaEi6BcSHsICmVR
hTZ0TOqEaIR4t51bQRUact0yrHipo8sdPQraxgnpvGs4qwtZiQ3iGvxmQModNaAK9hNvif6a8+lA
RvlSx7Vx/AWW9W5l2KJgHTbZjtGrsQIne1P97XY4lqliYoPOQx/Djmr1AmJclS4tuTYbcuFC/kGh
FQEiHhczXkBD3SfAAq9Jns9OdVNcGiu85nLiJV1ok+WblulAxuep5S5pPta2DHXrylrUYKXI9FZ2
KQo3cTpHs9PLFqtbhgoQsGJbDV8vQxJ8MTE6YpD7uaaN+9/L/o381UZzxZFSJaoVEiCAfjmtZiOf
+RyCf3Ep1M08ezoBoDdOK1WBxj4qvJSqunpmilePcvecEE4stoFffht666QBLpd+eIA668tGQ7dL
a8O+lrCjdBI4P7Yv36bhRhru5vttzJfxUXCWICLM6nW4b0393LTm2tDthWeFDfkaVzHNCx1rcM/L
UX4Yes5fikCVh04pEJOSugQXFAumKOGqpD9WrXOXlzw+hWXkIvBWOtWrBFN6CHT1BKJn6Gj+cvIg
NgvXEAagJYsDeBBG+S3qHeHt3C3azfXZPFxyiFto1KxN5nn0bhlzlSyxa5prQ8LYDExIqAly6GYJ
nhvahQc6LcuVdPFCFsQsK2fFGEURK/EUHtb4jpVb8RQDgP5rahEzUqfDt8FhIpxWorsFv2Bsp0Tp
FhU+tbqdvQ0Pg8Z2OIYjHkd9VP5P5iIzIF503LgVlBeDHng1Tg1ayWhvrv1t3TAncnAW/0HH1Ymd
jZWW2Vh4/ZEyeuPz0DHJsiFiZtl7WkmkcKM4a3fT4mlQu1t6aNNxcb20xhQwJRONYLUBU0T9fdCA
OrhdFitn7sKtGsMaBRSKSc10YjrukprywvW+WAE5Yps/ybCXWcXCL6QyLUonsRODMz6qFZE5kqBq
qPCCKXq/SUPqqSQqhmtN5Qu2agsF1q3Qgz4n5hSz8/flPu93XiNpGjXUcys12NRcwUyjemvnNiNh
OSQzpIaIf00K48L2bYxYQQHyRSewQY1/bFUyRc14HJpVfarKfrmCzT1b5htZhY0WK0neAoY/otRP
9v4o9sakWvkauTQukOH8my4GJ00SBhFmq0awGWhZBwC7xwXhH7dSyHtRhY5vRxs/NoKVtm0l6jJL
29929Xc2rkcnC7PhY8veeCUzUQ0Spkgfl9CPbr0hf3Fb3DLfYDQR1FTwqs5n3qWMFuKw+qvLtD5O
3LJdjBKYQa7wDTmlMiV8Vgcv0N/cdm7ZrpJbG4t8r7M1ZD9lvxmwdsVOumbYuRVmyTDPjWQzqmwY
JL9rw3x+CFvlVmWzsVoj4NGhgpx71k+5SZY5/lEGk9v3tKFawFAJQzmpMy3m+H6FxsFhI+Xq5m5s
rFbdjpyPEWDGNFo/D9TURyhXObVDWWxjtfhI9lEQvBpBvlQ8lGyUT1MZT45bP3u53yq+GxSr+omg
cWam7l9B1w+duCaPcHYgbzgxG6ylTcdIHdS45gPdZ7RaY3TCdx/KbJCWnu5U57MrOfd/WdJbf8oy
12pfd+IxIKy2tm0TVhV50nAi7pZp1vfRCJLzuVj/F/TxJNOw9cJEEj4lmDGf7iTkgR5HTtkNpKTo
bT7WIvUjUj4FTIeHTRP9KQaDFGgpcv8ONP7spptJfZNrvIvSaAIV+YFuuzkWeR7cmLhvjypecpJU
wxzecW0wtD2DRfsY7ttL6Sl5M9ZrF974a9evKdrn+ZDo1YAVsGh7+txUFOqw6+zJ5QCEp3ei+Q5O
PwgqHAk5z05VIPu7lXMN0WNT7lwkooza+4r1voJ20sDyb6H25Rfo7qDN5KMY/lXQaXvCgDC95wKJ
DiG8fwLlq7oSqi7UHWxwW7mzbpMNQi3IGzJK94Ma1ZUU7XwH3/qqlisz4Hlhnj+iCbVU0w3D0B6k
5lp+jLyluHfyljbAjQbTuDYV7igVOyY+BvJX18/X8EMXjuYPMBsPa44vhbyb8zjd16A7Nkb2LkNq
LLahbHIAocWAp2YmwYabvJCQOo2qYGX7vSB2cKZsqPdOzRbcyW6DlBhup9trxAayQWFcdNBARYFt
mVQqQAB5NGLqjk4f1EayFeNS90HfAyZHO5UGOvo4Yeje7ZFmU5tFHuc1auBI/bzijsWqTFFvcczo
bSSbT1uUTmUHgoBtugnq5REAHieQNb6olXGQBZj1CNjkbCs2CHt6pHiJlyJ8fv/M/bObfcNQbega
gNsRGsSoDlZhwT8EyIv/hzJecFiBxUv2LSdfGzlt6dyT7jaAM7xRhgRlOvgbu6+VWSv8T/yvKxfs
QtyxOdGYnwdLiAHfTHoedMKp2CjoS9EhPAzzucdMB2iUud0IG/0mAmkYXgB1Jsr8sYvKJ7ES33Ft
8To0x0Fr6Fm3IDPF3iAfknhBdipyMxSbIk2hFEPwRqox6jKtCWbqQsB+VrfeoI0+K/tVRwXnFbh2
AgJG9wLBSYZuKYuNPqtKY+aWw4F0ceenueIIdKu59hy6dJltejQOSae4HQc0GcJt+lLVa3S7Ae1z
BFh4EsmIetvjBvmkk1wlVAJk2z4pMU4JxoXzMe2jVn9cRxNciU8XQuB/m/wtPTOhFMWuz8+nWPwz
lWAQLXrloYq5TlfCyAVrsSFrC9pkXlxGFWgy5JYSjMkC7VEoTM2IaGnSsuud8GsstqnVitXP1z2K
UZNl++OCn5ZUbXDlV1wItRZ+7X03dmENG6bG+46NUJ+ELTODapOpkVw12q0eZAPUIo2mfqwB34am
DzvGQ7QdeeO9vL/zt7mtWGzTqNU7MytQk3XmT75JkSKC3aNcFvAbQcoGoO52uhvjoa2TnYdbAinF
8eQ1IBh8/89fOrjz1frtklKoE0jdV3AlEf1eF80tHNeVzP7S0me7+G1pFWxiZgzv8DbUn/gG/UHo
6zmpGOPUzn/0t8XbYUA6OeCbqGkF/9k8v6zd1Xr3fyHgjaD4B3rNLNuWe8hEuo200E0ccvZlWjGw
ldRiV3tiVNT9bHkz5WluUPE9VEGd92mzk/nO7/fwNppz72uxNLCTsc0PNA/owwa8F6D5s0igZTf8
GHNK3IoSNh7O0J6Ont7qjC36WdQKtLNrG14JyZc+o5XJyyKISmQzaPNXabViUi2K6LVy4qW1rZoE
3+LQ1HgRZdrQ7bhSuoDYr7hiWW8vLmwcnPDHvhlCTGpGUv67oY+TY+rIKb4LG/qGNGXVAgR0Wej1
fsJE8XEm5JOLSQob3KZNCCRXhxxoq+V9Dq+G4nPx5La2Ze4Rjce9Xtsqy3lfpPHsp3wwxummCBve
xkFlvxY6rrKlmL5PtF6SoAiWo9vOLYOPWq8mTMgKg5Fd/Rjm9Mc0NsuVUH3pqpyT49+8CYl8w0Fa
U2VgfLwRc9eCA8b1yK38ne8Qx+q3vQB5WMCTONxE4u1OBUNhS0EGAG7tZcBK+Cmdtlv3EmrPcWnL
NHsAvOe28ssM3Gf7YZ6H+hFVVSd6DCZscJuYzODxFjWSMlbB07xG84+24Y1TwBY2vA0grmiC6QN8
HLEvhZBPXTx8drqGNrataRRVLFyxdKv6NA46cZgC4XbmNrZNYJYf5WrmneJa9ukqb/t1mt2M00a2
BX1EazCGeqcFk+ap7+VVEvb95uYPbSRbyUmzIgHDztvZf4zgcZ9rvcxOmYSwQWzgeg3yaFlLFDqb
Y9kf4smJQwn30DLOZg8QisuxzEIx3A6dudtC88PtplhxM5RDUCzUlOCx3vghZPOGCXOxOiXNGG59
7bE6OeyS+Nh4s+MBE/p4SI1V6EQVxoQNYgv3EQXNFp9Tl4Y8mrAmqaAsd8o5hY1iq0dM39dL7Z1G
WeW3EILdDhrYG6djt6nICi74DNWa/NQU/ZOn9IdlYI633MawlTumFcHnAxtqFPKgFlMqXj+6XXKb
iGzVO2UYLi4zj9G7yO+Ku36Nyzu3U7Gip+gLZIVVX2V829tjTSqRRmq7xuJ5IXza+LU4kFCVM1h9
Mh+3+Puc/3LbtWWdUNmtytFH6hkU6x1j+jRU1+Z9Lzy7hI1c6xcufeZ7CJ3NFH6KwJKdNDQuDkPX
iA9mYb+KRqnTkJdL5mm9pHoZ3Pqqwoa1zciKSqBcymzt2A6ayH05FquqD06HZqPaNqb8dZtYkUU4
tKncmqTRhZvXsbFqno+vPIQCTCik6tPA2x/WgBSOG7dK10wVrSm8sMjEWB36UKehm045w5TXa28Z
a8NRZfKxdM7qpFb730E5OLU+hQ1XIwPoRL0Gazcje4yr4VenwCbh9i0ts9WGlQ24wYuMDkWVKLLW
dwYZvFuaZCPSaiO9tQlHrD6bJYGi/FHlenPcumW7TcPagmpVZLKeSFLWHkv1DJlSt4OxgitEp6Fp
ueJg9lF+hajYSzyXTsyHuCxWaC26WAL+1yLFw9jCXZirlzLkrZsj/gOI5qvRSLLgttAALUbvwQA3
5nQmNgytQ4JEeyIQVlc0H3Ky08QI7db6EbYuZFSogUFUpMi4t0VpbwIkkeUYXbH9c03oz4KLsKFo
kCtpwN8Re6fa8/MELcMxGUS7HnbQFzmevFWOAolBbBqfeqcZMl1AhhfgiDeO9QAbkSa8LmZz2xZZ
t0Qq3YPqy+QPP9y+q/U4pdpH/7ql8alEIrPVy53wYzcjtdUhm6Do6w7t9xMH5R+G6WJ9N3MTOpWl
hA1Fk5VYTFNu8clb+zaVo88PQ765VXdsJBqfq3BAoxNddjEd82r9MHJ15VTOUeGNy2gj0CRtQFTW
G+8EVIG6CafO3Nd5MN8vbI6+4RVf3zh9WBuNtlWGix0vsRPkv/RDDeW4O4wDutVLbBiaKGIhvR55
cL5JcpwH8NwtyguuHNF/neq3zsiKqHrnRdVqWBMKvPUB863dQ7PVLDXN8n01IzwEoesJ9JpVYnL9
xMPxY6tIftjis3x6XHwuDWO36yaXFJ1TQC66/UsXRG06DBG51W35V6vb4ktUDXf+PH6cajC9kAhA
zIgv5aPvyxrgK/HV7UNYrsGsW4E+yp6fSvwgug5QX2bDs9vaVghnlFIhfE+ctooOhzIvn4B1ucba
fV7kra9guYa9blW16g2PnVA+ihUMWWpxkzBmwoa6dWqAoAgJ4lPe88c5FGcAr5vx2tKUs/JKT7I6
PrVjYKakXYnXp304SbcpLGGD3eLY1GNJ/fgEFtY5NTr+Bx15N39sY90CX4++5os4hQUp2GFeKlOl
vvL4lST7fOve+Kg23s0fQzQLDdxm0xRjmoM/5c5Euj76c7G7OQcb9EbLlVbjzOLTyMipHRSgsEI6
5vE26G2Lqn1bWgxlgNOFyQQzQmBQWeO+CN3qB7ZWZR33oKTI1/i0z2wA7VyrbpSnhFst2Ia+cZrr
NgTd3qnQ6+fRI9+2MHLcuGWuZl/gI/ceFkW3g1RH0pduocRGckEJRebFMsbgoikO3rptIPZynBMQ
gZVs7zsoO4O+g7WG4U2EYi4GHfxr3d8LPXthw7iAlFDNUte4LouuD2ulxc1E9ymV+do/0K5sDvhh
7XeU0QlN2pHl94b33nHgcXtbt/iRC7SEr9jF23IkTNiwr5z5XLM+yE+8J9NDLxr1EBsU25JqJ8VR
ijYc8JYpxq+jGXOZAkYeLElkgIY6UJ9VD2gGVocm4INOMHm+Pchin2/O/d0qIWXV3PoNOOCdAouN
IVtBoBQUWsQnEnof4knf+lH72W1p6yWO1MHjIcdtGnb6osYZsivL6DbXjrIh3N5vvZZS4tD2dopP
gQ4/N725l/iubvs+e9Tfll5YQMewm2G6uXjKJf2+xNTNK9jwMVbTKZh8LD3R7aHOxS+v5o5LW15h
ncsIlEOBOAWRatKIzyC2A4OS25HQ10dSVsPULa0Qp5iZ5pBrQGrXobliLhfSDxs7Fga5XDtUXE+r
AEqINHLHxDy/cgnPH+2NMGhDwVAE8nU5DuKk5kAdczoHj7ta2TOEwLhbbmYjwGQIVQl2PvmqCH8W
tP8+DMxJwoYJm/csryVYXEeJvK/swpR0Y5QsK3N7y9oAsGndAcaZGnEqOvoSYSY81aT/2+nG2Pgv
8HPMoI4V/ARkFDuW7X6L8bbp4La4ZaExtB8DAhTpyd9zfZuD3A4jr+GX9xc/e5A3boyN/goXuq6A
Kwi8N9lya2RNkpDn+6E1O75A7cdX3rVnN/jW37EMFiyUGKsNtcBTQaOUYCC1V4Il3+8PjJHmjsQL
0KsllCfe/1kXrMxGea1ePOxb0/PT0JN/YlV/ZL7vVgG0YV0CLEq09EZ+Umg4JhHTH/eocYMaWLCu
/wcuCmBLITlzGqP1Sz8V36Ep7JZH/R9nZ9IkJ65F4V9EBAINsCWzJhd4aNvdbW8Ubg8gECAQ869/
J9/KJTudEdp44YVKKXQ1XH33HJf24qKaeFlHiFvby08zr9RHuAB7+VryxMW9eETTY2vQ8WSXyxmi
c/8MTPiBoYlLex31Ehkp0XgzHEmWpxSk2p+nSfL7WenKkK0xraIKpsLFUMf0Oa5p/UrV9fIQw/Iz
0/Gg7hsyB/ddWJob8XZlYrraZFqlCe6esyh207DXJrDkpAPhR6bBGxO/86fNPL6oS1d8EcUhBHDk
4SJuugV+e64LeB3NMAPbqjkSX1qfy1nbO7vcktW8Ni7Onlv31ThyYXgBFibXW/PQjfLbnz/ytaad
ozhT1dJAB5cXcaLS81Gnb/uL47Vf407iu5ntcNCZM2QTsIjiVli9B0JV3ngnufLiJlwei0GqJJqa
HtMFxWl91lXM/lOlLH6dbvZTT4b9rm+O6Q5zeM6GbZmecbD1klvjwuW15iS0G/TWWIEKovI8dXFz
TyNNb5yDfr8hCJfYauRUbck6iEJ1DAn9QWWqLX+ILS4EnjDPkV4++Hwh4YqTzUsflfshWEF2GeMk
F9I3R9jHt64Uv99AhQtw6agaYVEreJGOFRRgdl6foVGNG4scw+3dgaciv0uAcMXKUCR7RCwJWcEJ
tX8xbrfTxrS5sUH/PkqEa1ypShK2dU15wao0uRuhm7iFfjdtSK2/XJYAF5B9OSZWLN34qjTxt3K+
VYtxrdtOcOtQoTIY5c9FaPf5jkV7/GTZas5+c8eNbsTWjKqBy5Bv86mnLT0zOAN7Ne7yXEsQ86Fp
KUZlXZsMacPgKW7F4dn6Zcv7aSsox86MC8FsEaSHtW+zkQdkt7/6dd257KpFoUi+TrHqBfBN7qMC
r35+tTvCBbrm9NBlU2FFtbwJM3PM92Nb+S3XwiW6xmFC0Xp/sKK0QXiWWqLAAA7SftPFJbrYsPW7
4hvGfFU/xMLXkylRhuM35s4JupeoX9G8xVzUXW1P4QSimEvK/Ep7hIt1aWR+sThqjPuy/xUiOZhN
lPqdD+Ga+HI27t0y9qTpWKHCQD5No/l2QPf4xlZyZQ1wua7yYHh5AotfpNNun+SS9PeQ/7hVlXml
dZfrElGjpgiV60iQkM8hJfk22BvXxt9f18UvUJedUMeaHFFBmyZ6121h92RGOT6WW1P7Lesu2oWz
yDrA1JriXc4EEIQTGeznudctC4rdL78qRUkVYW1Ai5hA9qdk/T2r41tS49fG3bn2xuORtOE6oHG1
Thl0QF/x7vC6Zwlx+Zs/LY5BhGRawKrLXA/hWrAimQ9HVb+8F07aL1sHfyUJVLFZUSUQLWr1CUSq
Z8ednXRmDFOG96yA5c73sa4/NRF777W+uHCXrEoSjxq9jpvkzbHVDwu55UV/7VM62+h0yKozlYqK
WPfsvK2DyYY+8OMIhAtvaVmtoqYmKuDX9omo4GxD+sNrTFx2K9o6xgYFz5U5hTsHNHW7rC/pcfZr
3dlFlyU6QAD3tJhI90/KNGY5IDevi4lw8S0zowB2wfW2wHPAljV1WWYqoZ6R7wJcLJkMFEMWWkAB
22Sw3/3v2Np//YbFCc5jEOVo05UWfSt+RGP4IxnYR7+mncgcVZ+kauGkMCMcSTNIiOq/O5osXolj
4QqKjVHCR5xdIuxy4Zl3TXjSVeXHtQlXUKyfVhXKsosLJvU3imcRrT1nuROeJbRCCYW9dBEe9C3U
fp9Tknqe5lx2K1rWWpbDSoqJQjRCLBoJ9TKRXjld4eJb3ZCqdKcjKRqtT3SHMGbtJzcgXHarB3HQ
xGRA05R9T8vqrxYqFl6z0AW3ugiPcQDoo4JDtB+iFcF3M/tlJ4UrIZaM46LidY8KUk/hXdsn90ta
+TbuRGbQpmU9NGVcVF33MT5aiIXW0z9+g+KEpomhh7NMKKTs7aazbeRvDVLFJ7/GnW1z7zfoLiQ6
KkTPu//iJqzel6T67te4c7Y9Bi32up+jYgz27TFem3f9tPk9FwkX2ZIypGG5EFLsQ7Dfx3YIzsnq
VyMiXGiLxns81BC8LybTfVjEACueyctyjYtfQK1w7JcyRNu27FlG+/C5SSe/o4rLaVVGtcixTKRY
ymY8lXCazA4C7sPre7oCYeUh23oyuNTqpv+xlSuis/cTIxauPBhEnlp+1FFYqLplDyJop1OcoBrS
r+dOfJa2VGVFTFi0R3eedJQHtP7Pr2knPCto05io0yFW2qOoWPL30q5eRRzCZabWMRqGjcmjaDZ4
4p5QRUg/TvMmP/y551cuWS431U4U/uZrGBbzOlXtWdRjj1ypjIPPZTV0N7ItV3RxhQtPAZRddHeU
YRG3iskTjY3+S4ctjCWPXp8SqB9nG+2gToZNjERwd4AX5RZgiT6Ccv/KTFXdef1cl7SCVUIVz6nc
C1MP23CyI2RyM9KRBCrDMun8JMCEC1yZLebChulRdHu3QTBi5afW+2TssladkZOxFlOi3dcfKSCR
E22qGxvN5XL660ukcFGrbknTXWzkKEQK0p7Wkf5UzWV0t4ctezWPfc38otFFrkKMR6kicSCRxfZP
QrHxRCDzf+tp4LK9/O53OMFujmVQSa2OIo3T5Q41JvV3NST8awCK74mLtcJnD4fxrl8OcuYMKtNU
kACWXUcd+x1kYmdRKKOxstA5DIuDfhNYLbMxVJ7Xf5fOKsk29XhICQsoh7FTC6v2WDXjjY7/H4j4
3eA5e/YaEGFQe30Uuw1L6I1BAGODPnw+VXt/lnWiHphB7d66td1J0oNkOq27U0N6+GiptMm4lT1e
4SNbZckYxHdQmsVzZ7XAKolW+/5QmzBuz7Ib2/Ofw/ryVX/XYeeMDvYzbeyOiAgIHGtl/djjH7+J
6gJc6X5MlUr7o1jo/nnQSoNsZH4JC5e46ihP1pJ0RwELpi/L26Opv3oNiCvaNaEyYUwOiyWiawfo
+nPkLrMZ5oh+A+4iVzo8NMp/q6OgUKh7TlZjTnScb1kcX/mcrmzXLJfOGGmOgtMpymBz1t3tUX/r
Wfta65f//ym91UxD1A8DWofzpcx4NYTZwhq/7drV7QrbxqQDbY8igZv1QxLwT8Oc3NK1vtbz6GXP
16XtI6ubrdhiO9/ZFITFEe6el1GXvTLK8It2BlrvyioDI7Lc4+C6nv1mpBOiYTC2Mtz0doH0UFm8
66xKSs+Do4td6Qi0vT2StVgbPMZ2GjKn8Lnx67nLXQUoMtgrzfdimEr2obZkf8utDfyWFxe86llC
2yhI9qKren2nd9SjpnTyq5kTLnoV1Jr2HRmWYqTkv4iM9blXxE+LVLjSW2VTg40cNhRltEt9squW
D+C6yhu70O/pE+GyVzguxVFXTVtBeCPuN6ljfU5VKHLdsPoLE9H4ahMlkIV0mnx/kbNlyyReDdTi
5mKrsH8MI2q9w90vG+NCV0iUqIHaci4ARcxPMibknqFQ+MbB9srS4HJXMV01l1AZLaKRwGZSCfFA
8Ebt2boTvKshOzgRboumo496eg/23gu8Ei54ZeM0mo6e2sI28luofijYivhFlktd0XYTi8TNrOjY
cQ8HuzGb1vCH12rmQlfBcqCUJZosUOln0WwmA3ylbvT7kuD+zWHGxa72bqwZSvRskZpxvGdmn+5A
lsSPMcy9X3WLjL6IcrlVtX5l3vxCXC0El+IKPyQ+EpKxNl3ebdbWn/2G6fJXf9pqdTqZ7ZjiEQU/
8/EEvn3J4G3mR0UJF7naeV+iyKsdC7iEf19lWDDUS/t13Nlp464hthd0KFCK8zcLts8qDTzPH64J
5NQs6UI6TPnO2r6oI27Ol2XHL1RDJ1R7FsQyCJaxSHsUwrEwzNJN+clVANx9+T27uprHDVVVBday
+lkcQEl0YLxMzTlwzpetx7YJtnJaoUZXHzUUuWcUQmzTO58vCuufl42DyuuPFL7phWmm+yBsdQbz
Hz9PDfi8OI0jj8Dtwodiq0XwaOu0fdi19YtRODC8bD0OSCl5pIai66L3gLRP7bZ9+fOoXMnMQMT9
ZdsbaqjwKYehiCPLH+UmHod1wdbRn2Tcvw0IuxtT8YmXa/VKT2X9TDvAT/vW3nqj+P0uD0Hzl39/
rzakfNZtKBKid4OSFk0f7JBEX7uq2nJ455UkW3W8flFDVXtOBSe4YU4Np78kNUVHrM37fjR3XUfH
D38e0t+vqFC2fPmLZoxbk+D2UoSguM9LMP1jtN+1DiKFL9sO17kmVk+msN3fG7InWW+79ca2c6Xf
LnAlehYNaUf7Ahas55FMKHe5lVS61rQT2Pu27dCzaDAka/L+nuAfr6F2pbNGI5K91ivaRUEEHOab
jAbUrxIWqg0vx9rENoDBzWYKLHPDvYAU6l1MqDz5dd2J6Yb18v+H82IWkmSmbLMRBayejV++w0/b
bgM9vlkHpC/WU9OFIrN757d5cVc4C6zChPNJ3BdjFXY5H8Ylj3q/Il4Uy73sdxsNtkoUawuryNOx
TB/bzU+PD9UzL5uGnHZbS3F0Rc2TzyjTKbNhVX/5fUsnKhveStAge1/QJPqwBFteM5zBvdp2+aoe
VGuo8OZXBJTXOmtNXeYQElB+S6HLWKXbTEMdcV0k2zyclK730xbuntuii1dVSb/LLkq7gqbyS6Dk
kc2T9Yt9l66K6qhSVRJrzBVL7o44sOeGqLd+o+5EZy8niqKwy6iP4SOuKH+PVfzw56YvTfx6usfT
38uJqGKqasJ2XQDw5v/2ScDO7MAjhIVn7o1y7yvLrUtYQd9nj6XssZLT4APMLKBmmwZe9zUunBAN
RBzVGz90QbclOQdiLIGIdn6SgtylrMKWz6QkZVck3bKfRDu8OmCdeyOUro28E6ZsqvjWBb0poBNh
3000Ws9CJsOzligP8Pq4Lmx1ca5Eoajqi+hAOB12qk986Ks7tYWHF7LIXejKlMuxJlONmOJ9AQft
x/ngNzIuV+aNa+5Y9eGBG3LTFlvUqgLerfKu3uLtxthca93ZT+tm2ozcrClaKB03RqZZwNa//cbd
iddExdAQCvq2qML2eCpXluTGbPIME/BbLy6/v5Vz18lxhcJIuDDZFiQw4ftgXbXK4ma1z6pOwBsH
Nb/bq4jfWCWuDVb8cpUIxzIC5pX0hRVW301jfgyRn/I6dzmsQMNOGFl7bOF9L7K2Xl4RIj3vKi6H
NalwGdI1boupr6DUECxNVg6B160cpY8vRwW6dwnpINlSMPJjTwDuLYr75WG5i2I142JstCpTNLtE
piiNmic7L+xGzy+T/DervotiTZGIrQoGXUwgVZJXNGJVfQKAuMIKQbDyu2bGT8uCu2jWCJ5s2U2n
oScbPohpeW8WPx807qJZq02iJu7Xrmja5gsSU/+aAFI9XiHsoln9CtbY9NjPq7TSw0nzev/Q2BKV
hjUEJv0Oxq6oVjvrRhKC485m1+WU6AN2cfKWgtGVmGVOzGJTR0XJHumCxDQ9ET63dyYZ+Y3xubL+
uMJaVAUsbSeLrTEdhud1lR3canvYQ+HVvF5OJBLmYW81uYFsXNksXaUtZvtwPYalw8sk6WFOsEag
2VB4SLT6/ucPfm24nGCmJSMaVW7YbYImSyJ4TESs9NNt4C671VtpYeKLxtee0rwl88PA61t6LlfG
xoW3utWm2xQahAFUV+7SavjW0km9aqJI3/jYV8bGRbjaVMBKxpK20NF6shIuAXRrP3iNuwtwTem6
q6C1ulh4+b0KzEcbDH5nE5ffsrWx4wAZ1GLv9jdc/WcPv6IB7to7QqiIl+Vm2mI82N9p0L+Lm1um
KlcCizphO8P/5yj3tS0Gtk5/cSCc/wwoKy2zpmFj1quhg29o4scpcxfnWtpFjniuxNxhijzwbVDn
VNLKb31zaa4l6Q6OhDvWt9p+V5F9JFCJ9ju/uQzXwrfaHLvRyFhX3Xmr4je8mbo7r0npcllbp1E1
B9+4QosoOafciLsGahQ3dt8r4eTiWLOC20mUzrpgW/06xp0lS8fpi1/PL9Pqp1zLXFFSgZDRRb/x
p97yKivT0vM+5NJYqjtC0UvTFCtNnrdwfdVOs9/N3+Wv5n2ucZ4iddENFfTShn7LiJ38bhKu4lUQ
pXRuxFoX8AtqT0CJglNJDr8rqMtVIR23TfNBVDF28u8G98RDTzeavrIWuFhVMEllLMoTCxiUh8hG
KyOfqBmnV2vYk7dlEBC4cevmRoHbtWnp5KRSVGN3cp9V0Sdz+gjfyPKEfKa8Ea9XdilXBauypeas
OVQxT7L/vO7TeF9GZH81wXfSb7130Sgm671U26SKTkmU59j6OOmB0LNXZLlw1CR1AmXbEq2z/Wnp
t+puG7h98GvcCdvdrpuxLS9RL7K8MWx+lPbwcxLiLhxF+DZJquOyqIFTnnTJ4yyAh7LfGu/CUQ0q
Z7tF7GWxpvO/TQULUVG99xuUy0T9aS0Ts55FBKwQbDf7KO34uo27f/2adnZZSUszJUqj6TV5nHX/
T6SDr35NRy97DVNpudhyKAs1W+jz0AP3Tu4HRfFfoKh4G4zsgyAX2p7X1j4txPzj12/nABwFa4gc
GpqWJPoYHdxkdQC/Na/GXSJqwF698FqVRYCU3d0G2hmSC8oPK+K/IFHBMvcqSoOchd1bRbdCzonf
ScDlocoOFRHlFgV5oox4M+29eFPO0m/Tc3GoaF7LdjJVWcx9vLxJKrreDWlC/fKuLg+1B2Ile89K
8FDkUn2uIEIbkhvnjCtbk4tDVQrx08bouppVUGVpQIc3DDrOHeT+o+lhxov2maTBrev4lXdZ12oQ
NO2SkHkN8mYIFDttQa/OfcmnH4me+D2Sbd39bobgdFBW+S3JLiBFAnjiKaGCfD/m/keQBNMZtyDp
VX0IQauXqwTZFlJudsYPIuaLrcq3Asp1frHmBHIle9ZClxh7Cf8Bef3+rCIW3dgEr3wHl4+iscVR
pAvKoksgxNRyY+4PMjWvtMZrkI7TOWtR1v8Kb7WeCWYXm+JyTrtpskHebZjFSQ0/0Mb4FfVyl5uq
aLpg9iIhSDZzB4nOt2Ysb5zdrpymXGxKplNcg0NM83nZP7Zr/fqod79zjgtJVcuqgg71EAWVu8jM
uv8zSeY3eVxRqnDdIS3XYc+l4f4qFvxHm45+OCN3Aako2qzikLnK584+6V22WURI6LfDuBaBM4XQ
MitXmTdN+6Qt/bSjNtYroFxCylYinpYyDnIwk9+IWc1DRCY/pRDuAlKwHmyH8djSfArbHxUBAj4i
Ceh1OGMuIEU15nYkR2wBBrIMiV4+i3D2ewtmv/BRqRnUuHZpvtf7JxjNvFvM6nU8Yy4dRadJyS1k
MlcHtF+PePmyj6y8sfT+P0f5a/abuXiUHhjlJTaSHGI7XbETMd0vUzK/Lus5nF8pXCIeBpTMZ3Dv
lQ+iZMFbLHHd0w7fS/jmjfP6L0mn8m1EYGKUQdCInqZtSpPMLM30jaLG5oPo4+ZrzQ9aZlHV8Hdz
3Yky61qOPE6ZxvMPBT7w3zikYJuCodEgHdfoTpeJPk1JOH+pEnPc41UEBcdr276pKhLM2VZPK1xf
cRDOTJBOc1ZhyhQ9pwdMs6PoxMukg56SDteMVhUe59dRPAO8qD9tSVBBczVZ2H20Hk1etoF+CCA2
+sTX1aBLa+oHzTEXDjO0gi9EHMNvurEqO2qLp3w/1zvmwmE7syi9GFOZM5i49CvvsznCIvLnIP/9
kwhzyS8juqqZLx03qKf/MeKy9wTP0+9KtOXrMuqnxz//md9vC8xV17KbGdlAuczJED7IRL9fcaS/
8ROute2cKRTXkL9ZxiSXIR6jAr3fMTr4mcYwl/XSbcIPIBMy53OcK8k+QgjR66DKXNRLLsjP6NQm
uSaJzOLgfUDIrbq+36cdoN398pyV9KIPETxpLhuU10/xXj60dianzh5+7snMxb54u9i5HWCxPnHb
ZZzuRQ1zXb9v6mJf6wE4twl4kiMp80SOmpz6hdR+24MrsBUt4KBFcyT5xJb9fLG+Og1NP3hdnVA4
8nLoy15NQQUx+Hyw8pvqyVe4YP715yj6/e2DudgXOyYIVIWTzKuFtmdVRsudiGHeXSew7km74Hg6
oMx/449dCSsXA9NIy2xQS5f5ZuoISbjuLWuFVyoY1cQvxwjF5XSsFFadfUrtaUi3u3IVfsgg1AZf
Nr4wapOOWXRchvrehOZ1aaWf2h5zSTCUpkRwecbXXbqEQuYgqe8Yb5Pznz/wlTF3QTDWbhyqATgV
WcvlKSBDnaVHZPyCygXBrBGwfRQszanBWyUMRpbsoPVHv65fNpifslZlTdTFWzvNeTfD4yX8pqj0
WyhdB8W52sZmbzEqUDN+TIbHXgxetxXmYmCmhHtccJA0h9FTgfpdiIWw8Z3fgDi5NhGM3UzXS685
qrdD2ZxEEviVAKDM6uVoJw05uqE+0ryHqU1lgi2j8DTwnCdOdGLalbHsaJpvffq6a+fxXIW18pzi
TnSqPbbQFChFvqnuoavj5VQnlWfou+SXTepKN6rkudrUc9zKp2TzPPa7xNdWKd5zVvE8Xssx68j6
EI3pZ6+p4iJfhlQEyu81zxv790S7N02/+C3irsJWCx3tUNSK51oh2tOIP4W0e+vX68vZ46eIb7Ey
kWQ3MEecgjxYPsfN8d6v5cvy+FPLmyRtF5LLWAc8zElQB4/biHSbX+tOYOoW3mXj3vIcuTwG1YF1
OzUJuXHQ/X9q9ze3LJfrmlu9wb8D6BtUkRHuezeHp63m5RM8YnB8Z+m3NBBVticbew5Zy78gltvH
3WLtqeQQq6xswvWOxxPDM2OA4oISG9qbzUQVwRu1lqe9HojfwupiYjKyuCxFscCcbp5RtxhnkRB+
rvHMxcRW06WsIjvPkTr4ysP204yZ7fUFXUqsg+03J1HK8r0L17MKx/U+ZsetZN+VTdilxJqq7i0p
S5YPC33PGlNnoH68cirMxcK2lMD4hkcsV216wlnta7r5ecYzFwsLZthRs4CyPMVFFJIuCzIfTeK5
4bhgWJqWOOVYqE9Amu77kkB7jcZ+vrnM5cEO3UAkfAHlp6gJID4z9Kh7v0lMXCmuYi4RpqN47PWC
2XKhkLLlYuogOCyAMoK94tSVSfy2lNH4IZQwHz3JKR1VBgOq9KHbp/VEpmH3nLbOph2LJOZrqlm+
keyyh1ivd37mUmK8nHtWa7Qbcr5CNqgPs66+kTW6FgzOdi3tsIRBKqOLC93r4DA5Kqu8RBqYS4cp
hfTCuM80t1Wct6bPiSw9m3avv2qfeWeSOA8XAHoBDJ/jqb7FAF4ZEnq5nf20O2GQVTh3cZQbNZ9j
rh/IsfjdTH+hwgwzFkRnlOMh9U6x6rna2I2mr2QEfqHCqMKDQoqR5r3pYJO6/4gtG85HE2m/i69L
hw2R6vREgyjHQfrpIPaV9wrh0mF9vdYhRLKifGoxJjx8Z3TqOVWcoCQ4CKTbspM8TuSciUA9k6P8
12ufckGwkCljDCE7luShPqfVLDLohnReL3XMRcGC2EQoR6rC3GzRt30c8C6ibnT8ymRxQbBoFnQX
83Hkqkr3Z9NeJvm01NmSUs9TmEuDMb0d1WyiI+/50GaplJ9Mnd66R1/JarraXOM4dqpMhgOvZ2b5
0NGyfqfXofrENlU+0qEePW8FLhp2IPlIU7ZveAxI36O+EoDr5LfyumiYjFrwkCtb82TR+2NQ9v1J
zMKvDoS5bFiY4hGD9Gg9jcV5Suxwr1VI/Wamy4ZNYj8aKLZiVOZ2zYIpfTMgnXfj+H5tbjoBe+i5
GQ9cInOFxebUkk4/WpWUD0vVRDfWyisrvGuMiNr9OU06VD6XPVgWqIadxj66dbu+1n9nRw3CQEdm
D9dc7AKu28S0OVRV1JtFUuN3IHCJMFk1A9Jids3jahgebQAZ6xqZ7LPXquYSYRCX6SGRjdGJgSNk
Ooo+xWL2Ox+7ilmD7mtYfekNlTY1RA1SkY2wbboxc658VpcIq6N5GOEPtOUh65f7GFY7D2GLumW/
Ybl875+OBW2YksQ0yZLzpDuPanyzdvbGcnyt45f//6npZYhTadp5ybtgf5voKjlF5Wz9JrurlYV0
nZ2oCcdcT8F57r7CF8brUZ1FTqRGlPFFH5vNaUrg9tn1d+vS+D0gMxcJWwY6bdEejDkN+vJEy+Rd
UFd+PrrM9SgcBG2TOuxtXqUfm7CdcVVrPMfbZcKCdAlRdYG2Z9p/UqX9C9WtfpHpAmG6Mc2gq9qC
6whUBjnPIZ60X/C4RFjVxkh/sdLiVgw6oorCU8CHxG/DcImwfevaclwuHa+W42R6+YpPcXTnFZgu
ELY1PXRB4OqTw82saELxZU/r935NO4F5DJBL3VAjmEvIu2R1PL1Vqef+77Jf8zBjG03aMZ/b8Ltc
+IdQr17IM3MZL2SOx2ad0LS0+rXcH8LJ+l1xXb5rZrIyKTyo84rM5VkbRU7wbLj1WH1lHXStBzUc
mwcDf9zc4hWsiDvC7y8pfL+F0IW8kKTrNSsDk+/p9iHqSFGZ5oPXPHFpLhrCx1n3pcn5zo973Ybf
gkP4FbMwl+Y6DjM0NUoX86nc/osApszTzcPWlRF3cS4h07Q7dtXnm1gLPprTvm5+SW8X56pZ1UDT
f+vyGRaHzylPl6eQtH6answFugx4j5mCWcpxtFUnlEye6QZHQL/PGb/cj2OtFImQqM87KCPfGdrP
dyIZiF9e3UW65KqhSr5FQ77v6RNjebzwG0eUS4biN7lpl+jqFhrVeMPo8lQ2wXQ3LD3IHhvO/VcB
t+J3ZKmSR7Hqw3hGlHPUFU0KS08yYZwoD++kmNNTY8cvPh+BupBXxFqIBHOhczEGX4dOtFkyyNZr
z6Au5CVR7EqOIG3zcuw/ErhOq5R4HeaoC3nxMjwGNfVtHog5fpwtO2t5pF4nf+oyXmxXaSSnqc0t
A5M8BahsTkJkOf2G3DniYn1MTD/Xbc7a0Jz7ZUTJKKT/PVu/rEE/n3I3U7UQ7O7yoxRf2n7P5Qy1
wD/3/P+n2V+nPnU5J/BHSYrK2S7H6MyPXJqqy4Zu3M8zbdvXUPZS92wgx9txFXMx1Xa/a0lPnlgX
1Fj7xAQ/MKXb82UxTLOVamlPkGIcnmU9L+SOjaC+oqHdMdqQuj5piuNAX5dLAcdZP9yfugxVOMOw
aVCI3ngX3xZKHoZ598o14Dj+cuirSNQ7gXtbbgeZ9QYunmymfk8H1EWoWnpsA6mRR9KRhAPX8EY2
nqbz1GWoVJwsMday/Xnp20cNH9wf1dpX3/48aX6/+VEXokqPZl1mUh/PgVq+tTY9r1Hqx2JQl56a
qRwStTfHcxXGkJ0iFppWqE7ys5ykLj8V9hsg6b09nqFQP5w2VEY+WEH9pNuoC1DxVQZJKqf9Wcxb
9CxpW2dQ3Zi9oAzqAlRI9CaJaRl73ubueCJxrU5aHbvX3k1dhqpOJR6Wy0Y8B2z5IJB4yapUBn5L
mMtMCZgTmYqVHHIkMctWnPayumR+2nDUpaamFi+dA5/3ZzDfw/1qq+Z+lX7eqtSlpkYGITQrSPy8
MvGp7NQ9tcavaJm60FQdzlhuWRM/95BS3dOPnez99jsXmEKqPuG8S6LnOEV8imqMT0j9el1mqMtL
LbHFIQCmfs9BPT/LGfa/ofAE96mrnFV3XHa4UkfPqG7dzzYV9FzHfmk06hJTSSLSvhps9HwMZDxt
PbIAEsK1NzbTK+uiS00lHWqtySK3555W+t82Slb7WB1hFXplA6irnLUtETwN4D313JBSZdBvfKWT
Wwjltb47OalyhXnGoQOsWr0y2Wrs4xAuH732C1c3K112GkOrL3oe4oredwGI9CXFDdivdecwnaxx
AyG3aXuupz06NdH0JAPrh8RSF5zq1MGPuRTRMz/pPTYZL0c/PBteCi/PFu0cC3bINHouN/oI8SZ4
N7a33gKufE0XnEr3QSTNwPmzntMP6yTvUV92S0XsWtuXt6Wfj6P/4+xMlivFtSj6RUQICZCYwu18
cZvOfkJkCxJItBLN17/tGlXx0ukIJjVwpTGoPTpaZ2/d8qowE8/8kj2ivPU5XPi+HW7rTNgyU/fK
xHPWe0VdpL2iL3rz4QJJ/l1jZSuTFfmL7/dwMcogFATjrPCTsvWnfY9m/22WZq7ELGQeZcAb71Gh
MSWqUR/3PXszOT0Ua0K1p2YZL1F4KmSiSbV3GG5DXN54OKivWG+jtk/8CTKlLyq3+158MzfhzlhH
i2nnjExuTppy4Ice0eO+3tziTqQ2RSRzbHJIx8ASYmwiuFlGct9Rd4s7QYkTyBrc57KQ4hBU4Nro
Uc6zvexqmS3wpFrKmGkQJTZePyS8FSeIM7/b9+zNDC1qqKV7g6WZnV3mj9NlWdd9HbrFnbo1jJZ4
cTSDoOh88gKLK0wxkX2JzGBLPMXjDAjWR5u3CwCPJmfqveDM29nmmynarTFEvCMzZ/XI2UkgnD5W
eq73LV5bCSx/kBqaSN2SjaUfJLhnnxJDUMu1r0830xSSigpmsHLOdDQpoB60vxhcDuzLGW2dCseA
j/VUNiwjpLy3k7suju988y3OFPekoUvkTVnoSHyNy8VdIn8OdqXsg63alXbwhYHf3JSpFRZgY1XW
H3jQh4ddrb5Fmvw4aJFLUgx7tDhEOTnCcmxXqUewRZqGictADnrJVBt1iYe8TgrLmX226sGWasKJ
KOqGBS8e9x29icWijzmUIvZNpC3RxLowVkWARidhJW98afss1+tbOoovWbM/pKS2UBN3U8lqnA6x
CBTjySec/azjSD+zxfZvfMDLSvinP7HZUMnY1x4kxf2s50Y8FEL2hzrqo+OshYc9hO0DcoMt6BR3
MCvvJu5nvCm/BLx7zHO2L6jeUk6157yhM4EPFK4iD0wwkxRjFO1LfG1BJ0cDHBnly9Mn/kRiTye2
J993Taot4dTLsIXA1TRncEStPui6nB4mzqAz/vfHiz/37ZZx4oslHPz2lGmvXZ5bH6Y2CcxM22Nd
Ue+wMt0/yr5A/YMuS70vQNviTsvImqXqA6xxoXsHLP8bj+W+bWWLO3VROYWtwcJvJpHaZvhetOvO
pXkLOykYdXcwMnLIEtRl6lqHdL7YZ/URbGGnkNcEyvqdy2gV2Rt4YLkjIsxuX+y31cLyg6C1kHVx
2dhDB+LlbgjGdzvn1pZzYjVHVgAITFaHDUuEj/8U886hsgmJQ5q3s9f5eHF/8g7zC1zSc71PfinY
Ek6KcABapLCZLiBNM3kusWSan/4+s145+W0Bp36GE0YNt+QMx3h1kdzLE7t04o1LuFfW5C3iNA81
6k7aesocZM7ejxQCcEmtcLXqjyXk5Ua1U30o2PJO3ugtOYoTp0yu9MsYjknukGre10Yvm9q/TscD
ALbKmMhlTg5hAqGSCmhr93nfw1865l8Pb5uwBog7OazKhYEnbXw323lfUm+LOznMJV1Nnc1iPtdH
GI40yEjyn/tefLPfatvgbt/ZKeuLYDgP7SwgawH3ln1P38TG8AiYIs66KeuKIkrJ6nRCRNjvfPpm
wjY5fNJxN+ayVXY2qYYIojZx85aq+cu4+EMksqWe7GDjpoZofYZ8bXAiWJFvi6ARlyXKq307yJZ+
Aq5cTq4ohmzy2D34/N+TH+2zNgy29JPxCxV1FYY7bdV4DC1ZElTg7Lz53OJPo47HfMzzMfOCpbmn
rXGXagz5G0HgK8vZln+K45Jgk1qnbOnbJplp/Kxk+Pz3Iclf6dbNTC1nnF2h5GmzpvbD8+IhTy49
70RAvX/qyn55HP0OV6N//2OvfcjmXPsSHUT5qFw2BeRG6a+u2FeZE2yBKBFUNAoJnbJmWpp0GVea
rMw2O997M28hWsm0P6EDGKndkSyjPAQh2ydSH2yhKL9y1OtirPKELioztoQYPoyD9r37FoqaLPP5
4Co8HZLpJ7kOfdqJYd9xfItFxVVczR6RLuuE/wEik/d8JfsG/RaKwnyyplJo84Zqc1QmfzTEW067
BuKWigqMhLIVYWMmUUSfFqQ3aWfeePYrC+UWi9KhrUBtxDaDteGc6ravz/M4VAc5qZ05uS0bFQZB
KYtRjpligpwGJLrPsg53ztKt3JUpDJm7VYyZANdy63nrJ9+Z5g2k+LXW2Wywq2M40nIyZ8iIVtUF
Mn/1U0U6dTMUNHrrj7yyzmwxKW4bAxNef8yoGi/GDz4tvNwXWm5lr+yig/rF4CNr/J4lY+/1SUWW
Nx7+5xMh2xJREuLNBHbQWB9liPr63sXHabZwbQXN/OyP1KS0LUja5ag/3DMR2BaTQkUWhRq1c1nf
9jS1EamPpFj3SQWwLSlFp3DxIRXSZ0oOt3MoHpkyb6TT/jyO2JaTkkHdUjIibRwZGtx4Uwf03dL2
0EFI6I1w5LU/8fLzfwWxRABkqDnuBERJ518NidVxsph1SW/it2K2P2+/bCsNJSCH1dARh+a4U/aH
VSU52oE1ByUX/6aIBnYJF1LvisrZFqGKCWRSRd+6TDPxqWgnmfQFSmX3jaTNxC4BmnpkDgfcnYa/
UI5+RV3P732P3my/jQqQaRtfdhkgN03CjKu/d0Pr7zNbYVu+qYpk6bcxnzJa0/qhyEsYc7pmV0EM
2wJORrUytPkwZGJOptXIn32dkx+7GmbLN3F4fDht4x4ZpOaTpvKpb8S6rz+3fBODmj/AgKXJrFyG
ZCjCm66ibyTtXlnntnBTOb7Ug3ZhkxW5P6aszCgxMnFt5SdVOD1Inq+nsN53D8y2sFNuImR/oe+W
AWSTKfPLMIlELXfFKWwLO8Uk1pB5XmxmWdF8RYKEXJwP0ep9PbyJmNkSu8Y36IUBRt0P+VLlZ9/N
5eHvT/9zJoNtaaeZBNZ5sW+zMVhYkzSTYCmHM02B61VsNppTb+do2kzhIBwEBAHJkLkXLcAG5k8J
zReT/v07Xlmpt+hTFGnPVc3aZyRa8mdpoPJft8Y/jQIqHW/8jfiPByW2RaC8xjN2FcWUxXPtpwtH
zdJCjXc3UasOVVwWpwbJ4URMPoUCI06x+1puC0jBm52MVTT413DO2+MKW+ujN++jRtgWkOqdo928
Ov/qFSVL8jUEcryz2AOaq//dP6c6wO1fiIfXZW0SKPA1odi3I2zxqKhnUct8PDqOoJUgRqOTEXTX
30fTn6NHtqWjzLI613DqsnidsNszaClnXcXnN+7TXhmsWzhqkTIqeADyuHalzZNuaMrbwnCW6Vmw
NwLJ1z6B/rfpK4+2ZNbIl8+R/I3rnFSOEM34e/P8Uwr0/5kgtqWkSt3DdrsY+gzsSBmj4QEaLy93
CSUMQY8o5GsveVH1N9OidDoWrT4Rp/Mja7T+9fdXeO3zNpkuXtXaTuilLNQQMhXiW5R333Y9estR
VXSeR7MMLvP8GR5R7xTfJ6wMjuy/faK6Fb6GwYgoRleP0OJgbh8siJKJ/z55CkFMmhgXGGHoPSEX
+i0o9pncsf+TnzJljrKnHnOByN8RR7nwIKrv+5p6E18bl8N2eVm7FwP0b8P8RL1x5xTe4lN1PRk7
itK/6lgjoJuPTMdvHGBfGXvRZkfOfTbXZimw9GiQB7yd0mAyn/a1yHbaxsNaBjmeXVgJCmkwqFGI
9mEfbKsV5Vmc8Oq1qLJlbX4a1aljRHCns+/NNzMSBR+K+Y2sMmvMF6bDTDKyjxFkW3qKWeK1OY/J
tbTLcxx4H7it3ghEXwmAtuiUbKLJmNEj14J19uKtCEuCthX32pLwABWm9f2u5tlCVLijM83Kc3KF
amaSV/k91K0/7Hv0ZpcdkOdX8PXyr3lsfqlBHiysZd9Y6l8Z61uISnnzEkaTIFfUwPwinH9e+vwt
FYXXnv3y83+drr28jQpToEkK0953moYHeOJGx32NspmkmPsYhxQv3un2UYoO3p/xsE8+iG35qR6e
wKrLQ3KNp/6hYPZil30q1GwrBAV5uFiLCo8Ws0wFC78VEXmrguq1Bt9M0aYPXBsMAV6b4R46bn54
OIPtGyhbdKpirSikYOQaieq9qduPojFvhEuvvPaWm5IThQJUj9dmq3/jZHzuh3Df4WoLTfXw0+Ky
e2mR8lvTL1dhojdSR6+99GZSEm2oq320B22qoxjTWcvTrpG95aVYrrwOYfXLSlJ9JNWaLO2+GjK2
haXoAsXQXqI5elU8mLpKJKv3HZK3pFSx2DKEAZjOBuLaROh5Pazl8JbJymutvdk2V9RmTLZSFNaR
xfvSW6D5ti47T65bMqos6cRIL+k1tvkX5eIvopr3bfdbMsqKbpqZe5k1XX5vJplGhuwb2lssSjdl
PLgJwyS3OCyOhYRiWM4Pu8bglouq46JaChQdZ71s5QXq/exgFXvroP1Kb26xqBpVBsTTPiZ8bL+4
uj/Ord0nmsS2+JMQq1RNtVagDZlImA6+t9O8LzDc8k9K0ij3Cu0DSfWS0dnzOumdj35pqn/tlUbN
uRTOUxmFH1Kgknn4sq8nN/skp42O8xkPRh0NFtgm1Vbsi0u23FMIbUy4wtv16kLHEhX1MyoloT6y
78U3+aTZo1Ue+rHKnFV3vqp/dFG3j9hibLNRjsFacZkrk2ECgdYiQGlZAnmwcV9vbtEn+Fy4qSJD
nbmqXC9RwfQhcnvzRVv2aS6qIQ6HqsmUar/2rP3R82mfqD/bkk+1l+taz2a9wookShbqSEJlsC9m
28JOa9c4qrher5q1h0DnHxgr38pZvLKmbM3+OqFJD7TbZB6rvuQryt4HHe48I9PN7CSDEE3TWHq1
4zzXadgrDrl95fYZYrMt8JQ7icXK7+ss98KvHvQ2FFE7I/ytwtNce6T3C25wk5xD87Ed5hOT8Vul
uiHWpz9kirYST9NABgiZxU22tG3zbaoC8q5vrHwuXMzOuxaCrdCTgEZoIFZmsnVavtZK31FJdoFm
bEs89bQjuY8S5ixutLwLWk5uqrCzbwz3f5r4D42zpZ34GKp5nmqTQdlbH/isuxNrguVU1Iuf0jBw
adE1JE98OY4f1kis5wlj+NvkTeNn3DkUnyn29/wAM/b8XLky+jb3yJ9Efl+aMzQqxxQOOn5+pCTs
D4UcotM6hOawq9W3NBUrLTQB0e5X3GwdYNhXJf1c0X2HiS1MtTC5hMEE7VRh10Tp9lyNb5Vg/rP7
/KnRX0bqv3ZStQYwrPCbJpMeluBUAn46QJnR8osCJtOmI9xhwpSoDupvcP26gK/12tTz8jl1cREc
hypAyjEclXegtfBVgpKO4T2rfZLlhZPnsnDkUEHW5MxRpf7ZdoLfowAeReoyjvtD7i/oGP8lqjEs
8D9ONi9PIQ37u57ielnLYb6BWmGT5V331uXIK2vf1vGQw8nEmnZoEDwE5Klz45zQMeb7rje3Ilf5
ICvVDeisSP/spzgjdp89DdsiXXJ0bowLPBnmMffR9LnaSU2zrcZVDN8SnA9QnZRHxQH1pl+EF+4j
1dkW5moqmEnmoVdl3dw/x2UOX638jRXjlY7cklwV92iNIsIya9VUJaPo1RnuPfsK8dkW5dJ05qat
2zpbvY7dzbyZIaCy03WFbWkuYEphnJexzCLF72EmB9Sk3hfDblmunMxM1xDjygBhfs+9/sPqB/sG
9xblah3sXz0pZYamf+QeMppcz/ssceGZ9t+lSCvZBPAxklmBM0myaNy9tYXal4DYMlzA3n3u6cm7
Bsr7Wo3I+KBOZucCvdW3KkbtLcU6ele2yE+0aLKg3ke2sS25JesyqIoGR/mxH9TdbORNp1n0uGvX
2rJbg7fUUSlcCb54uCdGu0QN7b57Wrplt2w+hwEP2iIztJwPtjXQcC/WXccdusW0mCmCAv5luEr1
ZX5EDeSSam125QroltIyDI50HrKxma69+djQXCSoBnve0+Z0y2mtYyvWGbPoiqzVeBOKdT3onu67
v4ZhxH/n0NKIqbalL67jGnR3Grc+F6LjffgazNz++3RdLlCahs3YtQ9mlzYqZIktnbcrk0e3NJZp
er+aIBB5Hfy4Sgd/PcxduY/ro1upqaXgg8+jRVy9phGJCvjXsB3HdF+fbg7fQw+tILgAi6v0WHmf
e+yrF43dztG4OX2L0a87QaDUEJXqOW/YdKzD9a1Sr5dx8f/hH93CWKKse0hP59EVRZXBiQesvALP
6g5Ny9y+bt0yWV3re9Vckug6ztY/+B1d3sdzH3/8e9P/c6j80xds7nrZunaMlDW/9nyg/CsKHfjz
VMckKVfpX0dYn6QRg2ic6/LqMTA97JkGf3leysA9jTCa/TnCEKI+BSHUPfO6ZqdQDdM7TnPyECBY
PcH0i3zwdVydXbTGqYVC9A3qD2CPvcKb9u8f8edAhm7xLwhoA5zJo/AaTPnnzmuefUSn+x69WRB8
D336Emxcvdpfrqvo5rSI4rdC6deGz2ZBMCKGklw3h1colmjUZXbRmtKo99/50pldOzfdyluNNIT1
1WxDZBOK5YuwYjnyunwrb/YyTP40fDap8obAfNDA+OkqcSP+ruqK+UZhdSvSzsYDS0nbQ2koCug+
AUm6VbwKS+cHrqvCa8h0ew9dOnY3NBGEQf7e3dErn7NZLHD5aV2zduF1ikV8QAnLci6ZVx2gIiNP
BmHKj7//nX9S8n9oty39Rfy1GtWE+yFaW989N4FQfdr2xj+IutdpAxXyZGFh81xoSJke4BhJUU/n
NxYDZOjhVhC/3LzTPgxuokoFn2Q4F++raomfwJUNTRJ0jmE+agIsZJ1w/QcH+peg9kmQunxQo1ec
oe41va+hYXNjTV8OCSlMlCFt8GFVQXFsyqY6axTU9HUimPPP8WKWc8c886FmjXfb1NE4JSFnKmlq
OXwqKCw532icP3fCllAz8BiuZZevV2MNlBR9Mx+5ZG8kS1/p4S2hxnrXI3dRRVeFReMMIQJ1CnXQ
HHXVt+8Guag3bqj+ObD+qYdfXuBfmYFyGVRn4hZbA/SJyU2rpw6GH4Axkgm2SUcAVOYTpAq6HyiO
CI8VLX/5tAoSXy91InERch7KRbyBJbyyQP4f3jYUHeRvuX9Ff/LfLRf5qYdi8ve/99cLcPSnL92s
YtYuUOWyfnAN6zj+yMk4X5mK9G2geHMciqI5Ta1YrjwQ064kHd0ibz1xS+SqLrgqpACvAZrrAF+/
fFdYT7dWin7ZLeU66uDaxUF/lcb4SS/9eF8Au6XdliZiZAkZu5p1NibpG+yKxSToh793BkotXtlV
+GYRQ9K1rSXSlteGRGURpKWCRmmfNoR5AU1iiG2Qd+vkouGnRC41Nola1YzSeqomD4I2UtAw75O1
wprUJrCEMyp6LHDB5eq0H3zrSnhzRwJXR2szLH6VepzVwcexgbxkkIwzrvJ+F7aLizlBKtuu9yqq
wuIHqvcrpEfmAuYFftKuWpl7Kqf62C8xPRdQ8vaOA2mwYM3OyotGZas4lgwqu2Pe9WdcJd/SalGw
wzMwFXatCUka6DI8QJ4QenB+iT0mHlGGdek8Ed7W0M578iXJgwNZZTklNq/KE0R7fxfSW3/mLzIv
tR1V0pF4/JTzOb9vijr6ouPZPnSlIaeSQ5l7WnOtfi/D0jdJPUd1/tBDwuGzFoJ45xJlyfUDtwOG
RzJgW9IY5FJ5ScX87iGWVX8YNFEJFELQx0vlxKG3ocZ5i3W30pcl3IC7Nqmi+rmt1uA2xjdAtLgc
57Qe/PwQeZVKK2X1E+9nWATSvuOnFt35SCBz4u7jOp+bNA9N+ACd8vzBy7m81Fb7XmKhR51WK1Rp
L2s10/YZvDF8wksdf/YUlNwELyJ6YJp+CApJfuQB/R0tVXNtlew/wuK+aBKUxBCZgmGqDkCUw4Nu
h+HQB6M9KVEMwBCklyOhyaGb1buh/dgONYUPRV3CabMvY2ovU7lS8hB7Myjz0k3ddFF9PrMPXdN2
/Og1Br9vl3B+yYUGpkodj/Slk5F/gw5o8JZGgR6/aacC4iTthAzEmEhY2qmPeSEmqF8NVbyURz/v
GjWmnqmFufUFfjVhsnHp2hfkUeqCBGmNqp5TXjQafq52Cqx3GIepKW7Gqpblg5ltf5IY77f1AudA
y9oB1nC85QczSJaECIzNwdS6b594JWpyCoeOk5OJKYtOKpzjPj+0esW5NEEit2kfDPesuAu7vCs/
mq6LyEMj/HWMkhzBEUlNaaquwpt0tXdGAouuJpUG1xnXKDC2PtFlmPoTijgL9s2NTq6PXm7gTSLB
pbefqVuqCe5UDaNTl1BkzV1Stc6ZW0pJzW5nXI7IH3ItfHnrywH/VKNNwic4qRAvWdAZ4amUoYlO
bOhjcZlM3ovUkByQU9ISOLmkblhicZcbHhdfOODP/gSUG9owosEvHFbdeKjCn+ZgzJ/gQwBJKdDM
0XQquzaQvyA0NeA+CQcEVzy0DAPxLKxz0bVpWgWnsVZLnHnbwuKmdYTJqXushC2OqvdyXCx2Red4
MsTTFH2qGWPtl26B5eKTCHSIXZMITM/A+i27rCbg829FS8+h4m+SHUTFZ6+4YRraAwe/VKq8GaOy
HX+xuFfsThBVjV+qPp7FhbFQeh8KHbQIYpqBzwJUgGJBKvjU5h/xW8Y+tl24Ep5MzBPmXnIy2DOU
FiN7DPRAzPuaB7O94z7GNWRvtcePHY2W9hM0nmyI005dYhzDqiE+t5WNu7uVFWN5iZXS3WeyCqrv
lqAdCj91fUdskcAoikU3HDX35mefq5eCiQZlE2flQ4zjUs96KbIW2J9/icoY0SNA5bleb+ZYu6lI
qzBs5GEkc/Cyulrfc5/MGjXjqbVdy24pVqMlPDayydW1kqgZ+uSCKIIKTWTiiCbGTHlQJAA6gY7U
WCv0zYxvUk89imuaYx7nQ3iDotmw/mLyZeDXEvaMJ9mXYX2uJ/x7CGGvTX6E6J3onnIKm6Q6UX5F
mwv33TLpQ2gcqS8oepOzOa2xgKz3UqNj7r0owI0UXE6tjs7YiADG+7GU483U2Mn84nDHjC60QXle
IqHUUCRDH/X9oR2q2v+59s6zZ+1DQE0lfc/dkkRl6B2KwZeeToluOvutoXwmj6Y2lYF9Nop1C2gd
+aQrkCqJkMoY6liRNVn9BhtUHGqZf0c16eS9453v26uBFM18DnTNxa1f+U78UA31/Q8jZHXMSUVs
zD8zv5/oneZBN74LFAbpb0c9x29KXCF2JGk96gffA0LH/sLWwCPZYNxskhBIe/eLO+eWMmEOxpSf
OJWDf2qgezjfVSOJ5tupYwjQk9oVovpmR5vH98Kvh/LLjIngyiTg05B/EIvMvZPKJxqdKF/m4laC
kPfSji1+WB40DRjk37zJO1e97cJswk2q/Ib8Ba07lOc4Xw2HXNIYZ32CzYT8gBsbkQf8IV1Vh5fJ
MSxpHuA6YkqooT3hRxr5YXUrKaynZbpCgsL9XHU3VN+UCdX4bVylx3FEWNTyQTSiKt+zBqTCL1tL
tjSHXniRDU+RZMhpHMex9cUtVMx0/0SVR4byoqHJJqYU9Yxjd7FlN7Pi0sa5XH5p8NjYHiRczPIj
8ONYy0TUURvOSbRqGUYQ/kXlK6IR2nrulopO5omJ84Bjt83zAXqPUT/2oX/E3XQkhkPJTNgEZ27d
aL8MEsox4XmCKj9UOJcAtNZXZcNuXNLIOlzY6iVHpVMiFlO4KImM7wmHOhc5n/NaNEN1zgG+F/5B
RrHwzBUpYsueqIOA3ZSyOY66b0ob27YJq/xSXpvyRUUpDaRf6zWpxcQrFOe4do0Owo2Gl2mMGzdy
VsaDnw8U05gKbyB0uFQX7hnf/Q5JG/HzRKXXnkucicUhXKN+SgeuFQKmWQ5lKE9+w/OixsWAi8wx
Um5dznU0VfSLl5dmOM5WBL/Vyo3/i2vHqks7wzRkpAFN61GaR+rNIUmiylfBGdaihcjigpIZZmKh
mJdLuPrsKqDqvGC/nnR1ynvPkQ+GVcV6jGIvD9W5oHPl3S6D5/wfQlNygW5YoM4C/q7qCIXpIXRp
7OAUdydL4tO7Zl4gjpMiU0RBtHRT/ljowqByWTvXgfBny41ne3MsJguV2tZCZc+hjv0cI4zqv+KS
EvAUPpkN4qav4qmLk9LMMT8KJkDfJCuk+c3NhMgSq4ZU0iYxVBifBDgg0yWIqqbAnJdqpPSdv0Zz
4Z0YJ9181VEj1ZPnD5BRC2ByhXANU9eHTgRnJi6/Fx7r+ouQ/OqLoLkpKRSVsMLGzZepjSGI0Q1r
JQ+KL1TchP7QC/y/wXhD4iHRJL9XS44Cg9WVXnlFZB2xz2OPnesBoJmm7/J2JdWNGwUGYIQ7ciTX
RxWO+gw/7A5vIqpgtRf031w9rVEIz81By5+4+MBmqPL1UsDi7zfnQ2mHZHLGtY8MutP2lrfloh4Y
6m7Ch2VGgvF5YUBBL2DltCwTV5chVFhrtiwn2AIMza/Y973wVBcjEV8Cy+30HFrAxs95ofv8h8K7
It6pOF/Lr/nIYdsNaHUto4dVx6pBbWBdjwRfRiKTlKSWAPyHYMH87Qc3+ymyhnJJGhLw4kYgx3pS
cwPqBoJFrTzTyvEBa8VcqYc8soWHiLImcFrE1bqMNbCFoxMCBr5hROAzmBKpe+/ZNp1spyOS43nY
Xupa1eeYC2zVI89FXKZ9bDyG4GwN+c8cmmOsSyPXTuQ+clMob+i8hk1CIed6XnWgnrnSBcyJK45z
3KlRTSBFMhFL9F0getOWSaWE7u5pXtWNn9gIBrTYn72eDug4r1DrHVQzS9ukql2WBD/3APjUYWmf
BmwQWP4Ac+b9nBSDNAe29HP7M8wX7ylaA5zeNaTeMoMwfVyxotF+Rc4o8Ir3GLXQ4OSQVpxuBoEg
OkGt1ELu/bETuBDM4zAubiMY0gUIGVwj7BEPri8Viunn9yVv42m+62K/7R6nJl/4obZ1TZ4QKEiC
WsFqGYuTp0nE39kY0crJ9JEVT33cltN5sDy/DcSIutg4LM4IuYoK5Q+kivUZGDDzH1aEgfrYUoyr
5tijiHboblzYhG2HiPolx1T6zruTVnXu9zCpkX+fUO7/cYqo+IXDKRazU7xoiN06ms/20ELu8ucC
m6BU4jrrNA7QO8nTXuRFYFIsPswtRzWhiKQ7BxaZjO6mgKlwd8QBP67EIbBMT+/Ltiym8YBbwbEr
Dl6wCgale9tT+xjGw0QfYajqfZHdJIBsFDgZiJQtRlbiI07G0LSwVQsfO7ggwR+Vp8rrIw8ySUjv
BeGhDMwItaoxHu/KmZFvA4u6soX5u6dofqCu9XyeaAUa/XPnB//j6LqW49aV4BexCiQBhleGDZJW
2XJ4Yek4AIwgQJAIX39b982nfGxruQRmprunO7JNlLplHxHVbbvjppwdEBpiOnSyOygXMiXt5ni3
/ir6tbDtiBPBXgt8iP2uVLllUw3awTSDWv1e0a2QUzVH2Vd82gJn1gTj7jodnxJbAvHZF1+pMHXu
Ih194JKdM43ZNRp9GwSiOWxV6sRRVqkVXj7nbBRM3LzTaXqxSMLcEfgNWw9RGT4D8t8CwHf2hoSZ
UT/MsGZMStje7aikHUmrXI8S5REYwV02fSVnUpgBtYXdWbOkPE0aPRL3s7dFdM6ThD4tu4+iJnL4
b8DL6V+FteH1ZAY13PCuZPe0GEsQIcZHtTnW9Dqn/ngfXCbf9pyNroKBV4lxDWCaqWIwFr4isKyR
5XtGqQPSvqx/02FLLeBdyB6UdqFyvMxeigMjFloS+K7FGAvPPW5ayKECxY6aHZ+3VOOGd11I73o5
63ucri2uJeJcALaW4TrC3qHOTDDovu1xYcSgQXEaYdO+mGsoefV5WA/exCxsly1l3Tnnnb0belxQ
RXzIep0lu8UxAJtYrAMaNoizCtppmN4H0uabjiuY0I11kaS2Ru6ePB8HXX9ux4ZLC1ZazdDlcQs/
pAwtwpJXaWG/a1OOGMsoGieDkTtMG2nFgDtjT/JQjwbp4IVEnKZPAXggEPsjFYfBKwfxNS6Kro2A
nyR4BlF3MiPRmJikufrI/UZAZIaukWNgm3P8PL0cXR27rcPz50m81fNo1D1S4RNMAXT/p1QWf1sn
XB+0j46fk9xsrajOnhEhNnwb0qG7IvCvuxsKteA+UVuVRiqr5yHmre9TOIjE2cxbKJfRNolSRRes
0u6NVwNaOgQ+mF+7H4pq7SDhHaBVeMfmEgiVLOWnAsG5l3FFEwjxlwu0ZtHcwaUOY7OH/uUMBVN2
nyAfYa0YroYzl0eGjNc0NaJ1HS1mWCgx9x9VGg0whlv6rEbZY/zP3foXAj5y2WjkXyk2G8+S58cI
2X3AQ+M9a/igSDulav29HLa437Nse+NuTfDmJz0A/cyySuBlOCnG4f08rPTCBj63MGzGi67n5TL1
2ofal8ae5kiNoiKqE3/5NPdPQ5nyH9KOWZUc0Ty3qYjlx7R0zp/Gediyu57I8dTPJtubmE7LG+N8
fVnpxD67eO3/IVMsQrxRhsasLIpvQUZResOeqXg69NJdbSLKqHKwVmiweY0ewI+7PPcgIj4N7kF1
yQJgrmYQvDsPrEPqHl0nIurQd/7SlTEXrSRRZKucjEPcrFIygFvb4TWgo2FfmhHlq+1C5+Of2+xQ
l6t+8uQ+pnkwHwkzcNov2RH17YQ5ZmsxrVNabaEUj2nI+S2Ns3FHgGg+AUSa/W9C/PwzA+d9yyK4
m+G7w4iIsfIAnoA6GbUmL/QbnLxgaql3RHn86/phXGuCHuqRD4nLIGs0iLPOx7A98xgtpgnDfuf3
BKlTS1wo/ghGZh0fA9pf3o6G8icYUS5lEzhyZPHTo7+oC5T6zyxz+RVaM3lKskj/6wzRAZin7e6g
LxV5taBXZTXejoHXE0GCVp1A+PyU5hbHyB5fYVp5zLDlPunIslPiWK4rnZclnFC3fJ2xSzik6jrl
qH7tPKfqyxh77dFBzuxFJGrLbpE2xR+S94uoM8QrYcZDkO5PstIcbzEYANJClIE2Jce3Ktup8OYX
erztO6LHur9S6ZRVcRHxpM4sRWss9uWAItlhyqz9UR47DstGfvTS7o+4FOJPrYT9q0ENPdsCC2wV
ISPeycgGc7O2zO6s4OJ3Nhn2H1q2/PtC5hwzGV+O6N7Dgfuf6NC/VclK/dBw9EmPR9hEqKlLy/uY
bwkuc7Mlr6NB91YRvP+iCsfE7xN0IKJWw5Jsp85tYTnxjR7ymsVyvlPxFwSS4x8rK/wVi0HfOQPU
mJSY6hRq/Pw7kqLp1HC2Q+yaQOjO6t0iB+/RMDLCHDNfsRT1vLkcN1tBcf89h7B30Q+Hru6OaWfa
EQZrWROIA+IK/52xbCEyMG/wBYSTO6GuYIha6Xj5EsD3XYB4YDbDpUg6AEPFJB+UIUTV+eIjqEMV
7gshVZZ8F3wtn0Li5LuM4WzVhNx0uqZItNGNUd0WdpQDt6m3KaPhtzEwA3Ok2Ggb+Xl5TRGF/SuS
c36WujD9/a5StH9M0XG7eNv3H1no06MhmGdfLNwj/w5hnMYLZF5hr7UDtHfKZqwOQpQ/zT8nSHKf
sAC0PK45NkfajkmhW2AW2VEvmEH4HQcqv1/wJ8q7BDKX5Yw1/2xoaKYlvifSK167gui1zTLoXGtB
coGZA7oD0xhN05fSenyh+LuFqnKxhCcyQz9bSRQLZHikDiVLwh1yubd8sJ892zZdKT+Bz8gULc6E
agMAxXs04XSzUMIe/WhzgLNcNAKpwKHtU8flXR8mnNQRHHJyxXPjWctSM1z7EhIxu5iYXBM8us9o
t4DeJzQmtzKFOv7UkXXz13wcJb0uJc1/6F0e43Oe9YgB38ew4ECgsmXqCvBAjK3OAZBdQuSOrKb7
XNx3wnlsNyCeBLB2dhzxE3ovbzAlHEbUxeFIjxFuOGzTqfSr/iadLMsLN3z8Tnsi1pfSxCJ6yX2c
+BoNunTnaFvhEz76PH7ej2X4HE3AIM16DzgTniUjuJWYxr8nkaMDgY/NxtvYrBACE63T/UYJZQYz
7UFc06s+f1qH6PhPm72HS9QoyxYTHoAVrJesE4KOxPTJjiFt8rAPCV51f4hmydAZaAxm8lSUVpw1
Vv7yauxZ9DsceX4DIlFkZ58qf/0KTxx+p6smr4fmM2Yh3c0PK9ln9ZyLlFwBQT6LyaZPMQIR7+BO
hicrvcR+n066HGDjMov0vGwOssml3/nPtZz8UJE4Pa5zZgZaJ73j55DARf2HgSl+S9Sm0eBL+7DS
gWJKt25RDXOMk3OUx+t3tW5J2aDr1RL6abmvZ+WPESV5x2BWrWNStBJAZVnNMkZIxUHFekviYjDV
hs5yrmg6m1exwNEAt4udzzKewh+R7mWoJwFH08c1ObRpyxIrp3dM4eoHylugu2D9sn2Z4kRo1kii
4KhRGdZT0bgsyKNFwnk5XMaMFFkNdDSdT/Abmm2zkKwva8uxTJ5tNgPn4TMvq6wHYlPFxOJGTelS
PrIicnVEi/63S8fxwIzRk+M0EC1zJBM69DzE81OWLOVQRSXyODA5wAiu4kLO5hqW1atmkV4U1TQh
R6+ZFWRUsBFfx2u+p9kTcGvWDFPKH4uO4j1J+vwjMwnwqgJjbgVvh27+4JGBEfDoygmt3lD+P3aK
DmPDQDd+fRQIESpb7lxVNk7NOV2WQKp5S6fWMTb/7HZhTondMfSLbQbPcpT6ddfS/2JkZ9junkEg
1Faj5W73vsdNkBTIuH8WcDh/n0IYYTLVreNrNCKF6VEViDTBsG7hZCFBTfiWdZEDOgqZ7HqWiPpN
axy8fKm2FYalFag0/yq58nsDTB91INmB/1VmJau5Ej7ln7wU4/IvpKsdKoyXQAvIKvGQFmS13nc6
HZJ6WegCTWgnovCsMt6NZy2jQ6FDNuUD9OLmudvhDtZmS18UTQ/hlGlcXo6h1p3irw7bBUftsef/
DmZN/13j3CO4Y4iHC5vi4Yw6j8rE1Xw3AxfDog2mxi9m4RBPvcU7BTc2P7F7oazY7nyfZysINeAM
l52Xs2unwU+fCmB3y2XX/7A0O37CltT/8Rhs7gDA461LvXuHPRH21SYsjBSnsVP0acdoc8XR6m3j
U6qmetFYmsF0M+UpvHnSaHuPJTXZOZvltF6/ZNq+BjlgHxcKXcA9CKyl/OVdiMHGaXTfuDD0/Hdd
tf+tg0j4yZIjfh842DHeq/gK5UJ2v9u4Q8jlyrazC12PDh1kzF+TabwFvHAxJBzpmoMYzhTm3g5p
oSwD8Hdgo+C9sPYp6RhtZkbH44IGQVZD4gV6CmX+lNJtxw2Jn0vSLhkP9yPNkmuhUv1g7MzOghQI
wAUsJxgwX4QoNYiVdVeJLxoAKbxcr3O+ocChm+u3anZUA3YAXIqQQoj1z5B4J3+EAqlSHRHIGdMP
x78DOyg9rvpjrCTvuw8/KZfj9dpy2fBIH7h4rDI3Frn+30xLNMEMFucMfv4ULEvOe3tbzaLkRZpi
fHORAMmJxaVvDqUNxXgLPQBMR0EEq2K56+YyfvVRCp8OEZH2WBPZxgRc2YA7Bhddis4wLUTepgnh
d2Hdl5NN8c/HxIjT1ktgfuWIIjOD5KmWvBAnwMIrr2x+9KrZgay9jmOJSQxWj6DeNeluay/R8h6j
M5/HMKqm04yhqkTTXK1FEk5dDws7cFa8q+VRJhebL8dH7vZ9qg3S2StsPeQ3O+frJfXdQsHt9NkT
JjDw3SDN6mViGiBAx9Of29QfJzNz/gLlQNGYLLeNW5n9vkebbxJQzq8qj6anGZEdNWBOeRF5F33g
tEOySGAaXwENi897p0lrNwAIqIX8PKX7iBPUdxhLCuSg1fPc41zOYUEL57FzkFnxGccKK4CskBjd
+v1RzxCiFR363joGtXVJNmAARPP+tqdLUgESdRg5DdwAnaa6QsoSfH9LmjZ+Vq8HVCFNkmKdh7mc
XWbZuQuNQcYui/cPGDb8yeFEPB8s6i9DNrHrNMniZKI5nOF8MT2YiZUtktx/L1inqvFHsRi06q6v
djkilMvL3jeydOXzODDyYXuZNCAmyRNA3elx7ef4N172tAlUyDpNj65rnCRgOXjCK5kKUnVL6Npu
PIbPlAMzTGfCL1sfiybnYcMtHkWfkDx1ADT7z9hn8xmxoMXpKNz89V7QPznW33bRhhTwYDMgqPlF
5L05AZEGLdo516Q638+58XlU9d3xH7zkAM0Me7gqSf+g4f6ruM1esSqKkF6stj+6AZyVBU7/TjjJ
z6B9k6aPXHktSh09blZ9Zqtc21EJsCu8K5FgCWoPI8iAajnk9B3IwnYGaDXeEeTUnyB8Uyjkfvib
UCMvwCGzl0mb9y2f+o+JZEhj29EDYEtm6+A/No73cO8sXuOpz5uggUecoqycq1HoMqmk9HPlTU6a
bol/Y2tqw/M8WBNKPUO/InyWtws2R3UNJctSlZYdthZQTwgUe8jnGzVC1qSc4c8u6n8mA2yyPoVd
UgcrzJwsGW05IszqXQQxp2drdhTCMYvAxzwrPxD+MO9bkkYnn2G9B6iUMTwwHICZHd+PULrlgrbN
uzdAqYMEWeU1Lb+J7aC/2eileCLC5aqVceH1v96nwYyVsyNbG7EJldxCCUvfz6JXRN7hcWNlmiVQ
EoDm1qt4SuCNnj4EPY8N5cecfPdpHNRdMsYz6MbUWKFeS6w1aZS9I0aVJJOK7bdy10L9LSKbKV8t
ax9rKFbxG+g24OhoKzgg76Le6cCB6fq4/LWbCT00zQv+CPpzjFt9LN3/N+KGNsmNeRd27+fKboWO
2u5Qg68B6uZoLamBfBkVESGq0DGuMhGfXo0UnFcX0Wx67HmnPjBQruiRJlw3c91PwX8Q+FPrl7Iv
rDjBuSkmdTmp9QZQJYGcYezG9d8RdWZ5Xwfml9cYDve6LnsUfoe4C6uHqsdhHR7ktqq5LmNYSGLu
BI1FK5TlZXlajAl40jwAra1GD8C6nmysQTWkFJKZu7JMqX/AzmHHf5hI+uIJ3RbpP7xlYa3Cjoz7
j35ReJmSBNRT3KbeJj9BvBbx8wiQhf8T8Lf7t+cQG8NDDQravjkYKTDNSiAMV6n3OK2BNIXoGa2P
4e1WiOi9tHhLYPBKR6EIhAl9PnaIbmYMAc7R3i9IFTM9cGPDDrgL14UodvdmBMiZpt+geoqqXEJs
Cj2nNG4G7Us6sv+L7QoFXws+T1L24CaByJot6yB9QN03ukU2b7T/GFm02L8lIKUigTOcdkiLTnaY
lbpaoawDU0Z56kH+bW7l39MhAiMOj4q0iK7zKrZiboYVcrO7KYHkaAQZD3f9W+nZHF+g99H+uulo
m2WTb3MxPW5Ou/Kci6FY1RURRhxtEUJlwy967DOvLUmxscmXHUxTM8+wef0mAG2lLw4ZAKtq3Jbv
WQfDBkSAwxg0DuwRyRXlDtI6gUKDUDyho2IdBANrFUXcPWxxmqfzPWZSTLvVksAN7A/zjLHtlB5Z
HyD/ERKQxT2WS7nUJ9cfwMB2wrPppsCHTb9BYC3h+4YLi/0bYkNATGb9ZHtyIVhFpDN6hRxaOXBb
Iz57Y5K5L+I2xNmyYHYSJjKw6AxxBLThPOPL5NMV9wkGOEStyST8IPzI1ybdTNGPryALvJWPBUny
mTRwwFDhvyzmmfuc8l2MYLh9Nv3ngAjs6tSnKRenteidWustYUHdeACBDc/jDJutDvDAfA5f+9uv
a0DeHQj4w6gafCjHZAS/RILFxAES/ArWgMk/4P1j3uL0TcXRFMbrG5TR03KLGUYzeUItzQsk2+4M
84lPcU/gSc/T+h8O80BvxCS9qpRNLT3FgxE4/SOSWesj3gp4YJjyHxek/zzQ/zgDnkuwYqsRmFnO
/LxSHqbXLttQrgNBlBIuk2y4gtya2dtY9Hv3ZMl0mFu0Qp16B7MEJHh1m54b6KZZi7Rzht7kUMUf
UQ5jWbl0UDiiHG0FWkZloo8Zd7Zs8fmnve3nJZ6ww12kbZyRsD92FIDOJ+MhW39B8ZX8UakLBaAF
EKiAtW1BHxhIaswcoDbSc5dpCK5iWU6vxdqXSLFyGcmy5phIorHSTqcfAiKb/anEeOFrEKO5ugmJ
hM2TT3F+27UECVyluwtrUivEwbMPK41N2zImbqswP4QnL6UNsjqwwxDqYQD++hxB9cJOoJiRRDKk
nnk0JE7dq0Ttru66qRMX+JYJsJLCIyAGhwcbhTJxr4pHln4nNiPukyC+OW78joEc4OjhP1wSHxrN
MXwJfx5xKc/GQrGW8iy/lqkB7MegLa2TcUKiTZEQHCUAGQMOep8DwS6R5FCXqGOhkRIqgIoFkcPG
HS9A8t6NDCjROkUTXNCH6XmjhcqeNnS7aFqE2R3YwmG+G8c+D9cMe9bXTYbsNysdES0EG+RHkuXH
G8c3C289qzxMSecMatCc6FcNjUD+JwM2/1/X4bRc3LjYpcEuPpDBnKAVvOZg3+kdRAnHC+2pB8g/
LwXShRg5Hu0YDeP9MAqJbiOd90+6lql7JK5cf4HLc3/mLp/Hulw7QSu5UwpWj2NXIYJ6tbZldxT1
cAxiRuFAdAhgRvxyRycMqglfFq/6EE23dSqyduHzcWZF7gb4nVvAEOTrIMukBBviV/1LWBOw9wM6
HbXiWHkOKDQZP5LtkH8nEIV/YPErw1ugTP3yEaTvLwOyf7p7rccIJro+OspTB4ZctxBOhrUpl21G
Y2JTsTwyD0uueukBopywdzRErxn0HVg4CqP+D5Tcl874C67fKufkDkTfiRWU3ciJ7sDE8CGtbb9D
Acd8WkpkVhXpiILKSPcEABf7RhX0ruP2D2FKPG4FpCxotki5l2OzMD/H52jVUfKDyE6qD5yq3H5p
8AFwWYUQy6cSMLau8MXN+d+tXMf/+liqGO9Q2MUJRpNrdg8NGUp1v2EhJStHldchipMLBErDhv0+
AAtmk+vLkSUK4KaGVKF/5omk/BVAVfYKCHbkf7INMwXZh+OHhH/gC9Yc3VLHGe4HbAXtG+7+aJ+i
V46764V2jud1nh+saDMnRshOcxXR/t5Oazp9H+m64LrkImIXiwEsv5QFIKNTngEeOUHh1e8NJxYS
ldkX2B9hXEHjk08D8W8Kv+t0hcwTinspp0vhtxYO+LB8SDlXyfvsAO6685TMIW1GLI89cwMn+5ZC
lYT3Ksx2rgWCUgHP2qSEcKWC83kun4QfRfdrYtPAHgAIHV1RZ2tX0AogUlBtqrKc3QqO1vgJYUz6
Oss+pSChtcK9tA/ldmcKb9/XLSgE3rJkE1WpZrAOEhTnefY7v+YzbvrL4ffNIhAQAj4QHLiH7le/
IeQX8lEyvklUJYjaF+rx8fgKoPIHC7ukrS1Xih/jsIdubOjxKbIeFp/Z3i1vpbP5Oymz8nui8CbX
yC8j0T/vVoFfs6X7m5hU/yrIkcuTA4N1VKJbHW+nAOi4jtCWZb8T3H2RqPYSThevhc1YaI9ZbOqD
Yrs8Ok3w1+j+LGgz8u9hZceL5sl0H6HVed3WQkGDMmp8X1PHPDiGfc8rEtFhA3Cc+w1v/T4tSjxT
tUzk6YihQ32YOhM9rDMULaici39ckaWcQJ09jOOjMgKcCpSfWPqZxTS1LI8EdtEnExjY8pin7wt0
c1cZm4w/L7MWtcWUUK0Ypo/Ksqy86AX6zmOJ1A9E2GxlNfFEPK0x7F+eGW5F0YTByJ+YTDgEAIqi
65IAcZbbOE8aIVtI1ZmgWxoHUZOCOlxiS1LCmiR1Ce6oQoSfmY9lDdnytn/J5ZPnadsIf5mPQcu3
AqGSw1WLSX31/jgqVfAp4CV/pOzVZaaH9jqBwO8s0P3Ppso7H6B9AVb5homklK3SyfFIk4Xd+Nqp
a4l+AUKLMkrSVyhaHG0wbG3bR5gSyCtzm83Te792ZGl77qDYicHBABG03cYfCez/n8aYLAwMw7iN
J267ubgs68H6B4j4BgDEhzLdP1AKg/mpymmV7x1yilmFRsrgGwjzdusAyNITNPCmAPR47PjNzUh1
1hDKCxQicEyXUprDXicoe1+HPRmT05qs3dSAGvb8OQ4dqG4RQYz5OIMMg8nJHGM2r1KZEPsaoh2v
/TpyY7AlgcrHbiC48SGWPoFQccCpwrY227Jq6YJRtxSe8POFjkEEECwGWk5g5OG8yWg+TdD4XJXF
VVEN2Lc4ajSq5nFD7vKdLmALs0jJX8p8k3fmSJDwWkYZ1ECRh3pKg2thLUPC5o2D/6rlHiE6Uuku
TX+go/BZnUdUplcaWPg3rDhF7zZM/W1yifq1YeWEI1sckV41xnXrb8aUGfQVKB2mBhEL5d/qSTzc
72CHbDuraLtaOO3hx1Qyf2bdlx1rtKf7o5/W/j9dZus5d4ZgP8mkjlwg4Wf6VNqQw+EuoEmuly+U
5w5YZgccpxPhTBGqefwtSsbymh42Xuq9N8sVMgT9qmREBfpNT33ZMInSVUMGZsXzsQeoEHASDUa1
nPyDdGKuZyOTscU/rijoBpWl96mK1vK6zUpPzTjOCHTrRszgv/FW77948KaFzgvrCDTrpG7XeMZs
T6c5OU4J31Y0hJF7YuooTgMfRl8f+w5bKhPjsmqkIuaswib/oMMa24ON9oHReD5ha29vHNq7h50D
15TYOfhlSznghVxHmPGEVTZ0M/NzPHTrfJ56Pz6BGpkvInbzk4r6tMVdloBzdP44afRC1VCG8sLW
wT/jKZu9RUs4rVCTZMTUmHChLk1Xfto5+IKXFcVG4wtE3PAbccipoeW6N5BUwFDU8R1iVapLKLrl
mGvAgsGiXmwbBSci9Y2ywH+ylbrk26BjE9OzxRZR8kProYer/mCnh2Qj7C0RWfG9g/KN19gx6o6q
iEAS51ig3Co9D8lfB3VUqEh52Jtg0l6mdIQIZg4gaBf9BRvAHvweDuEFx7PX6e9Ujpk8gVzF7gDo
7WmujwXe61ceoJ+Y44SvF9KxMkVLkMA1iXD6gG8MbYDTHYRVY6zgrUvoY4f0XRyvlUbmxLCd8+SE
Nzf8JT8g24K5Bpbhw1s2Qc5Sj4Ue47oTO7kEBrVRy6cxkrWGXi7AGQi1oggbv3IbuWrF+HWBfHx7
k6NOO2BK2eFf82IB0BDgDierUeeRf4RgFrpwNH3Rt+xIQYdbfXzV+iDPccIKcwbR5V27oCSSv4Ts
XzEEUDqNNYAJaAxtmk6hMZhz/RNwYYjVcLEotrZRiGcLx+MYtSJgsUeeHVlo1Ciwo+IV5BKye/ao
xGBRgdxTaCwHUkblXTeITkPsM2E6KqE4Yve52cGQehToC65BCLPMsnYYMK08njHP089y3TKsHNFD
OIQXU/6RQdx2R/JIPTM4StGWBi3jR7Sbe9fEEhL576QfI8CCJCra3Dp0y3hpi4vCO4G+DQ22qBnG
R9BiMTKrGix17b6a80zq57BY0QHMc7EC8r3xDooOaGvf0KkcO/5sz7GSMcnlHVaZeXRnV0x87VbG
6hul0jW4UPg7AhLQ2sLcrUf73YcyQ0wYKClRQaeNiwBwIm5xAhLgEQ5taLrAyh8tvuP4k2AwacVO
GTuhVEKrwCEbAuc1opOutB2hPLEeCtvbgYY1q1FN3fYAt3U1nGKIQPxzvKstBmmCfJfT1z2MYBfQ
kqSo2AQVQ41dkli0PAxZ9mwd9pOrNVtd9lTOLA9PEPIJe4Uu4suan+BU3QYc1fnuyNlGL56vPWY/
4iw9l7KLxd8EKwfwrIt6QB0ChKutyNgVP0tZ0OwZsbIbxaGORIJNIznxJhMEsWm768asNrgUllqv
BmsmlYL2Tb14g9qLq59PEGHVcAwkS72hgICM2DsDNWftU4htH8pdaQYRLcDs6Bv+34NeHUWzvpO0
eJi1lN0t1unUtXZx/CPdF/GJ9TDA3VQwmzdaewb4tqS02D/AxtLlfrY5SB/AlJBtQs6qoMtO1XZa
CSbo6sDKVAJcFRqAZoQ6HmDRtn1LsLSznuYt78l5KfLjLxdreRJZ2NaLSTEvVEgC9accqk8Odmbf
H5U0+3wKhy/06xL2MYLopedIQujEqkV7lMv4OwKJvz0ughdbS2npz1keWV9ZOYmoGr62DNAvz/zk
u77H8giJljpzWfEHOjP6qrq1fxAyBwNaiASTbWF7iE1CMP6k0Uq4GlsyZH0Hb4tHH/GcAIWH5fBQ
8elIu8su17l7TKNAvrY9zZJCUE6gFrtRmOQtP6Xd+qdlWXKPVNyMvbMVeZuY0Ukx/I+zM92NXLm2
9KsY5z99GSSDQ+P6Ap3MSanUPJb+ECqVivMUHINP318eu7vtvOe4LgQbBsqSUqkkgxF7r2+tfbQk
rsmrqUOc+IxzD5/XUiXegzphXAh0aMgHh452ubUyuSBHGfNyxY0kOEnn07LvOhndFgto5UNJwX7r
sOnCEOCrW0eym5ejlaW5t/WRud84bJHrZlU8RdMVnPPyYvYyUHgBFeS1r+2RVv+QOqvcWiQ3Tt1+
64K2WiuUn083NjVHFTLV9sY4JS/J1FWPrGaESxlZ+wGV96NN5fIwz9I9WlW3fNdpVmzJ5cmOnum5
jIyAaUB9ADBMVfZBlkNThYUlNaZrOR8NwLwuHFQ7o/rF6rXE0EBp2gzedYkzlB2CvVMYVYkzMadF
7ll98y1IXQM5rViegRjnmwX18YL57XgHyyhINxlx6pfGXKfXohipjJfIoPvltcSzUIpZHoR5PGxb
YY070JH+Da7MuJmSFIUdEvMSY2kbbDC0VT9Ao8wQxwzd+m4yHv1kUve1buZ3kqHno8Cscjt78yHn
RtpxVmofzLFl7zI9NeyAz+ODPyp1URsWdLWRc8YkgsrcCDl+0JfAjdMl2REqDBeYNQumkwTyG+Bw
Q5LMHJw2xhIoh3Gn9cUSS3NvTZW+8ngKA5yU9UsdA9UaXJGPZEzrn1XhYmaZe+Nxhhq6x1M/HfNx
Hi4cIJCjbWfqR65t44Jm33TBS1HZcKxOrnw3D47xeCL6ukgUkIQCm6fiXFyMjVrzJPNpPIoqRgwz
9QbNFBUSIFvSHpthboIMbRIXPS6YeHCbe3KB5hEEzDfaFaVneWdZAI5yMqqN1afTazmWtFxpbiXB
Wo8q2XfJ3FMWk5seqoyib7SddN14pcWWagKdMom1I3dF0uEO44LB5LS81AAD6LXxVWe0oAgqqovQ
zMV7l3vGBUMSokPkz9632XBsmnK+vEID6b/rzBiANszseRIeqsswWUcElunCGJfhEiNMtY4C5W9i
QgIPzWCkayNjzjeyKGGgvjmvek6+J/eh2NkUr+RhzlsMUu8efO2+X4JxTzFrv/tt0192i6zvaBrS
fbU7ztqkp4VG440Fcovp8MhLjR1sbI41wQy2MyZMQiWj5WMROM0yzOAvbl+p7zEOmjukcQzPE0Jl
YxTjjilkPTsktxH0sRrWNLCsLtSVtzxz/wKttLX/FKFv5WtrNOOfOq+MDUIANSua9bVgzSHeDpHZ
cyo1q6tO51KE0nbEQ2zIdkaaN8uDjvOGQjqbrSuqMPPQIHiy2RAJDMSMakPwP4PW6bPL50SrPszb
IU5XzNDCIu1PnCCspVvn1gAERFdFP/TG0PhbJ9fFi+86dGFpwW2oh2DlvLHLbmHC6OrQKDAudBOU
+9pGA2QOHcYhntHVipN/vsZzN3y4lZu+4s/oED28ibArJ79q4qS8Dzrt1nelg4sgSZrytauYlboK
NIkhq6R3fAocfNE46gqIIqvPr5vcBuECLNsVMssOQxnR9mbU+4wGOOtD2jjmJQ5ttTPQXsoNZ9/8
ceZQCP+Hyw0zhlGgMDJpS1qN/VLW+Vvluy2+435gIxzcjGR6gjoQJl3bCsUEXL3PtALSTQYLBRrX
9ppTxbh26SmADw3lzsm0fLeA8q47vCRry6/YabmsLrvIRAmUoE2EnIrzkLtsfjaBzIYV0hj+O5ex
NxfSnIHJ244KPTGqdDtBQ+BrR2/wDvgh7bt6ctVdvCx634oyH1GXkwGqqRU/GQNbHrCom/D8pQF3
GDgUYEBZbfDZ0lmNV/pk/QuFzUhUyxnyK1JYeu8ScTeTWPMpDfcg6hq6CbYoW3HYqaLVhCltz1HQ
v2oTFW1oBoOTqMYOS4Lqv+NrQ0iGBOs3Ztf2TxEeTPFClEFwNwsNqBG36VBkK9ee8ABiRhm2XtmL
i1KB6mD5HLZ6jPF8JW0ZDeFo9t6hLWKS4eqgruaDIJuAo1kvql3fzYKEVrNZbqXLoT0PmnFce26x
vERuEoVlQjboLicS5i2u3e6TQ4Xca0qq7SILc4N9pn60Fl88LvYoPpsa94oc/Ih9aUHym+wifkvU
aCXgPZZzTMqq35BICmZMP0fmKzL4+KXxRCRpkBriAHEx0Yfsjbc+wIxHg9nLn9qpdC7KPjXeaTE4
1V7jgL7EXEZQaV6mF5PZqisZGxWQZ1C3x9wYuTcYknOdaP62QHK2ZUXRkiIpNcHD1E3Biu7X/NNx
026D40Dynkz5OJH+nq6QvNHloHcfyKGKrkzglevYbqod7bYGP1Krtz3tA2dlxGOTbIiAqx/GuqVY
ywpaMUlm19c6rervVWpUt0bgGnvptctjC/2F/5Nm1BL2wdBkeF0yOpWuG2ytIS/ulmWytwx6ljQf
6uDTxZ9EgMFinmBshtX2JOkwnrMPbm3lp8c80tPzCYm5tlD2nzzPGV+LhNMHfqrlhxIdsHg/Ujus
KGCLAy00Hdpq6A4G/P/dyWSI7cXgpgjbwByv5q7ETNNby0di2va9B2p9Edl+eZtZy/DdVvZkY95w
85qnPVIDpC9dVqK+ckQAiroOC4TgQeh4Q7R15mi8huQjaI9oryoLnS6jmQ0c4UJGxX795I94Zjfs
NPom7oes2nQMzHtwTbaJHH/r93lwQIvmACH62sSLlb2nkUBnEhpKPKB38tOENNw4aiiWz5S0rW3X
O4N/448Crqg3iuGoYnwXB6b3mM9dR5tqk0izBQHsGy+7SGIYk5qmcNzn66jLYHDSjHi2Hc5rv3wg
aiUQm04n9RWksPFkNTSht0HltMm29lCwwxzeMd5iJpI/miRy651uccqsEp/9m0AeqzSfc+G6YqcY
PmaFuuAiEKgxjotyof4qXNnzYESHTo9z0IYN2wDZaVqKSIcUfFN7hLLTzMMLFHYq2knZKPH8JIOm
BsUkvXUGw87oB4DZzFvV9/LC8HRrvZUI8mFfRGK8ZxP0+sdp8uPkYqmtybkjPWyZV3lrsHIp5uxL
T/+Ol3eRvgH98otjGRkFgWUcpLPuWnZtNjNwFhhjS1IHSPisUsdfG007GvXWlm67BkK3GOSiPLNp
+Na41oO51olnTt+A809yIZWugeWoqX1iTQiJORZkwNnPFXpS8Ig2m9c8GYtcvzQJHdj0qnE7G6ah
aiexMUvi7PSuWzT1LrJsLq9IS7GmkO5OCxsZAOWP93OfUwblLvBLGZlOM4eZdDp1hYzm+7hNSqli
ODIP+m4l40otl80Q2NX9oiDvbkzXBP4OsRsu6tb2qduhnKUMHs3KVP1qHp1hPtJt0++yDoBBVvhk
hm2doHMGKxWBs3Gg9qQ7rgYwoXrvuGJaW52BYF8unXgIcM1fubOPP4MG4Wxjkai9J5qR/osuF3eH
WNgebIqHOzXbd4k1Z3uvonM2KM8JW08631vE77cYB8thaB1nox2PtkADVYXUrsU3znkGewepNSnW
y1tRCg6SEtpQ+gocZerdciPLnPOzlUUDGFFQXOmk8R/ZIoKd0/TsUmnORmz53S7FKvBK+gxPj1Zy
7FmVko6SRxjHwbHm+SdogwgzdcJkuqiykL/d4rYa/eR2aQyPoQJ1tXUL+PauywpJMzUqnDVYknWr
F0Nf0QnMQXRPfsMVI8m7byryQIWSRibvdtdgB6/SebvMvV7Hpds8z60J/++M8wuEjHpyLQMtp5CV
eAtae9oH9gSPw8FneCTUr8Mjn6o5RE6ZuTfqabo+zZB9rW2chSEFZbC1c19fpu1QPDtFM73lxBWp
MGFV2Gjs/KqFLIPj4ikQRFGWzz0rbi2ZgsZo53zw7nCpig8jZYAMbkvncbHS8io3vSxelc08vJQa
7huzTr2TVNlHn7p137XA0iuNx+e1YTbWfTtpBf1P3bx1eBxQ1WEQZ/BskjyaRh2/VckkOLV3g7PO
BbNWi8AWD43ZjcZm9slOVLGBAaey25s8zXnYaNINvjlzhvcmdZf4ofW79gAYvqzHanZ/WIZJ54DW
mR+yf4Brt519mBDWrjphWa+2U8y3lQehbGIbOipLWgJ+vY+AVvBn3MUKgyp+yGwzuCojdsWKbwPe
4nXnLd1PvJc4Lm1yMJTG0Irt1Idj6OP40m2ILVvZiTG/0mpQ1z2tLtrA1bAm7yJ77jFMPMWjcNck
6OmtG8clBnNIW3OlfKnUpjAst1xjBe2uU/Jv3Gv8CMw4odFGW/7emnrrLZtMWUMbgA2tsc4rc6uN
eglFPovHMkcPnLhP5q3p2c34DQXVFXsLIKnZEi7Rv9Lee8V4B/NpYztsV4xiw6olvcRf51XtjhuT
0jC7NvtGxlfJqUQJo6xt153OqiUco4YWUJWUzbayIcx3w6KmHaHEdKEHMvpOkEQQvLl+bCRbI5gw
bdSWHk+6r1Mve2GOHbgf6SfXDZF5e6dK/G1tgioeIqPH+gxmdU8MDxYebTccAAIvHZdDX1f2Nugo
8sbUUMhj9LgoMPqBR/TAuWrwST4q+zLfq+nEUZ7iN7aqLFw6X4GTDyHPtWE9oj/sm24av6cav8ks
ezgpFDlbcFMHtNpaojUYDTAy3NKoW3hTO5u+Q7QQW2XRD+JAAW10inXN2lBwNgMy93KNkTVKFJEn
KhN0YSvox5IzkTEqokAJClr2bTNCE1MqHXhfcKCjPpksTCzMdEmbTeRFxYULTnwgOmm6tBN8sXMC
bdmZM/uBRYHAHdbUDCmHA4JxjoJZfgAETh0e1L59Gmlv/ijYjr4nTJHYlJZd3qglaF8U5e9m1pMO
aTNXu8r0cHPmWWNUa13ExkMmg+ZTl1a5AbVHgRwNVYeWRxPeW/zTKAMaQw5O2KhFbjSqHyW5KE9L
5KGGy95tOZYsgM+RBCXPE6E2iT8Ce0WWAe/kvnZMmkSM9cV1K/IcHD2Tuw6BZMt+FN12ntZPQe1U
6DVZ9kQ71n8cSpxloCNpWW7Hjs8PQARpLYUMuG/IVmOl49r6nChetkbnQPDh1P1YZL5AqPl1E3oA
k1SGgj4yUDnKVKXiLByz0TiYCM9rNZkcgWExBDOwLWYJM4ldrX0L5nZn2kBcF8iSmF+s2TZS+ug1
6hZqgzLXowfKdjEKVe4JOy3u7JTuEdleWUglgC8laEAPZyPmdDsQYvU+LBb0VAA6kjJkdp/1Ftk0
C2rIDZuzfmHWgro3WiIc8BtSvFWiwVYW2Nm8IzsyEFvKoiW+yLNKJtzZSlzRkT3RIag2R8m+90x2
Ra+2zdAlPZqnW76ak7+czpqLc3qaK6u+A3jxjzJI++w5bnqbnBw7C1VR23tlO433zam7peS5g5Eu
TNO62S8urnXKUBINJsnwhHyph/k+A2b21klpWsvaXkzV7WUFFgmVJ3zatInZO6gWRfdY6CErt/0p
xGfXtwtZeaTYefHONatxoQZxi/KJlPsxC7s0VifQLcjij2KKUu7kqlXokx5JWNHDqIlOMUOtm5TC
wK5KamgdzKVDMhMt148xzdryZ196oDIoZHlxoU+vfmh9bRp72hdGucYmMdMZ9X2FNaonFEYd3cAV
1hsRAJ7H0vMq2dwHlZk4SejQhxgPhTNN3o5BukHJdFE+kTBhm3XDpBfeaUDL5Kk9GR7VPfJkcK8a
MT72UzNbG+VpCDYOuXN5ZfTlMF3SiMzuKiYVviyjq4uQyedTurXdcoq2BelP+7pxmsu0yhE16KWh
YpLrIg4zSzNM8tZ/TnuFjcuhCvxIGdkdHeyaI/u3jJQtF7sRcbXAr1q/a8SQluE3U/eOg4JcwnGg
bruUKoi8HSqOjDYt/PdVnIv0fcbh92Ab2nnpKSigTmDIcCbIJHUOA0kleqWIhyFXjPLRf0CSm9qH
LKpDCCt6uCUPo8YPLiMCOzZ+NmAZ9fE6zRuCC7HIwGz19zWayNbqF/Nak/RxhTovwatAh/odjsQg
XhX0L5+ggjK2gTyOOJck088G0XlHz0OmYTnI4SKLhBxW00RQHokN6Y/Bpd+JSuZP70g72QMxDdNN
QNs/X7eS7ht/rNOstVXLfSTsvFqhlTfPA+l+u9FL3MsyIo+lYLDjz6FBxdnFYpp4TBto2iWvdx30
vmftiqXvrgW0/LyZXdCzLLC6bJNElGjo5hnG8AAfRRWU9taHJZcHEC++l6dRba5JC/UaOBPgj5W/
GBnUGw3qnd1Xcj20GCMIeeLwytK2idRpSh5RQTtjdukR3L4nCwa0FfEE8061nonqvOiLOUfSQyuI
6V5Suq/Ijh7fW6+ZiKrI+2C6GALtbRXl21aqrLqBJyTICkysONQZ84pQyKfroszbgxtFyXVVZxFA
Wm8/eaUh8kNWlGQjDGh8137fBjs7CwgEM+SjMGt94USORN6O8uCQczIhiklPey+bO/e2aqOgu0Ls
5yBDTkjmWfW61TPZbIGReMzQWTAstU10i9NuudIdC7Mf/HrbdaIkag/whyij8oDv26G+q3BoJKQ0
XaWoqSjgvSveCH/nbBylSfkZJSf/WzKrt9jpizA4JUKFVVt436gDxAYZaFmTxNHd0E3SEGgiMuNQ
GP0gNrGd0dJknFV+nEBxd7VFHKPZyu51JiHCvMjYTDlLDs16aITcO9OgGuwZRe+vay83SDMq3A32
p5dC4uZ2RftSWo24FiSnkf2zTLsqWOTjkJrdBzPE1a1yyUlibdQPzrLYD0lCtB7bpkmrjtlCXrpq
aZbuPCvPeJ8FWAtCpa8kAHr5QSaIvrS7edpIQamzYjEJnqratuivmRGRe5qUm2to2NELgbD9Qzm2
MyoG2aIc/fxZPQbWXG45DtFqaPKp+16T7XXU7inIqZ/0gxRkEYddw442ev246/KluehmJ3hYjMq9
ITVGPlDQG0c0RedSYPuhkc6Frg5mT3u3pRGU74gc8UwSPvPissKFIsK58rz06BRF894qJfYO4Bgl
ZzyjIpHntcO4ys6vFc5vxvoOqyXtp30S99GlX0XT2ueh9yEJtX/03WqmJVIR/2GjF64ZbNqHSTmy
I08a+3KWBXuLCVzYB6MCxxSJ69862WJxaXHbrSTg/Q6RgdUXmV6jNw69nXjv13n76CkrfzJJMljh
+jS2ltHgee0Ia1groLJmNXZjelF32OqXyuzuyRSVR1/8ThRNVovP3eBJCdhgUdf2ZnWd+XYPoSlp
mUULnoskGwmlYhgKELYT9ZdzBn5SNXZwKMguelJ02dXKQr6+iRtXHOfBm1671vyhFzt9Fa5I7r0+
yW9cN2nXsUXtZ+ZDsQfjca+ADbotc85csq39qNk3CCI7JDTOrQQWnp5b6JqQwvFblJCat+mpq4l3
zXAhgaGedFMWJZzGN1No+TJ1g7E1Zie7or1AqoAYio1nwynHtT+Sakic2A82Xu/DNXDdaO7UG5oa
Aj+UHKbrxFD6fTDm+HJY+mxDqorAKFbT1Gj3ZBvnnDLLlHhh56KwyGvT24CZFhmJJClh9t+zrLaa
Y8ZmlWDdm2TbMVwIP0qxImGvnKyVMjwZXZtJXtM/KJiUNNxDJKdOFpIdVCISUPbwOGQ5B34JGE20
HqsLfK68pYpaJKFHUdLjMqV6XrprNKK84ElgURXcsL8SBbCq3QIg+QoWhXGu24U8npjTLwnhW38B
Db034DHrz38fMPwnWdLnA+37eIJY85gPbUXWdQB/3BL+8LWXPp9oj1afx2kiDjDWPzqhvBVnVrH5
2oufDTow2t/ziZV1cAb3jVKKNv4vxg/8SaS4e5b0bRtxjh+PAAFU9xkokqxl0yTYxTsdWJWJGfxr
f8Ep7/mfEsVhwtyUrFvrYBi5HWIy2lWeGH+RfP9nl/UsxJvAmdKbdGMduDG/td18qJT5i8j1P3tp
+1/fNwWy8IqiEge83HhXd13Rf22EleWejR8wBBhdnit5oL101zmLu+rMqfniHXM2liQ2Ipq0KrcO
cTfc0Gd44Yzxi3T4P/tIziK6dQTBCT/MpZwMUiXiByPHmfKl2+R8vL07mUBtFn6uuoy+O71+83jM
fPG1z1YocihAnu0NtKNIF7NrcZEaXxzU8t9m2tv4xy3kuUOC+Wdtp5ZNVpavvnYx5dkixefjZ9Ik
s4VjOm7MfAul+bUJG/JsXZZtQ4JMKhvaGuQavtqZ/sWnfXqBPwjWl2drUonaTMzMaw4ukJhBt4+B
1xzB+21K0vUXhxLJs9XpePSEwSn5JSL/aTflDaEF66/diWerc84HP+tE1RyKwH/LVX0LjPrzay99
vjZbu89LelQHzjM3JuVzPX5tNJY8W5pzOyiU71QfTKY2+POt1PnXpjCcD7UfSKkl0iHWh5gBoGtH
nEYRBfH0tRv8fK691wizRaOYWfa+fQPW1V6Ahg9fu5TO2e6ZdJggOn+YDu40XnYi3pl1dvelS+mc
rUyu5NKyS46HinMes86+dV7/xU/8bGX6NkmlvejGQ9Tl7QYiUG68Vltf/MTPlmc6CmI5oAwPQmfR
tZppGzBfI/3arumcrcuclJlW2kD13SnQohnczyiSX3znZwszo+OkJkW0tUxAlAKjpi4rnfwXj63T
3/8Hjy3nbG0qo2w4yC898bdej3OEVnmUiC9e0rPl6QddkhOvXDKLycNVFB+VU79/6UY8n3FvxJ2f
j7FqD/BeeIGK3Fu1guTBr7362dbpxLMkK58RCzzASbMx4qdszqavbUH22fJk7OxiyXxoDpEQJ9+s
RyGRk/n2tbd+tkJ9AfO2eHV9iKvFJ9FnvEYsrL92qrXP1mhFWFsm6FUccK3lKyKMtgI3/hdf/GyJ
DkWXlsPI5paaxSMxVFTw1fCrWdfy9wnuf3Cn22drFK+paetM8sFg5n+0jGxXO8MzuAPRjg1DSYUw
6pOzwrtovOUw14g/XbUcpR+Uy5bgm/gZ53V+kUkkSy/qAurMk05BkQlP0v2QMygerOlwGo2hQpic
u0hNSUiYDNibgQleaeDpARxaakseWs0cimn88Gb6ONisV/Rd/NupCvKbwgSzBrGdr7GNpQeP1LtV
khgXxeA8pCq4yRjnNkzjy6wTmoRLDgBMmb1U/NrGq4zp0a+qfNu7ZryB/wu2uQpOLfnmLscHtyni
QWBcSMYLAcksYakY8qAv59mLtws1dvfEpJK9XaipXuE/NX6QVe4xPkaOoFrEho8OXgAx2bsGGOiI
Zb6m25eReJ2kN0EbRTcE927MuBu/ZdrCit27a80k5Q3Go0vhq9cFruTCGYoboxq7LVKJQW+knt/n
gJOBa16WdHhaM2q8vTBIDsP8TW/OT0+R5FRQJNDMI6S40c0AnxWkHKECFU5CZ1Um0TGNB8jy+lI0
xQVNg+ph9qNoJw1S+l38NtdkLOLB1bDII9GljnU7Svt29OW0pQAvcbd7M7bTPpjDCilwg/Q2hG4W
FC9ZCv+Z9sZOwLLd5iTxERZ53QTkPZd19rQUpR9yOqv0FiF+T7DSY2Poic4UXm/Om+ug8HO9Jgj+
1sEuGEKvk8qmZr0n4ISZG3niH4mPncCh9NHAFI5JV4YijqLQ5+q3hi09NHB33kVEIO9dW+CGqrwt
oGj3TDsXbmpEjWY4ySAwV6IxPBKanWK0JiUwJIHJ3LoTom5IBACmWddSl77deTMUgdMSBQ9P0NtM
jWha3R+joL+uuRlPKdobPyBPdOcrTlkEfk0yLEe9p793nOLqaer1TuT+UG1qdC7XCdzivgMpOmpp
XmVE5m46Ys3DxAvwVgoyfkcCsS+xYfZh35pPAnRtaxLXz42WIXdIv8wPiH7+zsMA5PpEEjjxjske
O3TzE4Di84E2w88AjGBdegRHePT/Lga8m+sWhXkVu37J6J2FAPPB/Fyc5a7vmdF2G8Rex7yFThGC
JuYjWrsmeL5iCSNtW+B+K6HnK81gQkKbdLtg5EamROjtR/sQz4V8dYYBu7byzQfyc9yjnGq0ZkK2
y5eJWCo+BGcKUZ4D/UDK1pWkp2Q9RfXARJb6Irdd85iSPU3DrTO3gxXctkaG0DVlR7IH1+StXbg2
AFIwj9vuBMXgwxWbVqrV4OQZl0DrnZ/GBHkRrEKwC/d0ePIgYtab73Iiy7bllB763L5E3vjuxaN/
LTKLmLlesbL10iyvS1oU5Lekqdwxo8QK64np8mObHErTdn8yhkWThUMWN+NwApwurvTSZduOqX2U
FoDF2hpmc0uw/JVMA8tfMyQBgnYZvQ34V2SsK92cTlZvScL0HeKYilACVnyKqDIygqXa5zQ1873o
KuRZjOnHcYmei9Q9GVmXsbxxaLttrbI+AAuxNkgJD4ZTD7F2wJtx96wI+OIxEzl77FDvOLnFc2BQ
xOGtYXwygEK7NkhWBFaG8+ffo3kjSeTZzJM2AIaaE4XpKcPY+Nj2nhJsnRu/U97azxWhXl6suBYJ
LmCdmtWx08UNBGB0xXyZG4NHeFPRgLVtAxcJsB9DjyayEHkcCGYdfBNus69ytecGM25ivIXbyEtI
Z4/QYWaA0lqVYEyyJe4PRzLLOWqXH00FwZl3dv4AaWqBPU/xK71BotvcOTVCVQ3GlVnDaIfT0EMy
FEE9fBhgO4r8r6p9jNTwCWJrXJLSCdWtuZZoU8MhNgjP1FzSddt7yz2nimULRNMsa8wK0KXIkB+j
oyioR5fphQZWObPEq6id4k3oXjMAeMyx+TbWJligcJJAVcyWULf9hGU475l7aTt9DBGnZi6NU7sB
QwyCN3q68d7s2/SlMO2+PoyGM+qwhxU+ZtMYeKEd9N9UB7FuM/LgMJYT4G/e+RqNzO3fB6KSwiro
FwAyRz4SnADL1mOVRtQv1wQx4X0lTR2fGmFZQvjkAhFAtw/AanZLXsfHsZguRinUgcSChBSI1rnN
PbNc2y6teyMwLzqmdW1sSex9qMv4lqYvo9QWZ5hgxTI72bpMJxrrwPUuDeYbtG8eM5TCfFbxTjYe
wYOBehyTQryYXFMI5BJfKME5tdPI5omUuWVY+yjH9trPLO+1GAPky9Y0/eu2XPYkx+u9I6EUZwbV
7NoMXYbw+vw9zhMoGxJpK2Rp+ycBQP59rZCk+yL9YZvon/C/on4ddGVeNmMQv46qLzctSQTrgicy
iTh14mUrDjVFmKRDj0EtJaEnK8R4YwzwGkNUkqPn9b6Njmc94iUVFzFc80/NiLInr230jZGV6OSV
LPEuOLPYBBZ2Wbvs0fOIJb3J+nG5dcyFygOtkSdaTLhrAfCzbbrCy5i3A2mGYG7NbViahWLPqm1c
I4HAzVM2VXcZJzPBeoyQG+4m7NmPNULFEa9V9YStc9j00o6fAegbTghDM/Vb5pfpPWTXXB9ywbwy
U9iJZC5ehxY6JBUPoayoV1ND9WwsDlYzJzHAPYJNGrVM/XC1vZ5q52oi0hvUAQNVPhVPThdNDFWJ
7hCzDIHNUhU7i62Ugx2pWvbAb4ABAy5M26eIk1gI9Vrd6jjjypWe8fcBtf/xMf+v+LO+/ftps/uv
/+TfHzUIEQaw/uyf//VYl/z3P08/8/++519/4r92n/X1e/nZnX/Tv/wMr/uP37t+79//5R+bCtld
3w2fSt9/dkPR//76vMPTd/5Pv/iXz99f5VE3n3/7DQdQ1Z9eLU7r6rd/fOnix99+Eyan9f/459f/
xxdPf8DfftvXVfyXy9P/PPzv+//2c5/vXc9LCOevjuPyH0m8LcmMFLrT59+/Yv/Vd0zh+Kebz8fQ
+ttfmIbRJ3/7zbL+CgtqcrAwMSvYQAW//aWrh398SUjhsl0FWJlPP/fb/31//3KF/v8V+0s1lLd1
WvXd3347VTbnVYOL/h78az/cxMExQdCblzHnmHw5BJBVkEX/9GH845f9T178rMwcdQfmY03m5cS4
P3fonps0viBg8Qudg9N7Pys0EVg1IcideRmQS9AaaJK/Gr17eoN/9KmcF5lmk5HpNZiXLQODCpIS
R/S7DDMypyhLIv+Pn//+EzrVfn/0i06X5Z9klIrQeita+EXKxw56ZGTXL8rkP7uuZ8VmPVjQoxZO
msGCmLLII2bsY+0vX6jxTx/9WbGZ2v5oTO3pA5rXbvPkNb9oe5wWwx9+IKf//58+ECMjsB/WW1wS
Rrd17PgQMP1xJKBngn2W+XgzEIp5mtKIWWePxe/WU23o97i0ZXOcA3kTCyZFFP6lT2RollCWmgcX
4w6nymb/76/Z6fb6o2t21lKqG+mTrmKal7PMXpm+tWoyIkbyn2ybB+xhu3//W/7szjjrLWGiFGCy
fMKierORxufsF6vmT+4McbbiYxitruhY8Z75rOFh3Hlb+r+Yb/8n60acLfh4rmfKct50Odgbdjxv
YaQQgZMEOCprH9W/+BN+n377B5dAnK38mLwKNPHFvJT2pzt3l23BcFAGGUMrR8TZEQ5h+LBcHj57
MB1TbmMxPJV5tdH5ySXQbSZtQuFMa0X1PFTN1sBXzmS9tUrzdSKxXsTGJnX+D2fntRu5kmbdJyJA
b25JppdJeXNDVKlU9N7z6f/FmrnQ4SiV+HOAHsyc7mZSwYgv3N57Zdcg7MiRhvPn9dV2EC2HAAki
a9E3YG6dkAlUvuUAo3WD6nkYX4q2WQeDdvCKa4LzbAE3pdYFN6OY3c7hTybL1VxGVNsON/j9eRPN
ZtWR5/I6KeOV5DcrI642FB43lPUdVzhOHfc3QvsO5ADD5R/yUxDnoruowHcafxB74pCInPmIzVTv
o0lhl1vd/dwBT/WTRQ3M+kgLzCkSD2P2UFbvanQlIaT6+dn/6sR3H3D+0S/DPIq6Km0TxpA++4c5
HUJ2RPbcbJSoo+0w7sYGyIZ6JIbcaWVC+4i0UUbT7cPgUAx4DxTs44nwqFTIT5p2H1sZ3skgdYFZ
OWPbnelo85j47jUXVZRc9BItG/2564pVL7/GxCZV47tEhnTOSc98AEm09c9tos3147sfW9RUhiUp
1EIjHhTTexkjTEfmUa8rx4NbNFkYNJNPHCAMLe220RsONETJJXbugDHQ9TBHdQ38jlZ88ZOE8zRQ
Bz4dvpK0Q0HwjalU2GAKqA6pI1uqA3IGzTiqwWhvKTi81TeNvkUg1JVUy45W/JV4SEVwp6SjxY7B
FCDwztCycWjiNARd+OIDu9Q8v8a9iU/o0Yw/c6yp5JBccFzKFCMtZgLs4y2BSbS9TMJUJA5sj888
WT5RW6VlBScZH6+lxGflECqAvtGSiCxyMjbjGKTVIAgOOuuEAxRRejdH0gliZ0QpJrejg1UTruPL
wEEbLEumFwm9zR1R3ai/Ca+TQT/83B9OveRiAtDzSClBquAnacYtsrzrSPj4+cknJjBxMQNYAG88
9vxMLcQeWMpKICVA+ZOWW7w9Z9YHJ4qHuJgIoCRHBLAyyTQCM/Zz1/9ShM+f3/5Eu4iL2o9+oItr
FFMHy7LLbjtqZybcU62yqHdFQnpCIfFcnTLitfhSOIItq50JKFetHn5++VPtMv/zL3VPT7KagE9+
BH5krt9E5Yce3f786FPtMv/zL4/O9R5cgw+zKKggOnHu6p557om6JCr/fXBplaYhwgQ5FDi/0qja
cLy5Qm4NNsGycSLtjJCzj4ILgKcw2sEKdwAQPvZN4xqFjyK3diXCqgWop30Vb7suxGSiIe2ZAxiq
te8p624qN0IKmSGW7KDSd2F7rMPhrjNuZIT5dfqrxsAgjDusZEVT7EJ/ZYlr0nVVPzqzpjvVeIti
I3QGSGPPYFFUsccu15UlXPjkRa3RC+RuYZjOm5T7aISUnZypD6f666I+4AtNUlXSp0NaN6i447XY
BRw+3g1QOI1EPPf1v52UdGtRK0qg2ALYSEplgHt1V6lnBsL3bw979r+dqk1Dgk65ljrE2K4m/2qK
Xqbx7+i3JNNLZ1ro+4+qW/NvfxkRJB3BMYEzekj8j1Y6eMBmzgyJE42yLBURDiIZlSpo+RWSzrI4
88LfVwfdWlSHfggkw/Dk6aDXxXr2eY5ZcCv4Z2ryqeaY//mX5lA0rarxfdBhGoA33Zos4TPtceq9
FxXCj0UvB605HXLvoa4FW/VYhXO99nNrn+oq8n/fW8RhqKI6Z7FvIcUmCwKuiho6QLaIPfzz82+c
+gsWo5RI+bQ1hvk3qm2jPhkx1zGwQH5++KmGX4zUME+qFhQNzZO5JWP03B7/xHPNxdgMuFlozJTn
tr8SXPDnlkenHrsYmkVjCoRPaNOhF7cB2TOTe1EzmIvhOFiVP1S4BQ8z166XHmr9zMx34uOZi+Eo
yEWhtfODff+2E+8k9mDKBQoP3dTNxYhMWgKBO8LsD1lBXo0b5PeXtcXc9l/GIukGcFfnT2exr5m2
mnZmJJ76dsuRmE4kTxbz+wYb4z5vV5e97mIIyhb7kJJ7Sqr1dag43bS57LmLYRdjY0V7z3NT/25Q
3sv+87LnLkZcExehx1xG5Td+DfF1gKThogcbiyEnDn2pJjk11BxgSbhBfFlDGIsxR07G5CWdOh1U
/UGeHppzG9gTtdNYjLkgJBPNaGiIqLjT4+auxRg89KBmKnPH/fqFrbIYgH4TQK/M+ZUAt8Ao7PPB
v6x0GovxV3SEORBWJx649mowaw2XzYXGYvylAeb2MFbo0MkWrE1kXTZQjMX4a4UiIkSB545sGlq4
DxetIvV/B2Ff6oUySUgkYupFn+4zde1dtmnQjcUA7JtUaqfSGggXdJGZgDH+eZzM4+H/nmXoxmIA
Yi7PzTKnHSbrV1/9RQ6zIQvbUbza5apR9VE+NMeff+pEyVt6QGKpkryuMib2yRwltY9S9vvnB899
7Ju/QV+MybTsC6MpGJMiMFPUVRt5ZBrQ1j8//dRrL0ZmzI0e1k/WegOqFSlRneD9sgcvBmOkiJjI
DJq+q1a6sfXaC194MRRJYYOnNJgsTg3TnuTb8NIXXoxF3HeE7Dc8WC2OSrpr2/+5jfzPZeTX26dT
LbwYi4QWpJER8P2y4JC0JHON0ZnefapnLKZDwjJrxZqrhwU5y2Bj28rHjBj8nz/gv9Py7zreYlCK
htz7xDpPByl6JyXoGFhcf8+ZW5ktSRBHtKdcAh0S1w6pVPaI59GX7hM46upaESCGj+I2DP1zbzMP
2e/eZjGUwzbMBaXibWpMkV4KYbxocYDu24ZMfEZGE4VOa9yDO7us5i89I10ezplsyXjwkuBYFvlt
dabon/hs2mJAD6ADgiLhL4HsFcFWyr3bgFSln7/aqYcvxnNTc3XVzr2tUSSnTHC7iQ8hsX0/P12e
v/03X2FpGQGurFQ1dIuDXHGW0g24Dv11prdOkL9DFXQF9B6+LOzlsT3gv59zdVxc/m5PPEtTGLYm
y2tASTd5JrhJBOXQEPfN2J15vRNDbek6mXSpxnTPEA5IE9Gi3TCe2/ydevKiOAxYBhMWK1QdQLP5
Dkngzw166nMptPOXCVUFAYmUleeG5AGQ1afiH4YDc6Y9/l1Bf/e5FhUCmdSY6XNN6zHEztmshKCL
uN3jOZdNnjZDpPy1ohexs1ZR9zszHlV5Q+wvnETdzco/Sa8eOnU9Fi/qlK7qOnb1NN4UQE0jdDtW
ouyK+lkT7n9ui3lm+O5lF/WmEqPaqvt0PBSAWOLwrp6zpSRi7CXlzOA49RUXNYTrHgKfFXE8wE0m
x+7v2FxW45c2lkTTCgzY2XiAhzCyMblwa700sEwIc4DNcGpHeqQjpBEJS9Xm59Y+0RZL90qYFAPx
B7Q2AYMamSTdma946rmLeV+RtKkinY0CZOjcLAJ/Ty48SFPnQfRlsJSIfyUVz+pB59IT0ebLZS2x
GNtWh8oZduR4ILNUPvqXuOvYsy/NKgJ3viMCrvEA3ki7ufixiyENKKtB6OkNh+5xCrvfRVJ//NwM
J0rR0qKCxM5vKtzkLNi2kfA2mGQPKcllGwd1MfIgbYRa0A/jAagUd4bVZYvMpT2lG1kaE/WJrD60
OcAtL3tbZTlDe43P5+OxyHLvo+Gy6rM0pADICYtKpUNkwZFUmvdEyM5d0v1z4n1TO5XFqKt05X9H
nVfDYuneLKZmDaFi7q31aSdMI9n4/p1IGIVQabaGuWlsLCKcPom3c5oZCOo9CAKpYfnBMu/ouM7I
BYf8GFcvEAr4D3d2jYdzzDMQWeVuIAoliz76StiRcrU1va3W3jc44cwtvA4vMkEUtERASqg4K+Is
SsUW9dWMdpkITkjFyrYCyRGCp0p8/bn3nig7S8tMoxlpRd7meCCpqQYTUrk/P1eaZ+LvWnZRHQwr
DMvRF4eDj65GNx78wHdg2yAFf/WEOzEkROFTSB/K/kXr3qFVXthZFguDYBAbLwNHeTBJPcy24C1/
/ntOtdOifMRhD3jCEjhx+NXlBGldNpsoi7nbsAbyfbT5sX+x/rTdmeXRiSXBP5PRl4rPjCeNyfxV
vehlpron072uf3j9ZZf7+lJ2qJAHoZuE+HNj8KzodqieOQqeV9vfdBp5UUB0cGN4P6aBq23cDbMF
APGEGt1rwPrSc4vxE59yqTu0kkZhBc4hoNRt/M72ijNd/sREIC9qCZFEdVep87cEVyyKdpRZoILP
XS6deuvFJB6PZkvALm9NiiHh9n2x+7lj/zOYfdfm8w9+6SteUqApg47Ct7wC13UnYyruVdcbH8Xg
KUCMNam9K3baOsmjYyhJpCzekNm2DoPAjupyC4Jpq6njPuPiEq7FqgS7I+bGnSRoriCwSynsPPts
i20VPooQnjMJ2wAXQMSvuQm8iJ//DEk81fyLka92UmfK5OdwoUqQDl7otlDhempOX/4hK8vJOV/y
fYXrYeLqRHNFkLM9EaEZD7suIY28NXYDq/26uukIGCyTzDXVmcKcYOrYRgTzyuKEmAcXBpmlCtKt
Qs6u9Oxq0FRCeSnYcQLR8mlQ/xDkiebm1SiEB1Xq1pqc3ubxb7F5Nlp5VQ8k/frQXAV9reA3yboQ
NNHHTNUIBBQt+rrJjwF5StEaQ/C11E3uQMSIqe0y0M7ddNclvGRDOgDprZUm2ab5hNXerWCmJnOa
91uSyU5NqFNQQReQK4coM3swapxaJIOnTyRIG7kMEMrYaHFkg4h0+2Q1idgATSf11VUsaje6+Wwq
V3FOgigEKmu0INwQ6E7aaiQezYhgSF1YkRBo5+lfUdeIP3zHRX+sFWIky/qymisuBhReLD+H0M05
DSAWEgrPOTn/CYW+6fL/utCXLs+lspkYPWvtonjMzSvzT04gtA1kC1NRIW39eOflZ4bXiV4569C/
jq5Q8wMUhewkvWTftZ5dk3VOLODPnf7fpuO7P2TR5ztJaHOLJMWDKEi2Xv3CExaOfxPlqkgekxwY
HSnddw0RP5bxUfsPedHvk5qAkHWq9XZJDlmnV45WksyoXrNp2poJOI62JYuVowcDkkFRwLq7J7j5
OajWSUJGH1S2VIaNgqJaIEaziDdo0MhJ6duVnJWI03pXlfdB9Bwad5m/aQygmOd0hydqoLiYhBvV
GPCqinQIcUZrcwt+d6Yhv593xMU07CVVWPWkxx5Si/TMY9U9/vzcE1//n0z6S0ebAl0Ky/lgxayv
ompPeLMwnNHqnjii/3fS9PXR4Ic1cpnYz8QqUsE/hJU7WSPZWRCtOyr2qJf73jznOD+xoJAX+xBP
IdK898bhEHtHrX6s4mtVJ1i1O/PHnHj8UtRsSmExkUbPeiUcCLkKV8X4XlshYdjnDNYnVhZLaXPd
wrJq5xWLmB3UDDKTufNq0Mp7PT7zN5zonEtRswxrFY8LEzRbNaVdJ5eEcbAflhZVUEpCIHIFz421
9RCs0+bMjHnqfRcLil6RW03ROfHU490gOoAbfu7zp77l/HtfOmaG9U0iUXY8cKDqGlWGfDp1avXY
zt7Hn3/iRN//t+f48hOkTncqRm+O58rnpHxXhZsq7qFF1Nzz4PscZ8HxuYXFqWZa1Jxcjwn1jTii
GprMkVtzg9Dssqqz1LG2Y5lnalCPBxyDfniIzt02nurri8EqxdAvIJkNXKnV11I/7vI8dMqWgGYx
IVhMdX/+CsrcBN/NPvPn+fIZSCYHMC5T3QzlKhPwqSiQNEpnEo8TKbVjkm8K63czHgW09Ga4VbBk
ijXmYVCH5QRpDIDBuPYqCadu6fZCuKlCyxmK6bEonzK12UwhMaHZZ0xeLHEOQlitQbah8lj//P6n
TnmXKlfySzPFrBhZWfOazIS4AX5gyx477VZZ8DsikG7QSRPgkqEs7grvNtHvDPN3VVQ4GUsnImFQ
nOAFxeVh4lxNsCy3i9YN2fp1cCfFz+nsAj9XgU9MJUvd7DAI5PVD4Diosds3bkcU6WWHsOKiu5iB
BOJpnqT86nc7tC75/WfG6fdjR1uqDz0wBmJQzh3E/Mjyo9C//fzlpBMScG2pP5waMWgniw1uxWWJ
XJFHX93H/Xsq3VYZ52Sj/+7PiaLF+51mV63mGuo+KZ4l/10pyfkGPVJy2AE9ZaPKoeOPf+Ed2mL0
mvSlg2sAmdqb1OcuOOO63ER+RiI/qARS3uVGW3UGMei+RLQwxpJh/PRmrtoBKpmY3kvFtQYmOrsW
p+tEOzTjZ1NtC0KuhTc9fgino1DX4ToB3yOiPhdJdDUl/96oTHp6JcHbjtnf7Sv9bexviQJ0NfO9
qa5IBvW7lywpQ9JvrNVU1GCV/hrNvQoErAmuJ72HmsAGRUXxDmNMMVxFtexAqa+DRkQK92iMUIeP
cv9Y9vcToaWtfxSzh4n8W29Htm2cbX1M4+XtSJaxetCV/RSabjD5rhEcojKyrf42ln1Oj59i9VAo
f2pQTbq0D0dvQ8a6axKt3vQrUTVuzbJ+GTE9BTrgO0Dvwh2vrrZ/fv7yp3rUXPK+lJzOV/oyhyh5
wFgSNTfh/1pf/z8vmyHI/ve5KpEUaT7w3F7GjHI9nSvF/04u/m+N1JaaUKLisPGCkECN55EOnQAN
ttzAu/NBbQbaUyK5Svwavbx5a226Eow3Qfvw4smezJ1lvujhpzak90WV3Glwgrp4C+9QwsOvsTuF
ca8qlwmjNGtu7y/tCtasL0IJFQZoXlszDqJ/ZqjOJzff/f2LHUo5hQrJ2vz9E7wPimFQbrrhSRn2
negO1PfLusVikg5LJW6rumH9DnRgdGXpojWSZi32BeTtZipp62w44qvIcJPO/fl9T5w7YxH+b3vH
iZ79j8Cmw51KLjVQt18B9GWmlEyI3Va6H/wPxfgox30RcmtTt7jG9yn5LbDbjQG/bN06BvEyYQfq
fPpdjTccaSQmeRSliKvJVbMbob5RdBxEq0aeGUHJKpT/Eia/zdJPwSx2bZbdFJVnJ9I+HgTHM6e1
H4LZLZ7q6hawadNeG/6tptyAiQVSfdmXWopeLV0YpdRjT1+W97F0ZXCA8XOTnqgM5uLoMOoGQk58
erAkr/SPNjyzSDj12EXBgWKkCOl8BiEKlR3orx4nV5e98KLkjGZSCECeuCz5EKCRDUZ1RvT6/UpB
W4pes3bwxZ7E68OM0cnYKQf6YzecC3f9t5/5ZkSbi1IRZIEiBprKVhBYZRUYB7XHTJWIMqdSzdpX
Pk0uMEEb1wTuK3YaJyxXxNQOy+imgdM8+sK7kYWfliBetH7RzEWJmZCup5gcxkOqN3+Ul0BR/1z2
hRZVxe+9GEhKP6Fctw3Plc8t5U71qUVV8U05LJSK57YsZwM3+LzsdRc1JSRcZQSbNx1k/aUS9xeK
krWlaDZXUh3UC69LvMpgrtuzdx/zi33Tk5aq2U6M2iJoeeHGQ1ZhAJHWn8yUwK/sKjY6uBh/s5GN
ReNGJRzj4I6DTCeCGm0O95n5EUQatt4Rv698m0e4UJLXYuweemyUZFe7zDJeiqNP2gymZItNvq0R
vXWvk3wz5Ue/3CTJtpU2U8duvbnt61fFvySkGM35UrUbyaTMlBAIDuq7UuzL/rJSZCwKRj2S+BlO
NJdAWHe3Eesz4+f77aK2FOkGnRJJjaRwj6/e9kSU2nHO+UgQca1jBiwvLxtNS82u3ytjixmPsgRb
sDOadW08XtTxl6pdAC2aWBjzeBq2be0al91yaUvVrpB7/pSbPFcSr9rX/pzf4VR7L4b/oCik1Bgd
6vbqUcfbm+XckT6Bs87rh8saZFEJFFLkSddrORts0uu25gi2PbOcOzG3LNW6sAQkS5N5d115K7PJ
lpWryrQum8KXil1FI9Gnnh9Orls7rmvxzHNPvfRiDpehU5H9xBpUi95062/CdQq5ZquL2nqZ2B56
uTb0Mp2kxI3tOeq5lz4xSejzH/NlRW5AGIMXiOqhgZi5zYrNZa87/9yXxw7WmIh6y+sa3i9fulL9
i+5qWBX997mTUJHiKLfUPLK8xVVbXvi+iznYnIgobMSYoieBTbS15IyY9FTzLgbhCP6iVoyIE+eN
d+yeLmvcxbgLW60SJ52HdlfV6lzgx4k3Xeppe0u1pgTC8fymHPv8/Kb/VmvfzL1LMa1XZ+wBpGE4
9FrhRLGJwiTVf/dSS2pYPTM5SJg8gJlZR4nixITQhCm3n5nPLeKxIAzJrgkMy9lhRHcCYrUsuy6z
57R4TVR/25O5HmqTG/r9B2K5VUlIhAGhBhwm6Jp6In1c3tdEHmjhkxkeIxwn1U7rbhTI4lyVgphv
C43sxJekK3epwvF09IZCxMnESdnFgYb8VU8kR8Qa4wxEmQEU28H63XV5vQ/I7NOGsYCqdNPL2d5s
No13PwwcqBwCf1sn8kau29qWBrB+muZDuRXcwguPU58fQgGEfb+VmVHAO/W2mk47QJE7y8o2qi9t
THzLWW89WqGu2UXg6wC3k8u2A0vtFGD60PD6nKsimLO5XaiXFb+leqoU6eUDJNdD2FzV8qsO1asR
LxMlcF3w31Fv+W1YZAqjs9D+tPLDmD7+3D1PVOylKqkuYjFqkgl3xbjuTGmltq8Vnernh58YUMr8
z7+UwJq8auJNfaYZfIyRG6pnLj5OvfSiBFbpWBWdREsH3YaVuA2fb15F/fzS/657vhmw/w7hv7x1
FSZVQ4AS88wAzQYcY5NZVNrnKsjJ1u2cqiUtVfLdNJXd1vwr6K8Fute49jaARO/Uszknp1pvUTgj
05eaSKfQi+arkD+nF65ZlpKlUAwly0ftcJCL59q8VS5Jm2cxvkRBSG09pFFP+VTW/tP4++evcaIR
lnL+XLREEDshl0Jr/3o803/mQfPNF9YWM75aF1bZdsF4MCbLVTnTnhoUMgLRyef8mvOC57tfWPR8
rfGUsi+xZiievs6IQRK1wU1Y7Yczl/D1srZZDIMQWSnAWRo82ZXXl91RaNpiGRBLnq7GswaUoIen
kn/5D5e97aI7CzVcVZVz+EOkNqtUuS8wV/z85BPlYAl/KNu+GkQcyIem2rWDyhUSsvzonEXhRA9c
KufR98mD1PLeWY0o50HEhXbRay+l87IxwS4fqI6R8V4K052ZtDahV5dQXxiOS/l86pV1n4X0jnK6
rcebs+ns853jN117SX4QxnyIBY+7VM/0nAKVGpdCZGZGRG/GjiCKbiWHkGHvf26kE+pWbSmp99t8
0ruaW2El2EyF5Tb5+8BJG+Hbmz6pN2raETetr4oKVITJrUx7jD33598+9eUXg1jR876vQ2pPfM+V
zZn14L8Z+7v2W4zaKkJkZhUUn8z0DwG5pzFURVO7BSvqeEkIZa/aZqq2gqVqj2m+EkWBk+od+ems
/bLNaJp4Tt54gtNnm9h8TkU4xfvYx6/cPUdmu/NxpXgoCD2p+913v+L6Ia634rRry249GMCtrD+C
cS5aUjrVSIt6EaXKCHoZlrsicdazB6Fs50W66olAE9vsgApHjXdjfIt7AfycU0t3oXymb5wosks/
QBRoWJ4jdptpcN36M/5uV8sviXXozQvvVZeugFEz9YZ+gCTkmRTly46Xlp6AqorqJFHM4ZDEfEtj
1RG5/XOPlfmf74fnUjCs9mhugHyzutWI/W4dOf+t91e++GrWHz3qwlTZ+t1tXFhOZvzqApjk0R4N
CZmgldMCz+g6gIhXZjGQVfbSGy+mvu+lV3qsDaVvY0q5Wwt4GYlbs8SjVF8Zyk7hv9IeMw9Fvea0
SrWB07sREPjl+pZ8121NGFoTkNEd7BP9flC9fWEVB6n6MKzODovYIcXe9gayVtTPXKt3svEoVOZN
3qCiVG84Yl+ZmrkZxGIjh6RA5KELrPx+GmQ3LvaNd+yljKNH3fUyzxVJ1q6ErWewtdIL/N8AhJXs
OreAGfb1iitnB6u8W0X3KQcT6VQ4A+llnd/fB4W41oTnrPgsDGkmQaw1a9MTWZ2YyUr2HjJ/7yXy
wQOcOyjHabpC2Az6E5JDbRvCNaANEIRO0CtOQ6yycCXDg8hBUEb+ulJTWrO38zxfld6n2P/qB9NW
DTSfUvS3oIn0rnX8tl8JInS+rdhHq6rMt7HkY6iqBruAUdWN4m6Y6s0oEmkofPbpcBypumX2txT3
cVNvFfO9n5W3gILVYK1xlxbJL2lxsPrPkODr8FnO4VWm4IeDwB2FGzD2ALC159q7j9HwV1V6T752
MDKALa6y/X5NHoLbx7qrtX/7vHCzpsCzKG9E7WhFrR0qNyXsS4GyZPfjWvKtdeKLrgZ9QqEaCVDT
G4uk//Ejjq7VQtrIpuIUuB+koQC1Obmq8cCpGSdGNsSLjTc2ThvCVOWeTpYPVRWTF/9plOGNOhGf
hZuzV24mEhBNAqDRYtqK9QtALfpjt6/0zRRIttGmKyZS1CA1HABrpa4i9UGTj7X1CNOzi4gHP3bj
euD/beb/WxPmOEmnLEmWfCriG/439Pm8e7Q27Woq19ycVtbKiUnm59w87RvOzje1XNky++yuu+nQ
oQTc3+k3aXUo5ddmLFHVUIizv6b8VscfSv0Ow6Dz3kbvTWr/Jvx7hrSJib4LjdRJEuE6iUjpvvam
d0/eAiTX4tTxu+OQ3BbJjZzsWE47Ag0qWQS7S6gxXa+/TtNrIu178d4KRVvHyVIKNx5aiiiAtzHe
co6z9oVyW5q+W6evXZQxv+CUYnVRvafRLmuray8ZCSoc1qKcrRsAKwOml0CwtmY2bFP1FkGw0wg3
Wnfd6xAamlVPKriU/jK1x2zMXaNO3LFqHweiy2TOJEjJu2adtGqk29Tnhet9NQlOGr9M+U5rBgBL
hzaXXd0v7VDbV1lnq3RSIbbsgaojSJ5tzRez5VqmEBl4/SKgz2qMJJsm76PYbqGsxDICk2lwIJG6
pbmBEmWHjKkgaa+t8Kipt4Z4TE102S6CdO7EpDYgO+GXUd1J8nDlq/L9kKBCUVRbiJ8jzlXhRwsZ
d7vs083sIW7CrVUJLvERKwJSM4H7YVS4SXufFn+qIT6yxgJSTBS9Em0U5R7stJ3ElZ0LhIRwQTLU
ZPYLvS2nGvvR1rX6R8sa7aJWoVe96UTtxyP688J3G394SjhMafPKjaQHcnltTe3tynpqazRQjD3T
V10rGBzDvIlpASv9FWoIb0oDdnW65Y7fEUj6aDEzK9oVxFY3r55UCV1eHW6HZKfhOzc6F78BQitY
FcqzpT948nMbVjcy0ZM+fkdgHo6sFGuk9auifvc7zl2y+rUSh98Sij7DEq6Hmkkgm5I5O9MB6W4D
G9hGYuL4SrOr2DF1MR4EsXjLkcAnQ2mLiCTaRHMLc85ugi1QP45lZluttx7G1q2gMkE5X0fjDpjk
oUjWxK43AkfE+iYbHqYOW2q0ytpDUr/26m1bPusyBv47IXvhCFUo9hoLHv4TgwUjR3jPgrueHgT9
me3bHBmb2hGS+li5legxcvvg59zJy/5a7zZBtTLz26jnoOo5Ch9UBkuQNVzV7z3ZOnA5BnQgcvX4
fciLPcXawnMmKAEndCL6a2lViPedJG8iZr5OeVKMe5Cuo5i4SY/zrHzJPbyeVswv7Xr/Os/ylVqq
HKsFK0MeHkPlPav2EtQIJSjcVOA0DnsZKi0SaIX+vS7+aPJOqVn0Fbtcuyv8D3gSjIgrQnS2Ublt
kt9Ss494pdzfI5ba6V3DivDQabLtRY/9uBG61h29ZxREUi65FlyeoliLBtqr8GPAZGf1d1rt+vWD
Vb5W5jodboVu38rhrmnuOexhCk3G/mNSJburopUsCMDH6UVvevYLvoIdSBWHdMa+o8RGBYEK0U6O
cFVfZ5lEqkLO4qva+jlYmHydjDc5rKYyo3oFbi0dpTjfZKTBlvUEECOyJd9fhdoRM+Au8W8AtqyS
etsLnzoZhoh2xJzRL3HwWTkcE7Iz0kjo8zH4ZdnoFClkG+rNlNeOVzePLZN8fZfG69G/VRV3iK8C
bJZGuBGVDZMx2jEnDgs7TFxR+iWK2wESvfo0tbeS+iwlRyVpuR67KwUEXBiYW9X25NvONNcSd1Dk
YERMh33w0vgu8Auukgh1uA+7J4G5rzJJUm8K8o+nisNbfgPrh5X5sH3RUkfCoWp++Z3AwFTtvqt2
cuu5EcKyXFx1Fguybmvk7bWZ1OAtUkc1WRdM5a1ceQkdGko69xCsWtI4dokXdvxmR3m+MYpDS3XK
i8IJfd8JrHojwOGRjZ6lFrGqWbeSsca3xYMl+Ou4u476emPBmNal1rbCNT6yY8DhVVBzPMu1bxj8
FcfrWD6k+SdRkYJ0TIJ90z54aQun5K2ZvJVfH8OSGjxcF+HzFBKJO1WuqUB2rh01fKvTl0hew1Vg
6l23+GvMmArmM7230dogqwW6DAX8bxVtMSo5YRbSiQy3Zg8zUQGGF8t6TIzt1NyUGtR2mDRJe8it
9EYq+pvYR6dFMNAghFclmWINenshZH7RB4Od0SfO5c2Q1/dFWTqF57nhlGyCrvhohnI7tCuDP9qz
Kif3yqu070nGvWNxSCkw16ht9OQXmBkbDo47NoJb5/Vakh9R/9iZHwPtuuq037K0S725XZVj7cl2
xxiqm/jQ0AQ6O4wQ9nUEPV7dZGKxzuKPifktZfUCaXmlmJxB0IkVVtglXJE+1lx5/C0wwemkAbfV
zej/yllMAwtrjWA70cogNJxAm25bTVxlqjoPACtot35tXTcYnRTtjwF/OzbMFXiXdehlu2YUbaWy
nJJ+ExX5NpHe4SK5etKwEHCka6lRQKfIq6oJ11Kor7p6W0FzGRLMhMKchbGP2+tYbx8i/a+uHj39
Pk6PLECbut5Ueb+a4oPlIy+RSiePtoTEODpEHxlaB+qyKEqvE0lzVbjyqa5dq3nswiE/AtrepsVo
11O6yRMmtjLZ1CV2ME1iaEBKozw3Kq3WgtnW1E2n/ektsv5GLh46o3hRjBtleCrGV9YM207s34FB
8PMwjaTYwZdCcevRb32MxUb0NUBZvjvpN0Nn2JLMch4ck8GyvCi7Y5gmTi3fZX3tmlrBwGgcgQVV
qw+ItHs2BMNGMl6CVFlPbXbVZZoNSI14p/KuIq0yqKSjqjHl/D/OzmO5baVr1zd0UIUcpgRAMEuk
kq0JSpYt5BwawNX/D/foKx7LqtLIZUsGQaB79QpvEMOqa7K9qpXUApYfpfuk8UJ6EU7uuN1ou02B
SJiJwQorylnIblrb7RLLteRt05ItZlyg4KG0nWdka6zFUJWu7+fhrqnLdZ11x8TCgsqON8DIXQn1
C5uLWuAz0hqhaHNhyGdvtDo7jAh+azzmRVoOTgl+TDd+5gTUFnkdhaRoUT96iH5maK1wK912YmtM
udvAIJocMvxeX6lG7mvFdMkWEZRsTrsaEWEZViOZ/JTF97hi4UiO+IZmyG5f/jat6k5N9m311mmh
b9oqh5fwzLnD5wiUfnzqKjhO9r7OpBUi1D5KetS28NyqAGnjVfgxhokX9s+D6WzkplwjX77Hip7v
gYlObMRBjDP75GvahPkQzDMtmAv7TzoileOUfmZNXhx5OO9gtTXgCVPN6966szRuHFZfKQCqD8Op
qS3fFBdVnYOeHlAl2yuU+NZTop7bujg0PYDIFggrdlWUMaoZMxx76ikRI/M5iiu3ARxP5ohPmW9H
lZ8sFnRVjITs5sNCG3wlekKbNXTHun5AvQXXtPOAiXyhx/czkQYWZNkEyZK4wBeKAl3k6VAqI8kd
cuAKUTvppnJbICzTa9XJsfcGPDEEdlbCLOFsVaCT7U1YX7oWsxqT6PgjcX4hzFevaoQ8syTmSKMC
Snog/ERxNIG1QTkJmz7P0mIq30xrRa68rNWOAo0BS9E89lZQL08lbMmIg9cQD8go+rWNVHlYPQpj
epTR7x5yPArB7FCjdEqQ63zgImEVOR8cSfijsNZ4RQAUcAcR4jY0rMz0UYlyD3cUd56pJygkRbq4
gi04haU/LM9WR0pQ6G5hmhsHg7GV7EhBCQiyIFRmPdr77XTv4LODQlPvNUb4vLSZWxjxadEdT5W3
cpbdO82H3egrHQJnp03eAj15AWs+TbrbUyzMdnfS58dFuytFuMc3y1dr9qOxd8LzQlEex30QOlTB
UeOpve7iMxOUsYX9xHioK/1DR5Uelf6muu+1tVWeIgWDXHPlKD/V5HmMz6MTrzCsIm6BZm+TY5PS
1mgGkNBrE2l9U54fpTh1w1B1syq/Z8xF/lCvGPMG5uyctTTehLOz7bPoqBdibUTq74wM1Rzjg7Ce
57FhWkXGgM9dCRQrabU1JsNuCTUWwzIEdqRAc+KdDBSrG2cKchoM6LYhDq2uNA0FngJDTGoJhrxr
M5T2oXnSqDQ6i2GyeBysBX8ayn5r0YJIO44mBNyrln01rXKz9VXctAy7djOinaord4kUHwUjYyF7
OlQwiUyniOAoqZ6kYjQwm6+T/eHk8b7pspWS/OrL5ImpzB1dEcQblF0Zc8Llg3Wy9fax68MAuB3V
wr1dVXd1fE6ny7UwdQuS4aTX3FQc85IBs6UeTTG7NlaACaFnrveR2Z7qkGNgeUMW0bVKDRdNyV/s
15SeomAX0TcCj5vHjMjHZZUzIS5fqxza+rWTE1/69i2lXWPqOplZ7jXRB+4X9LUiTMIg8iJUP2tv
E8BIlamv6bxjz/Zgj6zgOTAGe2MOlCqNdogzzatNDG2uVBpc6gojKBy/5c4s8VFZ5krqrI1Rn+g4
ugqvHinxILI3cWmtzBy/OinBYZLXOOoU+OwJbAF6G472dA08Wy3qNqgVGf1LaLYE2Y+FwNlD+UxD
bM2kcRORtOIZvhqUDARy6qpJ/jHVnQs0HfOB87UtonCOCb1/SNWN3ZwYusGCQdqs/JM0b04X7hMZ
H8KGc0eZ75u48K38Q1oCHPXWaoiDphZMsePGSxvIrNpUI/+cjI1B9kBtrGiLH88LMU/Wto1lU9dW
XlpEmyIf70vntVSGU0U3yjC01TCSq0fyaeHWeuitHVYMifWjWHay9TIC0YmkP9V8T1tjth8ML/NF
8rtV7YNDVyizTnOHIyk5VSkyWN6vqvFWhDtBp73diL4MOn3dwUWWsmNGJjd2P9JyW9HE0AcfT8kw
6TEEbMjPf5UIKaexucKtddUm+npZPiYSloXqckKMW+sOmSL8hgZxiqiSAd2J/hqwbXFXCOmlRdhy
yMpTSpxucswTinwbNzBaHLwgU+Bo9bkcJy9LtFVFXbpMXkGlDfb7gLviwYq1TUEKV5jRyplei37Y
y+FdnSQw8e+qyPakZvB6503vdFSzkmPK6ELmfiPZ5OmP217P7iSjITP+KOzR7cPRHxuyv6rzsnH0
xijB1yekXfkULuHGsQObGZeJq09i5fuifa7L0HUWcqvK2A82lBqZTm5/rSONYxPPO6dz4QW4rQU2
3SxcKQda0hXuDE7dyfRDPRHE8Wcz4w4z9olWkwL5QbgFWcHU6HTsAKJiuNKMLMBGgfcCU5nMqa2w
GSufregqTZ/eRbPlyxh1RqbjGU3oFbXgVwcvThs3VsVB2CyUIjtE82lS80vaTPftVMK0J4il0lpX
kmCsQvoAcPtLsckIVa31apkZ3nnKSme5qDJpiJRwNeKG+dLDy1Ik5dzozrOBqgvdiSdYui5a78dm
cZ6yUmz1Tjn2+nicwynogNLKdLZVaVvkyO7TgLz+eqpLZOOlb03pKh/x1cUmdW7xDbVJx6Lx2M+/
povda/u+73+qAiiKShU64CAXqSEt3cqADyw9xAMtthY8mkJzBPO4e7m1yX7bhQMeTQZrTDZibt9l
pw5w2PYaGcpeoe8KRfL7ypACUbwuob43gBvMBtYlma8mWQQDCvK/HHlz9XPqAEU380kNFa8cDxUi
HdNPDdfWLHw0oh9R6+yGOtujbfczXojcjgjaZcZ6kw1ivtgjdjfKRzO+NPhz6LHlLxImOn3ox1nt
F6q469p8WllmfKEoAR3gjSWFuvMj7u2diMu3SQDdNavj3BhbBTtNiIdStkqtnpEUcygKIUEgylJw
8IL1NftCl1yrOUiKOGgtz3h+iOaDLd1NKa9s0139y2WstC18fknznR6bAhutCrUyPd1oMXNZZLdp
zwYaboOURiRRhruEp0uTLB+1HtRtjZWKRPeto85w2n4tqPtj50luL1ZanaWm8Z1M3ZXdTP+6WXfI
+kQaaKjpwSFd7Rpn19YqtRkrzB4dBINqDEMxr3woaFyEjrqTe4vOZlOt+tYgZ1oqfBpPabaNbB1x
Ip0F0FYbVT3rywmX4LWNfWSFSQP+49i+R+PFiKCxjOUbPrbulA3r2FEZgg3r698xi1lrzKoa/uwZ
Elz/fuWKhtXiLySDQrFXNTS1PimvdQ9qSVy4GBRSxBxNSf2Kx97iYb3SmkNPwtAt8dlSh5VkxPRS
jY8prFAXQoqmw4rY7OG0mPfQGb2MsU62FwVNmJZUetLah66ygkm0K8HUOcTXNRroPzl3UaJ5MqCX
QW7cfh4esHJ5qx34B23pDsVryMh1+jDaRyt8XwaOScla90YdNDrtYLQ+xvq3VT821q5wRs7czm/F
ccKwsRsSXxvuTFtaW/x6vfyhOvZH7FuHbgg6R/cQe4VD4axIAPb9gI/UsWmxe55fy3kbG/tCLVZF
eXDM50bu/Frg87vInkTXIJV9W4arqahuYlpQ89861n5NixdXYooB8vCKhvEMl0IB9aXEQSK1P5JR
fa6FkbMdRUDr61LYO6neZFbki347G8ubTNrZTj1CUxAgo20oNmHTbAYJYc9SXscJXaphWIeKsZbZ
CDMPe4h/T1n5lnQFOyz3JFNw1P62Z5wkJ/s50ZCZdKzswcaNWckA00vgz5ZUPSIIs44yhdx6N4o9
x8aWBR70rbxtFeJANn6YRKmqwy1YeYywLjG5/4anPycDLcbQ8mZbf+v7EaRccnYiDFqxtEYnETWt
igbSspSbcrQLz5J1b1rOGAUprkO7b5pmv9SSA6otZzxjDqLLDra5bOJE3YaSvJFLm6pOP8RJeVYA
cvV9F+BQ646Fvm6ycaOPOI8wtlDyY6Q9ZfNLlb476Xsq3iKOAAVtk+zQa28VBtpWfxcZJ2GeR2o2
DIzViE4kDRNJyv1seU+7F2d+yYaPCbpVOZ/0cUMPH5igbK/poGqx4ZsZNIXjdXzdKhEUzHsGikpb
coX7SD3bdGXweJX63STOWXuM6pOeH5X4mChHeX6f1Kue9wPL0BvrbD1I0hlR0JLQtMipm4cQkzMx
/4ghdnbWaTTu8usJ+NjE2WU2KUibws+b0eVh/K6q99ZY1xrwxo4TF/d1fEcnDODXwkbBJX4wyXcN
mvBljMZn5DVa7S5AUxAI3Fk6BRhcWW2n5adreTk795l01w50j8qjFGqXRWsPBkdapDMK3CBLzugt
6Axow2T/y70htmHxgUgpcIvDIL8rUrTRNDaUOKap30nPU/LUTjjS72gVlKhGZeKqU9PtVSOoNQef
8nlH+Z/b1/e9HyztJCWnrr8zdKRLmPYyTIvoXu5FtisHW/uZLmoAu2ifV6/q5By04aJ3E1rMpYwa
jfM2VMOdgdOg54xvhvzcx8qaSmsdOQmOh9hd9TiQ/iLmn5fI2eiSdrzK4+TD2Y5figFg+/AkJc8F
86L+wa69tLZ3eryzSc03uvVbEg/GzzLdSm3nd7MedPJJKe6g8jPWcLvAHoGbRn4UItjTaY9zobg5
8ViEDev2pOXjOclOVhf7CKQHuRr+NONzTESQDQR+yBEZGFD42cmqtIJ2SzlTmLo72A+DlG8ljfpH
5oNqnJkeQUr68kBXUnqoo99FVLw7TeUvo3OQtWhvqjjJ14yeu05zGwtsLwKsOXm4k9i+QfhOmrXJ
8BEnlIQuwENGSaqX6Vr0WOj09uC3MbilWPPU8QlfQHSCO2bOe7l/V1uxBje1Uml95DQyjEL2ekV6
mOrf0K+ajl5GzU/K9GkQ1YM9PCiy5P8bTfAJtONWI0yPo64dBEDBvMM2mvn9F9pjn133iud4f7sk
ZYTfqvL/0qmoOP+4rt2tG+dYW99Dxt/KgslJIlfGzHVTBpnDRv4mYPLqOvu/91tiYabWNgiwuUVM
mlf0BQDsM4Lff5z7/3kQUdFoU19IHEqauU2T11EafcVUOGOZyKp6MGWNG+XqunD+2OH0kMfdqqb/
GjmtF0F5L3+ZWfbFvXz2Tm5QSbD8jTy9fsfGYDTlZd981TfooDETpp1VvBK5OM2MshiAf29t3qAJ
7cV0xqQoYAwp3pD6yVeAn0+gobfyO4nW2lmowm/msMELO9DsE2X7KsyXL8A/nwhUG7cKPIkc9dKY
SAIVU9p1jTssfRDV5NgMx0dla6XyapLwINS0LRXjPjEMX1dfwjknDb0rHWYrI3GYzogSVie5He/6
4gumxqe3dsPszcdskeMIxHFB1xu7WLjqG7QHoro+ZMNvZtDbZtiU/RNoH9081kiom6hYSI2FjEO2
yqkhqIRwBTyExaNqfJO+eyv3w+uoaCY4yNQWHj1nnFK/tYSU6xL4n93X2MXQdTJI157R7Kz+Gb6n
y24oN/FCVG1ltQsX1gOpx5X8e0v+PwTe/9yvJTJFlxwTyUbVlTXKUO97z+Fm61utnjUiabndWfUi
0IcGbZDvXfpm++OIp5bLABOx7Pdyvk6m70X6Wz2fGDuBMhrnea+8Ly/V73/frPYJnlC5IRUpiSpZ
xmwRjnXQWcA8RuOqRkv7ZFoSBtf5XVJopIDh2ZGuM2uEQVrmiyI/1PpPRhCSdNDTXUI2UafYYqn6
lknEOsMpt1l+lyOysmI6XafziewEo/JDDt/G5uKocmBKj3E0AojaKYuJ/DCbqVAu//5a1837F7zp
rYmlpaaxotLx3+fiYUarRLQjXgyd+KnVzVtS8xXjcPreEr3V+ZkzozDzhqVkpXdLu7bs539/h09O
p1tJHq3Uh1LRE6J9dKjSa63w7+t+Eu1vdQ9NfajR2uTZjFJFIMaFUQppLNk4gH8lEPsfF/lvz/8m
GoyprMmNwR5I1dhdynNZHWT9sRpf+9yhyxgyQN6O2qGrDlb+WnZ3HOtV+dJIEkC3bEUXk9Z17lbN
ezG+OtJDaL0k6k/s1c2Zhi2OGjihd9eppYTMTkRrp8rXVfNHY06KE7ap1hznT0n2bCQeWOaVzcgm
dQIF8SWrid3eOqpDYIl7mT6i/CtJz4by7iw/6T67Y3ynTPeLefViuy9a5yS1+yk9JRWwg6phyPha
098xm/Y+KjVwkSB4ogtyhna74LFbPUy67NXF8xjuGvDZzi4atv9+a59hwm+lHk1IYX06oEl01eag
GAT4xKgGbc15otFvAn50XCNScNyovJpKWKf57kTxt+TnDPkmXnaTU0kCotd+ao5RuBFfQak/W+Q3
wVKtIj2WwA/shw/7sf7iTP8sqMk3idKcSJU9NsD1y/HFwF4UKCjtMRfVLT2C+dvRjhva9RQpnjKb
K1lecJhmIhFZXt1t42xLtS/6wMhnmoY8bKYalqEeo2r5ISfdnaOXoA3Ms13GHsqCgUJzeUrMbbRs
ikhz4yI5zPSTM+1Q4M2SaF8xuz97VjehutdzUS6ZQk6wQ4FAfE+FRr+V0Ro7ptltzGWTE9O45CvF
lOtW//9DgH6roXU1G8iKghUTGozlfkOc2Jjt985C/da8M+nE0DZoz+2TBQ0Gv0i/SFQ/u+mb9EiR
ChjXNdeNo8J1RjodgEnE97wT9Vu1Jhm7jkIeEC1X3pmOfqva0G+1lTpJLbt8giti/QgfzV//jjZ/
X2q6c7PdMzPqpBGYzlWbpEu97nsVl+7cbHdTdFUork9g+bGcvlL6+PuBpt/KKBWD7Th6WJDLOU3Q
OuDRwSBZMjAJu/e+9zxutp6eElBErk376nXwyj/fuuitWFGKGrOc2Cy29kdj+XRxvnfZm4KmaBPL
kSvyRFCMjLmcL7QZPnnK9k0DQzWiVhKqSgmnDRsLAHAR1a7VaYGWfyXA+9lH3Oy+TEVb0waJi648
Q4k/o3lOMap3si+Ui/6e6ur2TVIyyGmsSUpP/JzFYYrGlZOLvU07c1bvIfN8K03XbwWM0lwX5pSh
nKsWwMw3Th+tv/deb/ak2ujjMHcKnPrn6FH63sK2bzekXjGwlRkRGEq4pakPp/3fd/tJJLVvjmAz
jJDevFYrSbbJADmRX1Vx6f/74p+EJ/tmO6oOlsIFbMdrt1aM21n73tO41SKq59SgM84j7rr1fMWL
r/59v5+svFspIiQMGhX9sBlLOEDBPcL1GZi5czOnfqgvX3zIJ7vnVhdINTM76lM+hLboFdfBfEEH
9aV13ztobgWCNAO/kKhD08FsumRl6opXATf89wP65IVaN1szMmwlG2xeqBGiBofywxdZ82fXvf77
/7QPbPTEi3nmnlXDE+9SGvz7dv/7zn9Jbm41gfReGE7miGkvwwmb0QRMwaRN0SFFnVWafi/RCOIR
XlEHV2NuPGmSoXBtTTCXsroyGWflFWiuO1O1AQBD82jiIK01hp5FIJYnvZyvk/59bKsuYMmrOqhW
x09Oofv2bAbVQldWCxRz9GiYuToSGmH568qOkDIZqMLrQpGFm8PBRLBvWvK9LvdANR86oN2Jyfwc
NdnCemNE7ytUWRGtPpORS5yXwZJPW7Vv/R59P7v0pMU85NG8dVJ+PPwxGKb2T4sSrWOYSWNx36Hn
H+oXWwWZUKjwUZ8QsANd8Ovfj9mwrtHib8/5JjxBFVYUclOBcncP1/Y5nJ4M8EYSAMrKfqhmnk/4
KlIpUB1tOzv9us/a3dyZzDB2Vj8zlxebwjqWIcrl4FN1lMsnh1F5vRrt39euRFbtWgsykVoFVwmS
SfMzYACRvAMqGEQ6hB1+Oi93TfY7Vd+gPsBweCwZHJb6ZmH2PA3rSQfHskTIG3qiKbwEnHci3it4
X0gYuXrXrXLAwtY0wQPa6Eq6zphuLICScgb1xm9co02x14afY+4EhS0CI6ZJAkJ7/lWpv1KcSiax
TcFlKHd9vpYccDfMbBvFbevtpH7QpneFOTxlXXlXS/1+zhgqjUwqISl3WuW2QMpCMCaZhgaseJ47
kNLj/QxkPip4EunJYiYHQQ2MFCpoCbL70nDp4gYMmL7JY92dZulS9WA+3xRlXg0Um3VcrbMle57w
/86T52qZ/Krda+a6kpnVo+c4KK1n8UNRPC9YIQtDnCUY5I3Of1aTEYSsJHsagPFhVldsg9o8oYO1
muqNWfertjtjoOGWyeBr+nveHIzZ8FKzdDWhvJRdA00RTDp3NSbaLxMZd6ymNomD6roYh7W84GwN
J6WIu8vU1Ff0l2Z0l3nsPRsmxaBKHriNYEruwU1bRennCJRbkuKKZNyOoPAjK3exlVxqbCfiZStB
sNJPGOx5OXB0x8gwyrBdhVsw+OgGJMsYAcW6Dhh9VQ89PWy3StitR2GidOrsFKieTjjBqSr82Oo3
A7O2Pon9HLBC1k5BY370Y7hOEmdToq2pxtp7GQGdhqAVMaC1C9k3E9Ur84e51a4SMa4pIe3b5qdc
/Z1Y9zNUBpqkLu0QoKkO/nmFa1vDto8Nd77yDpcQMNGP3KnP9oImExMUYyXBR5Cko5P2x5rBbzP5
hf5jxn53SQ4W8nfDhkLonn7Znb2Ig+JclPjPFMHWVIAk1CDbjcqd9EdZiJ2TBXSUmIuGgQHego9e
TdGaKZ3lmK4DBh1YkNNh4XAUigxcrASE2fgiXx4HG0JQA2xU1lclb0wvX9rpRWYlAo2aGBKEY+gW
YQVUqlh1keS2Mxok2L4sjrXSxAu6x10Su9kExaQAmboUa6HtZGAOZh8DZ2NqWYP2zSEBvFWZBq1w
26TaKrY0fBKR+StgNraHZJ7WqEAhPein2UNW2AAH/oyavcKhRul2Ugk5nT7RNPLCR9PV0AvS5IsB
6xriDvLhKvJZnfHaVcU6Zpphp4/FfOlkAOaR4/IywFjtVRjDTgne3mEd04zssxepaFEm0uBiqJtc
2OfIcB5Gaw98qwD2XCc7gaJ5Pa3N1jwOBGir+yHlcAIzuKJJ58k1Ys0pqRWKW4xNQM/mcebn/Y/J
YH8OwHRwHBm1Pyg2uqoMAWvWvdp4a0C39tNzP5WBnFjMXs+ZjWymvQEcpPSZO8R4R17Jj2O2q5Y7
hSNMSV66AVR8+uaY+qauTeCG7caxZLpz46qCypkb40qS2XQQfu7M4lxlLOPJWNng+mVnMzvH0MKu
rbNQjK7csX+yFdCbYOy9Kov/yGm+i+KHgvk6e+l6IAoDAJT1oouSEFn6Sx+9hEy7emDBhVMczejV
joDCs+B68HMCf5jVDGioZovK9nMK0qPEQqfKlnuzkZ8KMPFzAb14KonLqfNaSETEeMraIJ9Mz+wn
tzXoPRtt9bMdze0oHwClxqjFoPEAdRgFUrNca8m+H38p7THJj6r80xbTOq04lSeGkt1VMlfsVZ1j
//fcN9uu1oIsvYA19OewPFIBuDrvDTeYNnswajSZoQH2DvjanuFRWGwUyzm26nFsfzVM5CPh9ojX
mz06hlHtz/bWaKdVYz319iu9JS9NRq8xn43iQzMfxvQnvmGeDpUkIukYyl8WPIYF5x21s85tel93
2KVED2n7XCRrdlQgQq5m5MkxyuZ7gSdYIu0yYYGlIwKDwUVb1WXiAhEPVFOWdnCC7V1Xyq4oAA8U
XeoP6SWs+v1YwtMAi2MC827AbppkJhRTpuP8DOeLnJXgcAGwRPFjtDxwG54M6Ei2x1/aGB5a+Szp
TyIJenrCUKmmRGxzaWeF9ISdY8YIqQbEfpVLKWbrfag4ccY/Fdy8ZM7XxTAdeguqm8P+bX6EjrKd
YqasHchOicWayzJ8mXBlMKS7WtpKyUQqLEjULsbwlYLeJ5oWunlT4cSYJ4YQYsTemU99p3gJsblr
YYY3H7pIg5LUqgfokrQlJlDQ2eEP4P7rR6bkihjuW/KxqMUlCzncwoe2KLzCiMjzVK9ie6YVfUd7
2w8joCsI70nvtrG0aYcKVLgDV/PByUGGltXa7AFVAQz+d8qlG5+lzDdfq+rjIavjkU7vCF4xh/WO
eE1zjtVh00mNlxCMYRpvhBY09XKwlZ+t/RsM7ErNTc+qxlW8wL2EiFWD8phSA0b2HQ4jqwVahFgg
kEp+ow97YIXJdE7r3K+RnDez+6GEtJqq++6KJaxJUBn19TqseKt28/IxU849wgdLLzy70nw5nD1q
1d8FJFQnW9ZJhCoVQ4P5jGH6uoLImWwFPLGkvzdAMWkzHkTy04g0owWZJA2PefwOlNaox50wLynn
VCpKP6KWtAfrmGYg0ujmh2RWENiYM1QZNokC6nS3QylIWRVNAqV83UK5F0ynW0BBhIOlfV2aPZo/
ZELQla3qRZaQvqaVeJWhHaSD0USXnsA1wwSYurXTHB3j1LZen5zVatnI6XbmvXewucIIVLFUbTQ1
cgGnkRfswjoI860qOtc0Y28hnBkWeE7IFrYOOFupfd2+KwnKcjOs1L4iigP5hEikvenDRRSXGP4Z
Xdjq2qpOzjVAORQznNZZJxkJqB1IJjw1TT4k+WmRXjkyQGQKTyNzqsfLnDInjdZyeFw4PNvmwV5s
L1IDaVqJi9Udm2lZhddZi7yPlrNaPlrKvZG1PmbHK50heTIcB+tHBy8z306ENZN0GZzA6j9cPHoC
Ge99SV5txCYyaP/dQyieZfkcR7/Gdp+kLyHc6oS1ULD+NONUR7+cFi4VF04fqza5Ol6TaxBwbaj7
jLTwVwgj+z6GhTNZ4JYxQvMHiIhtIT9O+blirm7hPADQ1rcLdeuoyto2wwum3H7m7DHCsLN2XdfA
71X10FfxtqT6CYGIV7kJcorX48yMC5rnqnstwocueVIKZwdJCEFA7TGchh+SXO9ztnRlvS/mdB7x
/sR5AZs3r8T4rKP/NFSPek+EkCEyxNUuBP2pJTwA2NKJFD0A8HI7aKKjzCEwn6sixKpsWo3haca9
swbp1ryFymVUq1ULEcOx0C/QnwwEaosEtqycHfT6acyDYfqRZrNXDTvkyq5GoaStoLB0AqOiHUu2
olafcR1escngwMNjxrqBzf6mpJeB9ELm7TtP8LvwHenFWxvuNabC6j3tEtJ9XwVI3C9HQz8k4xTY
tuOhANLL+5nzo9BfU5gOk/Os238ULP3MpPKjsbpYevRUQtZOkBlBA6VHBt4bQqDxMSdQRv0Zoe0d
8I9KjqjDHAeF8h72s29PpAGgwt1W3+hxMIsGJvteYYiZm9S+3UuWVhCiM3BzA6R2ZBjG7smWur1c
YRrTxD01sxluFtLrauh+xAhkm84ABysOdAchA6ZEJhzEsQfnWfR+BOug05tHc3C2aOqfBKx+awbV
mnuFiXyaAvFOcVyBxU56LcUFqRDs/8G8NyD/x+HpyqJBPCW01/3kMJsjjEewlREWKJZ4DaGpoQYQ
12QOWz1HmtYxcN8ymjwb0oTV7RL5oFbPEw00LZ8hiixuFpKRw+VQTPtSL/iEXN+nMwfluOnG7fUQ
UvPmI9HzTRpqLpRz124hROgPMy2Egm6TBCVrySMPwgeSFdtkAAZtbqZp16X2naUXEGuTo6YhkpsD
Kmx6P46CFNEVuysuoaIHPUyYqB1Ooa7t0E0L5hjolMDsrZ02i25vrUHedznrkYhkI8QsjJ8StJ+w
JEB1lwiAf9u+jm24tgrwzY949tRzeJhL6yHPxEaxQR4ihPPFcfZJ/+CmUQhziYcBZ3o/QyyEFx23
f/594f+QS3/pTNxKFQtlNIWuNtPeHvongtkpRKZnMslDNYQh8Iiayf/tAtCn/Qe5BnIQ04Vctl8k
5S6b7K3cLc+x/ZE60ckJP/59U5/0XG8VjtvFacDPm8iG5foqIwm6QpRFXXn/vvx/WJ6/feebEYCe
2ePY5Iz0alnz+kV+EtGuVLEqEh+J9BANCoP5rSJAGvc7wZk4zOkpt07Nl/a7//mp/e0ObiYECJRX
JmuQb0gfZYFhr84FfJDGB0m2C4UD6wKXyepuwkchgenccVYVKqdMeejrPVDXCVUFW5W/1+u/VVGO
IYIlGYPxfSwFinhaki/6i5yuf1+45k3j8v84u7LmulUt/Ve67rtug5BAqup7H/YkT0mcOJPPiyrJ
STQgJDQgCf36/nb6dJfN8dDFo2OHzQYWLBbfIHgL/gbOq2uQ73c9PHZRjQMv8QLQiDtcnkEOaa+R
AMHKo9m3ePVvqx99A6F6eiDbeNfhRNnK6NCDpIaz4BiBKr2Ct9C0uP6+n/U9K6JTzM0p2qKrUs/H
MriPgBDvWPIu7b4uet7bojoq9bnfxH6RYMPpy3G8ye3nduoPUDdKwYil07uhrvcKoiIDCs19fsuS
qwS7Kfa0veY3YP71/RdJDMpr0LaBmdAKQhl297EDIUhue6HvIRXS5GCzXU0zFLnJASgQowSSR9Dk
g+lLiY1yBeNo7dS5krDPg3F3VhnojUZW8U2WSBYlgLoQ0GgmMEPL5M3E18sgAqL/rNRxTJqblBxB
Yo020BX7t2V3Odp8H6NEGKIOsTJ1UUOIS+Ja0E0g09PLSMsdBN3AUe3sp3rqDoMpL0WaQGnrXjCk
7dWl7K80SmywWqqKb9v6q+2Kaw2iT18CPw0WIxRaQpbFy00KueoOvgZ4IrvZturtUFU4jZG341Rd
aI1YUYdiBQN8AZ2xyPJTEVOoTQlMNaiv630dhW/a7hfr+osmsYfGnNn9V7r8WA3bvVyQ/HDwBjk9
4sq51xVOHND0xvbjLN+E8g2AohB3yutTar8zRY+W1B/E9DMtf0RhedALxOOUQOGjxl1L7oaQ7Nf2
ItAfJqEPG9O/lrG9mIINd7Z7EV0DSA6663SjGDtCzwQX+WgPVaXdzNXtBjL5Ar7RMK+npctRQGpu
QHj77TBelM19AmBB2XTwzP0qUSA2Z3olhBTFVqOMJK4VfVtubyZkj4MtPsXBF1sP12n7U5Rg1cbq
sLL+aMErMEv6NirZ1VSw7xVDBQLAjZT8DGYG7jFstcYYsrUaRutfavC2oC5m9CmFvkarottakFfe
QZ55zOHOmdLLesaSyRdkHTOqhndrUR6CBBCSEuy47TWEwzN7uavLDbXWNoSI0HI9yU8KNsPxeJOC
1vryTv7MHc+V5063FpcUZFLXHbmoCxjmrfa1++PT+1bsHBGioFWEyu5yvY5vzHyHE+CVhp953XI1
cXnKuqUVqJQbyEPM+QZlMIjIwey4Ja8db888NsTnqXjwWBSLthnlFmNiweTQcoKHIEe57KqGZElV
fypJZtsE+0y1T6Pklcf656bZ2efbjRJhz19rKL8xcc4MwemDBMDL8/zcoDlPxoksS7UZzHMREziR
X6/hBAIqROiWP1/+gN80gycO5Dh8PGZ1PgFJGzOcgNyed+rLaqjeSh19pwWK9LDmrbCzTvSHmFdc
b5u3Kv+aDLiSnJ3wQLiDytLBaAiHFfZCatxoSfc95epyAt8Sj3enYabHum6uW2TTr/T4mVnmzpgQ
bguS6xVPjWAY8hLPCry7WZo7Wd4v+muxTlBZK+43SHJFEP1IJTR9RABJs2kXLEB1aVA7R5CRko7g
SelbG/yoIQL/ct/Ok/7EYHJnMMe8plCXS1BLBO4Qh4hFffDlluPzt3ui6dip6vS4B1MTYSVMbX2r
Ypv1qjim03IZcpt1oKUFVO/GrjlAuB4qP1DjaLvPKQhCFEXtor1I6mVf8z9oDSRlx67w2rTLS2BS
630nvhc1dm5515+FSlDWpBRpBjxBCRjCC7SgihFyWpBLS3N5MSbTkZX3Mv8mY30EP+5CW/m5s+uF
BNy4qW4ZHvNb2Kya9I88j/ZjmrUVpB+29Xu0Rh/gGo0qAXtlVJ4LD2cntzItix6S/Ne06VAEafYr
BINh9oaX3L/w6//5yPpv/Pd/4ecfnbZDVZST8+O/31Q/hm7sfk3/df5v//dnj//Tv99+m0F879y/
efRf0PJfn3z4Nn179AN4ZdVk35ufg/0APnoz/W6++Nmd//L/+8v/+Pm7lY9W//zXP350pp3OrUFE
s/3HX7+6/BOspTM29T8ftv/XL99+U/h/l+2f1be//f3Pb+P0r3+k4p8RjYHTSFiIKk/MsB6Xn+ff
8OSf+JmmCYFtHTLx82/abpjKf/2Dxf+MCYWpp4gjlkLABL8aO3P+Ff+n4AT/mIhQRBQl5vAf/9uv
2/9Z/v8zGRiHv37+j9ao265qJ9Cvnoo/EUPs5/FmluJtkgNLJ45TXEIdBIUu+6UM+epxGUXzfxPV
FoG0y9qKYzlAIenDwjdSQKNz6349GOYnuv/Ucj637wC/UrXJxMicH6EdNW7vNQpSUFBjNXJKEhF4
/0Wsn/LTyx/2zFi5StsjJ7xeipYfoQGZMJT9WAFZEMuTP15u/6ks6/xlzl/ywWEsUogs1qnlR0N1
9IbSJVJ3C6kJv7HJ1K5ZIDYUFZTt9YeXP/C5L+Sc/johehbnD8Q7vFivutLATyQaTVm9knQ9pSF+
/kbnD37wjSD+upDJoK6yyFEsV9wyaOlACCssb2JZntnQRhoIs459a8WONBHtT6Qt5+Hi5S/4m9Lh
ngHnDjgnnxZqhPSIRWEHT0U9NEWTTDBkUZL1Cy6ZqH6jtG9FcNMtUB07mrDr8A4VwFBOedyXzz1w
DjhASdTcxAuGIIG8GRu6XyLGQ+fL3++5CcTu8HB8O0Qq6nBw0LV2FF+BgIRs6WzqV7L+51p39oYm
qSs+siE+SlZVPwn2eZCyK2n2Xp135bFRQ4h1X4L21kxi/oxDN8KFfRN+O4/r/jI0S6112MeQ3gi2
7UjWYAaXXneQJ/TrvpP2h4DSJ7apsRt0kan3lvOzJUGPUDr4fYCzHYS1DaAPoyGr1SFdvh2rsZw+
q2kKfvm170T/mACXvaxQ3N46qo62iMBGXCsJdNfL7T+V52PlMyf4ocARNSaEn3GHqyKACgMuj8dm
saCO9FUZpZ4fwx7HAIu6PFl0ILJpMuF00fIOfPUNT5HrUVfTsvqFGnPiuO/mPmerSjIdyu2jHGz5
Dnez9KPfWDmBvKA8ShekB1kYrBWUUgcYwBeR7VBLihMo/b38Kc8EtOsIUyaFlonQSTY0kb0M1Ebe
wSEGBTOv5l1J+i6vLMHg8MyIHmoPpF6je751+pXD5JneuzR1M4tOJARP7nODGZiaQsHFKBA+zktY
rqETz6ZirW1snWTROEvMgU2g0zMSW70GVn2u/048yxQCUOmK0U8p5GcugUJql+NQi2259Rt/J6BF
CA0W6I/xLIVO2GeRjOPtWiHbf2V6z/184ix1WewQeVni2hQiU83Y5x+EUr35zCDDRK6moEzFe1t0
4Lf7fRcnqgWQXykhsYCQRQTF7mljeEsqpVqIXzz/9lV4kJqsle35FA4ik2OhI0CbwjnZ1QY6gK98
QPLMcDkhbQtUytWC9dTnVkMBvECt41YF28yviilX8rgWoW2/QimE/QEkAKA/L4/cczmPS21v1iIX
3bZg34V2n74qgxEKeMDHpEjrkmmpIcXXTvU276uSa3WS6wYSGI8W1t3NZOLmle//zHJ3+e8254FI
4CCTKRGYA6sWkSUCKn6vfMvzMD6xGn8/lzyYv3iegJcL+zRjZBsg0EHzeTrG+bY1Fzplwr4rRtX9
0kG0qAsUwtv4LWxCw/ZNKJKk/gr94tjHgBsbh8tbT9o61t1SQa5K5FAF4Vv6U694nPHbtF36ejMw
TmFUC5RUoJesmCgK7AVLij9fHsjnpsnZNIBb5UldFxG0CdbkPsZR+nYkgU/V9Tw25099MEtAz7d1
EIgUxELcZPaGJmrbQZ8eurIvd/+ZKDtfzx9+wFj1cJ5bhySb7JKHlxCnHMj3VVNEXBmWeLYFphYw
qXDj0FvXaoOg0csf/Ny4OfkAW6DjKUNI2vPkrKOt+3BUMEaJAs/jwuW+b9Eme8MHIIb7mB65nc/y
x50PCeY8MU5uz/OUtHiu2DK8uE3ZBlzCjg+6fmUPemZwXC46p6QM8IKxZXV41hKfaH3IbedDoEXf
XfY5bj1dQqtug+8kgAekBES6AP3Na15dCjrlugVmu9iyQtjpjbEtQS7Ql7T2bN/JAsraTJoNdsuC
XKWX4QzjhpxBW9yv9040Mw2VtUmi9SkPISzOxAhFaghI+bXuRHPShlsyC0xrMIHjLhmQelyK1xhD
zy0a9jiUaxIMZMnHLetp1ZxGqOzv5zh6TY/lPAJPnBfEidc2BzV/o8GSLUH8E9dOOZ8iwOvabFrE
awZ1z30D58hns4CgIsAqGUPgfkgnSBhQqKX7XceJE7J45mPRsvEl66KYXyZpbA61hWO0z9yGLiWa
ThDMTLbaZMXYRNdVAwqJhj2NX+Pn3fvBMYCDOpeSsinruzoHjSMOx70AZKk8+LXv5O5xXowy2FDm
0W21wiQJtj8mzxuvoIKi+OPeoz4azNTU02kw8Ja6YwtJmnfxkACj7td9J2olrea+mEOoy0GUZy91
fG9T2578GneCNq4DyJwkEJztm5JCQQFq/H2avqaj9PSSB+Xo8dgwjfd6mG/NGPngfgiR37Xp6qNY
A7UBlzot9TYEwcj/6jqgR1Cln7lv191ojZPcJCWdj+mConF4bn30HxgnWiWZdd6MaH2t0xJSc/AG
4Bx0Gq9JdXnUZRTjMS4kaD0Kf/ZAvoGKVfhVtsLEiVa5qiapCjSebkZljQCjupSAmPh13YnVdWIi
b6ycjzBPXXYrnUMIXeeT1xEF3eLH61GVMDrqGDHHdj6LW5fVT1MDMejXdSdOIfU76a5czFFJyPhx
mDJAMSD0bNyJU5LHA7NlMB1FT9rDuFbfRgN/IL+eO2Haj+laIxM2R5BxgEitKwiYDkAo+bUePh50
weqgqALI+4rU0Dcjnkduc1H4GMtjF3Bp1auJwhYeeibbKN4aYc2c8PgQTAGUhP2674QqEI2pMrqY
MxupFkpQTEM/cwmnH17NuwxrWuVwTl0VTtZ8bK7SGryJUdb26Ne6E6xmyDUrbGyyKWV4qw7fjxF7
79e0G6mjrcEkDqasKoO32B7vbSj8aoWhy6xOq0oJCrv5rF7K5GAAiu0k9Iz9Ou7EaSvHYEgTA3PK
CsiVphY3IuxfI8E8c+IJJ07xfLto+BgGx7ZZ/6ws/RLG6tqv306UJtVSBDivbYZmAb7YwhFy93Zk
hd/WK5w4nYvYlDIaoFaapuRrNGEf2I3VRv0yjd+M5gdZnumbkDQ5PEFVN2yg9IjvZQVKkt/YOEGa
J1UP9vZgstgOdq+URtflay+vz8ypi2xOWx5VOlBThlf59E0yFvRNE+T6i1fXXYxyOIFeDnQPlmOZ
lzuwV76KpPKbUu7E6BZ1aZ2X0mRDDPV3mqz3AH/f+vXbOUthMbsuFUPbQT1+jIwF32H00NbCnu6i
iLslz4uJFbCvykEXCur8poJMgN+W6AKJKdWwiAjC4MhJ+g6w0vtksI3f1uJCqQLI92E3x5g0Zfu+
K7pTrkrPbjvRGUGDia0o4B+7bb4YlvA6il8RJnlueTuZrrbxxDuNux1XkDPo1qwdcq9n1tBFhlbN
tJbGoNNafdoAP63FZ6/F54JBm7QeIOuOSYxK+X2AggGkYP32KRcKavoZ1kcwPM0snEw+bnaC46Nh
48Gv405EsjYHe7FKIeQNOQkgruVFmqdf/dp2IlI21QghCfAJ4wrZbUD4N+hYeR5sLhYUC7vv4Vc6
ZeVZMSMeQZZKU/GaCPIza/A39/LB4ZCMs5iieAYVkt8N3SFBFdtvTJxDsyzKPoIFypSZBGCOhQF5
R3v+0a9xJyYXvHdZ2+bjkZb6Ymnwtt+z2kdhC5ugC1AcjCEyaNB40sS3zOgfVQSQvF/HneMSUDJL
+iSFJ4NitzHaXs3s2bYL6gLbRcDHjaJsfKZOgoRaX0HngvvFjwvpKsdobpDPYqHEG99Bsf9Tw0u/
BMtFcK2pieAli8hfmZ3AdI9y3h1CZECV39biQrj0oqIcbzVQeo70N4Bnv+Dx4ZPXjEZOUjszRgbO
MC7GFPGhN7ICLSQUfnmEi9QayhmM0RRIYND/bk1HrlbQnvzWogvCqhWsKGCgBBV/yd40AByCIydC
zxF3IhSWtMBGmhlmT7p5HwXNvh58BEARn5FzbA5x0NqCqTELwxiKM4rCnzuqf/lNpxOgFi8KI/Q4
RqAZ+D00pq4qEd95Ne0Cq9ZhymUSBkNmKWw5m070J6iF+MEwQhdY1cGdOZ2BFYL13pnXu3VvBYM3
hl/XncPT6HCUIPQMkFVAFWoHydLgOpiJ/eDXvHN+LgHDrhgZzOhs/xyRwa1j8t2vaSc8Jxw8pebQ
zIWQ5IdV60sC+3a/ps9H6oOjc84TyaGxN2Tb3Jewayzg/NS0P/wad47PChbw47BKGAiXMAuM7FsF
//OXmz5/9b8/uYQuZGoJUA+etRiyUs0xvJQFr9/0XIM9X4fG7l/+kGfyijNA+uHgxLJdW9nFkDaB
/zbEm74EWvod/i5cagXiseEiHxD/MNSdx4Hu6AxBAa+Ou2ipIixjWEKG6HhEv6g5aCFfrD/7te0U
hUqoQMmBlGMWh1UEe19moGzQJhDM8TukXbAULEOKxCQNluQavK9U+LHqPe/irrtHU8U9LsxoGt6a
7ydSvcu91ISxobsGH+AT5qqf7QC6i4KMQxJO72mxVF5I39DFR4ViJvFcYSXmBBRcO/QZizzRaWHo
hKla82Bax3IA510TyBOIU78UntVhFwsFPpMxUYohx/Z4PdsQGg6rXwz9tqB4sHelS9GYui+GTORF
uxOQ8UsHGN36LXPnDE2xSsgaQtaIdvMtoz0kdia/frvopaHC6wRfgj4befKlosP7RvZ+lzgXuZSv
kZKFroeMY2RgRQoyYg8zZL/90EUjTazug7qDKnAjyn4/hPK9CVK/FNSFIhGCe1Ybkz4rKgY9qwWF
iqMhAfccGOcIresUqLTaIm5SC0U3w/mHpiKb54xGjw+KuY55Dqxdn23pEO7pGL3FSer5eu7CkEzQ
Jl28dlguXRpBxqJNrBxBu0+hKua11mn4uPvAApO0WOE/XRQllCdaFM8ysMV6z3cEF25kpYE4nYLg
DpRDYEc0L1r9MqlYPC+NLuAIWpkkWtJAZ0NpRwgpc2ivjGXsdwtwAUcCUpMJmYnOTMPhmsIBYme4
/frtMy7gaGqAwBtZq7MxEsW0o1sov0m7QrDFa25dzNFaDXxYVoxNV9YdBJzUp7WhftAL1/qiCSH7
EwiDcYc794WFPdwJpu3lhV/PnZCd2cysbhad1Xm8fSFdXsDMLYGcgF/zTswy7JNxaDGtaZv340nA
pS7axXnHe88PcI5VPMbJrtUzRp6Ny+UwJJ/KvvGszbuQIyFVCIzxoDMBE+eqGN8vcrrzGxgn6y1y
u7CmKfpMnL2au4XuoHT1Grb2PLpP5O0u0KhHyTwJjNIZG+rkD4FHBTgnq9lryVAXaDSRYLUbi7sM
kQrxEkBfdoENxNFnYMCpfLxNDjbAG32D1uMZxvUx1VeyfQ3FJM55xd8HhqbO7bSvVsDrEujmzlwW
0BhVbY3NRlSr3ENZtpAXStvlzqixuWQjC3g2lWUffwTFTfS38EYYh7tUKH4h8S7ZXdSyjfhONBWK
8cXaJ2TZbVHdD5+gnA0LDmL7Vn7ryjKAPhMSy/BAY9Taj0IbmHE1FFWyPccr9Xpp+iCps1CsZXSZ
dzXs1imkLuOvAZC99kRZPYoDTITR5tJU03Yq+hQOc6QJN3NSYbhuh3FWrP1jFVGU304wpq+/jzTu
+yzZwnTOhhXf96CnLT7WZI6hUysg7b3nVhTmoqBdkUJ2uQUvjPRbeBcmEJWaQz5c6moctox0aQKp
DPiKR4d5iIr4OAsIcR3jpoTJSNFoBS/cOU1hEj9UTOxUVw30emnzOr1sGJ2ibMNoL/uYyRnupoF6
KxvcrTMgQGuxq/Mh3+4aWnfCKwsB9/bxClJrZLg0rMt4XHao+gSwL2Wp134D1u/jxlkEfzfIvukM
Ki8/80jC5qfy7LezV854iVmbEP2OTQ6T3eYqj6lXcZC6IK94BjIFAqYaktPQYs6DFFLuDX1NseHp
7Ya6KK+BFIxLPNplRVjXO3gh/uL18NFvO3D2yRr01rkVpMuMNfot2GAVbHMn5bmVOfePklfEtCEf
s2KAyXqE/BXIfzPde/XdxXgNcCafZz13GUTuzech6TcU89vkVdnLpzczF+UFX94JNJG0y1IUlXdx
WN+UW+HHNKOucwZBCMdRorvMdjpXh45AHXTtYf3hdcuhLsyLthXdAoYVyQsVr8dwbOEwK4JY9ge/
wXcCdVL9kgfl1GV4qPq16OgqDkY/Rgd17TK0gTVbb0WXlSQFjmwaxQrf9bQOf/n13Ulq5rjf2GxC
nTV9uiU70fUMb+xJGPphMajroLHotqEEipbg3tBoZ8QCY86q8kwQXLyXFktebwWOcLzRDHsgyvhe
BwvxKrtR10djIaBKx1D6AKu2aa44m+NpB28z7ofvh4zx4x1+rNsCQKYO23BrxFXZMvIH7rTWqxRM
XVcNsap+UyPyVZSy1ss8ymHqdvaw91o4f7PTYI1Jq/PpVFeq2I9LD02SSflYuYqYupAvOtDVQJG6
ywLbsp8l0OY/N2WUH/KTCidi45C1dVlLncVczMGlTFu6J/myxK+8HT7Dq6Mu8Avc1jznTXJ2jKBs
+KhlNXf7XLShPsDjKfgIwtnbIEib+oAsTqaw78Vl9FQGcdx5zr4T2CAFwzO6Rv65WKjb7ANVQ4BC
lS20tf0WQPh48XLCNtxZzjtTPtH8WlUFeGe2txPx27ddiNhGzAB6bdhmjNFKwuahXqJdLaPZM8H6
nbo/qDfycVNDG+IDrAkBW97MF6D3f3iNjosSayZlp9RsbaaHdoRgDvu1TTAL82vcubgU/UbHUQqV
zSQ6NaG8CkMfFxsEnosRU0FAigUKItkUzeNeBhGeGpbtg1+/nXR5KpuhoMvcZjkkTI+mDKFiG8PJ
wK91J6gXAX2eFjOaVcMafFf1wn7Akqs++rV+zkgfLJaxjtouaqnKkGu9FWcD9L54Rcvl3MQTV0UX
J1aseGfkQ9dm4woda9rAEgJaQ4vfIeaqZi2SV8ksGWyrZdIVEG1L+qtSmLb0HHYnbY7StWO8JSoT
cVtDaje5kBGcUPxG3cmaB90WRZ5WbQZnqOVmHBSsJqd6fv9y6+eV8cTAu7ixdJEwoqQ435st6pHy
k7FIjw2hXXfkuNW1fjmWiyGDJ1GecFZ0GTFsgtYXjErPoUXS15Rnn1lArqqgCqqxn9MKazMO78xE
PhQ091v2rq4glCymhAzoO6pr8aEaUMrfDATMXp6A5zruhGyLxRhIoAKPVAz5h9kG+q4tYz82Ey4R
j0O2qVpqSDg25z04ea8Vi7OpipODX9/Z49Y1qgskV22Dx3BUJbo+gWNDUXkOTPi4cWMnSPrZqgFC
ABJOMErQ/T1sq+Af4Nd5J2ghSANvhglKg9sgvqN29EaJ8otf007IRjPBazUYgiCtdnm9gx3v/HNh
sJTyat4FlFW4vrVlfh52neQoOI7JpeKx8VvuLqCsC2uzbgM6nxclyk401DtIqnieUC6kLOWbsPGI
+htdJpiitRXwCFA2b+vZr/jiQsqSeck1Mtsmo9CbPMAHhtx24PN98Bt6J1otr1DhWvrgUNBi7a5q
QsnbMNTxax7O7NzQE/uxCyzjEQtXzg2WDjexetdDKdFcVHLuhxMuYiaEh3PEx0MPM/ruJoCXwXaj
Rd2r+5Cy6GR4uF2KKLAxzANzA3UFG0j5TrXxGu5V39tqvxVlvn3vcluZU6tx5sJ5ol5/MBVF17Ou
pytblfOJ5WZBE9DAKHdEVdH2saTgt7yXZ50KuJslcLfChQ1a8UQNy74kQH6+rXUZbAf89Qh1+BBO
CH6JpAuIA66xD8+E5GOR0/rtDFu9m7AK4dTgN6fh442mC2TcRWSWWbiSnzzs36e0uPVr2tljcNe0
KuCLzNgGnG0TRpdhN74mpHFOGZ9aKs4uY0ygim1cJVxWoNVxOYxbAzVSC9TDYcENobjkKW9Kv+qa
C5KjfRrzaI5lFuiAHyO5NKdNN8Unr3FyQXKlzQ3uiExmcxdBKjnfvkx1+No4PRNSvy3AH6StlBSV
kYOBC1ljqjugqqN3SVms39aaBq9UNp/7CCerJ3kqilD30C1fmeSHcuqHvtrNA4rtl9UCRtsrl+pn
pvz3rvHgqwCeUJiZN8WxqCYpTyZeKdBhsPGEMyGcIIHo9qwquWpkRYnaST40GLQ2DAB041+wEXke
YMzJGwIIjqAQ0MqM4jluYssJrkevbNDPzYQTzIIBy7mBg3uQRS+my7QZYbWTpHj358XcEC90Af0b
ig5t86oSAWQ6ICQIrnvxNe2FH7WVukC60aaQkLdDnQkRTydgrmE1V1LPy4oLpJsrlCKZgQdeFSXR
Sc8Wuvlp5XePc0XHCNe0aQS85+lcXZGc7aKO+425i6GzjDRjN6HpbYOlaNqfVBX63Q9dDJ2F6lo1
pjI/SHjriDi47mEq4LWzuRg6wAqJwFrJD7qG/0Q9jlMWxOzOr3Enu89jARcuFmCxQ0v7qPUQ7Wza
RCe/1p0oJakc8pgEVSaqUV8D9fqlL6yfOCx1MXQFF0Uwh6bKGhs2J5NO7QXpGz8oKnVhdIFdcRWC
zXlW1XV/0GVyE4hhPPqNi3PurjXcs+Cbmh4mFVXrCYbnn/QgpWdR0YXSlV069U3Upod2hkFl02U1
fAe9eu5C6Wy5roUqkEjBCQMOVQaWfVsTv7LzPnORdZF0M9D5Gxh+CKJx7nZAjcHgA4rCfj13DtgN
Ij3jPGl4YyTKws5Ed/0uH9rUD5BGf/vZPDhYU2XBuZBxCqJVt4W7pMmH626VlR8PkrrCXoa3eSt6
Bg/YBR6K8j1QAK+MzO8mnkgDXSxdxDcKcaqizKgN2HxNKhWDYFRAOPQjlJJgWhynG9uJflbxkaO6
tuz7ScYz5Dg1t6fepKQ/bpoW4TcFEPCc5QmrhF8F3kXhrUFPobsxna9Lw1RcwpEjMcdyhDa8XwXC
heG1VTXxhMKrdh1Kjg3K1qbdlzGnzO/u4eLwhkmabc61OZqu1EcFH72DTiMvsBl1YXhI2WKmmTJH
etb9WmKYlqlIeOGrqYvC02KOxnxC47OBdnMDjzJ4sYZ+GD9YUDy+NEWlARvetOYY1lTvmaSwbG6b
717R7oLwOpkkhLB8Os4hHFOSAI6+/RoRv3ONnFPHB7FeAGtKooBNxw7Iml0nhwIWVGz67Nd350yO
Fq0Z5fBEC1K8ekRyK46VjT0HxjmSq2GhHR5ipyM0KsPbVq3yO4edtV8a5ALwYFa+9LATHY9ty5s9
lKuhCBPlfqonlDh34Sad2MaSeDxWYh1OcT5BXzyAkaPfsDuHMltCtjVyGo9sUSUQV9NH0Ktf88Z4
+mgjLgbPLD0ks4QdYTFEN9imyWEvpF+uQlwIXiwND1iPUd8U5FqWyf4iA0yrfIaFuBC8YNOqzxtm
jgXYM4d0Kcs99mO/x3viYr820CDyakZiJXT4fVTsTpWhH72auNCvUqGk3OnIHCsyEBi/h/kxzwGj
e3lcnr4mktSJ0obKPpTwMjvxHObUt6VRlTpZWAEOp2jQOAVf/pjnFo4Tr/nM8ojW+BLQ6QkOcxgX
+3aFQa9f6+HjjUyXuZgmWKsfiwIe5AlgYPu0s3/6Ne6Eq6yxHQDPOBz1qu2+Un19GFXudfCR1InW
VEdkUnE8HGcJe2lVJvByY+nmdfIRFwlmFeN8G5bhOJUbvN1H+Wmjdew3pS4ObCthkNmh1nPUSSn2
qoE3GyCpfrB/4gLBWjg9TSLJ9TFQwbCvN93C79n6KTcRFwaWR1Ez0JrrYzX15X6LVbNPIJN/8Fox
iXOuGmpRch6K5FTX7fZxI3qF1Xr7mm79M6HkosBytizUAKx8jAcKPso54dAhfa1G+FzrTqBGlKJc
bdP0FAUonc/Bjw6O0n7D4kSpxO00h3+GOEHnK2928wZ04lSuoxeOlbjwL/gSsW4jsGiOtWoBwK1X
Xt5w2rSJX6y6CDA9JgZZvE5P6Uh3dRpewTvdKxMjLvgLQlz9ZEM0rSIcf2c8ROsHSCQu8gtmEFVe
ij49bWfpI7nAhjcqk8Vv53WRXzVpymmzXXSACtdFO+hbwv3UBIkL+yIxQEVMqejAAX+o2+Amaqv3
Xivxb5AvyAiVA2ujQ8iNolmkG/Cuy0WZT37tn4PrQWLdatrXjenEKeroCgn1aIyuzlS91/QEz3eL
v990iXCCtArgGpcsOT8pHYwXUz7P6u0oSFEcwVMV+WWhtqV8M235/+Ny/dvZ6akPdcJX2DBv57pv
cG1dl3bd06ZqQn2UElHXnMp8lc2u7xTsanYt63G2r7WF1/Zl12heqhMu1rVUu2aTs70scxvk3xhb
ALtrCSCtcsdquy0LDL4H3d9IDm/jN/OYL5RfrkEkephuwog5qHaEpRUrdgOcN5EIdRxTt4vTviu+
6aFUhu4iKSp1yTYJueeDxYVeFAfbz8uwl5bV6x0k5Ja52sUSFj+Q+bbVCoM2mpqAR7vUQhpeXlAt
OaTvFWqWk9qBV9AYdHAUXftJhwoXmVrUyS+lFf55MH00HzjgvmxnMEJyP89LWGWbNStclyRhY/ut
Q9FWmN064Daw7OKEF+V9W0Xyv5n7siXJbSzLX2mrd6pJgACBsa56IOke7h57RmTk8kLLJZIkuIFY
CJJfPydU1dOlnFZpWk9jksks0yNcvmC599yzyG9D7RH0AyHnPpkhh9uX2j6+kfROeh+2NR9hGmWL
EFqbdGUG4WR1QKztSg4RqVZbVAIrTRbIV96Q/UmWncXXiVg4cuqZ3wfowhA0d0JKwFhkXC/8VsW+
FWXc0kCLJuNIFlzFIEoxwAA3X+eaz8hRD2pq6tJJ9PtZAYRkrSe8snk0GfKAeQbdyNJeVWmGshFn
CR8Qlg7KdoNgO4HKDmHWUT+UfhjJ59kNvAzbvmbffLtv9KjNxLq73cCA86VB1G12R5EBT2/2qhG+
LvsdGpX0KINP4Iiw88z3t1BoCHxfum01Xlwd77L2xxiuxqjGhnjau9PG6Rq+zmJop7qYFoDB5wwK
JPmcrNlqt6IfUySJ1SJ6s4HsfT+GCCqWHaQtOOhkfvGHDd/lNJ0JA5BGzrwbRZN3vJNH3iH1cOJr
GBCIzbbILm+V5YKMdG+7A4Kb6X7Hp9qr53Ul9SiwHCbij4oyuxZT3aQELrHN1pfoaxrxSTg6Ttdy
3dH4NSz2K7JttQOYn0vBMoIKyjmKcHSkwFH1mHTC8CMMVrr1eiQhAaodO3ir7RgzuwVJxk28We7A
5OQwWYt7/5X0ETQzZslS/ZSxIRHIVbdMfUXvI3psmiGdltIqNtk7xPjW/Bn0rHk4qi2DTEhO8cQu
O4tId5M0odu/t2M/+bRMTTSldzM2bXMYdbORsx4SNX9ookHEBMdbV3OWZ0Mq9V3sXJd8TVVViS2v
ajnUVyEsC7vEpk2njyrwjRXwvI+hRq8DTSSsnRnvEVgf6q7Ou7kTXxnls/4AdfneFJgu4e6CzmPa
bsHqswK/PEXpt0mZZT8PRG/bc7fHSVLoBjvpm0qxzE91R/Y7J+P6GJNZqHthfMYPsWh1827umnV/
CBB4ECSOE/gGIK8YTsT8bIMbxx8dJjfNteIzRdrjpPrqaiYyMdd+lhkpVIqork+Ck1R+T0JX3UFC
Hl0wRtq/Qdoy5CqwuqxhEBSVa7uLcEGGxLKfYB5EP/ayTWWpeygdH7Ot6ce7pK7a5Bym1m+HaG7U
epKbiflVxtcu/hDzqqveNbOsdaE3F8ETUcXSQkQzcLtclt0yc2vj3cVnqrnu3yO4o5ruPZNZc4yb
bspKt6oFZ2dgwjRH8KcTczvLhX/r4QkwFhUgw3DfrDFS76tmWsOBs8mZuowxrVquOwWD42NVew15
TZQt9XMjrEzPg9Yaaa9VZPjXppFKF/VoO6cQvJ1UMYKOUrqebT9YV7pA4qh0diTI3e73gDhtJ/EK
ShbXCewMV7yKNqqtydUa2fEwvlny5DC027u7OUCYdmDahM8k3gJHvFqNLEYkxe/8FuVS/VphC2eF
6hsyFHwIbPqwzZQxGBwNAyzPctohSfocHFSyzxvy6UyVN7PLVpz3uw7TlCuHazrkQLwX+61LnKvf
Lc0ur5HDYXArdLCske96PNXbt6mdNwcmOcadhzGQgeUQgI7sqpeJ7A7LUtN+Q9SuE/t1WC2ynPMV
WVbyFFcbCkXI2ZrmbBG1FuU7wq2jJ846Q8om5T4qbbwkssy2fVcvJt6pOi1uD/LKD1NUlXMg1XZD
kZjzECdWtU+Aj8jW5W3fO3mEdXztLhJxvMPdBlxMHNOuxaXnqorNIHunzXoz1LHqimk3iStSbbII
4gVjqzZAQrfb5J2LuwGKjDF17qFd44ycJsyN1d0Eu7t2zpctRYoOzMXzORiZnBMqrbtndo7GL6Rd
kRzOe2qx0MZm6JvvtBc7lsMA3zZ7mGrRLke8s1Ud2NCl9j3vlqa62LpV9AwlLe9vvSFI+TrgTOp5
iXAmWr3u8EuGsbltFDvZqa1rEJwhw8JCETBTujTKbfqk1UBBHCYgEscI9kb0Yb64bSRPYyTFZRl6
+SJIB8AXNumsek6Tpo9+gGr/9EZ6PcFKhSCGdTPZE+if64/JzoixTSJcgMWixu6HhrjmZYAMg504
juckX+TcbackjB86k6oSdsjtO3Q18Eja4wiBhL3ZkcguV4KlP8QIbLhb9LoU2qJYe+gIxobH2kWk
DKotCVw9H3k2LuG238mWlm2rLHsa5CyiYzNFukC4McmRJhFjGQyhL2LPdvvZKIK2TCgYqRQOveCt
ctB9PjQp3BRL0Jyq64C/uN3rvi5b1E7AFkhH11KlZvvYGVM7xNBn8XYDS0D6pTFmzVPFb5uhi8+L
tRG9gs5W0/MMBtZJZiJ92pMBZjCNxK5/jhPsxVySaMF66FlBCO79WKp2LHHq2Pluj7w4LEKOhY+r
G62i4T08e5f7zOOIL1k/0LKdp2973Mz5NlTtZ2SrqJs0bHA7DxYjkVPHzZai4nDrtJWxYdR9mJMa
8lEUWjuDfaGD4yC8+jqsg3wKUfpMkBVDyjboZPwmForzPoJ271orC8q6Amm4vpbUrcsP8Gtcm0tM
WfcyjsjCrkXm9vV7Ng7hWC8O1OW8gUH/vZgdb4p5jRr9iDR2vnym01DlxkaaNsXQbR6OKlWd9lPe
mUzXl50kzpTgHDl/FSwfbsOAYvDH6LIH6vYhKUeV1AM+qgaS+l5Gc/VAtK7WI4iR4/gOnDWnnmCe
wG+auK2Wq2Hetu0ug3uDLs2Kwfw5hVXOkg+eBJLTdZ6bj340dfy5behyryiZH7Qxe5MHWLDbBUOI
feXfpqSdkyeHQMboI8UoLPqQcpyksG1yjkFFm/acbUXWmoUUtUYC7aVpd1PMs8+Ad3Pv35Ln2XIU
zit1heZk17cBnJgHics2Q6J9GEC1qtkdkcNYbBkSE00FWh7Ob59HylegHze+IGbPDiuX7Xkb2qIK
46cB8WV5trbhHMCjU9P4AWy8rdjolBakSTsOc5OAuAQzyR7XFwRdQlUxTNr8VtZ9qlHZW43cwUUm
N0iujbayMU18YgH8263CUDQduTsk0P0WfW/mvKUMxhGGj+9R9X7mHbv3CYIZEoctmm5vTOyBrKg/
+ce6lbcLlcU0J9gZSRJfNV2/jMWuFKZHUZw+JUOYz8gY60yeqJ5edamWhYfE9cHGvbhEKhtNEdfT
HfoMt1yRPmN8wXcWD/OdbuYG8vUEVrBHLVU/3dJBhwh3BRwWriWvKUKjZ7ceGdLhl/tkjA0MnTG4
l8+pGENzXHpELz3MpKEfhUVsUGnTCtiSaCPH77ZRV9kxNiqQeww06fjOOr7fs7TvkyvdT1O05vYN
vhhTnLhQXIADKa6WRKM32cdaXlc4MvVaiDStHzYwq6Ji5di97+weZgjuoasmoYBNZtUVmUxafd9Z
YJj48Op+PtANuu3+CAlkchAVHcfSxBXRRdI2fXKbev2WFMztW3EtQN1t6kKKhZFy8HOceDwJNOPj
4LKDEj2sufJ9gDT2WUNBSV9qi+hxM3qU9UVTq6hAvPaSYemKdcmzwHFIEA9vjVPNg0ZRma0xesHa
YZILnwATkLFE08idW7yY+NFP2JgFYXwuu63x41W34j75xGITliPJuj5BBo6BuV6StlSUW9Y33+TC
6tzSZD964deP41g1BC0Pq5S982Dr4cQzKOnbC211wOy/2u7F9ha8u5udXlshuvggkJy0onxDqVua
PaXsJfRLVJ87PjL37PsqWd6NxicFZnMz+bz1VVgKtrZRqbvmvVy9zxcdvW4dVFwTJj25WVVzapyG
sUsKXT+KPVrsu5M6z9CQz6D9dk/OxOREOhKu1snLQxgyet1RKT/0KKiKdVNfaxhZ3yeAtB6ahPAa
MQXuiYXlMk24GS4i1Nv3RKvkZR6ZaE6kbSAv2JXd5e0cEfMQB/gPw/6e3cI51OeCb3BR8fF+hbJl
fqkBOZmHJdIgmLs1K3wEykUVsRchRptvk7jFGBIeA8jcpSa3cX2NI245b0aQ9zjd60NHFO/yYVgd
uDcIOyEsREUdkABRdtg6+Hx8wJlRtafWZ/UBCwOBYbzeLjsX34Wo3WNK0vTC4w4LjvamaGP+2DMz
vE/2fr0XXKvHOtYWRCrfd92cr3Erg81r9G/bcUP44nbiC6lfeLLqi1ObkKUaZ14Mu9/X42gUu2wg
5KbvQySyp7oPFEEDxI1ZdKqGbAl9XmGvCBg/bE38vXXV5t4zxvmWL+2wCpCTkyVsZfvmcHHut3WH
EZAwyaaRFT3PFqtsbemkypovSXRZkhT+AhBKh/himqSSdzZarTsucK6IX3beE17ILV3ctU81qz+j
FxtmhGaQiJx0q9v0Rq1Lj/jielxwtCbaiBfqex3fz9RTfYDxyDbCZMPy5jxFi+w/RdiZCGFjW8va
MraqcblnLZor6XzWFqZH1R3yikaU9vnGNt9+WwWj882yTsv+FTFrAQV+4wTD7d1jIzOdK0jg1AG+
UBW5MqJv1eOaAM06TGNKh6PLcPCV6NHr7Dy/EUoPczYQeg+ZmGLXYITTpEzkyuQ5gRBw/dHiFh3u
vXVCx8Um66W52NnSmOewyBGo/3ZF+u0RYE9GgOuAhLxfW9tbnETNmKGG0gO2/lMH+CV86lgnzymS
3gH5DCH7lFjaRZ8HUAYA/KwTQ4YoxipNgdWByj+v/NIhAcb4tVyG2ogPHC4V7kWEJhYfrZ0lUSXL
5gjFSjWyaHniYVdrnUeEZBRVTmWGQla0J3d2F+v2I4WBRf/dtNBnHoRCEOe7rW9WCQsNNpkHpJaz
bj2MC/yKr2QbkemBY3/iDI6peSsQEI+UAf5uRgj1T4rGTTjRrunioUx3s5op7znnNYINJnTUaF/U
XGwoUlFYo+5x4VE5lIjhSnZ1Z156G03LcVKRk2drpWf4xnYZTDmTfl0+d5JBXcebTtrPLnTzctR1
PESF7Hxy3c51xYsZ1A53symV1vhKshbyVou5UWH0MqPDmjkMkl78nkoByf9c3Uw1ma9CtYp3MyWb
s7lj+67vt77vc4O02xwyx9pTJOYJNR23IFC+1AgI9uedWkAOjfRZbl1A/Zw774J9zJKQNT8WhPWI
w97FcVPyADuvKa8tUlNOOx/Y1w3Rj63K6RTJ6oKA8ZSnhe13FaG52uLoat2xgq8yWDFnF4ebRX2R
e9uU2wjjk/uJWHNoo3n3YAlEVXRGs0ZdEQMZx6ko3FwVMAyj7+niwKhcQlPrs2zerid8Wi6BX/E0
tQXuQD28MAyl4qNqmtGVOmJtOCwrpDmAMSIoRvesSdo7oUIMCKjdujsoG/y5r1o+YkdW/jLFgO5u
JakdOaPe7j8L1UzhbuyCvbg5G/umFNu2Fozh4AC4WFefYeSCZqQecJq2ynS3zsUS4gg464Rzn4mm
0PuGpB3omeJTmxna386O2v7WVN5ee60n9YWYVXSHSXTmGTAKPQwRRRWG18PFeduz1BT9moYXBnud
VwMr+DhvYCjTYhGj0Mn7kA1Hihx1X8zoVadCYFS/IOxRrJhX4Ny0KEfNWvQeGEgB2yi5FtBwbXWe
NFi889aRvtCgfoF0DscccjvJ0QEwdNEuh0sWFtZ8XMMy7zd7isvuPYxrJnIz8Na3tnB00e31JEAM
gyngupYxV5NHGHp6TxDKWS5Ttio4IVQInx5RVGSPSUMBx1QWfX7OEeZ42VUVrSDMzv1edhiio0qo
HGRx36oRYTNn0gFCzCu4TYjXyQFWw1WGxgVhk2sMDsXucLzdRkJO7gnjNmJuAowMUPcGhKDepR7+
UoUQRof7AdPQr+mOzvbzWDPXfGimGmq5zmndgwg4pM8DkehukD+MJqBDSAowIIRB4uxb9IemBeoB
jNkeO+u3JMcZsVZtvgOLZmWX8abpr7eQATjJITBLPhurR1pMgFaW+03Xe3iM9RxlH0M1j/7eL61s
L6KRaGkOg6+69rzUzZo0OG8J+9EF1LSfu60Ow3LYpYZNdjfN+3tMDgaw3xZATMOar7jizWlVNmBn
k/mF0IYeMeRJruGugItEMHic52PgPnuP/RD6g2xcg6ZFJON6E4Qfu09hABqTo4f16W0SET6+aiVl
V3ZTZchzRPZhudtioZa7akLE26MApEp+BZL8nbaUjj/YaGV2WpO6j4s0hVP2DS6yGpd1vTISyopn
q9AFQrLA+y32BOyXpwW2RvGFw6IpvsbCyrqL5zTVyOyL1/FWagCsOdc0wOhcN+Y1ZrRt7shejSAU
VXE3nuA4H5EHCB4zPhWIb9oDBjfjpo8IXgzmCIqaHgqMQ5j/OobBRkg23J04Rz0gkI9xP8xoIDgq
xzIxUiv0LqhnhzsP4K8rIIxw1ucwUUnIdcwJQ9XOXDSeWhAklq+BbNLiXfHKXYW6FaE0TOvu0FMq
5pIgSsZ1+WyGrTmikOrREaTwTQNrsn/L9ULM2VSqppXrpXKYNRYQeNSSlbBQiC0M0asBg2jMMKf6
wpeV7jianU5POCcnjNlnXGE5ANSky6H03FU5D6Pvj+nqk/k1a1nXRyiRktRRBNXCfeSH7oYeQqwO
oy1ni2XAdZgWUW/kFSeabOu5SwQVL94gguXmbc2tGm+8TVVaqGSl0z3L2n79EOHdyChv0OxN/vhm
Q436fhH7kt75t9bkuoqmbsUdA6Lrnqutquv7bUgsajLjKY8XzJSAM2UFhiQsuDy2gxy/tRuObJDy
tmyIX41bovno4S6BuhDbHL0/YmYmc7Fy8uKeNWqpcSMKtX/vGowRPisVpu6Y1ukYoQ+eNR0RosxN
+5iiqsHVQGSWsqPG0T6/NjplQeQukbBZDlnqxXMCTK1FbguAe/dVwoe1e9GRn6KHqcak5nGRaraw
GthET4psmWFIDL2bNv25GTCwwiJJNT2aDPUdPyAA0c/XkO7VLBQ7hj/TAHs1k7VZGTPuxHXQGAHd
oIgQ/KbzaWqfxl515pLVNEznyCNR/TONY7TnfFw51DjTEPm8z0iIbqYYtlKPkbe+/RjtCBQsJAqA
8bD5QZi71jooVAYWZ8vz3oOLWIjYYjrT0n6EN4ypI/dNcKurZwpsqCAjggnUsl+iHbnbpqQwJOzP
Qdd0y1FmqL1IstX50zaNkp4M4PFw1Xd8j1+SxjF2aTuM8AodD5jcHyAEjg16uxEIPXB7u7LoOBtC
fEH5oKIce+6Wa/sGRY0MvhbHGI4803xsowSDGj5iNrPlPbLRRL7Nq2alaTKWntzq5X7S6RrFI7zY
SPAy72iNkDM0X4m6YYmx9oVZ2KG/ZnXqh5sYoHZ27Fnj5VMImKmUfQ14D7JCMMke2nHs+XVV92P3
FAQ+mOuNiM5eYo8sHAAVoJYjinzb2YPy2VBfVmVk9x71LFAkIIZ8a2cgCmIA1JzCXK2NC4/NrKMC
ph180yUGeJmQxw48vjfv4ewTrAdjmxRSwrlyOAyY4Vh/zoZg8MG6TGnzsBp8aBh2YiUgjZxkcnui
+NihipKs6fb3GHsA2Fqwk49y37Mb9Ao8uiZRBQQx5zFs58jb/E2Qq1hxrq86lc3sZu8nSKYTsk3u
U2i9BHTXeXh+HF2t163JkwAMFsNJArZUPFuxwN3ODPbzsKSCPEzwS7Dk+ObRmqB1WxlS2YXZ5aIK
OYTQldtg3qLgnOV3zFTpeE4hwQ2nedSelvWy6fGGWBjM5GvVxck53TWjN5FNkuiIsaJry17UEnW1
nq0GMkaHln5ZMwS/X1d7rdZ3AJRTB6S8qcz+nY6M1l91N8X9OaZQJ57jNmzzLYT+xj33cJFu3k8j
S9ebJI3s9mObmdI37eKH7LB7JoB9SIync8zoPMYhrbXg580uvfXxYEPhNmR9ng1egir9TkhXgM7O
MeZO0zdG7CKOEmTku35BmO/7OHS1vTVuT8ZLhqQ6VARAvCvIE6TbEOZus1R9BWgSAXliItIW6CBK
sMKOWOfDAXOkDkADjtC3Pia8VSIyMgsttihKDLaJmA0UDpq9fXZSo02vc4C28t5mSx/BIaDN2u/+
7Wb8nnngbJB/s/o8TxJFSIyTrn+ixhDni7QGcm9y36fwYAgU0U4ZoNC4pIRFIMTQeq7uSJO5cMT5
CffCpR/b5dWpVa83054N7AOqAJ6uuZqVv2zAItcPIhv0co/ruqYnizolH2BPM+eI76nXcqTA5nHZ
YuT4gKpYZhfbQBtwh6nGAIk6Agt2tO5zh66cIWoyZe6L99EsckiBSACcqTsAFmZu3oHYkNTlsiBG
+Z0CFxEXIlIx4LYoF1HJl0zHEtzwMcYECghXZebJ5S0Uemk+CUz+aYFptfGvaJRrwGFoSGP3Bd3Y
3kY5d+A+qJzheHV7XvcT9Bk5bOV1qI8rBJ2I8xnXlDefoIkGKJ37gNiZ+WpAr9GqIsxw/A4XNMIr
S0pDG5Avyj/HcfmJFsm3dBym0faHWH5U6TNf/iQV6idGJOvpslr05gfavhPoeVr256Qn8c82PBNc
DmXVZtkRt1SMVlUu8a3FYflHkfK/Y/QU/5zXhoabODC5UHdH2ARzM7XuegjRBO9AC1YL4LBFwU4/
kzN5WC0AogIxuFFcAJVFz/Gvvxb+31ODfvbsqVdgbG1ksuOEFNC+bCEGuQXpbi5QLmFih2mb+AN/
gd8hIfG3V/BPJCcz282mlPIjhPRz9uS2qfKlrlFmQnWNTgwIeBP1KArXbfwDdfHvkBN/Tn9T4FXh
MCfsyAWyLBzsWg4zEK0/eEO/9+w/sbY0kvBs1kgGxsXwtTPJSxC6+gOa9e8990+MLVTJ86Drih0x
5kK9brZz63v6J5/8J2aWSxI3Tp6zI5CuAwiPgFcT4Bv/ekH93iv/aZ9XK2YYTLb8WMeRxZW6VOi7
cfn+uWf/abeTTlOwavC5oFODp62TSGfcp6d//eS/s0J/tvThBoMavSoslyaT5Lsd2yEUMd8I8ngE
GXSuPVjMJ4iDmP5TsXbxz/Y+jahDBq8TdkSMKPuQzsbeqQTozL9+Q7+q8P4bDt7P5j6Z2ihftjo9
DkI2wLnkuAVAuPjndUscf0lR+OJvxjQZ+VWr1bPa2+cEK42dKtv6Bq1C3RyQavh9XWijSe4yVER/
f3X//m39X/Xr9PD312H/9h/487dJb6atG/fTH//2PA349z/efuf//Mxvf+NvV6/T3Zfh1f78Q7/5
HTzvP/6/5Rf35Td/OKAsdtujfzXbu1fre/fr8+MVvv3k/+uD//b667M8b/r1r3/5BkzXvT0bHLXG
v/zjofP3v/4ledNw/vs/P/8/Hnx7A3/9y9maL6/9//ULr1+s++tfKPsFCDMMblMu8J/kLQ0qvP76
SPoL2HJANuOEU5alb9LfEUGhDX6J/kJknBJAA4QQzjgespN/e4jIX5DNh0aJ4lXxjIHQ+58v7Ddf
zX99Vf82+uFhwhDU4p38Kh/5r6WUEQ6MGqSVt6fCS2E/BzGmzWBxJ2K+Oq2rUuXO+v2jqQbzKFay
f0Qqa0VhgrLY1y2j+gUeCBsywwMJ2WPWNGYu6MST5rB1w0pL7OH2ODcIAiiQmcDuEuznMu7k8Lyo
NtZAXNmuD2uvxhdIh64wtqvH0i0UDCyWVjE44dRZAlZnNE/HIRIzBzVn86FE477GN7WiYS/r2YN6
AUlqlBxbIfrrFFxBQJUKnAfMzsYTG2IV4Q4aVFMs1TZXB/DX5tfUUutyNqx6vHZpGmEOQEwqryLn
JlLO4DhMT4RWpAYfq9H9YbPS3ca+qaZzhY2WnBJUqeZIqXeAnFsY+uX1mAhXvA166pzjfKwgouOJ
P9Fo8t15xbBSQOeq5q8rjGzWHBAca3I29cla6FpgwrGwnl86vrj2DL8SxCe0KdroXMABGxaRg/DD
IRlYR6F96JdHeGlUGDtgaH6lOCrBch8r6QtMBW1bKHCxMQQIY3I7V3Z8AX4HU0ANzs7neERJWVi6
+mJBXOqeEzGwGxAiwniUGN5NtxX1X9RbbQ2ykmqqfB0YjOeiVGRAyxFKqQsLAYPC+J2iGAVM2LeP
biT9dxll+7uBAirPcdxUp7qewQBVtBU3U6J7dUinCX2oXxGAnlO49Fwvxo0gjw0wbc4Bb0jMEhqM
EvOoxcGcTxNgY+iCl2EvScC6K0hm8L6S2GwYbxq81VyPADoKcKjk6z6JSRebqclewNRy+r4sExMH
9EcR7KAIpDp9Nm1XGTadAiAh4G0l6dIUdEyib9I1AO4b62NzkhK2P1cWcOhHvaT6EtSi3hguoaY5
yL7j+OARvXJnVRywMj1meAWNMATM4yqJfmwACW68W5PtKsVIa82dd2aJMXKWi0GwQd0vaDSzmIIU
PSbuW7JPMlxDai1Bc0A/sI0fO2jpwcNd6FxdZnC5bM5BRgWZbs8qfgUAH+MlxZu6A9lp175AT7le
FnTW6p2iKB8VuMtjhE3jmu3iYyD9J0ImSPXyWqejOiVRR1VhgkDjs3aZZIVirXw3zGjyT2Ek4B8X
aCXRBcMasLbfQSsE4g2LtFMLz6EvLIBhXcLFR5CSa0AjRaeS+XnCIrgDrtrezDisMUwDfHnVeQgZ
doxvCrnI4Q/EF7/Vqb0dV4SlHBb6qYxBNUp/KhiGSdIkWijItdLawxrAPrJyg/tSVCV/95b5H91j
t+03kIKnH+7nW+o3F9u9fh0xRn99dbdf9M8/+f/jffZ21fz+fXb5or/89v57+/m/X2cJo79IkdI3
zcTfrzFYVvyCCwnfRRInuKnwwD9usZT9AvfcGG7DAiGTgINx9f3nLRb/gvsuozKGrT/aT2Qt/w9u
MfqrMck/3WJ4filQw+HLh2405j97LowwRfDb0o0Pb6vmWkQTqLId+ms4ra/HacV6BTCIIZkL7xEz
cIf88mq7Mp/Sdip7xmFNhP0bf+E9NnTmX2HGDtMvEDgtTuehPR73fr9bkXRgMV+p2kdJqlPYslCS
uAOwukZDqe2wgvfLKojgIB2ohoDUKqa+gEARIb4qag+hBsE/TWOM/YaBFTCpApVVNrToi6pu+4/7
1iAWUZHvSI4dwOw3PBf1va3ddaumb2438XHYQBTaKUgOtX4iAMEK36RL4YykkLSSD2LavqVkSE+y
y5q7qG/6g/3flJ3XjuQ41nWfSIAoUu5WJmz6cll1I2SWkfcSZZ7+WzH48aOretCNGaAHczGdkamg
yMN99l6n1dUX4NL1vRw5mQqGuJdPxRO1ymny07u9vkvVEOFNOfv7VZfpi4Ewx8mMANIMouL0Xo14
T9PX/tatmjo6sPV3v83w3FxkRUv0jDUUWwU9yz7cfeRw9X0um44so81xNC54OOXWhHZDEywhoHle
GsOIDJceyZKzHy5O1PaokdZ3ggwFop4wJZ2qVXKirAQ0+rEVp0YQ3eV6IH91xjA8pjt7ZWJI9WoM
xlvNdISwdksVq9EUt52xgE1f/4AxkwRjmljxNLDzbmpPj5a5ilAlegiZh2Yckr39rufVi/a09blL
FuNl3PoqWp2+DwZU96jzHMBvjZnf18u4xAvc1wg3uBVSEvUf6RkWj7M3usyzUzQBDZ2h4qEqi6l8
TftljFyjege3VAclXq/DpDnAUQHmw57o6tVRvqCSFfVDO7Js567/VumNxuzWFJEgEnYnl9VFg23f
qStFOG/u16aCcMMUPRpHWAviQhLFcac5O1iV/YEvLw+bMU0vk0L5dHtnPbm++7zZYxNWXZXEvWrN
UNtb+yEp3fS4lv4nW5p0IuqJiqPA45oiZEbeQsd4B9j1ZE6JdxizTV0btaRf5WK78YS3MOob7p1Y
nnyslJyIb1hu3HjTt0U+l+rq9hzzZlV5gWzMImYeMpTAkTwQ4dmKZzA6IVqaDMYeZDiqlbpLihq+
04oflfB0Rz2BXjeSEApaY8Yukbo6zgssSLT7ev0LEqy+rx250OndXSsul6SNxcgwFM895OJw0OQO
AlHuSUTHN3s0+CLjvBzogBuUa2VOa7vccdVY1DCH0XB5X4UiH+I6RGCYzk54S8tTlexeOCnM1mIo
+9cqE4xeEzt+P5MZrJZbDVcxrkPsFLQrA3pCVkSxsYRtO9AIKZUZNM5exTpbJ07cW/89r+ZzZllj
iIxIE3RO0nhKW3le/aEJDd0JTJB1EjJBVgWlpg/gpvpTw2TQMNfys1vZP7cG02FtyjflsZENq/Ol
nCyBu0u4IWrrL1elI2X1wtwWm7/ImLdHonlGqIw0j31CIA/ZLb6vmnSJ0hRjcb/7RSyEL4I8d25G
DMNj5Erb31dtJc+DX2yRPdMHz8Vax5ZOsPf5Foa9pMovTUsVNLgY7IY03UnSwNiYqSqCBj9IsKX0
6Z06f1tu/oWS/ssl5S8OSmPYDp45NCcrqfS5nvevHv5G4hU+ZYbeYd+tQ8mXShjBY+hPPHSje9IW
YPS+wMLzl+Pt/92K/noLujGy/zw9fOE4lsMBJlAVf5eyjKYre/x+zZPry2vtz5HNy2B2XuTjXk4c
HNOtSP5FZfqjkOGXdmzFnYsLnG8jRt5Ei7/IZ7OlpmF3xvlJb3yYMabeQ2smbShd4f6LGPG7/uF6
tChp49NMdiSnNP/r94/CyuHz/bvyaSiLb32D5X3XlxQUV679aJ3k8Z+f5u/S498/7o+nKfY5Jcni
yScjL14VeTaM7hGmpUvHR//PH+X5DhQhkmL8lX9qkLLFolqtvc9DfBjlPU7MQj23xr9ABv/2VTlE
5//yKX98VYloMBQToaXD9mVtLknzbGb/Utb+l6/It9ABHAgMFuLTH2IqRksumpny6K154aYuqoCO
pJ5N9Wudvv7zM/svf41/WwTKcV3TkX8j3QPZoG8g/CdsrxZGQhFl+/9EprutAGEq91YmWvw9FO2/
LzhcnzTmmCf5ZOA03rnb/8v7+rsW+Z+fj2YhKSj5kNvL8/vPL1jpLDJdPOPXe6a8+NK448v/+pRu
ssj//4g/nxKe0puheiaEV4gvMyOl/Hz7uuMJ/OeP+fN7ZwfANCYcHpKwPQxkv/8lqaQCWdDjnrLu
vqoe9XxwV/zr4Wj8C3jqz2+dD2Kv8bn0ovQQT7N+/6ANE7XYvDR/cqs6tKo3I/9Qqn/Z0v5ofBAF
cVGSLCLeronk9Td4mFYDWQsP6zgU48DErLyZT4X/nFd3jakvtTuHno2IkHz+54f453JQrnO7X7DL
sZ7x8v7xELMGlbd0VPHUh3Pys0HZ+eef/x8611/PBz5A8QHKlUr5vvwz+V9InWdgWaunpvUPq79/
ZozxwRfPDG6KmGYczNZ5oXr2n0iVR+Yy/ssu9x8M6J+fz7XG5eGCqrX+pIfljGPb9qwontb0Ji4g
ctwjxAiOfrcLLTOZ4/rWkQc3Z8a43ycCwab8Zs1qxgXXvlpoPAG52DZEEbGf66bGXm06P1dYOE95
69d4+Sf3yMgZNxZMqgNHxIk/ZjuYAw7GNPBySlqs7GXQlZ6MR99OHj0tpkCrcT84dWKfWlzZ/3Js
/X3JUv+yjpBACVUSRvp9yZZkxL0Oy+hTa578/uK3D6J8+udv9r+sHD6C7cKzhGv59h/Njar1B4kI
yX3o2e8oOaL/9cdzWHvKxF7uOLRo/1iYY12smb/08xPB7cD7iN3mX1bm33//3z/gj40W44NRidsH
rGYwbEE3/csfwJ532xh+X3vs36aNDH0DZ3vW7Vf4S51SOLIwU6N3H90Sa0zVMB2HgER+mizSqu0K
/rqiOn61Cvw5WEcV6adCmIGV+USH/MUNGpGW91xQU93rmDhqEuzazw9dnn23R+k8+WiYl6wiMXxw
FuuraRaYYVeMXRHwV3UeWo0TgFsfl/TFejDzYg3HGfbh4C19hKLsXQkquljS57G1zrZZLTFjppYH
3U71x8zPu+O2rFUa4tv8tfYryYUGBOkFNZtOiK25LBfeehiW2QzXRZZRagyfyGfrLBjrkdnTmpIY
R327L5dyV9UBU3hHEZxNhP67r93q20cNFQBbkc9PsFb/ITezGuzukKOpO9kWmGy+ZEmn5IskHgk6
5Daq2FXZ/Vj1SBRSt48ehMAXtzRbkGOjRz5pJrcO4QCCibf3n1S/9veZqp2L66RDPI9QMcsG9HRO
Vuo9Z8+4eMyNwtkMvduuPPcHTa0lXIFCRGm3mPGK+BBunkhj6XjmGdlcno0U4PDgbd/rHFF3bPRX
N4Pkocp5iv1biqDasv445BicrDR7Ma3uNc2aGwhhdQ4FbPlwwZB3TceUhG+vSzIPEkNF21c8qUR1
9+ZoNPHk6D5cPQbIcMu5Cb+Zf99Wan/oc90cJrsvghnQQpQOW3/q045RvLk7cdNTeEXSYT61umQm
BHZKPO1TOge9QWLXx31436uyOveVxY3cq7xnQebPIUdsFae9mT6LySTIZhTlYZREWC3D7IO096Yz
Ewn9q6hmdSeGxbwbnMUOysreL3CA/aOdZPnB0VWHrmN63HJ9ozgYY+epn8Vs33NJ2wgmmcjJZtm+
OMpULJlZ/aRPYak4u/k4xnp/bSBnnldvWC6bLRV8AyT6Svv7Syv9/gocYfmVzt67rgVRMXJphxEJ
OqQnt+L17ozHadr253Kxy9BLnewEH7qMvXaVxFVWwXfqykeECudcuKMkLeqMyNSM3XLSXkaNzb9G
yOizv6Ykb0dHY0lcs4MUbv3LJ+QXdDYR15oBbDHcDue68rqddzFUlxLLMDNJt+7cMFMYiA4MUGfC
iTgWSp9v6d4XhnGR4ctopzwPOGHxmHn47gybCHaiEzzcaRdXO7xmsqME7MuRPuVmz+ENrDnQmIwb
SYh7Ut14mk2SQiIlu8lDro9oZulPXEMDRnxJowTCKVta6gaD3/rnxjafW2dvIhs71jlL5/bBWHV/
LlWmYy8lo1v6nn/mIrfdDbvgotgJeab5mvJ/dsxItIQ+98HJA4eWUhGoHSxDI13SF55armCrh2AT
c3EQ6WAG7UA2pu1QAbq2DgunFqgsW37pR+VEc7JdCPg3xVvtfEJ3eDCmPA2TJG/vHIqsu1J2CD4M
CTqkfHuBx4iXovnoLXZEcj9OV4KEc7/ksZblD0qmD5N0JoPdslXfrHQdInfUnxZnw3jYJFjRsha+
CqMiHskcJKccB2cgMF9c7JIkurMU2XlA/TzVLVO4yeJM9/PW7SEeqjZaKgiSRE1SZICJFtLQzd+x
tubRkkzeEzoKUo8aVNRJhsHloyPvN2MtznJqzUDJuTjNlUFkrIIAYiZuFnrNoCMyo35GJmntYm9x
yZANExuXmAzzzXDs8UqMBQgzuyozu4EbUuQS0s82Xkvtkyly+jquqro7WHXaHkykKRpeZfskFvQs
PG3VqXEa5x5oxH7I+v7HXnT+nU/El2Sdyb0898ugFa1/mdvkFc8zMTnz69LQwHDyzgvg0uQHW4sU
Y1Tz3dLmHO6W2sNl8tgby6p8X7d6PK3Yl55Fv+ifRJFLWkKzug0An/VH3fXFlV2wP+PQsq+sNOc6
MwA7TFtuMktZ5MfNz1/E7HZxR4IspFAhLif0iQFFGG/IRp2RWkw6bgifc1b4R+aJrbHRtPlhllsB
/wRn12LwPPFC+l9zfG9xW6T1mW5dd1LOmn4VKzlIpy3JVVlz8URI1ovzLqHfCtI52O10Juuv63Dt
VE4q38qIxHVFHzRG535cOicNqzYZT6N1O/oS9rjQxpUZVjilX8VW2laQe8bCFs+ZEGwTcy8gbRwq
c3BO5izLD35LCDOwqy1HTEvMy96v5sNUPbWoOAVaqLt8H2vXhL2BXDIUvToimb708FgO5Hb0QRA9
wCiy/GxasmFL0/iXoahb4qTCJAqqZ/awntgqM/fCqch+koVlaTuMnbSTxjwZWUMu1KixsNpG/rS6
8h0yefrD0osRyTEZHz23aN9pHBLrzRwjjwxr7R7cQtLKbezqWEs9nvEsitAQS3FdPZNHN1M7zG3x
fV5VLeNhFNKOQGmUzxmZRZ7dUqRHHHK5FXB697S7wHLXVkEU1tdKBw1NsUNLXfHQUh7EbiOrcJw8
6AL+4B6BshcHs86+I4NtgVp761IY6ssytOK+bdN3kz+CqOuIFryhBRNMJ/k1B8BRbywN2X4gS0Tk
PK84txuwzqGdONNz484ZsCPbfBD5VF09TFVwTOzNwydT+4FJqpYwRz2pi5HBfBhXFw94ArWdhT8+
rxWWwDRhnhVxW8YyYxwGOEFyj6bnGEqZ1LHb6vx1oeI/1zchtB0yfrRtfTO3KSU/0BK7R7CPSdgJ
EgEbmUWdLVGvYWHosfhVqGR4y2zxc7n9s9hDxMKZLtnIxLtwINdyb6fLW+HQUIFOjCvcs6rTOvTV
T1pDglrC442V5ndVZG/tIo03zY35MCvwyEZpWh9v87IYzMIEpKAqtumhK5ms0iR6iSpfpidNl5++
gLeEOZGqcMm7Mcy9zQhHMDExVI0q8oaGEmPU29NcmW8pSJclyNLhXcj9p7Ib49wRqJ4Chc0Ty5qb
X1ccVLFT0yNYHP0uK5e/2VzYQSaANyEmAI5JQy8PjJ+wA4uRfnHDfamIjK71jsBVHsnjPUi6MJOp
4kF9HtJXrMNxDpgpMNgvg0Wr9ZEsqBMlc/fLqPefg2FMCKMj1lkhndCimXTV2mgOte/gN50di6Ds
MkdjaUKTcFyMWM6gQ+VPfTxWC2M9mZYbaPTmaBncGr8hY5xatp8HOlJNsN4kRmVX5mHouzYE5DTf
VHmTkgo7+hFW4XLUeCMjLgJpVBfJdpgJkZ2ltEVol+a3RpTVCaR0Gc4EEi6ylDPzT2r/0k8ObW6R
8ugswF8y37xDtdr7Ue0JYxoZ1X3IK+e7LDD4ShNnmlewm7bJYh8ZFJ59gg2sg05SuJcAps8EMNHF
aSUFzu77d5nhPgx+tYdtsxuf02pT8Uwj5HPObAVeVzqCPccs0nPBoKPLzGA1BP/N4Vdb1wuRNtJh
vfJeNg8V3JLGisSyQohS0/cGttjdQu7wPq/UmyMou/KavP+NLZMTYkrbU+5Vc0CJ1EZ7B2+AqCtm
92a2T2ntTO/b2iQPq+X1d9nWET+uO/EyKIpZwf7PgZudiYo+s+pUZI6+9whgqHyqRupXZ20/rdlg
s/aJIjG0ZDg3g/zSeRPTHLJ6BaDQ/MBMPcWOD5+FQGN+9G4EIugT2Ry1tdoeq565s64aq8Dsch2j
6xdgoPqJEe7J2vQHtzfpxtMhGVCS2uSaWUCPeM9m4l9SMxZHD8mTU4Ee0amd3rPRbSfdV+SV7QLw
a0/8imqwPYguZ4J0SsqBXT+Z7selr4IOQMG53KAiYfSuK5chdun4Mo7S/l43ZRHXHaNrtpJIhyo6
+Zi2vT6qLq0+lZ2bx1Y/qNti7OaARNV64TKkQ4Nr0gVek30cR17DngzQRZjeDxKKTtw3tEvJhWbH
sc+yyCxWrM/WYscNkY0gUQSolcp9iBDWKdkHgM15Czdoart73vMqqrkd0Czr88Pab+8lSkpQFN12
It/9k97Gcj8WyfKx3hURodzOHrbVBq2jmzpwB+pGqTQ8lrq54eqtNLS60YpoCmXE/Apr/7ACqHpM
Ek1fqM5vAyfJyZ7o5eLolUz4O/Y7iCO7S4pTtQn9njeSWInZprFVmvOpr5rtyZPZ9rnAPXzpd/zZ
ysBN42MkvidMis1/U6RzNu2/Vk5ffMJ1T7jRxbwTZYbBrCYuWEea1G6c+/LFzjZ8GquzLsGe2OWL
FN1poAzvUIts7vk3pl17pF7LLrYna7ikPaXc2CSvmq7Rgf2yOdpyXKJmTCQ2mRx9aTEAvuxzH2At
SQ6duX/gyuXQHsYWP7UZo7QS6rrTltDX23OxvDVj49wM++Pj3uB0l2Ir4C5wJzZF+j3t/Q/0Qo0A
8NwYJIykPFWysO+12xcvDmvnTNIhPaqR84qCtHhQxCQe+t1WByHXr7VFd73z8+yQzdZ29J0B9g7z
nmItQDpDH6QKLGdCjDdnFTGSMcodqlEYg5IMhGBEfFefF17Zo2PsXrTkoj4MbI849tVzLtLlnHl4
SqpqGa6OuZYHPQo8Apm27lya56SX0+yhbZzhGfuTvIimsePNgbVv4YOLqrFqTkPH99cX6wQXI9c7
DUCsYjtCFlHM1v/aZflPozXHoO1s+4TLLaEbxvQfQq9hJdQXhyb/qQfVFeCcG68W4UEumP5nrlR0
wzWVk54yP7ZGDa9w70WUaPLeeyJVbO1U547S9rmw4Acpax7DypO8+TnPpVFo/S0+RHwFwoyyzKGR
v38kzEAdZnMkpMO+3Be+RgAcbR98ku18UsASj3bKuMQcNF6o+nY5EeztwgLyx3El3B4ku8FFYDbs
T+tUE1/I9xRiofhBg74MOzyRd3VRvW+JPZw1QzZDuSfrI47o9WiWy8/Znf2HrTNIKdn+bT9sV/iV
ZEmyG7Qjw2R1baXrnzDrLTFjV7Jw3FwOvKTg3kTH5KJnV71CDGP0QW7ZXy1/JnVcJvULDw671L6W
3+H43JZF/U3hHGJ/kg+8J84dUwBKvPrmFFukw4CbyC6YW0dGQ8sdNOtA0cyNBcqwBa8we1zYGCin
YtnME+NC8iEkFEriZyqTMNVzRaM1w6+2cGVeJ4N2q7sTwQMPEGDw+5nAd4RXMTvRaLIy9oYCNyu5
2ifLnJ58QeB7Tp3i0qZLefByhkH3oI5aMZ7NvrFOvCJhvqgzvXX7UZZl/dHwdgacT93n0h+SWDVd
ip9ud/Ct5MUBzxZ/i6iQ4e12iV1jVGcIHq8qAzADmmiJe3c0AcuUCARNssVMv5hvdCgjNot6pDUr
lyMSv3VAPEZQd1trPaJ5+cwxajKeKtfi82KWU7glBlOZRUlie8JqwaCCBjTorTSF4hMU1VJHbrKz
BBfTvuX92LFbi0/WwBJtKzXObjv/kqMNCoTRZNFQuWM8it0MSg92ZKlV+dIWFE1uPzbHjBDV2Vi2
8Ti2S3Oq5zY9OT15J638IYYfM93zJ5AKWFV1z5RYcbcm6/RWFOIrjfUp9NYJCJlqYAgtNTl7RRay
z1x1hGvKHT1JtxNSFdf0HL8g67i+88es+9imRfsIY/BXK7gtQZ6aQ0djD5oW7B++KpoTv6cPFgrW
TINOGuulHR6sjnaR7frjUz6M5XVR87vLf9jfkEkqKy8fubgww0V76UO+7SXVD8vr3ENUPZAK9U9l
N7bXdEJ2XyaMR1nC4yauVFxcq3Zf/dS03qZdbjHH6Bzs44YVrpcuUDTezCLrXHZsuBN3SZqkYbfa
SGfszIHq9CdPFFbY9AUwyGGyTum41WeXp/RIp4AXwSsGonm9eO4mD2PJPpoUk0l+XAjHx4YwCQMk
s3/Qkzdi0JX8Nb1i+Ps+zycHr+Ohz72vvbKmY4P49cSwxTX2815yarNkSQpmj5gP9bFNVnFMxe2s
4jJ3gEIlYqwHcA5sWKzUOK8MjmtPFnYVmB18DBnp7DnF73uW2DnuMaQQZZbAmPbVcnBW6ApQ1YrL
J8MikHR5eU6qEu2h8EqolwTgifu/r1lZhyk5lVOq6Ka09Uxye0FYaKZaHLoN1aHxuuEHSffsA9OS
mshhxQY0gTlS85tkzEVxCY1BHvYMhWM5ZkaHKxlqwjhykMy1DBbITKcWpsddqSsgq67g+k/+gxou
bZorgVfrkM7itcx6ZIUiuUVIpznIl53psSU+4iybUawtvwkcTBJ3lmmtFzdjcHNi7JDo3ba7s7xp
DHwGJB3h1pUBrsn2fq8A2E2uU4Y9yMynDJvQaUk54Xej+bmnZX1my50PRA8neNDzdikUbNF0ggTg
plN15BtNTjq93RLtEVTlboMNqzQuZpeYciad9YIxqL0ARLQ+9hm79G6kmIe8zDwQVH9HKjcRYHYj
SAmxwXfr9jTYYbYQTeGQmo1SHGdVFoDrXJwrVtUhAw+fTdK+0bb1Mt7WIglgbLnnVPriZdkgAgm1
BEwDXoCDUroJdeO+ev4WcoGcUPW4uFfch7/Uu7XeddL4CLpXx6NLHLlLF5OTAk9Oaro1FQeW0W7v
v6sK1UAboxsvZi+CptiHp5uiH/rESrFHu9vPZdR00LQ1f1j9cQvyuUxPJXygqFe98SXhmnAH1KyJ
cgZTRdTV5o3vpQ4D4hxxwCezgZ6pjHePyST4qEc/HnII2Vp0zgPKZYaAxXerpLHdZ4IBhoZmEiyA
Ffe81u78kbwxjr7cnK9rbuJLlinj79ZGh+XQM9vAhFWwWtMWSC/vIl9afUh0icXhzPl1aRnHp2sY
yWBMhte8xLo1VGL4MPcNQed59HCfV+V839qWEYGnkKFhtNZnei6aVCIVYdC0fUovobHRRwE8JDWu
HR/S3VRVT2A6vwz6JvkvO0HyjDHEu7UMd66PYtJ4y/CjJFn3CA+pf7TabLkC7lmO3p5/LvZkumKA
Gxi/0zikoJIVThtXFzdyUW3jxqLmUXPaflKqseDgmDdz/eKnRHLhQy0eettkt+ZDs/pvm9idY18s
AkWqoj4EYRrZ5N2vYtmxjrPxHQur0IeFG32IzmoGo7GVB2526sLwoi5aWz+l8rWJjm86g1ORw5de
AwfY6iMpgvTrXLbGw2xTb00rEU2TXG/Ai5M8SS6KBzLv1gc7EbOP+QmlDPkA7mumwZeQ4L9OubM8
4DUaD9iL9y9Y+/fHCcBLxtXQ87D1dV963eBtEkP3ETBjoMT8PemEQ3eCU0faefXmFaZ1Fkm2PDqU
XgEDHfUpyXYjssdcfPP82vzF5fCrXSbLA9028xtc4eJz4bSzEWjUsi+ayPK5R4A7GosJ/DInlMhI
K7YP7yCIdz+w6D7LsQUCIZa5/miCcwkU2Ycj2cEd8DUM6mPVuxBC2q3qwOd03UaVwzqpC5Dd8+Da
j1wtf7AXzo+JzAU46emFZmF2qjgNkHUpHbRFa1q3aGJA2gD3gLiJ/InkMDf+ga1WFc9zbr+bS15d
SSrQwekT/TiYOXfQHvJsNiIb4o1Jgq5f3vFUOXFm19kRBpQmwlUJ426jwRB5mFOjkQXyVCxIBnq0
Nfdm7vtC5VRSRBfuanPTb/iTSJar1H53nQSWpVvr9RFMlBGDdrQuQkKVMysDI6mBUD0ihA5hTWP/
IDbf/LXXiwgz36perLIqPuR91n9yiAbfy7IGeFabQDkIjnyd6JNbXHerb4ZY95NRTPqcmb2sg2UF
lpYXScbhlM/vk6jUGU15eapMj8XoLdK/sA9VYekO2Rc/L7uL3OfpunA8hn2x3wAcnnHfbnR9odCc
LHLCALwLP+Yyhv9gMwrywm2zhW1nySuM2vHYecUUdgyOpP4v3WMNsyycUyKhkV8t26dZeIVFcwxB
dnAz6EQW8+QmbxJHYkVe0DKqPoId4/00Nj0dnDa5HdHcuazbfzV5a0Ciavl7Jb2xruy+JXK6xWWK
H0aWi2fXMJGj58yTAEtTA5yGyKzhowfuoCXWMx1ZmYx5NvDuLusEN9scTfW5N4T6UfTWlkcgcry7
pMwkFQP6VJs7Ned8md6NzHx43qq9pm/VuxfPCbZlvs89qzuazGQn1kJmul8LjMpW3Zeh4XrZUZYY
isc9AaPJNUfjcShSCWOxXLfjxNdydJJUf80KWdwxbp3JgyPtl0bgcsxrp4okvb+HVqQEmQjupDC6
6C6SpW9renG+8aV1DKahOKMKbUSq0Erb4ZDTGj5o0dAfzMw9UsmUxZ6RZdcEZ97FxE1yyhJUElgS
PbcYF1LvIowANYVVSOPjGRK2PnX9xuVF1eULlzBsoeBQMaM4y8kWFM4qsWCEKeUe6ilJD22tiUpp
XvkZZmekYF+DDWj3U80oHuy9FoU+9M9Qpx4ox1ICry8TJ9KL3A+rhLnk/kjq58L4qvtu48zO0NZk
T6Kq9odfueHvINxSZaFiw4MNh1uJJpsUak+1vxF7NH8gZJsTP28bPmhwTfE8p2tYMrLrkJXTwmWh
ZpiRmQ33UwJEFb6zFRkegSR3dO2rC7g9VM7ErG7OIvrY+Q/u13Bz9wJT6K0cG/16iHKoGEdJHyY0
O9pL5rS9MQOPq3UNcZ4+nw/gBvgGvloErvdFMPRtGG5QOJ1+4IhTn5Ob1R6NtfzCUxff/b5GRiNl
BXBc5tdkgZlM8xPAUDt+rxy3fJK0k+J6rZyw9EX1ss2+/VpO9frZGO2pj/QKpsxPKysaiegHwAfG
oJ+Qid3SebXHlvGDDTdmMJ8ZCDVtXcE5ARXNDeh6nkujkTsQCLfJvVHaO1gdJk2bNwMyWnYoWsMl
9Aw/iADP+o3p7h50haJltu/o6JqilJzYSr3xMEuNw5YaobMECqFwhoPlLdOJcdITv8CsT3W6pBfM
5wqOiWu9bpWwzaDIFHWJ7y6Pcw/OBDpIdoVHan4zKkVtZI9Je7CblViPs8holRZYEK4sH8Hz2zA5
a++6zTZOAk+0X/yBlVzY2xZtjsIlnphMwjXpUs/ZUlxqs7NoKmJOBz0DzsKQ7mFSUsTG0k5Hfpv1
uIERPjiE4b4MzQ25YCbqUmyq+1CBf/6Y1hkFfgEbw0npPwItemccAoqi09Rh2cHMxcWrr1k3NodC
TDX+8zyDGqP4PgqL+silI91S1Q32FLndVn0k1liAqbC89yxRBac9tOCuy9sDV/blWK+i/AAYyD8J
s8/f1xJUPUB7fURkW7g31lO8J1350a23+YVuIu1SeECQY/xWWCU2bvNxtlDoF1PjV5d7vj1z+tGG
BQlhQVLJmW+ADsDCHIiHwHGhINy8o213/cGfpRl76B1MRzTkdkUO3COduTTmZrUdbFk9yKLRj6vR
2URB5I/aJVkI+zV5WGQzXeVeF2cgZROtpvZmqjHs7+ZcI2d2rokUCP0OLEnsZss+EE0xf2ZU+CDY
jTSUJMgOLiy33WyCTC/EB20n0NBLuKCuCHGTgeDTpknxgWmt7ktZLcUP1Lh5Ptjdnj/ROMTIzuty
xPpIxM/D3F2xxLPQh/MStHLIHioad8jsu3mG0yu/iLbyoXGV43PTawu80mw95aakCdk5j5oC59nm
itbjrKmY0DnzqsI/aW71rhlbpuzPbVkNsRhOAPOuaU4Kp1w2XpSs7rbI+T/SzmtHbiXbtl9EgAwG
3Wt6Uy7LSaUXQipDTwa9+fozqHMvtiolKKF70UAD3b27mMkMu9acY5o68Tppk1EQdYwSYwc9CfDB
oJ2yMswOZusXbxKCIh0TzTzahbBfwo5gqzFI8R2m8zmNg8mGQj9NOSfQ1zSBvUNjNHLVju53gK4z
gaody6WqWE4UHNYyDojhQ5cYBUx1WZjilt6DeMm4YMEMmjin1zMFnz7GzBe2InB5ttuPz0o19U4A
+0y5A0b+NoPzDAPR0G6SqEVg5YTVWmtqiy4VThSMk7wL3xybrVU16UdnSP+rX4vpFAN/fibTmfpU
HHDq0hSdhdS5B7EiYcvFLJd/V739QQaKTt7QLWYsxmfjXLhXQmjUGyso76BtXjt0ftshWlttdrTK
8Vaa+VMDd1BHYVCobv33Z/8uiJtFxwb2A89DKnlOiIDPjm+Rxe0O3Fi19fp/Ak/MAlfc0gZ2NrSt
dOJmL/evYjhOM/Trrc6/hXSH6nK0/1E4zd9HZqe7Ll8Arec5PiAdcr1vU+Hf6kN6nRCT0Gj/xlXh
K7ggqyGFEYGIqp1Hff4KFcdUwnn66Y5yVpPMfL0LP//PTOlfFYOzChe3gYE6m39jAHx+QtKOoxXY
VXkjjMCgVqXZc2Wy6Y9p1WB9sbMa442c1kFNRbzNte7a1/VkpXKu3lpcp+8tbDauv12oH7oA5ihV
5nyfkviwEPCQ7nAUq2+cOGgtgPOisfH3ITSLx3/7+PhLkfx7pmk6Z2r/VJBANDiguulDLrr8tu63
kQOO3n3WWQkK4gag1F/QWZ4P2/mVuRKzJFZ/l2F19sr8VEcvMJbljU+xb1APMr8g//7ft/75a83i
bIomNmQBx7TOdJw6rGcwgFpzE9h1hYfJocqbGJwIEYJM/Q+GTLhIpQRTFKMYEXE4/wTI4hYcm6gV
Ttw7JuUNj1TJ8ATTUJhPAP2zj19l2SrsTK2Ya95pxl5AsWdT+oAOHZOaFUi+tNgjf7A2RiSmqzGa
gFrDI17TwW2BBhh0xTws/FzpVwAGyDOSwzOllxwap6EwaBkaGpHK2RUkmFCFoWSjBTQo8ip/8vmz
nDJ1YwGtWZBtZqCO4ijLEo7/b2u3brN2u1js0jZsjtDyik3kZMlNwxR/GNu2unF65plTjo8Fisqb
yNDrYw7XaXT3hvLTTYOtDVMiVFqlBmJAevXKechD813Wz06voYoLhmZVITBZxXri7oVbHTjmc/MI
o6I/aDJ9ZzK4p7BzURnY3XTtuFm5dwyv/xrRRaFw3tnOZhwNxXDnDktSSQEKARjrBu/QBykL6RLj
CEgDYaYbolSaVWnV9UMR4W0dmi6+SdGjnJQKEmszZMkEO5ubMfG45toc7OzgeWOgFmZlRKSgTNZa
ttqw5Az7KuzS3k+zHmvErXvIfMNucKg7ODn9wVwk/DPXYTqyQ3AP4xgTDRbvNk33mjbG93Wh2lXv
GN3aLBQayqz23107Ddd9dWuUcu1G2cIMwuMYwYCPowxbJe75u5Fq6DukToroEFD5YIlN5dqfkMLW
NelSCIrGq0CIcpPmab5QGgHqnubJJUcO6kUu1ww4+e1bREn45MWO2tcO+FZs4fENxvoUELBwVlnj
ZVvKDJynxqTGZujr2rIXdXqK62Jc63VJ094tRxQ8JIPIzQhdFfqclbVHgm2mldH4ePdKe7CR97sj
zQ97eu00/ruc8ZdAsE3o4jhCyU1LDCYHDNjaNDTC9iuKcvZ/Z0q2hLUXRytvvtWtFz0FRUdRimQD
OkMiuCkbHUt/XEXXpWPRstA6fTX1jXnowwJYggW7eeGmenFS2stYf2mWkRDTFqErTr8qDJ9cU92R
aHUVcYHrMj+7jqYW4WKYrtAZFs95WJvfqhj+e1DW5ZbUrHCvAOIcWqMNb7xeuVecfqhEugaK/9gi
BYhrjmMfo5FsSUnX/kuBYvIJCuxIRMeuMvqKnmWcG+sIFwKNLWc4wW2UUDD8l2ocXuHlqh9a5fpL
4HO0QCmrujca0hcErhZsuCkwViUd7iVGg3RPXbs/6E440m5rKVbUeTttkdC726psfQCY9SoW67SC
P9GJL26H6lVvXOTTw0TuwLLyIjrynmbRWoWevaEXJa5D2DiHwNbelCfo6dT5e4AMalWnyG/4CD6w
V01tBi3oUN9VxFKMeLBHp/wYOy7PUIIoxgNZB3urOzuC5bwV8QT9QbCF8VNHoDJh4j26RMRx6Bq+
25w/3wzgE4eAzDlswbm81kKvAlA+5uvJlOWVX/TdWtW9dwWCk/KEV5JsbGGRHIWW0LHAsZlJRW0b
HGpwIfX1zNWIlF/Yknxw4QnLxCR1Zg4g+NWvArsx7kQYOsMaBdh0q/t59AD80/nRwNV8qly0lDlK
+ujCJvrZu8HOz75vW8KR9AjB1ZxvotAYEnca0MKXKCL6NQGBTXLhqDd//P82tPkRpu6K+UwGRccQ
P00zvxgTgN74xth03g2u8+GtmlZ+vSZD9++HgUsPOds1pywtpG/yEEmMXLmigW5GSyu+sP1fesqZ
T4RqDjzVrPduuIhM/Y0vlgIJYnvBxvj5kMEL81xX8Lo4IfO6xHnueGyieJZdGLFxRO0mGPryJh67
YPtvb8xzDYG10JSYJjlqnP/ydWLUStfL6Y4ubwCdcky2CbqYjY5A4aCJNLkw0j6/Owf734wvYpGa
/93Cz3h22mym0BiJfKLxG67RXzXkBkQrptc/Ecp+f87ZubnHUsnFvBDXcurcW6LdxjXUYP/bv7y9
359y5mzETFagHObbKHgJIWWuVw35djv+20vjduSYBmZn/jUPhJ+mn1/mDuYQ3wz11H+gKUxNk7Le
6FD8vDBDz8yN3AFNg7nv2jYKTt7P2bAWJb4umjzlvc9WGZlq5YeHaiCUQLFFORe+0ufRPV84TWiD
s00Xy5jka30eB2bZpjCv2+JefKM7Wz39/Xf5w19nNONr5FimO/LcKKb1JnGYvp7dZ/qec6v+b/dK
Pjy2SR2qChYMLIznmc6WNUhgAJZ23/UQL0/I/i+8nflV/7dYzm/HEcwRGwiZbaOjO5slZQQtXPqG
db8Zk2c9NNFu5BcszL89gu1mXpI9piJbz3mUObRLJidhBSenG5FHrDvsUJwN//47nM12Wpm4AfHL
zndjk+l+NguHksQwXfTqpFv9uonWZacj9X7OEDz//UHGPF4+vTExy1s8+klED2NomEfEL1MkV7mo
kykxT3Zam5y9jENl4TKzGsSBRZvdzpov6rvEiGC2mgZ2of4ZK8q/FQT4viACwB2xhwNoc2eCzq+f
IlHSyupy6O6Dna9tc+1fx938512BM5iigMRD//nPG2ROomGxunuhT98tZX0F4vL39/jbxBHgeCz2
Z4NyA6/yjNcUt1CzO8Rw92O28jhhBpv/v79/9oI6GGulCW7gvuTaQx8I9e7fHzCPqE/j4OeUZJuh
biLnc83nVzT0A+JUVpaHVJUrrUmOtE1WOEaWQEn2IN7XhBIHF555/tIkhUKWS5eQnLkgdL5wGnVh
taQ6cvRH8eeQpfWPP8r5359n2S9jWwpV1DQWi1OanmBaYxv6t3c2nzwp/sCbYCngtHH2o0SeX/sx
RbQ7a/KPTRhsLdke0g56dw2EqUp9FPzDhXf2uWzjGvjWHKrInvnzqdRuPn8noychEL1BdirCL/i+
pv6rV9MRvBP1V59wwgwbxd+/5FmZ87cnng9tRLxx2Is8AwdV4diX8VXl2YtyDN+IW0EDqGgmISE7
aEV9zFR7uvD4+SX+NzD/7+OxhbsshcI5NxePZtSgSQxo0pXVgV32azuhsUfw0kVRtOo636awgIds
VPYBkMGjRt/nwkf40ztnO+Soz87l4db+/M6jpDKNhh7TSWjmzaA1110ao9YQ04dbTF85Ly1tL/xO
lup1MVgrC1rDgu4oupT4e6zZu4rcTJewsyFzl4aojmh0L2wXf/yABuUuYXLu1c+xYG0XYNdEyH8i
dvJkTzOV2fMWzZzCm+MjsmEoVnbzGjvJhbP2HwcH/TODLVEYFPfm3fKXKVar2khknGanBAdVPVK4
z7mmUAfPrCfWWbP75tZX2nBhuzjbtf53UPz62LOZPdJ6CSvFoPDlQMFkV6J367+NwckKPdJAv/o+
xtX6Fs0M9s/wwrLifV4rf3/62SlDLyLoi32WnbSEVieu1GMK2Z/eC2YmO/vR2XhlG7KCF32IdQG5
wCu91/e0sx+s1FlyuNiUxAUQKUT7yNpLnR7uYCgsC+VrH1YaGgL9zqL0tDHafK16nlFN2R0bQEaB
mSYTEaIsTe5m7NqPIsOrZOXBchZ399QZjRx3jmavYyKsybyobsIBYtgE7TSqj26C9sftFXbKepUV
4WZs8pVpMmAClvpeDLvWV5RBzfQp9YNHO9fv/EQtMYgPiw5hYW2NK0PlB7c01nIsH3oi2L0CoceQ
u9Oiz+xkrboQhBOtM4l7d+mTzo1xhgyUggA0W7x3pfyO3QrXad+sqwwmPLWjCKUoWhR00EHwWEZ1
u4xr8cWog6Pjvif04KlEPtuSGqLRdrAime49UkjS8QyUT93VWMjHQeuv8rhcFyPl0Q5rtaqD+wsL
wedj2f/54Wm3cI7lwM9e/3m0sw5QeKNUdtJt944OL0wub1CoirTDEIhtOBJAl2EvsqetGU9HY/Cf
woggSVQD9MK+5612wmRyaYUUv62QiE9pBv089QLPOFuezIJ+cSQLdUrKN4udgN9JIi/RjKcy3nio
HbTxe9M9mu2ciHBhCzR+nwsokeh9WVy3oeuevxIQO3Fnk9Nw0vFxHSdUWRtTEwSFNXJCMTroHwQc
Dj8mr8GP4VTqtkmnH2gfwsNkkE6ipaZ9aHuvua3KEd9YRMSzpLC+0fukffv7z2fOh7DPWwmfVXLt
gAvD5cY+269dLBJIJa3iVHn7qHuLii/uBLPBI17Xu5MISeL2mqRZRKSLorwxHf1HBb7PmvKrarj1
AYTgf1mZ7vc8QWuXfww0QVONcFYDB3NK6w+iQ2BeEatIxTe58+J/AoXMo2/uywkyr/mtqQadrbVR
HCgaUqM6TbI5+mNyRxhXBDxASy4scH9Y1Tktw13mmfQ3uVF9HucAC41KIN475SmyaToR4RvCmnTX
aM7bkA/ZbeTJ4RpmxnhEJI7ePxrkhQPvH8aVyxrGRdeB3Me5+vNHsB0g5kSvqVNUPo+9dZ9noG8R
JyH89tJXqacXNvnft1C+MvsnlRyLrpF7Nok0cmx1K+HlBrlnv8p+SpHEQLQLnCbcWcUgnrKkIipx
MLAeEKC8+vvY/OPXNbn90K6k0XQOSNL0FiEfIS0nlDeYqekMksuZ30cNQWXkXe4lBOnWsy/M3s8H
8J8jyhXSszjDMiNMcfalaz30aQLMLzmEzlmn8CqHfz8h8GL/e8bPSfnLCSFyfKVNXaNOUmw9lA7N
KJfKekZQjKeNLElvnRvRfmzzCwNong1nk52yqUltTpqUzs7PjcokgMjwXd6o4T12roEYrHuakMj9
/Yczfn8Odya4SdxhDArQ54XAMkLnLHKnOtWGdVv7+RNRkqiW010Q0rtCIgXv6BHMxb6R1YaGNCfo
ao30rCMfV90TYHdhJM170Ofv/fnzzCPtl/eNSzYbJ9etOJGRXM/qxMhB+LzQ6mrTJ49///a/b4jz
wxz6cxRcsI6dLUkDMKApIn/qlEfRXi8QmrfNnpypHcL3C/eQPzzKgKtD6XMuhOrndfBoZP0bEZqh
oo0fbKvwTokBgDmIxUfgj86Ft/iHX5WnOSS90RyfabWf3yLQ29aIu2Z+GoctVW90J19n4sKi8/us
pyBBcZKStY4Q4jedhYdzrwmH+qQIe6qz9ruDh98yXVaBZB039RWmkQvT4vcpPz/SpSjKpKd4fTbl
NTKR0sHgkcnUiz1WQe2ol1r/5e/j4o9PAfHHpUmf6yFn48L0YAXj2K1PpspPeScfTDO88O5+3q7P
BjoleGGiIwGbhXPv80+ExFtizJrqk5t9VBD+yn5E2/s2uFwBFU38YSXz04SJK/bCC6PjT1/v10ef
zTETz0zguvPvVqtdaTSIATv8PH9/h38YgnM9jN0Pco6gLvP5++UKZxOCc+vO6boS7pFpX2MWz45T
BKX574/6fW5xcgMrR24fhdnffi4t7jB/AMA/tZYzMfBQWocmsKKRHu1Klcl0YdE8W6MQqIE1d8ne
tnUhfl82koCifVt046kzgKFqeaa2U6sDt01HtfYQv3CpqM0LfcLfHor4lz6aZ5lY9Bn7ZyPfT0WK
+ah1Tq5ftxvfIESyD8fk2Fm9s5mDnA9JryWXRun8V38ZpTO6nVrNXJOGykOn+XwmlJRO0kHXTgRj
9nu9MpJN00BjaAsDd3kdGLeaE/VfuFCCK+KofIBKj3Gr6pLk6+Qk+CNFOBHu1vbpKYISdMzSWtxN
QcRJZSjCQ0Gf/O+D4WxwE8YhKQNyTIaBDtfJO3tPAzkI5HNl/H3oPna47cTD3x9wNtrOHsAp//PA
lviB3c7mrBPYaiEy1IIRxTlJqFd2iaB5Nof+91GIsyj9Ut/kN/j8KLZa5CilUZyKCU/Ba5wuMtJ2
/x++zn/PcM7maVcnEFIQA59wz0j5BRICohDfNC89BqHU+Viaf5n/nnR+RnX0wR79zCxOupEVyKE9
9yaNs3Y1lLRTatw9+57hdkPyZnSMOzSh4KXwaTjIWayyilcK1hVVKf4fYOvcfVUS0Mvdflbsploa
7aTZBPgmAQRgIJXwcoLc/YjI2NkVvfMSsuqtIjW9J5rmnGK0b6sYLZe1akOH3kBkWkT4ITDY5VkK
CrAKEmrGmb8pTEJwWUNm0XxoLIzBcBaB1TeLCqcW5r+nFInCCE5vhQlWbRESv7pNRSAz96plUEbf
kJ289Wj/SSUvG8hJNfipWmLimnr7HYEX31Mk0ADocWwzMiKXFnca6DlxeJqG8ZBPJD/Ujb50gQZo
WATw89u1cJdFmHMU7YX70CO0a7HoTVdB6UCN24xkJynL0cxruAERUKkKRQw+ElgJkSTUTuCPFont
LTyjzFeOBTqBVdyD0wI+JhGDv7NJOrwTRfpqZoFco9t3XhyMo1sTBNQ2L8P2FosI8l2BComOFVY2
velXtZuJdR2xFulJArYksuO1ZjfWfW129VFX+CtxZddXIGzUPoHtvhBRKXeG4RcvThPUW6tvy7Uj
MDV6BVp3NzSdQ457azWlqbauMIyuHMSAK7/qvtUysJe51RofALvHZdiyzo96LyGu2QLX8ji0MK4A
PI2yYkOdZjV4pXwsL66ZrElxjFZTGRgAfMe+XCC2srZBCXbII5j6qWgISEuy3AdvB0LrKu1DcSWC
7KM09ABpeOHuu7Yjpn0ECldNcD3aHOc5rhMB4pGFoY/c4RvkZsA+uJbXuuvb6zGPTDJHMewhGa+u
o8R1D3Ni584iFQQzqZ7yI9sGLKvyByOGtFExmi/BZGNiEfCHujZw9iVi0UXQjOk6rsY30R97QN1d
Pj6WDsluVUg9TYUhScq+8rdW7MfEF0zWbmjHN8TfGi5Xlx/FzcuVDVUhXYUp7DOFjG/rGEa8duu8
2dc24qJeIaCNrrrkEJULiOfYPwi+XOBYFVsE0MEur3u5I3oI2hYICrTxqYlbqpfJ0kzaj6rXvpWj
xW2QGMut71TippYZBcFahSyZo/MVystoL+o0w7tLfipCtmra1mnlIPiu4R1Dz1p1Uajd5X3hHumG
NJvGigcC0XEetG00HHvQMxtbga1rwjK4rh35rnk6QnW3sZZGiZuqI1SLXGDn22DElK85Bi9zdNub
VCPAx2+MYW9E2cBOakbXVRJ2+9o3/Hs/mKJ9rQqg9kNZ3HojdldvgleJtRBEYg4pXRN44aWEj0Ly
ZLDO0sjAA2u6NwSsQMXHD7N1Q+vVhmWJmQ7xV1K6P6AZArzD/rN0E4H7JPO5ehSqOuINZz/Ug+se
IMU+911Ksdg1qY6Ed67eDauwcPPnILOdhcl/3JiytVYDKLlNF08ONq9ionIJGRVICg4orRcbVYzY
VVSuVmVLZlPkYZuOxOwrHDD2ZOlMl8uoWaEuDa5s/uOcMVovCKmOAKFV6jXQsMuC5QJ4KB2NukVb
jsvGct5Dm6i0oJ7B+q4bkowQpEuzcfFtx8mAcJ+0HDQuZAF0QbEKG93GNdPUR9uPiKOtQCP1Qdk+
BNTONs1sj23VVBxCFyV4l4NmsIuJ7M9youiflP6Cf8K/MyYYO3qoXuI2MpdEloN7qCPJR664Gpqg
riBLNCDeUHyHIdCX2CPGAja+ty4itGsT/K9NpiUlFdhc/sj8QV+SlY1ar3S+VRg1lzJK3vq8fldY
c2g7xG+dpX0xVQsRcTBfc5+dAFYKTiz6ywt+n1fLopzjCF8tjbYFomrOsVwtPZ2sUeEDF85k4Tsw
YPJGe6ySgY9Z2imauxB5XUa6U0KzmnmcMW+yCsOlm5tbG9LDoi85U4RB6ANgCofrvBtRf8EcqJ/4
B5mJaTRgwI0qrgysGE+RU+P6scr02cmyJxuV4hfyT7Njj9nuQF5QcAxQA5RYV4E+tbO+05mhCBjK
tFcZuOQ65xgOMQYiePQCdI3kxm4ElYCVEXr2IQ+cd0lEL98tKa5qx4ML1tfagvOxTnm8HvCBc/sL
KrJmI1vFW9FLue7iDKYF82QD1sC+j1uj3yJGqq9Bk0EHUzI+VBlr73zWveIQTRT8EPb4T60PFiG1
6pDzstyR2NLZxPUiU4s3qvPGLSCWYRPSQ2Jo9y11JTxeWL4wX0pzXLILTwfREUU21bV4UHFod0h0
2xbGNTDJbYQgedHrXvws/Zr9XhRW/lrEQzezDXI84HofnOJhZuSKDpudR+vLK9zvXpw3C0CVIDq8
Sd5ghSOGOSKDYiEwQMLplMkV8PuvTm29WG37PFrgWyrit+6BTSYYEDgZWh2YQdsevQUwnOqYtlpw
Z0UgATxMuMumNrmoDwmGFVKZ00UOCRb/UGRIc+enMe9/DKzqkCtJR8a1LFxbxJ8LfjA6EF64cZKc
CBcOvpsmxS+Uz5idPGXec/vyFym9pqXjtABKwjxdpCSDHAZHDhtRmfG+xlB30yWSBmQgwcP68j0r
6YHVOAkPetM0695I3a++0ZFBEWXFjhBstUR7b25cgAgrOsziaw3lDKM2kjOMMpP1OI0u3mQy4DC9
BEZ3nwESYrjr+bUhMQP0WvqhJtbGMEbVWJOpDvxUi26nApVxZnXJjn7JdKvQcPA/m3VwJQk/Xsb4
No/jXExFiB+s2Oz8h7pJ5TawarltdLhcKQZyLEStes5LylhtVrrYhkxjo6GH2zY5tkeiXJsKUnLn
3WIVZwiPpffqVtgH3EozVsDTvDugtu5a6j0a4aFhoqYcniAoh7hT1bPItea7jWUQQ1UyZsAQp8zC
JzmxzoukhTAge/1klKX/6LcBTJC2HLZJbvirgCzItR3QavPyiQXZd8kosbRszrweg0cd3si9DNn9
kPfCEXCHjrDWzl9zv1SPcrZUgvYmOk1j3QGeRJtwMOMN4lt3G7l6vIrLDn+uR8E7bt0HO68hQ/mc
KcPe7QsSjsp3E9cPZMy0R1OAIz417Hdd0hMrc464NZw81lnG1iLtkuIHxFRrQ2tLn5O75CaKJzKU
xqm61ZsOtW3s8V3RMhfZMY6M5rH0xu92rdccfNq3cYBZNg5mdd1VQl8luvE2WPOPNlBws5XA7tYT
NN8AnwC1MYa7YaD1Q4cK34DLiq7K0LgJ6dAstJx11G2iaaMqi5YBvtaNHI3hwR9GtdSIvuYzpE89
iu8VZe4PV8QOHvchOoCMvW0zYyXQt2abV6WHjzriWvDDXNxxYozbviTipgcXsdCHvt2iQY52Qzwm
9HdsY1NWwbCW5kSce+Sna0cyTu06ACDjcgY+jpbBnSJOm0MUpeW9VWbxrhxscwk4qr+GJ91858WP
W9ElWNF68PDr2Pl5hS5rXsGQHgkHinEoJ/4jVnCc6dgLtzn3WxiHLsBYTh8GWvqwOorYaL80hQt7
FU3IylO5e42KO9hYE6cmU9nNHUQrLgg6KPhvdcxlZJNUY39SMCYqzqld+UIMztUwWN/QZik8pm6Y
Y42yyIQzV76i/TMf4QAd446dx2PSARCoTTJscqtbl3bTkW9NVNyCWD3DWAtm6ciMh1x0bffsyp0t
nUWGD39vNbg9BcwRAFN0kKPJxlOcS3vtuarYJVNkLyxDe0nrBisdMdt7V9nll6Q0uNq4WQi2uJIk
ZptIVDOuORyu/RS4/TJtzGRPFWFcd6RG3hmK3B3IRpXzEBL0uDAq+dD12DeCkJ4YS717Z0f4TnwH
gGdZlTiaQHk7zQtKS7SadEHcg+Lgtzc7jUBM4A/7OKUhr3GiXqU8neSV/g1giLUcQ7IPvTqBviUh
g1LuAk6TceTR7cTDmqrMfaycLwR4Ml3cKgBxVmGMZUVb5KH/kvqkSMtECkiu5LMn/bwWYgRdKDsO
uTW5JMkPY3hd1iN/GHpW/piBkYpXHnQ4DvWuxic1Uo4wQEVYMq14vIbSQpSREVvTtWuou6RMX1oY
vrvexkS5aE3skVrqVcAOAOQ4g16tQqABa/SZ2YYIG7YHMLg4GRma+F/DZ04BlJSghr6RXzi8Orrf
3Y108Xf8gQGgTRPeAE1ENBhMlgGN2el8Vgaj+NpkWExF7pp7Jx6cnZhCc6H5oLk4cXR7EbXObeJX
zPZ8JiF25BNA3yqzVVWPMHJIXr+logXozKpfAsd511JKkYILyGEgg+yLJ1xtW41a8d0bfYgM9LdW
CKfUMmzAVGhZ2OBd9DUaoiaOT1aGpaWV2g7jGVUx2oALHTr8qvSD6srucQTopmsSf8Y2JUeN00Fv
Wtyk1KhtZd/PAaHw1+70enAXYHXEmhx6fWkF5LxkCWhCMsQogJnOtKTYI3ASme9eAOtDFbC8jTwg
N1zKYBVJC0ZJ6BscrohGqj1cWvooYQjq5rDJuFeoqt1oZXnUpmx4aAQljjJqul1l0V2RlgquqtrC
NJ9ZLrC+qL1NMqvdokNsvwEwd4/2EGs3uJJgqfZWvcnA738NWWqO4AWSVTwkgFwZVeKOoy3EjCKE
VecV7QN0tveuh9IfNp23oGU2XYnwoU03BNmRO5lgVlUiMV44wnasMRx/lGY1y76taSI3ylmHKNNX
IhDWwmgUFz+Mrgnx5WHC93O9r7KwsZZbsBF+TL7zHU9R/xSIvNg3lgakX8/GItrT84AoZJUGFHk3
bOyPMLGGfVIRTesPcbpOdVrQSvkIKgwcqqRm1MVN3Yg32zS1A2i8YZFOnUCmhp+N6RXBGuiY/hPB
CvAh7G+57TQ7My0ooDjS4ABYYRAvTFqQeUzJBGfxs6ePXxysOByxRgB9teKgp6Xa1mlJqSMlF8Rd
zpkVoRbwoqQolhUJAhsbf/fCqZoaxMF0oorRoTNES0Iv2r41O/xmkUMnMC5h+UeZHu4i6Qc7t8yr
+1C4zgNfylzYDqOT5FVtqPtvUMRwq0ls1jpnqQVFXuAeTdeu+ySTX1pi09djk5rfmlCIGy9ORLQo
CaH6mJqU8DCW0mMnEeWkTQ3lR/e/YJ1CPhFq5MgJgDGNBJOWp5XY1V4XrLDL/piqpFsDqcGN7Zos
nyhiN7Hn+PjB1I8BlNcTpSfIM0SCASitAKxJfuKR8NT73AmfprgnQVHTwSmZboGrHMUoRUmmk92+
9yStLZWRqF3YVpL1h19PD8ldKUarvre6XDtWVuEcYR2HN45Mp02WuMl6glBMQVfxNYz53q+9eIVZ
3CbOwIG1ySuKfpLiReAzO61XNpd3ok3gVKGSWMoR03ujDditestbEccaEPsbOWygM/HddtvbCAfi
lZOz4+XwP/h8dkiuhSjXge59p7NcbrQ2Z1pqVv196ihPIirmmFX3GyGL7IbDYUegFIwrs/LDBdfG
Av6gVW39rE1mvAh3g0nZycuEiXyT5x3HjdHK1lxoCBPQyXbFI57Gu6YAhh444gNUB/I7NU1LVVqw
56T7oZROqrCXJgeWXOsacVG+kk2PYioIzOq+zFpyib20wb9G3uHCxIqycXHdkkjm1xuFp29hxtkP
lL0h07Z6CwcIMSAKDPNg54z+djJeZ1v+ItQVZTpgz5yqyWV4T3zyZoraMm5JqivXYK6pycnOXLXN
DACN3StnAtprIqU9eC6LAnWtlnSixIUvAZiC9ni3MLVQe05hr5860whPVW3m117iOl8xCVKf4l66
4OUqAiEBFYB8sXbSqccVjlFz3RDit5Y2DEZdxM1KC1oBwqqos5emsf0jAMFqFxLnt/ONOrwDq1iv
coL9tgM/y7KNe3E0O36awA7EAiiWtS56GFiZH0/bIvbEUYAvWFeDgbPSBNPueUax/ZnxUQX1Zsqn
71rYOhRk1WDvm16GG8SpcKI4tW2MGsJCrbR+R5sOBJYb8nOkPYkikbT3/SB3JEA/lpiFEdHV7TqV
DfcyPYz39M3LGw9k+UFQuj1OwErZWSpDfnSpo15st/nqqzQ8GoC7tkkNxWiI4regHno+PgVhOc3R
fH7T4hSNah8GjD2s6IpSqCq5Fkgn0W+BwzO/LWgFY+Dp66wwmx2T09wQQiKxwAl10KohfxB+7Hwd
JvcHF1zGi856g4ey2RQO6KZBy929tMqCtaTMH2vNrVckN4EjycknMhIteumE01wRuQmcN9K6ddgO
5VKbSJaMVYobL9PU0xQ1xCFQlwDwbje+/8CPYXD5S5VHzCV0BcdQAJNttIFGbVsv42R1B4sFA8zg
IOA1V3r/xFYn5+Ku2KPG0G9DRWlCOH63GztnJi8mAGEyLJ2xhOCSKe4BFrX4N6xKoQeerMxewwB6
St6m2Qd1VwRjbsWCPLaDfe0SfnQfkj9z0jMJ4FCipY+hkKysvM44g2DfxwoHt0EysG+rQUtXgTMU
FC9IXHf9ceBI2nTWdWtTipsE7EGSQL9iCkU1MJTvOA37HfE7QFKGvkE+oaO43tC3gN7Tq3xjGmb4
Pxyd13KjSBSGn4gqaKCBWwFC2ZKzfUN5HMg58/T7ae+2tmY8siS6z/njWbTVRL6mtaLYIg29xXbz
JhfjHXJNZVyrP80s7kgUaNj+iaDp90aDEFShmVWE4fCjF44WAeUurCFpX/cH2yFLqsRLgpeqb99F
IQi2aYvOo63cFeX7PXtv6p5EZXAz9KX5Z3Pmn6xi+kDRWR+o2NmUXbYBAFQ+kgJR8hzRugN40Ltz
O7JY0uDiE2PM8cv0+5FahFuJAmvv0Fvp06hVLSQBOdNEL1rbMC3j3VRrgnEdrQi9KcWhkxCwPHFm
jDhykNVGiME51o5Wf9Av34aEo3diuxjJy+DEbCj69BHX95Bug/fP5QIwnmzwAmKPhzzxMG2sY1AU
hdFv9UIPN2oaPtbxNJ1jyjlTHzC66V4SlNbDNu3b/kUXxuCqXeIQiNRRUNDEunogddTez2S2voWt
2nk8tTCUsgv30QJiLJz4NYTLdks7oqeEKrggxC6/Y70J9zhJNM9MI6qJK0p71oG+SSXq8iAdJuA7
Z6zuSbWm19j1v0It/2VVobmEhuJGNy3gtePILtn6eThcc5vYyMEmppp6lZSdKRZ+Q2oT2G72b9A4
Fce6yO81xNAp6mCFb426VIzSs9PsaKDwnfQT8KwKT2U5WPqZ2Ol7iSr99EnQQhFfVqytCKKMJEBy
R38xqTkUfbYkqRQaCf1SkT9rRm5viWEK63v1HebRHZJ8bd+K9CibrfZ0/wVQRHtVtZXyaJB4Rjw/
IVnGXOxXLpFNuppPTUNARBXS0KLpjRZIjRDbHjqJBClnYvatQw5FTomlHvoDDekI7Udls6TZCy4O
uDp839s0t81H2qT+LUI7Lln2vPK8BypiR9pIAORz0t8pPzsb06LRGMTI26nJL9nKGHusozVeC8yK
JkmUIJ2ikAzuRR6+rwxjZ1FA8rjWosR/tTENz6m0u0+NDDnPWUgWwPqsrVzvdmr4adGPN0vV14Mt
kk9b716jWiXGPSdvoddGcDBLIaB9rlo+4DJxHaPmhKmIXtgYRMw9DLU6HY2KoDVw4WlTJQplmgpo
dJmATgxlFQH99i39y6ymJCnBkeiEbuojcfUkIkybvKTmJ9eA9UGMcugNDuGFd8s1JiKixlqMNBcM
yZZ8LTTMXUFvylLGBK4C2FAOwqVmWMNzN0OmNElsHalh+OA4F4EF3+Hq1AM8mIWdeiHiGbdEoyx5
8HFGb1TkGegCwYA2hs7zrJD3CQ7E3bPJi7H7LSx2JdrmK7/qmNUIH6Ajaop+Z2uOfZqy1tKH5Hhv
OIBc6BUSqcL5CzdRutFBiqBiVEYSwpy3QjHYDJN6Vn80peuOdU8cREo7ziYCy9m0I8W2AFETc2ld
3fSl6h/TJEYOPpLx8miJomQ0XuvGXcrpU+ec8nJSwl2yjb5oEoePFbJZgGsHg7Ds1PgSka2dYW2q
s8lZwgsx/1VsxMc0kguZsCbpziZoBmBbjNFFg7EtwowFPf9Qo6jZYYdyDgDP//p4mPixKehgWjZ3
23wXLl7ej/1T46ggtmHWklNG7mSSU5JsWlFMOU00PJRF+1XYq/CNxkGbmHJVM8flm4z82ZGoXatd
oGCGN6PADkVuZnFWhraoj4XIirMKj2QhPe9nknnHdJuNfEAKXn2/jNTios+5eKhB8gnjK5kV1aF/
mXAkeXqqzGTM1/eWB/FaEeqBiR13+2Ca6WG1nOwg1fu43fJZwKmyQouo2TZRFnut0/fbdrTaHXQN
LVdNGW+ZOciRqBzB0VeqGwdw3QtT810r81dK82ye6i721yQUO9q3zJ0zC+a3sJ/tLUTl8jjqSMB6
a9L3xEfM/tR1xamaW4I6O3vFaoY/l4R23hM9cigxk3wVDTmfldWxj1bE36AG+LPqyEqcMw02QBW0
qnctFS50k7vsvRyagEy3WGvj1lND2ZL0qWbRuSUWHWbGEhto9nGbd+GV08SgvSrUDlLLs93YG8nu
ntbLckOHopY6LAi0hfjZTOg0YvnanRaALMKg0HmaCBCQ8rewjzR3EKSnQHcg5J8Bc7d9BDSuYhb7
FIxCsBpR5s5a0x1nTC9H1UzEV0Y31YZgdQCZlhwyUlOrnW2M+U1jIguidLhlVKUGqWzoozBy7dyn
dx23oY9eLPP1iKLaOEhp1ntDwfxQ2SHVYm3SfsZJUvsRZTquwexJuXshuFE4+imnyKisUccnfYSI
IUClO9JF0BK123e+Wa4cH7GG0lszKWQDEGw3zkKtk5Ot685xIumPoxEHUz5BLa9vazO2O5pDKt8a
jeGR83mBJsI6muLp3elamJxq0dZHAlJIgNTH5gakaMNmLQNj3QoL20TpQ9dOTwaj5k6ZddCwXjEo
+ruz0ob6ZTptd14M3Bal1ct9t4jlqR4HYCZmCtdijinJMcNGWDy0sbR9xZl+EoI63qOppP59ucc5
yIyToJ6in2Jc5Dazk5B9ecogs1X+wniPLywn48YKEX31pl4GVM3RhXSPWDKiJnWz1BovyImJ4Fcb
lSssbJB1Rc6BtinnwC0s9lGW1qgrCnJp6ozKAm7itcuWAFC19ZjqGwqc6+lcakW2s2x7uE+Gikt/
D8PxoCw7TalL9AySiXipiL2eQFFlar7k9eAE8DvtoZbdveOtUdl3R3wZsifdM3RIUKlCV0mm+VLP
UUU69z0eXHcqCoScPyomv1u2EHjpbxO5xV7aSv426UZ2G5dlctU2GnxMgMYDta+Gn41QusKMykPq
ZOaBiLgkSIvsJTWsnNVTU4+dKWbegJ7slTIjRAW6Bq4JmZucUNlBXS17YYbRWxYtP2XffOCyiV2N
S98tqi7ZQp2qW0tlfDIUalTuxQJoXCz1IQpRMTtW1m0rcxUbCmqEl3D2nMu8izfZskCMy/llrPIu
UJw4J4QZImCSYUFStqa8kpm7R5x5WSot2cIFXOi5tLfraH6Ooo89c+FytTW+4oTUxSeHTzVgM9Mu
DtmDN+SsmWvM4HGWQzZ6OOT2DzOaRhKpVUEWZUQGKXa7XzrSZfTF/GyZ53ZITpGROCEJ0MOsb0q2
4W1MTymPgv5pp7B7KGAbAmfv21ijvq/GlJycMhwOrDGYHCDBEy5aZUKUBh6QIMN3NaPk61Kn+o3y
tuys1UR/rjGeoTWOG5/wFNobq1Z7EHfCwCnZBw0EcxtT0nmIS7y4yUja5DVMbxMY6ZYvWeyBdBFe
pHXmbg0daHepGH8hxun7g8DfZ8twQyclDtxSfkypWiRh1h/OTKRLPA3DOeOw3qUKv06kg/nUnfGK
gCC++5TW3UqfrSvX4mZPa/8meWkeeBSfuCrCo0Ifo5f18Qf6HZKaDfNZjInlaVE8PduVZfFbkDFs
ZsBJpC/1+7q31m1HVo/dj69VCJOYTrQ2ae2QbEaElx5sR+ja7Vj4Tqz1ezHk/XVQwz7osqR8JnRM
9yi9Ea4WmRQgkvRXumEzyU9TqN1utBf9PSJ25EWp7Yh0zop2Q8gSG4tYDoqHPMjtWKd8OwYeXBqm
IJKFCY6v5XBr9XJ9HMcRzxHwE/UIwyZG9njWZdN9UVpWnkCiDLh9K3wmJIlnt5lIuoxKoNiERBy6
SnoWzlb9zjqbLQc31b+1D5v3XLPX3Ryn1laPdQBFeMdKMdwKv7Ugf4UZ/bevprdYiZ5pBqNK4y7M
mXMQQMJ6bGRpcnq1I/4FMhUrv+mgD1mJBu8eWPZgplP7T+2b8VVT2XZSNlySu5fBZznJwGq5WDtb
US8siBFh/oPlDtlEni15Jp5jDZofOagO5rCMSOiS4lkb9F/VdFIk/3QOz0JPXU1rwpuDE2rTmZV2
S5nHNr2EuqDtga4dwaCDHpUUZoiKnabXsPjKmD7o4TS6lAOSklG06bAZyWN/R/8ktslovdidFI+6
UYsd2xayHJk1nPA1V4tthqcwbdbtMhUp1S7hU0LQ6BG2sHjpTfQU5WLnJ00ekEO1BKkq6RvlHZZb
VxZNoxUbj2EjJYOaUB/17BP1LAjOLewfmADclqdVBW9OiCPKoPyn17TYauiIoBDPTfk9auklXBfy
i6/UYpOWoIojyAz1zIwq0Q9R8dyVoL052XN3Rt8+D8sL4satKdudIZ9p3lWS57SF2zOfau1omgCQ
D1F8sOcHWu14vh6aJMRW+9sYSAMaxrsTdRchvSNOUbL4GNQUvRu0NOkKb/JuzXey+HGsGwvXJlHZ
GboTCKS2sgSpxx7Msxz8pOVuIdqIz+yrtG6V+qKzTZUPcRJ0FrCeuV8qunzy32La5aBPneKKDoKq
Oi3ASclem6930nmAXszH3k1RfGXccG3/R3YWo8Jvp3hke7fDaS5+BtyRIrys0bdWtHRW0X7jZNcy
brdR9RwZ70pz0up0b8JYS+NmNc6Wy+9UhXdxTeXXvP9EO3s0hR7VYTt3PwvIhZmhb2SjUqfXBUiq
i/xpRGLASkTSWwmknU87LT0Yy9GOIVqNnM76nZrfyvq55AFqWbHPdg/CT7Ln2OderdNobrt2b3vV
+HP/7GT8x3pJJSie55W2DN+0H6r2TeXYjOrskIlg0o5U+OyLnIxT1mfOh0H9TmOKIJGnagQuLwTf
TU9hhKlpINl3/uEc2hQkKA6AcEZ9aCeuHyLyM/IG1PK1knsJBkG35SYJp02jH2KERnxvuE48XnUW
bxvtqlBwa3xE1TXX9n38c8+Ax3bkTiZv4FkRtECdneLOfn2ArkzWzSFCpzPpav82tOdlfsUctYHf
6IxzaAc1NBbCdwUtTh+kyGcK0++1nxweteByJZU8WRVqx85VeEkMCq+QamVnm+tcUjhldGqzrVh0
ichH+lVUSgtvOxov8WiWe2DdL5GJ7EI4pm+trFXZeaLA2aY5jxmsb2eUUMbVNhW30KlTzunU5egh
+lyeQtEcY9IjtXyXW+VmojGNODbaFqjeIXcI1S6sUpF51nzW6YYyOPicl7Hh/HXg1XIQ1HBjjC9E
jHsww27DUJhmQQKbPOE3Q8m6W6IEg+PTDNFWnCU1ODOrvdm9pwR+E2oDv2vr54wwJScjyqx/MOcX
1XlswiBFf7nWfwCTgdK+quujcF6iNljzv4mWCJirqtHuhvSdOqaI0YJ7/YgwiZhfPpLmJaGCcVR3
YTTv5aS6GflQTYWX1iFMH7SemQHqYL+gvDFQvznUC7TlU6e9djpTprJjxN1X4t55Qb9H8mtQVpDD
qlS8JhCGTT2Wm0L+myUfX3pa+bSGZF9HgDlL6JplDpKkXBEWeeQ8zib5Hc4PLXpcwldL/qD9cyPU
sXeTtgbSvopgICQr5dBdYOL3dxGkQVtdfHYWjcGEY5HvANuSp+Sln3TK64j6jPzdjR3eMvNKLcsu
0z8FcvelJD8YWUNUf1ZjhDzrmUTB+4U433d/Q/dyBSVAvXEojUlzBtNCQ6PyTHusyopI00S5nA1K
H3VME3P4ZjrIMuLwEJKKbIWbPvmxFDpPdF9Jjw1dX7aJ+W68agTzjS1MOEwRkyunf+PR235sqb1a
6CyMTS/SX8uKhnLekZm9B0FAJYlN2sJ28oE9y6gD77iQLmxg6o3sz17cVajzJVt6r1DCf91Ye4DK
tEqd5bJXirdh+jbV3VIEGrNTRqKl81WZVyzCbkIYcKYTOyoPLQtiaQYlZU4T1VqZhi/4xu2aEDBo
uvmkuLP1vXLmTs13mz1b5oktY2PWH9HwgZzMN1ENoGBAcXlZU8Ttu0k52/MOz3lv8zxcB4q0inel
+gCv8mqD5db6Urqn6N6ilmyLIhDpazd+W2UdLChsERsgbyOilAUIeWGpDAdSvzmySfYovozoanWE
iFZ7iBl8/k9d/bbYx4Iehv99zDTxsAXygxExjv9q83qvN3SUnSkf8/kP1qPqfpDX7ggbZ3EuNqr4
KRa6HJ1gaU5pwxXKKd6TZW2hUtTTYC2eBxtZ7PogzSu325ax2iX1IPxrwEr+SCKmFfi3Jzsnek3H
m7q8F2hDtP6oMGpFltPTv2VkyDMSTiRJhHKKgsmnnao/5LQsBXz6PaGiFcXsuoyPjZ5fJ3xTfPDx
linGldNtnBAODqCDxUVzwB5TXGqvyURbp/ltzb8dspOUQHBzJsN5pZCDj4Qvg7ukvwqEg00JU4+0
eooNDwHpYioBsCJVIm/IynwZrhfqgYJ1lg8htdkQ2r6W4V5H7pTL4WPR9G0X7Qv7HaaAjTrfFuZb
HP7KS0+wi1rsui973/QPsuZ/HFmZN2MR9FBx6xjtp3gv6T+oSWKO19NdzDMuLzqnalZwZtwPCOOn
4J6iIpzorqtV4BqjG656tOnYqDM+5A8OMYd6QHLxyiz3JAXLnC22hi9n/YjMp244pc4v/Qj5eIjm
Ez2DG9mf708aVDQP0d5h7haXpH4MBUy8afm0pPHTfqvcX5j1AEmm7p8DFAZ9wtXTuu09wjr5SrNz
jeiAQIRV+oP9ppgXIR4Wbd92bLTqzpit7ci1odsHTYGJ6LZGepGwI9N6Q5uKLP2ytI/L9GVpfGM+
8uRTiWmBt9HTU+pTK+eh8aD9fQI0XXX8mKzjWl0JlqxgBOv4NCW0Yn4B+ijlvCNytGieVR3l5Zdq
HaXxGE4vtAxV0X41t218LIgNWwNc7K5RXBwg2Wp6yNOrgdA26T/zpOdLcDTtl9EMZm6xJMLC8mKK
5yi9DuNJjaiQRybVv6fyQFjEsNrMK36CdZVvKOmpj46giZSsoK0cTZ7H91V7cAaffc4z+2/uI0hu
Ygslt9zvLLOtXp5s6ovNnIYENfdbclJZ943+Fmdkewpif1Njo6lb2WCeQRcVcjmr9/Kwc0FfVlTt
B+sxVafTKD6jIQxy4QBS0zDWXthrXGm1bD/lZoS7mNUAuyG1irXPsM7YDGrNHqBIlaJklpP4QhHJ
xuICtstHvNAIUF/ox+a0Sw8zKfd5950gmi5KEtjLfaH9xqO1acRbygEg1BRnaOqCRheM8TM0YjT9
DkvsKcmCuXd5SLuCfBDgW41rjl9f616JuOvqaT84V/wUjATRdqVTbWHimC3fIgC2lk9C5ttk6h6H
iLT/1eCUibw2/JhNNPvTS1if89B0lYaiLhCr1fwbu8JbY6wyX2FMdgmyzpTzoAK7bBUvUR86x7yu
Tnbq62g7GdxYUbEJFXTSvOkTLcGOQKAoOfEG8dLkfJurnCD66NvQ4arS32YsYSFQ7KOj4UakHH44
jNjd4LQ5c8noB2ku+ZElopaQgl4LDCltn8bxnUo22T+QaI/qghM73Lbljw6zTnQqXOdfZftyMAIt
DAlRTtnHmz0FzdtR+2madhM6FAjeE3yGot3XYJ8q3pwN0srOUd6VdN5X5bBHY3JH+KO/NqRbeqeh
blPsZLPMXGTx8yKI0a1aH/zv1GNMDqzVRE3/V9v0bravvdRfRdZ8rarc5LRRG/pPU/zFpnU0qbiI
COUo8vepTdjT0bvB/0EyryN1f9da4eKNXxPnJRaaP7Toetd/M4KQ8Llc/pyGpjDMNtrHQELswCuO
d8a6v9dsL+yKufyMaGBtvXRVd6M1ngb5PDVbmTCrEEyTKhsNLpiNR21/6J4cmi9TvzXV3TMGS3Ns
qm2uPQwWecB709LopPAwYfjIJtyeGVGWSTBQoDmh6hPqrW+Pg3Fs4cNl/FPopjuDHffKXsCR1uC5
qfZiWedR0QJUnxuVXYrsCbKS+eQxqyAJcJP7RgZ+M7zOOm0XA3Wq+W22f6gF+7dSjGEUBgmyl0p/
RrG6SaoZ+OeXM94IL61y1Kx9kQZDRsEnrw2+3FwfHfNvoI0Z+D9vt0X8NlkhoaOcRriQDgrfIqgC
+kpOMM+6+VtGNTLRZ3iSBJ0b+jIiXNL8T53PavNsIlQtT1rKlxMHYaReZI3ea9feW0/sY92x+5in
sfjTpfQi2klaYKvkWQ7wTBRD1M01lC/ZZLrjcumbEJ6fsexNQ/K1kBhigbCz9PEF6MKzRbhyVT4V
46vSPNnt47QEY3ujQ9IFBAY8P5g5f6C+tt2HYIMxnGOXqPsKTCNbmIBwIBb5K226D3NyqZUjXkH6
0x9z61jI95RY93XpXUvS1UrbVkwuMZV3qwYjjy9PB2MtEE/GzHVq+jciPq2HXVSfU0ouk4o1l9u7
LH8c+jFoNw8SLaACURd0uRNIHS1ek1LEGNW7IXkdK/qz1Bba+juZvpye3xC5gaK/l+Jf045BrC+e
ru6pekDMxfd4tYfboFATTGCrrFBqkK7dt6UfoytY6QCSDfYLg3arbPpnoOhb1IzspeGEqesA6BBu
8Pi90hXirpzUiKqzQ+gA8Sv2BSehu2blKa8WmHLsj6A+tLgkiy/G7tAR6sX7YbUsPdm9Lau96sTA
DJryFxqNX4R4/hvDzSL1z27RIonZJxr7w4nwDgHJlnS/j0UZoKg4WP2y6ymWUe+CJorA0Mf3BLNn
QkUhvX5roXhoSTkiDpwVzAn0rqcp/V4BMnpNaeyahYfdWqa9XUXvw1y9G4ayc9bRt6V6qiqqUuvV
BRTbyCW/Amv6+jgfgPo/TAZE6YyHSU9vlBx607Rsk5pmcWFVRD5JUvXUfW8rpyKLjrGubEt4/w2k
xm+ryO1QzI/RokLhw1RNwl3Nbt/x1CSOzSWufyB5YZagoobbuN0kmeKS4/MU67qnteq51JvPObOl
LyqyBJzcOWhcuIi9XXXQN42i+yuJ5i450Lj7/pbi1ndP0hgZkREnC+e+zeXv8ELXKcm22oxdwFoO
6xrtkMFdcweCSHeCstWgKOm80bpzWcDrldDzQ7ubw/AqkpE0FrLYhrW7DGtxpGXBy6DzQpUSJTBm
Oo6PNgf0JlrDK1LC80zETxmZb6LuNyOXZp8JjH4IckR0xJ1EvUn6ohGYNYv1pVs73+HPqMgihyVy
nTmlGbfYNFQursuKMoeCnchBWbEGiqmduqrY6R3PKVrKKZZua1s+nOVHo9i7rJrOrTa7lTm9dFTY
QWfSt7zcwzRVbSfb+RFQ8m0ah4ORhR5FaDRA0upLcgprz32vnSpmuw50nj4fe6mQ8BoP6vAzhCap
Ksou4T6JVdM34ZoprQMrUrfI2W+KyRUseXr7ZT3GOdN7hgWul9pVV0df/l/ARJif0XnIytw4bndN
11M41QeDOlM4hNAWao8+2r0lKk/i/tOz+/PDa+diRs/869BYN2nWodNWjwyni6yY2EYxPY2ASL1V
byMFTE4F+ZnN2cvB4oGmftXFeUzIMnLNka5zZrjftuLzthETmVxRaGsbgdpMZ4SkdpkCboPyXuJj
kdWg+pj6dJ9Nuee0+V5VS8ydadDM5Qd0ck5peRzx2yjbtoWRuYsNRUnSPmU7njXNZASGW/hiwx/w
48dpRNJ9Rd1ZyG0g2UuFTI6ZPdEkFAXhOFNT7ijIiRo/n+tjFXGW2+uLgeR17BmIG1L7KaWDBRvv
lcQOaKCqtkeURftsIUAXJ1/oxCwkdNFX6x7N0MBaR2eu1J+ovUM+NT/Q8ZRvUjwIRRu9NXx5qUgg
E2e4lbpFgJ9R1FtFS5/0/jUb2fI6zPKaxBjI28mR0dRPZp99pItEBEilvFnu5iKiKoLJaqgZ6/CD
onwsUZsV3gy3FGr5qYUUq3uOZKYfvh4p90cz1A8Lcsku5qHQStdG/4ByFTc3EvCVUz5MaCnjSagb
BgwWHLOND2XYb9Kw9soKUht7A5VyaCFJra+4iAg9Q28NRF/7cWvvBAArQY5+Os5+1lsbkekBDRGe
MMsLY+YBky+bFkNxr7gRiVq2wNTeSvxCGC0tPJBJCR5mUAQKTYDKIK1cM8eU1TcHJx031X1ni6kt
LrRuZzD1tkPxR30E9XL6+q5NsG7jch7ZDFdg2dpC7myT34vE2O7J7y45MSX+oXLIQPYEJj/S5M/C
sRHYNqAr1bFjIeyq3NWUacvJsNfR0y1d6wlEec6Uv9ZDehjmVHURyj6scUgZm1E8Vib6ROQTbIa4
11KjfO9wpLGvQbfoiGFTTT03I5C5zQulk4U/0sPSMpLde7DjAGuWP6UQwCufIsAoHiUvDGeXULKt
HlqbQdrICChRzCU2Mvp5JzThFsB8VutgJthR+TwXxE3JlE4bJF58OPfe9TX0a4K78nUqXKmY4Bpp
4VH/EdStyrWLeyi2PbRabjTf9/XG1cvypNqYjDVOlqorkSkJOrjlj461xF0yw40NmH/VRjLNVapS
6ZdLXPxd91sxiNe8XmWd+EDr4yxbP1xVXwfeqzX9rEEANHg2NtFInmjUimNprM96qu+QdQd0rjyR
9HmDHD7XvDnjLINB8WenAhNNp11Ml3TUywDHlIeXzIefu6k9oyp0pI07kHiOm1UoH/WEONSGANTU
lYUDG4aMIZAdj7Zc12CGiwfl0dFZ36Zy3zOxU15JcaQ5E+lK3XzX4nQWVuDM/+7WmrHmV8P90CHO
pel7LLxeYnbg/2rkLiQ9o7ARrYjeje+F+C6U9l989zhgsQ4byI57q3/P0TjqefowAdD1cww3XGLy
io5J2wR4+SF6elfO2YNhVHttwBJXjYGQ6SPWb/BQSFr4+70qxV4znL9GJnTzZphv4vKpInX0zrTr
qgMmw0MxO/1+gDUvQuNaab2He55X2RW0i6Iz1DmQTOt9UQDi+866MHt8TIgI3VBpbvkwz5BD/MBS
QC85b1kdntYBi9rUo6eMo2ennM99PuAeRPVv1kTfDsvdfTRWARAztEaCVZCO2SSFYuByMDAnori+
EyoKMQK4HOepovJ1+RApNdb2iJqH7AWmbRWTQpIPjNC9eqDpAyogrEljMBFyt/CsftzPlIEhWQtZ
UoWz7u6izcXqznRKB8QaHa1hGXYQbT/2rG/NJD3NoIw4T/w6km9qNG6HsDUu01QBH9qkW1QOO43t
WVDLoaTyZyQr02psL7qvjsXCLo8vVWWdkG13afKQDVw76XXyV+n2r2Ov55bsz5o6O8PomAvLw9Rm
PpWg7izigxnlu7sMhpnXW2ykaHcQCExJAsRoogUzmdeNbkY0jALAVwo3tg2QC0AZ3S9DRQh88ajM
2gXVEa3YTRYzytGnl0oiNIom8tE2bGdBRXdNYyTs/XbMoV87vOTl3FZ7IzZcQZhCM5sM3QbwCmkJ
qw4m3o+BlZeoKwe05mlpFP5ANsyjsmDNT7HSXapakjNKWDNrknpzeEDrvGgprLXvNNEobppd1faW
ktI+KJIYSye1vN9pZ/9TW9W5qGYDB6ERTva66tBYwjx1XWq1LxXyjzdSdPJgwrrlTeaAJloiE9LJ
O92FFjU0m6bK6LbX84dKov9CQEQObRDGUXkyBkICsTAobDvm+zAazZHSmO8164YAf2GCX7yUdCS1
GaWEcfhA+DUez2iN+U7rsUCJB5AnCKpQ7de6bsW7tkT2VRhLkbnD3IrAANN2FZu6VK0EccjGMD2M
wjzUDmEYRouXehWT9n+15Q6DS3FuyAIJuhWKUuC/3MHH9n6TWUiXOtR6s8RW3OOHRENUYoM3s+5c
iF/S+NHXptTD6LYlvugLRa41IoaP6h6uL43CQ5ew1BfZMONHdQTUE0bqRyRp8Z7GX2RLIkwa0Ngm
fa4KYDqJJzz2EgfomO4CYl0EFp1bSgCHTXpJNF2nOrG+ZWESUrIMIJ42FbPZSNGxZhohJUSdggB7
Wp7g/rdRRE+mtViEO3S0FPWUlABIjVPxbWvruiWbvPDUnOAOHElfw6xMEeqoDlxnJGYA+6SX5iai
d6apjpNziW/W2ld/2dqz3iZVyQJqCOmgvraIGMEuLJbnDLWEPw3qUzFPP7XapofS1M6FmYeBYY9w
5GSOvBFxw1Xb23iMTbJVrk5SW4Gp9c52bSftHf7ZeUaWPL+S/EKkPTUWPA/LeGy7dtxGdBodVUcO
L30nYIGdYt2zQuLlQZh142tiXEvyB/xKFc2PikgyaNZ53JWwpmQlyoTHJA1hdtpIZzqfdOXHkmW+
1zKMuEPCSoGV4P9vfEkSBSdaljZ4lhuVf6+evjOVFBRnJrpYX/SnxG5EYE5ISBhb6kw5IFdRwaU7
sGozKjifNPBgoMD8Fe/sXfC5lubWSYrkhDBGeDT3DIcaMyqjWNnP+1EU6D7kMLyM84gbw7GB/1Sn
eqGNkMl0VDieM+ws6iZPjTYwUjzvqBc7A02I2QfVneGpJ8f65yRt7t9NX6QAjA1mxIxAVNkxkeW1
OYNhRAzTSWy7GmWpYLWcPCVRVk/8E5xMAvK7UovhIgY14uyc7zS0jHDWgSkE3Zj8kkidoGmeQITK
zMGg0EB9xU3Bf601BZB5xavR9M4mFJa207xYuG07Mh6WGKWtDRKapsPyoFBvlvxH0pntVqpkQfSL
kIBMEng98+SxPNYLcrlczGOSTF/fi9svrVbrqrquDcnO2BEr0M4vJh0fUodyOZkC4c58hgo/bE5N
nX+LaHkp84nsyt2QqscggQxHGhMQRzjNeP3w1pziruYUd5tfGSMUZUUJpygt6uODF3nVUz6JgG8R
lQlcRmV0pup0pUk43qs1GQRNCkgPXsRPOo9C8iBazY+9X9LbVQ8BRl3Uhd3k0jQccns1jL4f+ezU
ZCzd4Ty+Ag9IhgN/9e6c6qXlzUd6ZRg09a6k/Ita2SL+K8L4N6PJcudMVf1RoAnJ+TUuGrTuaJOA
04jAGZAuj7ekTTnbyij619lt8WybIPrpZ+XE7MOj9OxHwUPE5+/XOMruKi2MhaVFhxjUt5CjZD0v
isXZT1661dFxFkyzMiB8WnR6OHvSYakfUy2+Y+DJvK2djKEDhNkos9ddAcaAnGtzEoSItgByUVfn
eGY5krV2R/gWlTWbXNyOaFY07sXJgV9rfLYoGacqim+yyBwewMVyvOsIzQHfE5eEW9F9lN3HgdDI
bowqsr4S/7DLaLYEEbvZARqzpWj3ynuLeVm1y4e1sOmWoyV4Jrzf88TT0rvpfoCghBuW+woEZzwk
iYWTvUPdaoT+Pa5AklLVett2Mjpqq5PoPll7MLMGG9IGEdPG6JRM3Riv+tQhslIWTHUEJ5jPyfSB
HLfhWCWRIoaL5Yc3384P+GJ5h0xJgog196ZzU75DNOLihqbwGfI8Bs2VtRRb/tdC3GFX2IYO8Jwa
Dga4EIEqIgdi+qLaNukMnWg1BkYheBXcdu1WJ12Mb0E9xcRF4m3SYJcwXR9t0LWymmKqKOp2w9Lc
NWP/Y8PrHZ4VAxkOhCh77EZRnHUn2RGRUJKI6DSnpXoCI2+F0WtsueO/kk85GDDh/qHN8C8yVrhv
xpLrFdN+vg0jNn9hPFwG/w8uXvwFZes2MA9cC5MtgGK+6OV71XruE+kG8wEEiOTtapkfA/d339eZ
2KfF6DD49dDIYkhnZ5YG/TlYcNxI0K2P7ep/zFxEKp+7zd7v8/JQxHyFSWURUpY6fGwLFy+jdq5F
PukHMgINLsu0RbRRFgmbpvgIluI7toLmi5urwZ0U5w3vP5PJ0FEiu2U5QIY/yJL8DlBBx1a2CcjS
6/yhWdS/yKTrbOtN39h8/zYzNqip9R9CZU13URKR5qWPtN36djv0eyh3MobNoDQPCBkrZCqE/WlS
68Y8tOyTqDPnK5oi2hBVDFZ6DstHApTerTTAGzZjOCbsQAk2v5XYYffk/dEOaDC27twEC2QwUpvd
ez4rYrIS28yGV3CrlcrCpzQO2VdLyg/nWCHyW+xJFFyWeAo/2x7nJqAKdfC89CFG2W6Ns43dj6jn
KoHQEtUJ6wGqSH8oxXzuvPG5lQaBsBkexWjdqi5v36LIy7A9tIgCZhAvAvM1WxA9/C1dbbM3lq9j
T3F15ZdvdA8kdzKJzavHHYR7/IRYKwioUzL9NDf1M8GqlyIgPSUJTPId5zjdLG373meTui8zpj+p
LEhGKVCdXNbjZyswqH4TxnlZyAeWD3ZTvLXxGhKbfVZa1Wg5VIkwGK2UpHLbmoXlQMAnI0Cd2JRD
/6+oyh9bZhWCFBYh5bGGbmFQ8cJksRm2jbDgMNg8ptHRSam/pQRW4uan42kz9mSnB2bSbdta1VGl
5rc7lJDNdR7czX28Fi2EGBhkBritSxAPZ25IW0BdUNO0cE9G1Hj30yGsnd2UlcJhzyodgPqZ/kc9
eLkvcqabYsF7XSz+d4oad6jq9LNpKuIkM5efprCWTQajZWtmv0VAWNh3BCAv9tWclN9NaZdfINJW
P3eOMrmXHVszP/bx4CvZcHC7MxtIYfzm2XEzh5u9nbQLfLXsBUmDWyefMSwJmjbbtE6G9mSNoTcf
TJdLmj+DyTlTjjjy9kcOfsNujgDqxHjF37h/qHPXNMAlegf3oBrz4OBBGEecsG0Ij5ThPjrxaL4L
Xu18bwXW+zirP2XOthduXHWAtQ0tyh+8n0EUpt5W7vgwDnp440/BAK00Hqk0WUkC8Fe5IuoXVrgv
NgHJXRFZPnEktz+0Bat8xu6EhIP9JhKKSk6YRyTdn8HPEPCV4LLj74eS2/Ohhcd0Ft5C/LcI5vJB
z+hvrR9q/iGP25NgN065S3aX5Ppp6Qj3Mcy5TGZ5K59K+IGsXGebXSnD0yavDOl/0hisoPid0NJY
7lLd+2go7eusxuDJopzkMCRDeY2UcfdMNi1aJ2D5wAOhv/FlElIoG3Y/+cplw3rCxDj41qMBKfUX
NtZ066UcrsLV3TmegmiH9INMGfb+SclF7qzS7rmL2ObGK1ZvC8mzBhZrPCmMSXdDqNpzGqTBuego
XQ1kRnR17GtkM0ey6Jiqh27kaCkHBDakSrGKxgSOOpAkyHkWNs/14IiGePiAaKO2uW+8+7py28/c
1vrSdmH+pKcsunPFkL3bPt217miZ7Zin82GYc/ZOIK0uPvsMpkMjE/In3XyRnv1NWTPGHRFs7Bq2
epmF1nkgbH6SsWv2HurYNvNFc0IiwbDg2hznAX+1KBHuZaxS9WXs1tnOXjruXEAHO9vKXvP/W7uw
CBJiILpHH4bZT6mFxhY60cEZnJ/F9B9qJnJvZ/b8O0C6uYqJ7Dab+PoC/z7/tdh46uximm4YulW/
JZnC3lmXL4uXAoBRaJTSwkZmqexPIzvGJCavjQ57+c/vPd5JZuktjebzMxEudzuxqNqQM3M2LPPR
WMtLGs4rQ8hqtlOero71oeDwX8Zkr/H/w/phPusjkkM6bpxDMIX0g9qsVo2eG+gIaFgevpbS6/e8
/dA+osa/dr7j/htd4s16MlyO+tRaDilD+N8cINPjHNo41pKWOwDsnpuZnEeKmX+AlelNl/RsqBh0
QyaHXIFaG6roMPmxZA3RWr8aP/d2uZpIy0Sioo4MO8NLHnbRhzJN8sbEEX7oWi7ItsPCO0em+eDN
jp/wgxn8t66U2bEmYEPwj2QxwlBbvydtr9nc5flWgy49mMFR/5T96GFzXMiWPrcFAMlDGbMtbMIY
5iY0qkvdIOVafjeSwWQCh7BWfMixBRtRk6VAb5zTdwp9Zi4lZCNpezZ01C/IOitg9aqsCnElwe7E
DM7dGwHlUlnVJ8C9fEd97kuhrXcnpH4Fj/VwA17VvWKJ1vdspgVpxBgpy8mja0i4jwxhG3+j5VBR
bxNZCZqoo8elie/K0g5e2kJjcytGtJal8248aQ18C/FTtJ1HmMCUp6SUi3v13Lju/06+pdJ9nQX6
ZvzYQXF302uHiesCEmQ8loMa8TVl4G16IqV+QUNtl81oTvbsDgy/JJqibcidW5wqKLukvcscRwdK
y1AcupLzdu/JKbiPdTYiTjvi2koCkHMZzacFb/wvydYUC74uDsykVLoQQLg5+cJiM1P1zg0thzaE
EPppkSb7Ymms3eL7o4/GZGN/7+ZGbPxAgWnKbQ/L7Ry89ylqfO6KON9VYnkTi2CJBERKIJlGMd7P
GUtSEzX5qXecrzzhQzU3M9sH3c4Ly8+s6T6WPDUY690a+0A5JRSHNgaGk++Ix8DpBoR3V94nVAk/
RTYwpmnAJjMZ9nHQvZZ9mejumI3x+v8Qvvp90f9xHTQ3rQkIuPjOdiwNym1vZLgvl7z4S9Vud8ub
LIIjFxWj2mrBLrDzlfOwyCYg2t15h6bPgn3BPe5SNknP9o+llFYVk0LiePf06YRPre0ZZvseJr6F
Zjdi2JtTOKjTUiyvIHnr01KPzqMjLLUNg6x/JKldHRp3gWGkHSokuZVuGyWjP8XA9IFWyeywCPtI
EhYDh+a0T7MU/FaFZy4CZngsgtqBhI66ToIczxZVe1T6eAxwevwaM908ZFXpfUMRAOLmIeeXcB4X
/sps+5aptY6J5l1VjA87UvzDTk1Oebc0M+YFkfM4gTSkyXqAL5MDtT9Us5MSZY+jXe+r+FVkbOT4
fljize6skhh7b91oa2XM5ytxRLarj5O2y0M6Vc4jb8G6gULZLBNUUShotBUMZQg9yPw2bRRsLEJo
RyTdYu/YafI++bN9KW3TvZSGJwTXRYnFUtGwbVnsSQtpWzg4kwYGKizkAMYJoFmWYnnV/XaStP07
zsCC0OMNze5U3LVx2dxXw/RtKxXfM1WUPFe4msOOivpRLdUpVM34uDSVupILBpzHGnKneg/OjIgr
goRk5YaAE77p2HnUQ0v9c8x+LkwRv9KeIuii1uR0WkDA2PqWEU8yIGUgxRQhV+R84DocYs3L5iDb
rzt1Rsw8Xh9gzrB5RtToidssH3ls5KtOGNzGhIhGNfQK4GMQHgpPlicbBWuTpfM7TDc0cW7IgDmU
jYBBg8rOl27zOk05HynGFhZCYGCI009HCTzxX4KVbFPUY3SyS2KkXokPbwDywSKA+42TAtWXKh8R
wMP0wHZMHA1n28pGqh/Wc2vjE7/cVHx59xVlCqSQa3BVpvs927hzUy+6jxSh9miusl0HbAr3SvIv
ZXTdKGf6mAcMxl0XiVMyFq9MTf02sK1fhWCA25SjbN+NKrD9OKNzM3n3I+nhgJhA2P7Od0nLBrNV
3ruCPGhPr+iDD8f+o20KlGopMMo1DuuuJP0pl4AlMUVybw2ZyJ1LScYZnJR1jiOpiS0nbIJsCUXP
98sL8D6MJMkSu+snjm+VNwX2H66yyErCwq0y9cLdWzwf20QxwLXSUceg5kI8Cmd4i7Mqug+06W51
Wg17Lkg4+8Yy/cVygxx5h0M4hVucbBbyUZulS/+EZVpfh7orrlgz+KvDURrB1mCVrk3v3Iq8QW8J
ejBSIoZlyHQgi19QyMTJLJXzxDYIj7eucKQNhBVw7ay/h9jJGESW3tPorq347Y12dc8zB3ghSX4g
aWBeS0X94EcCe0RaU2aXpr3YaYGGivIBba8v+Vo2lrsJZMWkDlM6Ckqxn0hjH4eWhqm47di1+jUC
u1u1W367lIkZLeAzuu51sXHZiAT/MR5O7GB9TewCi9JmgqR1dJf+uUBTQSIpf01GPhYmbvZ2HY9H
YJ/2l7+ayus1YsjbwwgpvQ6TrmffqcH64xRjd0i1nNrNIJtun2XOcAlzf4STn32Rto62fHtx87oB
gd64tQ9h2M7XZJHIDAPgInhzw6E1rs3tCzqub5IvEDflIcZiAfAsn251VXPR6ENMTRZXgV0iG+Z6
GzdFqNzymC7a38dz0fUHrGksqJdw2gplcYl08XAF3cQ6c+qvIWHZ+RbMFVSvSIbJevTnjwm6/5/Y
W15RrgiC6dFV16auXWr0ih7GOStUDP5s3vTJ7fvux9F98pSqIHiMEtzEHXVLD3SmrXyqqOOcLPIM
uTyb6xrrOr5dEkgka5LVXN7j9/jL5ti7j6opeXACsoEVwjJIE3hcblP82AlbVlRswn3stlmTx+Qt
y0W+tVS/nRL4JUcyskT8VWxDH6HudmxAoqp4ne8Y0o+WSyJIO2i4+GfVTor4a+TOfpJDMz4lsJJ2
WUc2wjJtuh05lbf5FKrrUNEZ5U/Ve0zx7CEOSfzmcz2SFkqCfe/M4qWrqTzvR+Yqx+qLgzuPqx2T
X2sp688sDjAGBxbP88ArJRz9l9sti9XFJVeTLSRN4ZX8coc+5N2212ACXnzeD6BFox7IcTD2eBIV
uYiAnpa96AF7eDo8e4jrOEdLH7BTzILkRRCQH/Z6SecPsh16G2oSz2kVDptIreByZ+Y60wX4KkTD
kDMWOWNjP2aXUEzzVlbmV9UiQJnCtjb+aLENBhp1cv0huI2SXMBG1i37uLbWPDRZ7E4suTtbzdcy
dUHHDlP2EjXlXw5ggOaVWldDdfZs5mj65ZWm5lTKCHIGPi5xlbgfM/S1m5zmnBkfv0/I4D6gl6ev
VZsB61/wc0T+lBwSG1VfqsjG57GI+ogfgSE/CH9iv/zquW3yQ3HS40J9wrWZWioNR585r+lmng8Q
eHz6UgwCCI/2awyVAvsaNl8bdjZpmyXeiYkl1CZj2bCL2yVFXLZEj6rals7WFvzI+sV3fxHxdJ5F
mWH+EPw5Wfob7SDkVl0Ou2KMmAgmEkAoRdFpIVaA7xcX3dSg4FkRi49sYK1rRxzYRWqdStMlvwtL
sT5ALTu51tRdwsKvd3gu8FJXgB0vRen0fFatfuJXw0hLZUF+o9QTl8qgvQM/pOQwe+EPdbiYwds4
vBai487NOwNEvFm4gqcWSm5YUBHQReDB44jIKpL2MF+LoQWpn9bx0eEOdpjnAflyilcgCLwJVspZ
C5471nspdH3Mgsz7NQpV/JrTGLKC32QrsEJsPE3kMh5Z+RgmFN/19SHp3M+B3ryHGbYsJG2H7HEk
+W4JeRjlOXJ/IIUOO3swCvSeip1f8ZToNyfIcWUS6kFE1z0SkubfSlvYIOzedJdOWtmLDJiR3V4o
FBNj9l2FxaxOi/5zAiv5XPcx+E6+319BSnQ1H7glAgwHSDriEMildmHrzuCtA6x+1aDEkaUAg3EH
SRLEz8QSMJueoEc7F0t5/VfUet7KF5u6x8EBDGIFud46RfMXlUH8DMbhOGcNt1duxvU5gOGwWDkW
DvIDpGGk2kQt92THJOWXKnKxN+PUf1SGSwU0EmbsMfh2BF8Mk0TiwAiByyXwOrR6PZmnpPXTa21Q
TR3sapMY1liLGBNOHSf/DFjqc3fHr9DPrfXYJkH5UASqfXIRtFBUUYSFI0n5qAUn5jQrDPJ5SgkD
8HyiIKNfHQKRDiDsekOrxejvEttd7kOPUYLEIHoPexVsTfsJ6My+zZp0ZyiaKLLpB4d5dQqs3j8Q
K56PUAi709BSJ2Dj0Poq3HFcMF9Lfao5MXZy0ZyncspvM+lk7LAOxbwZaPqopYOrKNAyBQ6PO3dm
HE9HUjjwqTj9aueH0YchzSvWz3DXXbTFQLFQNbeHGUmbpqas8TkK8N/CWUseHQLnYPlhtp2NyIKj
8ceSILtqj1G79JA4/PmroxjiQFye8wIoIMc/cVa2Bf0bpRKAtGSp2Aas+RLGg5PDvull6rGP26O9
3E1tT1ko7ahHwK8wgW0+v6PjWvduIIcDVy/3NHZ98qdqHOssoizfLvX0Z/Ao4evrMv1XAd3D8zjp
g5ONzWGkjPbgIXZBs4rFwVkw7LIp5s5IF8BB0smBMxVfWlI7Wh6LGbkxS93jBJl7Mwty2kPssf3J
on6/CO3jMaU0o+4H9dE1I1LdetjO5PrOg7Aiosho4Jt06n7nlgx+y7ljpVirpj4DAO52yvX4fQAR
iOPP0uA+xDlX7VlDRCc/I3cT0Z2yr2hXBhThW6c8ibN9GhuLwzWu9mLGmty6wb8e4WSbryAwhB7Y
PUkO0MQBptMvLZoh4A3+K9ICK09tPcd2La9rF/DzBL0K5AJQEsIneBWM55yjnEXeqNzgSfQDfTuB
+mSycG9UAVhXBVeQIQXC1FZAVt4RFv5hTbdaqJTvb1Pbh7yka4o78twAgMzD7Fx4OLgLCGoqhMSM
AgBqvfjwKwsOYx01VH+RvknCxblaedO8ewbmjCJ0tjc8Tg+CEeiSQQPYdgpXSpFl8Z3PWuo28ujz
kepHvA8kAqp82ZVDDTcw8f6wHxKPxM+/MfwhzVF2fBxG1e/aWKhjyPXvQgGFcw3cWR/4/jbHYuHw
y7oqJPNZjsCiZHpIcx1+spKbNtwj7U1bYv0NFZ0V1ZzpbdohmfAAbmGXoZeU+Ckb0CEbVjDZH8RX
gEgEAe4YEXkehU3yjO7r7VTX+C6tAWE/qOQ6yfkvIAJIRwANAjwH/pBgS7IG0+fkmKiRZsesqreZ
sr75yKcSuBgH05gt8pBFfnzD6YoXcEEmtWiT3XVOLQ+uXb6jdcX7Fk1xOw+uxcBppVdEvGQ/Wz4D
U9nY/5YkfO2IvbyqwuKViiovfPLNZN+RL+4OYZEyUxF3I1Av6OgFXAzRAk8fVWTBrlsw1iTl5J1i
F3tJDFKhA/Lhs4i9ZwsZvDsx7GhuJcPVtXk6lnppdkm2wPRKSAxWdvwMkuS00KFHaqtlX0djKDPY
XCB+kWF0rao45iXpakYDNDxt2XtdQAROfHvc1nZln9F6wVMUaXO1fc6hbbj27Yhx9h8sG1dQjyIE
BowQT177x7Jplge9qOjZKbR9g729bFMHeSBUaX0K2WScsNpCOHAYZw6lCyxgSqs3XbEv58BNzgKG
oo/Jf2ZobqBabqag93cj7TR7UbXpu6xmOkDQCfFsIuVfAssT71icvINep4phGJpj76I/o4TJ60KU
/JQB4zqUEz7aNB0Ab4yYh8EW1G956lfPlkfmlivzjGcL/TsvmpdwntwDpwQgOBYwpz63/aciseoD
dg7/DVMnRI8iYCGFQ4GNZ+0QXWVPMxUGsnxtzMHOQXpsJtalu2BdDqklFAsg1xz7cuW0WD10iOwc
9HwbMJOupYa29SrzEmpFkXSvVjmBx2JVeA8rmh9x35RPYNyhc0gQknpp9C7yxgYWuI0Cn3fFLSqa
5aVmALtRSv04Qq3YZZX54VDhihzGhnkQPHxEpwlkEaZcD7vPRjEo0pWB0AyADU2Czoy+GM4NmMBb
VKLadC2aJD9MTMeTcHAS9/YRuvZHEvBZ2FQmAXaMBywqhsbe+V7+D+hnzeMKooCgaItDCQMvfA7n
aYrHL4IlvzWci/O4JPNbj1y+Yy07HOYYel1a9SETQaLuWKzVRx0NXE1ISgNVoCknpv/oP1MWCWmg
bCGaxRa6TLjJc3aLZaPqrdCqhTPMJ6ij2/2bbu3y1gYpK8SBeda2l+SOO13L7QTf23MT5OUxGEK5
i2bkodWTQ9h3oGarKIsH7H7jduRsY2LG+jPUwQSfEy1TVymW8Dryb5PbEJjNb0v7pG3gJ6D87U+v
Md6f1F1BWj7ZIAV9ZZvBPL1zotHfKpPPh2qJ1CGww+49GzV6gs/1mMpmG3UmmW44zp1vTgBCp1nh
Uz+TU8PB3eAOhCMfUzfWRHVYRRdVWN7wj5ZMVjXTR9tY393qHK5bMDoVJr8j7d3+lWVfvncnob+j
xCR/rRoWZZZH6cFp04GCxhV5mQ84ojG/gbUWyFlDY95SPF7vNkMbPlzCpv6AYrUJI7qIssYkr+yF
I8byIn8eaRZ5CkHS47Sfe9BVIxVjXsvKQGK94T+yt9EX8uThkDi3Br1ymyPW4IQvCuywKbz8W5tX
LZJJW545rZZXVzTWxWWFfyxawxHDsOIYJifMMdwOM5/cXWR/Aax513b8ZEC5g/RHXyrC12Z8rX10
PQcR56Gd/OAa4zfHp4GhjgVswuNS19+ZMxX7PM5rOpP9NUBOA+BzuNT22S0NPQpotUfh5umLuybC
bN9Jbuhl+U8p2EfbGMnu7RqvaeeYaR/2U3HlrlE/LlMpDxYtaAcoLXQTqPwttURbb/Upq6l1gRcX
ItMGqOsUo+y8GILyqQz2Ar+jPCflHfFVuCQmYiHS9C4RjwwdIgD7sxJS+rd0WCkbAYzTbixxl2D1
ZAuAnW8S6bJ1/a7ec5qk+56mCP4vKLoYubfuZuo3eR5Eh9W+jpbvqC4kT8Dq7ajS9hLrOMPpakFo
t/nfICTLJ29ZBPvZqd6Fsg+PgeDXpTqABHYE4AvYzxvysv1Fp5F3Uln9bLe6PSD3/t9DR1ab3vGN
M4VUHOXTZzAGzR0xp+Sbr9t0hysE4w5UUMKjHokqQ1EAoCdTPqIJz+9DzXnAIrY+jYX/2rZTt+l8
/pDBib7F4rgtfTdc7+BO4yOQ8/vMNXwjyiU9wuwLVngbGTrhrjuenkeGl+2aGX4WsOFpXiGMYriU
SIiGa9UKUlRzjfHUb1LFnBX2yd6AJ67Iz47u2g7TQ/wNw2Tc9v7jkCftay0B86xtRvE1nHJ5wdXX
7NQ8swG1xXzXZmXAB7wP7p0KrYxyv+IYm5CnZvBDrEHs4VkLUrwxh92tRXl+ZKmRAoet/uDtifeA
o+NHlbTOaRpAyWUsEvEXueUliGMyuKVbHwcBaC4yXfwwteobPH11ceqBgK8YAyj70bKZubrd0zDF
+YynnDODG7sz1dGzUnglY79BWakgO+ZsNNFCOrZH3HseJ5+MQeqgP4gRHFGfNcF9N2i+o6Fc5zSy
H9lk5yiH/OpmmxBTnlOnwBNv7emPTE9pgMWK65u78p6rk+GdBHbLgTX2IQ2mKWkU+Bn62ZsDyqf4
at5ZMfVLmBot4jggM7m4pnxSg+ZPvE7QVdsOP4E7mO9SmfhQ0PgFZw4iS2JFwxEBs/plD3NMNYzs
WXBBns0yrDq+sGckayiEEWaTa++Tu6ZelG4JF8CAnPmXdLv+qn3yAl4o5zftty4CYyQv2HLIhyvn
M4ApkWVITrAPew+SG63jIDXDo4d14h6YV0owC08H9Xbjjh4vgwujQU4r8BNbJKqdiJBZUDSUK1TR
BAEKkk8fFjadiY68NLjyD0oM4bktl+ZoOZhpzGJ1J94+pmqN2N5nfrqL3TK4Fjhjd4x3HEm9+Wiw
F540BprnNlg0zxZFipAUsgN69HgG+Mk762vm9tkOXiPHfvYLb9xl9Sxvi+99uIMHTr7g89pXLClw
XgbPhlDdLe/56NU9z0fr4dAuLJOc2K5kgBtoy5hDyrK7FjsWy1VeElRThi9LALBl73T3n7l5zAUJ
HIDb3G1IZetZzxz6ur46IWkBYciM8oYaNtRVdYKuZeP+NhlrUa/9YnBl3MGVChMmLwznoLT7M7Qt
HlwYQRbWJe6w5R8pOxtyYNKevMxK73iuxJmOtgWY1OITJkw09Xx19ZdZiJSs3zeflCKRHh4s428c
bqhYF13iJh1WEHQ9bum+cDgwsRxNeUcmKSc8Y+FBfxa8XJyDjtypheTKIDuiVmmk37uu00+2ptsx
boP8GM8TVeaJ9HY4db8wAbAWBLp5q/n47FUfQ11vWDhLUtpb/D3+qciACQgTcuLP7m8z+e1Ns8Un
aMQKSDtYmAus3ZuB5qLd6Ixf05DbRxL3wSEopfmhtUhdnDBjexTa3+D6ykMHd/U5HMOvxA8wt3Uo
CCzQ/mL0dfZsb7iopgWF2Ra0t6AZsYVIQ5XWoND+7ProSUY1hyw4sBovOvgzqUBJg9dOxhbZ+ZBW
rnpya974RpQnY4n40fX68llyb8Q93k8I90jUFx6q77ZnT9GUNReIIOFrFA32fnRtrKXasTe+b1W7
iSAvTSUVqELmuO20EMzEGVjvTcznr4/YOFHQlxCRS6fjZCUuQSAEGdScuacyCx5i6Pn9JaPzYsev
gqt4Ys/7oKj+uTQo7uA8FX/6GaHb84311VL0hdggelKI8rllwrxnwQaHyo6m34x9n7jNFKIrsRhq
UKddZxCOxgGbQpbVf/mX45WuJ6Iea+FInbGNCppEX6ZCyo3u2u4p4dg5JQ28THx/bCjYq7oVMXbc
ODSrsMhwicTlXnbvURO9c0pCtDLlBuVPoSGqH83R2aXdhCHLn7EX82GzF/AzhtoPTFM4m7TfLZcw
HKAdJ0H+3kco14HL0kHnfBo8e+RniBK27WvLQnvrOkj5ncaiM35SN4m0nBc+gBEbjj9JkmmqT6xp
rG2eE4EcHDHv8VTz1bQJU9gjnUNLRXoypPJp1w+9OLq5JqHezbQjsGu8kj95yPI8eMURlG3bqvWP
2FzAO0H22CL3J+QHDN9/DPeEZmyMx76lb16vWpYOeG1YE0guGmZu4n0w+P/i0AwxG9JpWq/7Figr
ElOkaLxdPc4S8TfCsgwTd2CfqmZzURjWY6bALM6x8Ld5R88sjRiMdb123nEevbc3miMNS3+KfDRw
cGwLoTewavWgMVqr4peGOv8cDR4tV1nQzkEZ4l2LvYtuYhQVDBt/1TiZf7GCXygB/VpF8xMgzB6x
4VCMPQfz+rcr/2mnlLtBsMxPXN5uQBEwBVeEqc0BvE0DEN5lAvfHfmlhaG7qjg1lUMhx1yo7P3bY
cs+SyYqCREa3jeZzS+7Nz08ddU/QTYGcpQG5FRO60IFz1d1YYi1vimKEX/yzNBf0ibUvTWrtpUlm
onx4kXAk2n8tgxMTQa79myuRclPIXe6oLT8asfIP5ECSX4mA73wlvKuvsPBpMixnbqUDOYNMn/Fw
wLEiuHJxWdnBDBE+gJDMu7hOntIIOh1ESxS5YTsKsH4YLPeNFTbRSOkiSipfXWTERMkXglyTI+J9
U87dHfhwb98tZQsggn4Av0uJtXHMlZOADOTxh0Qdg2RTr/wPBGocaGm6lZ0BXaM8rJyxZx0DZ0iP
uGdYIhB1Z9kjhk8tpXlxwXTBVkVZemoF/jJ6jr3t0kQglwWPX5fCcqFl8i1gEX7wo4eQQANj3VpJ
Yi+4XFsLB43H/fOGOAiBmHQYxs91U1oZ+TtmPPhoKxZiy1DYtzGpvMekRIy18N0/201DSG0KQxL2
uFrxQ3bo8R47XfbeRK8wfvue41zVSGISSvnnYlbHpAuV1v4faWe220aydOtXOdjXp4Cah4v/huIg
USIlirZk+6Zgt+2a57me/nzl/2A3WSxUQd2N3kADwq5gZkZGZkasWMujm5z3Y7UpS++rykm4CmsS
FaTV1R3+TjJObVSIaICrefCA7+CzAyAhQsk2sLMKAtcOX7QotUq0HXF9sw4aEiTAYdr8jRewtKtp
DacZ2rTtfSZJbBW/5iIs+e29zJkFGFZojwaZbfG+zYAhozQWGOkpaenitUFQEYLIj8lybq7MMGS/
pSbLFiHc41kaDPhaHL0DKX8zSp0oU0coGnsICesW+AAoewE78egt4JLVg3UfdTCKIUO8sjIaYzuX
AC600JSV/NA7PxO01x5MFJA8L39HGkbemWnYnANX0zlIcLtCpoZK8aynjAyTjOnJ6qMsA2jnuJYA
qigV1VSyWKpqZLC9xcmuLxUTScwSgU2T0oBjA5aaFxyfFGhXTFOl31Q1+Oc//yf96/urx832f/4j
/V+Qbogme7AWQ44GTaH+/tHPa4qsWLKmUPjRZHGkZ16pjspDu0tOdEF/cvr0LpG6b/MmpOEbCTyI
Sfzw83/+YyogECzVEnkJUIuRVEO5HgJNWHTc2b1ypEGiA5qlyJ+hjeHyCPTpwQL6syM561Kwh2nF
8WHsczPP2sq95Pye/yWjufzzQ2hI4NbFf2o3cylBdNs4Vacc0zDcI825r+4/bsBSDFmEqJxWY2n4
AReLBTEtPW2dYxwhkNGe4/D47z4/SMZffD5qBHI9wMeOZb0Pw/u4vZv//khy/s/8XP58/fr7CeJY
KK7w82Xe9PVPwfpdZAvuLIt8Y+wMQPXgS1Z1S2YZrm0McFSpg7nqmCKLBLDAEwx6W70KSIkHVTZ6
5o6CNyKJ3O0QeUtA9xZo89g1vJi582pyxkqsLxSwRnLyBUnc1EhRfockvftKUDPh8cs64rpEhWl+
dkbeQ4JBkkxNp65ooQyFP1//ciogfSNkYnEcFJTcQD/LkvHjQyb+dwEuJme0ALbOIRP0gX40jNfg
Ic8/5j+MQBR5QhqiqKqiBP399QgoVDjckCvpWMEdk/jFk+CVC/Fk+MTF8g4mNFGWVY4SNoCljfZ6
pxA/rC4yjqbLa8wqBfdNdEn8ynpdLZi6XQ/RUtlrMslgUwS9ej0aUbGEJkba7hho0DGT11arH2Cf
1YVlnxgR0cvSJM2S6P3QRgG4llMrqqKiPlaUP6LEu6vqdxeC8/mVH1Z2NG9MFpFJ0okc2ti5vAx6
Zg3A1tEG3xUqn7l0bSADoiNwYTiThjRVtSQ8AfnKkYtJgLapxZbNUULb+4FLlgBhhx7c86b6KrH1
1vPjmpo97cLcaPaoUIPR0TGHYg8tD6QTe/JQ2s95K9bU7OmmrGi4nGpKIytyFfMWEs3mWDe8/zwQ
eh28Bqju+N8LGqnILxwo323njU4NTRdlDdeg0U+1zGv/M0yxa+O8xShZxFZ+0XNyEMrLvJEpJ6ch
XAWnrqqKKMnXRthmJYWHtDnysFv1b/StLfjD1CguDYx2kQ6fu4qPN0fxzYX+CeIJHrXzYxhmf+zb
lyaGMV4cWzbA9RDweHN07gGHR8LPu55rbPJj3sqUYxsyr1aRLiNql4OPXFiJSYvaPA+bY1+vBGvX
Uqbego6ZNzI5W2wdQ9Et1TSU0Zo7hlEVUE3VR7ew6EED1EteQdV/zVuRRofkEEUtohr4PGKCSZS7
Hote0uUZSFF9jAs25tbjoVPfNy79zeFjAKGm9dY5u3mbU452aXI0Mo8qbqo4CUIRByXZNPHHbkY3
IxqtDsgcH3wDE1c4p7J/hvz04z+fW6yGejoxWrTk6xlLzUSWXBpuj6k5yD6uK+iD5i1MLT0URqpq
InLJdhz+fuFfuY6CJC3SFZ0Hn2VHX4f1N7gc521MLYKlaNz2NUvHj0ebkXQnYhBoGB8Lkh7GnZoK
C8fM5CB03RSpqojazTFTNnYRyYZYHyN5b9cPgUUG+R84knVhYnTAVDlMKn4l1cey2NfQ5H14BNKf
m4XC7QLOcGU0RWktBqYP2uEIN90+LYsDPUNx/+ExSCLLgB8phmHdnPkwNXgStfj2iHKgj45xv3B0
DPv3OiLyfRC8ksENWNX00SCkpqM6osbtUa3tda3/rryfYND3tloPCnD7eaeaNGZoumnJKjhEa/j7
heOSPhY80YnaoyXBN9sdoE0DRAZ3GQhBsfgHM8czT+U85KLMi/LaWApliUWo747O91S5N82FiZuI
jJKoWbKkaRpPAK7z19+X6ScKg5ycQqWJLyD/kNcwSXia8msNRwHIHwuYQ3AWamdfKs3n+Zm83T0S
bwtDUkmADA/yURBr0SREFaaqjpUkv4Wp+Ck1/F9KYS8M8jYKXJlRhtPhYsFoRu8pkDTVsYmM32KX
vw+Zs/mRDJtw5IC8xdHY4n/c1sc+EUh0rftaVh2d/hspDFj6rHXdUUsT1PU/sGQRzfBzUUXl9now
TmEi2Gqm1TFQukeDZP5draH9kw+M923xNG/sz0VvPC5OAB3eGtHiLBgFaZuOyEwBIXhMkybZYgkl
J2A3JyhVjEerASFY6eKdGjxHA/dIbsbO3te19EFW8+DcRXm7cWX0J9KUpjYYLhCuqevyYf5HTuxH
3l5//8ZhbS6Xt0+kMK7r4phTsaMDrl+FTbzvAWDSG/7eRelm3t7UWoPZs2RFUUgi6SOv1eDMqbW8
K44OnUkr2RHu5azetI0Oj5e+sNp/Hl3jBTDEgRSE68vQknc9uLzSYjFL0uIoyb/65pcnfDGUz3X3
IkEaHMMvvBcDdA7ISOfZz1ZZeN9Ozeyl8WFjXcxsDoLPcqusOBYQEt0pcvM9M5rPbQAShBape6W2
f81P7Z/r9+1wCUQGjzZO1ZF3t0FvhrlSFMdQpMOAioV0T5+btg4B49K7WPmPaQj2EdQepYGc6qiV
O/QYge2AoUfRFlZ68O6bX8PlVCKJQggeP4PKDGxRDQ/Bkc5u+pJT4RmV3l+tmy+cwVMeRZbiv3ZG
d8XWE0l90WZxjLMDVVbEL+jYDuG6op9+foKHFbsdERduTSRrT/rlekVN6n5klvPyWCH09APoAY33
ILJ+zluZnDeZt5xu6Tz15dEq6nWBFAFYfOQEspcu7u4NBJi9wn2eNyNN2YHCVxwOfVUnn3s9GmRC
FTeUleKo9nW/sYCPIBCqlbBrCHB4cOuHPg/iakdJw091HEagZIx+LdQ5KIkB/5pRIFlBSVTuo0qs
Pr6olGVMHc8hfN5cEyRXbcsOqOwxhuuRKvhKgTlb3tfa+/wsTCyprli8bGjwV0TyUKNJ0LrM9mrs
1OJ7G/2S4CacNzB1R7iyMLojdADf/CaMiqPVbpFIXhkJOlpQeFnFOYeVt27eeLuvdEr184Ynws+V
3VHsi+jXjiIdu0X6lsEHgzq4bt8Xwatvv33ckirK8MMp3OtuQ7odx1YxBDot+J4MvAHHOv5V8Ibv
X+cNTS3WhSFjdBWB9IoSU1dxVslPSFZ623/3+ZEvWHQA+KrNOGBHWakWBNio0c+bmPSGyyGMvMEr
0ghZsOFQSI8dZ/ugCtlowTYq32gLW+MpqM/4285YmLqJza7DZKcqFpELDOIodCH2KFSa6RZHhfIk
9U1QRBkCYk+OAufU/BinTGmaghwk1zli2GgaQdmC6JTITFtIMhiueu/aT7m2cLguGRnNYxw1tH06
TXG0Sxi2o/fC+A752sJqTW2hy5GMtpBuFBY09dyNXPPBAeYq6veq/FlTPqnWen7OliyNYnHWUTel
+lcce5gTjTte2oV25xQHv1yI+lNb6HJIIz+AVUaQXbEvjrAuPIqUc41A+TE/lonzWL80Mfz94t7T
hnC/KQKzpvMWcuIfHlhqOd8F3cL1enIohkH+gxQ/Boc5vbAjl5kBEx9bKfA7be/ogBNaoU8286OZ
WhnSd4Zs6oo2lIOurUSBaUPZPdxXw8h6relAvMsDsEQC8XBdenG2L+s+f583OjWFl0ZH3u02vouc
I1uIxk6/+e0qnxzxSYg/z1uZGBpNawZZapnznzfy9dBoGTId0yFLhTBwf5L7rEWQjx4bGKx4f5ld
efKtSluIDlOXVIN7DeJpJmklcuTXVmvoGJNOwj164aQX32G2eMzp4K8iGraggs30eq25kJr5B8im
6QhZeO9MBA5TMSk3mKwoJ9bIa5IKaVc6Z/NjgSorbW20Sr/JyoKRiZnFCP9yKqraTY25AIyYRVmU
H13J2ntI60ZpDtmNuKrDfYok3Pw6jkvaXG4lUyWBRpJOHKo2oylVoUNGYmHon4j8Ezyl4Dr9fFe7
wXetoLsIhTIPniz1c0Tj1UBr3kaZ//Gzc8hBqMMzntv22JeAa9sADa2MYrb/zcq+eigELgxzuMeP
bt+XJrTR6c8DxUl08KvHQLonr3rwAU/42VnuaZ3Ry1dVXVjEKU9RzT9LSO+RND4yFWC1iqOq2dGL
0+961X6uq+IstFzf5pdvYrOz9/g+13BL5yJ6vSGqVpPzHtjYUfJp0GoPUfWpKk+693XezES4NMmu
cM0F9UDGeBSWawu0l+Hk2dE+gfI1w8P856dGwRtvuP7p6i2sAkHBhpWAvASMVpM9osFbGCCmFqLx
xJoAZJD14bWn63RNXs+VElup2EWQIUUhIDYB7qaq3AEgXDAz4Wo8ikwscaNlA4/MhLFBlwZMHxTT
2l/0zX21S+tnWZlPEbJyg/onKkL8aSE03lodytQUjRSZygGb+npwnlHSipV2IgBKFLp6dE/WGY1H
uoP0hAw7cWc3wGS7pezbrWMMZknAk5OhGX18qw7bvoFQMBSPqbRWP9fSbt4x/kzW9b69/v5oWDws
Ob9Tvh9ReFvpArCezrXRNWnDowN+NohUiF3Kv2Qv+cKL5nue99tUIEkzKOQKg5wlkLVt25loryCQ
4MqnQlHpJVDuoQQ8pbXFXpGLQ9hn9KAr1WexST+1yNpBl7ZLwA7SR3EO4hQFPjQsLKelM5YeBxnO
jEp/yxNjz1sbrHdSvsW5fg+UDVUC5Y6OvcegrnecnAsZ8DHohHANskkDs0HajUg5rqtYsW768Now
4akbPPeBWe2RWJEPcSvV9w6CW6+erdKwlINFfrZU8S9BKPNz5wwsxXq1s/VD/61xK0hBBM8MDpat
xwNS7a88zYf+g6pb2A23DvLnZ3JT0AwqNeO0kqBWiaGGkX7ozC+5+cVZzzuI9GfXXnuITgkISjRy
siIXudGZbGQQVyNvTO+BqUOb6Zkbze++FBXkUFKz6QXaLyRgjRm9ZHqsbHU12mu54q3LjHZor/ze
KeiktKW/1nL7JBjmA2It93GcP/A5VFo7IKUJcFQAlnmHzFlp9Z9jM6jW4NnhMDOdZ+Qug73l9dpK
C9VfMmqaTiJT4aZTBN29pyiETyvJncc2yQ+0oJE1htoVot6N7KPzonQgaAGJ3sW2X4Cr9gaRj1iH
v6vZtan5HvulD5yoPbptTF+qVGwEKXyUh8sH3Ii06LgAY+lMKB4yr0OPGGQp1E5hs4F2Y5C5DtYo
sP82U/+uhScXNfg7v4c5sRSylVEDWkT7i/6Uziu3ULR4MDG74dcWzV6and89zVo3MWSLafasIWOk
+f5aUdzXsnQfWuSZ1NJ6tGnJ9fxir+jKu2FpD66qA35X11mIoFDRr5G72cIUfIjghPGT7JNh58gu
Ok+9G24TclN9+TWBU7QptA2MkQfXM4nLUA3Qs/kSO909xFOfJHpkQ7embmzRpxX0+pOT00LlZc13
NRbfEwX2REFAP1LeZA2tcmV4hJ3LReIUftrabDeyiyeYyJR72g9b6veiQwd9jAATbcpIgrYdigNA
nmH1Erxjr/hkHBv/1WtpISzVH0KsQWoZ0EzbDtxETRN/Uxwj32eATFHlQZMYbvEU9izUwYIqVHdQ
nz+oaHesix7+UBcuCBiI7O++5+ZocoA+NjJQ/qrRrE2VxHxAeyeUE+m3tozMrW5rj/N7ZGILSiL8
+7IhgZaifHF9NEQxNFRFUGsHVbC+IZX67tYLm/xPuWi0CS9N/MlcXDyneMmEJTwV2kG0CvFoq7Kz
TXhlv3dCgjiAEVjEJg3xLXFrk8Du1s91Lj+Ini8ib/mbTnTUc9cVKF27/ZVlkAN52iGpCqqiSgab
rpi3UJDAwtdBax8hPJlHdf8W+FLxFKB4sHDm3F5GSGxqAFQg8yPpMQbDePDRAY2Q2gNyDndFeyw8
yivp2XTchVkbLgLXk3ZtaLQuiTx0aCg9l7b+PhF+URlzP57puDQBTOp66SutqQWe0O2Bnu3e/4S+
R1Z+OJlybWJ0QqcxXI60rbSHAJHpepcI38Sl66E5/MzrmdIlnimayIPdMCjyXQ/DS8LUNuFlRRfS
oPs97POdbEJPBKZTcmlJ9ix0NiFW7EWaSi3Jk7dy2pfrXBT+kotuk4J2Rjw82jgVJM01cvCGpQ+H
40MtBK+CHqNcl689O0Y+CwoMIqzjPvll0N91bQnpVoHSb9Bnn9uELgddoNPCFr6KWXqCFAlmqgb5
WOUkdPFL56hPXtMEhxZ25ZWRdq+6FW9qZDxlDgBkrb7QZvKNtp33EIYmuJpS6U7K4dPUrfZ77Nff
EIF4kuHlRSFvDUHLwQjTB6fpafWAIsaEjbYrvW8Ub7jKaNqTR3GPlnAozENZfipd1BQLeIU7jbMs
u1Nrhe4I6ENcWNdLsGNuLT2yNe89vz9LoYL8s29BuGuc58PN7fuVxQIIIFKkowIxLsgi1pbTYFLr
B62kSTw1hgaIqnuFX+w1gUnK1vWFN9Dt1ZcnuU6NDjpljhhZvvYO2PiTqA566WD1cRhDFGja+y5u
y3MTWNnK8TybnYWSxiEuumQ7P1h9+Pi1axKjdQlEG1V88Dqj64cpU74wkGQ7uIlpPdFQkX02ojJ6
qMoMHRGyS7u6qt3P1DQh5mkE/UcI8GoPwEc+xY6o7D20JfaaUJhvYSJqT7lXwnBMOk+l14Y2yqLN
oGXTYds6IyOPApmj/Uhy2TlXXYLEs5wWzgviXfUrL3xU9OiBdOGIUsQ3OVXEv+hvSPGDkmOYffAi
wWIHKkPUv9qiVm4ttFhgcpMJQJ0Qk2bLmicDSukntYAjI0OD8CAgbrAmxVzed1IG+XQFw4yeSd5j
VdCH2CLp8VLUdvfJtvXmcx2nRGzuwb8kuSi2JZ5552majRC5qwvRnTVwCvt2nW8SoKHIi8VLOdch
DowWgwBBXojYjfbOuGoY+HSAWKCbDshUfslld5PR0mRmMMcTJSIINPrGfvXoBJ93ggkH1Hn98HAV
JZV02BDoL04/szCQ1ZW95pAA4qnQVPI+u+XD0OJa0lCWaN/nzU0cUGSF8Dcyijxox5VE3itmbVZd
x7kBH81zHT34yqO6FNdvbw2Ugom4gPaGyDsGiWVGnaWOGXcHPzt18fPH4YdAXjRAQ6okGuyeUeKi
qb2gzESOjciCUCYLVHhhK+dd1LN2ITxMTRdHFG0MFLWBV48OKMVHJ751lBbxkbMp0+EP48RjswRH
W7IyCkJ4hZQ2w14yIIcVimAXKl/LIe2vfZ5f/YlbA7i9v4czmjghc6EbFDEkJr95QMTJoyi+/zsT
g2tc+HMrm60W0Dt5QJjYaQ+05QrNQsbn9pBg+Ycn7AB6H6Ch1ybKQLWlMhqmqyC8BWuILLPyrgBp
4O3mBzOxMHQE0Q809AbJQMeuLaVSW6HaJNWHQDPqn14k9rsAGaRnz4cNVaK6G33c34YWJCrQvJ04
CUdDC5OExuFUrw8OTWAFmnEqw4pBLtjQWsyPbWIWAY+B25ZJSUMAPoz9YqFErUfxi5PuUBfI6UF9
2O/iNM1+Rq7VnpVS9O+MtoH2cN7qRGSgd2TI1tFGQpAdDVCx26DKhLA+aGqeIUUoitva6ISFdZvw
cw3spUTTFa97OiOux6YpeQXnZ1ofpCbvXjJ4IcnnONKmgzJvIX7/wQ2Nzg0qjhRqhsoCaLKRjwSi
5NCkE9QHt6/9Yw1P50rSA+G50rPiha5l5S/k1PqDYWjOMe974TtKK969Cqk5cLMo/gprire3ObVR
l3AR2C3BoAlh5b9atcVzPJFsEkmwjClx368QL4Pmz4FHYBNahgkXEvRBNNlb2ypL4HhCf27dQGYF
lcogIQgpAF2dDoKRbfFXSVMqaEeaBfUKbdeuhZdabHlt1imi5go08QrnNJITLSoeIcy+ZuBxC0ER
B7zfXeprzlZtNWoXkOk8eEpJ5O1d6ChpKHyoYppBdV8N3+VI+SW1pfbLanv6s9NyYHaVKppaG3vj
uWW28+MseBbjCs2bilrJL1DwwiE0SwgjFYmmW1hQiuZU+jZt1/PON9rOw6lO+wPZbpLQtL2NC8Sp
GMqwMybCqXe/B926CjYQMgbdwpN5ycoomquZ1geDytmpscwzTavJWXehPINVXniC2ELZzg9qtKMo
ezAc+KzBtJqWwml47euBCP2N4hnZiTZsGto7+2M79ub7o4COlm4kZaKVnbJv8Baq7r/8+aP7Twp7
F9kOfr7abYxwl9gL+/NPFeNif978/mG5LuIcepsGlT87O1n9i/lmSSenfmpIu7aIOt7V0L8k2wJB
i/deeP13CzMKdaUGt09aqdmJ/YHcX1otjGxp4Yeb5cXA0jRqXJIRLAzKA0ivfrCX4GbiRoGtQ+5b
EHtWJu7pInolafav5mdcVjMs6AGSku87dHdJKmqWHzsF/v8ADLoUkZaWIPu6nqDCKdu00pFzNc1z
RrBTd1Lx1/wYhjW8da7/mhjnriCgq6HadfJTrbYbGIlXVQXBgPkuQP8fw+cxb210rI0H9Kcce7Hi
JkTdqNOwFZGOQiemKR7yJZzykgn5es4SJSQTOex26IVjhFOhoO//kd/+PWejgCX5uSNBm5+deNEl
NWnThVma3hd/f3/4+8Us2ZKjxRB9Z6cGmgc0Xc//bhFGAUsSIBAJepa8D++8Co7OVVP+yxGMQlYT
RKHuhWZ2yiFcIDotLMDwf79xWnpryBuQeNXGvY8pd13IP4v81EbFToCnwvfvapg87O40P1WTK3Fh
aBQBgbxHMNrn+cmCxFKHcMi5nzcw6a1UyiXur/RRjyvYkQF1qVT4+QkNmrUBlF3PniNj4bmxZGTk
T6aNKpses+C652zhiz3Tc73OunihOjcZSqj9mqDFZYVy/LXbVlFfq52oEK12EPijv/KidFQ7XuZn
bHLtLWpeioRKNmjiaytaXQgmZUCOW2nv24/Kb1Kd+pd5G1PLrlDwN1QKu8PN+NpGJGdlaSt1TkXs
UJvbFCHAf2dgdPLpMJDmvY4Bq7irsm9etpQLmpolILkDXlImHTR+hkUa0gAyOmin6HvRbJJ2B29a
mizAyKb8CjwEzScDUN0cT5MdlnZfO2V60qsnIfzS5kcqv/MTNUzEeKerMjACepFMWqpHscq0QtOp
owBO4lb7JFvZkyCaR02L1oHj7BEz6leq3C6hgqaW/9LoKHrB01Zn0FqlJ834ayVbP+aHNLk0F0Ma
OVcH1WQT1WF6gmJOdx5sD66qdVktoBUnrQBbVaiZA1odc3XEjulzM3XIXlH3ezbdv9TgSy8vnCST
E6XTS2mRI7stb8siXHMpci0nPdgjZ6svLP6kf118Xr7ehr1Z1B1ygCw+vLS+fOKwqsTt/GpMOpjO
Uxsvpgl7XFzpozTxZbVNTw6Mmy2lFVOyV6AjVloArdW9pvyjKfuvvfGdESEGPewC7IVcS6L+3MFA
PD+iMVD6zyULmhYAesCJiJGjPWOUUS+XlZ2ccgPS5Z1rPWjmtoCIp0ZcdhP9kMr1vMXJdbowONov
nptEepRjsOS57z+74l2U3M+bmHRnGsGG7hygh+OHr0bfk4FccnISxJXUyqsw+5lpxsp4mDcz6Q0X
ZkYex7bXeiPCDFLFKxfyvnyHxnen+Osa3kgHw/P2po5MOmJEmoFZJ/LB1x6eIVmM3qGbnor4JbB/
RvYmMCij0JO8MH9TO/XC0LgVERJLFKpMDJm/veRJUT9WBv3jciBQaFXS4CKj5/16HCJs65LkEDFN
ZWvqKHqsHGVhBLceAMERVSadhJg+dAVem4Dh26D1vE5OUv/UmW8BpZighgzZ2Xx0SchfStwsSbUM
VbxReAal0GvAMeNT6j9Dlqymzprz5q7yvmbp0ik9/Obr0+3a1mjacqTVPTT14lPXfo2d35YCPyBy
OxJ8/2GE0N0jknTzo5uaRVMxaOqjdsIABz+5eFqoFdx5GTpuJ7RDS0iAkyN0nKg7zVsZfvdoXCq1
E96sIh2jNzCtSkJuRvOE+KQqew0+QW9TfOms+1C+z5qf86YmsiM4w4Wt0YicEtzRwBl5SppsE6I8
XPUnVS1WvvELedK7SoDmHnGF5qdlnVu6RdolPoHbrcUPMA3a2EVZ4j0yin6OnUQWooUQe+0NiCyX
CBcmVuzq8yN/tJS0yBWKvCcxfQKhJPo7wdmn+sKt+jaEXw9i5IkmLBam2WAli/aOu+7Vh0r9Pr9S
EwPR4FvgUs1dDq2P0QYOW2i9UUyKTz/C5FvtUBWwoGlczxsZY+SJRBq68jJXnuFJdYPM9x2tUwuU
70/Bd2P1CxJVz3gxwz3RuxL2anVE28m13uaN3kbxK5vjMx09KSWqYzM+GU61QTszSK2NA7d0mJxt
68N3omtbo0eWb1u0zruEJxNG9iYwVmqX3Undl38wIqqsQCz/ML6N3CHuDWjZNTaVbL0V0RqqdKG2
7ioNwar+x7ypP9eRUbCgS1EBwohvgOEdXVeQRTUasWREcG0aj+Ep2IJT/K2V6/DuU6Z+0hSbyvtn
V3to0V70SOa3Kqrzz1ZyoMLk2TAfP4fds98CAdzO/7SbnQ0pFYUREN8K5xr/XgfLNsxKQXAt+ZVH
JwX1z0jn/v53FkbBq/yvBajSYuvlX359NLM17P6i6/P7cwlFsmAtwDw5//v1caAfzdDw94vjJLd1
yO0BZr8aKBQkoE0QY3sMlvb0pBU4dMB3E14pLV5bqUGw6n4RKq9wMaONpsX3sl0jeYdabtX8Jcio
DTrFSW7DbxCWbFstO8PF/uL44U43oQKuIyhmoYjdzY/91jt0oJvgrigFknAav34DYBwwnKTuubLe
df2zv5BNWfr8aNBqH5RBg3bEOdc3erRdap2Y+LzMBYCul6EF7KZVOgu8FDkwDbb3/r5qd/5SH8D0
98kJwEkBkHCcgPBiCKZtQQJwgsL7SjcXbhhTn5chX+BAobp9Sx8SZ1JqiIXxmheH/DFxF6Ls1OdB
tKi0OQ2l8zGLW6AqviN1rf1aOftum7cfX1tu+wOtHghXIt/oKJTSREt96rlnXYHIgY3z4Y3Pa4LK
49CUQPBSRt9XXBXhOsEQXj0BHvfkUyYsZBSn5ufCgDpCVraVLnVxbqJcBR+1Awxj4Zp6cx0B6qhD
0GJJEuQfN0k+tPfIMZaJc7YqXl+rDl7xJY6FqSGAyweDMfAR0MN3HVRSMfV7P0V8q3B+Wge5XCoO
3QYtHkKKjm9y3aaNY3RQa0JZCh36GmciUOdsgwxV43tL/rijXlmRr0chCV1e5orinb14U3ZwbX98
n119f3QEQg6LFnLN98v8ofQeoIn/cBC9+v5oFfjlXG09FXzfm+FuzWwhRk8sAscFMBbepiBazVEQ
9TSTJudWCc9JvJb1VfjIC0vwFhIuN9c/XBSYBs9SlWwrhq7XoMjyEGkgjIgVFBDoKcRPCLPlpNr9
hdma2BbsCMBU1IYkAHCjAz3yqtRAha44R+aRd2Ig0Gu/kDccfuzVbYwutEsTw4xenOhZ4vqcxFlx
DlC83LYxyiCm02UHCKjFFyuozkWheZ90FVVx2Y4guJ/3hynzvA8g7ZIlHRjRaIQIxriIcsv5OaTJ
4C7v84SWIkc7prJRPvupVu3E3vPRBxO1h4Jb90JGeyIoAK742/xo9DH93aIqSPl5m7VfAuHL/OAG
bxvPrco/PL8tkfT7aDNpWat1cqnk51Z6y/szkK9OQtezfrDMaiM4D/PWppxFNWil5f5F1mRcWjIR
T0N0yczPVYiAJaItmfYLCoOFBZtwfko+A2PBcA2iYeDaX8IyRq0+0fKznT/ZtbeGCaSBu9OqNnDU
zw9oanGGPireCTJZoDHyChmiLDObNj8jZf6a686+0ZSFc21qzmhbBC0JIEWXxnOWx17bw0qXn5E3
rF9tOuZeAqmkRcoXxIUjbsoZhq6UAdcvkQEcnQ8OWgqiryTlGVXKBDWaLyjj3jd6gbwFyoWhIT3T
x76Zn8E/vNVjDxy4Nbn3/QmIo9VSnLhCmRKjEcJDq7TRty46IeHvXna3DvZBa783fvXSIJVcWxsp
9e4jS6Vt4oOkGlybdYgB/vtDxrCDMmtAaPX8kNKrVnp96qijJ9n7/HCngsmlkdEUZ1VaBKmfl+eq
XPdwKHV7zUBGR1nZ4tl3aYJd2N9TDsqjmf0G8h9U/Ch40W6mBWnHoEQkuHI4AGx74ahZsjCKT0Zs
15IaxeU5z+DP7qGYXLX2wja7rR8Ma8PVdyA2BBM4rrCCExQbVeuKcyG8oIuV9EgKSC90pktKfK9C
hAMmX0K/9B8s1oXVYb9cHDy2UURx3PXFOWxRO60fYvXNbvZi/xA06HRU4SpDImre5Lj7/3+9EPgt
FwO6lW8IFWx0T60CSN85Dou1KD1EzVfXfkntXeZsIpcGSXTshF+opy6MdXIZL+wOf78Yq+N1nZQ6
HnZd9VkOind7sRlgKpJRLoHLjMZTeshGO90FjN8IqV2cFd4v+iFyd6W8XZi+4by6iSbD5JkG5d8b
llPbRDHWI6Kcy6hG2MS682koLl7k6olWlTup+J0YPyTnWag/u+kx+jDuDjcFOAGqHeAEMgOj3eZE
gtVnCnuha9eQaCHqOz+8qUW6/P5or5l+16DvzfeRfUTHSq0WHoFTB8Dl94eT9cIJUJwKQgiLiE4d
mWtUkpM1ZFPZCu658i4ahBTdsHPPQo/Wx78b2WirqW6TIUvKyBIAub1W08H9MG9hmJuxZ7AwvHvI
ioPXH3mf1KFrH0UpnqHfW/qbWXDFOXnSz3krtysEAz4vOEPVuH3fkDj7JX7R+WpxlraCgvC83Kzn
DdxuosEAnVVw4Q+H9MjFegMq0jarMdCiqbSTxXzFvfcf2BiSWjIgB9hIh0FeuIHahG0gu05xbuJd
FmxCedcsVYRvV4Nh8Ejh0sm7Gv7OaxM07tu1KmAiAXFQrkWH03ATBAt3p8nVuLAy2i+0MwBaV4X8
HKlffOXZijbzE3V7mjMKi4488X9najSKqlW4PqcaB0T2hSodt5cdXf4AyJ+i4r7Ljqa0dF0avnjt
xTyzhkYqkCfEmnEMpRxCJV02i3OHhK6gbJFR57a+cKQvGLFGqRSpVtqiC43i7KbPvbaz6nUhvc7P
3G2kGcYBWpyUFuQ941yc7fsZqkfsd488frnR8rsa8Rx/3cCYlS5Etenh/G1rFFvE1nTDPI+4oZQ7
Q6aQtPXNhV15++S4Hs4ouPi+CDCflutz3JV3fokioEEhSZNXcmmt8nzpSTpxS7iyp49WqPVq2YFh
rjy7zqtNtPSEvZg6q0Jal+a9gScK4WPW7ltpYUNNbduLZRtjHnw7a/mH66QiPdXBs+ysVWtXLoGw
l6zI18Gh1qocyUescNtr/a+O/+Tmr5xF8y644BZjouy0lL3KcrDiCujUrRXzDnr3eRNT8edyuoa/
XwTSVs8Q6O5wCxPB9WZVyAtDWPr+MMSL7+dVW/Z2kTGE9r2170RxoQQ7+f0BeCCD2VFuIC5JoiZi
2LBzmgxV9eTYFz//wQRBHU4ijMIEtMrXAxB8VxGbTCF75L+7Wz99+wefVwY1Gjr3eT2Msht5K/pV
3UjFWW1XSnYnLwSxyem5+Pzw94vpVyl7mn3L50VZ2JCJrKLt/O+f3Aj0T1Pp5rS8eZCjOgrDgmTn
Z8NP9nH/lpN7ItuwqfIl2MdkABsy9DyBeYqPz+PKFDOBFieuFQ2CaroDRUgSrnK5jVZlhVpt2N/P
D23iSUcIsxgW+nEIa4xPsqD0SXfran6uQ+2hU5s7v6vhqN0pxj4wDk3EjNbCyhAW7E5OKeUNcq/D
U+QGiYbAo1PZZPOaIEcX3VypKGFEX01t4bo5FV2G0uBAVE8ta+zZTuN7nR5HJC0DXvoqbVqB/BC0
S7RmUy4oG0A3efJM0AsLplahMauUZ93orTutb3b/j7Tr2pEcR7ZfJECe0quUrmxXlirbvQjTToai
vP/6e9izu61k6iaR1QsMsIPCKDLIYDAY5pwsmV2JG1szjqUQwR+XptK3Sma2QYWkYKfvJtD8NtWX
ot+VMvjny94Z5JGXssQjSyowRKcEsvKXOHwbGrAQJrtJzT1FDVTyiPRPi3/PgL43h5uESS649fXE
DDQqVSjmiXGJ3qO2CkzkNrDASTg33ZMZ9l+uW/6aCAPsDHxKADwvYgRvNIVGDVAHBUjreS+hJRsx
WrPw5ff53xdeKR6AN9WY+D4xYj+zZ0+pnkm3zY39dT3WLBy9aHgkIADGTLqwU1lFHJDEFl2Alt/D
DOgegG74WTfsrotZVcfCI4QXPV084M7VUacGCJZKDnVs3YvsnTv5uu41yNFdl7MSkcIPoS5DcNcB
ukJQpx9GI4pidQwKs/TtFvhE2t1Q3ZHkWa83lSwmXTECTCTgfYhEtY4wXggYlXQc0pK1U2BHP1q/
zv+5rszKooG+BA3joGPh0B+CMjU4Z3srJiMc96YfduBCbOc93Ol1Kb/TbsJrBGKQ9AAIDDZIFRwD
UzuSKf2MNVNqYHqf0N+9ya1XhR5NEP1FO6uIfXTdeWVK/GIqNnkNggQQcQJN1twY4OW8/ntWtTbB
eWLiEsMTXIiKC1Mt7KpNpqBje5Dp0gEtFvfp1+tCVnduIUS0R2r22qCmExwU807F/I7HNzhO/igh
rGnSI+1iRfkUpM3dEPmojhiZ5OTK1kmwDnAYtxb4t6FC+h1syM6jAsgwQMP83ULxhVz4oXRUprkC
2G4QN4cR+drmeP37Mi2E4NdsRy1q0bkepN092EvD/ml2H12y/Tsp/FcstLAnapA0oVOQWA92rPgW
cISYe2/Kai/rZoXTipABbIDirVDoQG1R42IKGpCaE1+/vXEM7Qnmn+8LeqCnQUucAWalzbsRYIuZ
5KmwchucfZ/HEIt1CjOHoemgnoKIEw+AWd0ry931rVgVATxaoDjwagARNtwAunEWd+EY2CCALreY
N7Y1yW6v7sJChLBKlVFjfI9FUwC0X3vw5+r1ugqy7wurFNcGteIBKridT/oNzt31768tEfpYge2H
hlZcycL31RG1wr7V58CyX1P1+1T24CmU9Hfwb4hOH4itBpoYcEuikep8p6fJGvMxKdUATa2eogcR
5hLS9EDIfdKPki1fWy8LW42WLV4uFsE1taaMWTG0Kp4lD40KHPV+kniptXcIp8xB2xNqf+QCaqJW
57GI8EYJIrPYTzjlOdVUz2oNPyXJB5LOAAdvvnWJdT+nsoa6tZgDemGEAKSvwCMXLLq1rDaq0N0Q
uA3v0nbSex0jZObOBQn9zZADhOCQq4gMMdjB5xXOt40lwzQj46oHnaluOvQq1unmuvHxjRcNYylB
MIxmbvuwJJAwDJvoOd2NvyL2DvtGTR8o57A82Llwcw1Tzma7MLVAZRuwmeT0kMrGX9dMzsGDFCU4
FKkuR5XC0BxnK56DAmi9jKL2TSRKrEqALaPcjSnCiwkbJVXKeGbFHLRO4sVt6v24vg9rTgDVJwuJ
A4RB0OJ8pydAybWmitjSatOtxp7CVNkqN0/vwJyWQriSC3+fABTd1NpyCubQCw1P17fXlVhbpOX3
BXNtswn40y6UMKJ9q/qjtbn+/TVjXX5fMNZs0kMrzXFfuXgeaSWG63QgabNtaUjc5boiaPhCNRLP
GLHpztBDIBTTfgpoCkgJHSizMjSOFVWQnEPfoKahrHWRSUGMNZLBGAakoehOK9Qnox28bLS2aE2R
PI/XnueY0OHwYHzK/SJ9wlhsZJZRDcEYNvlGdUfNK4rB9MzcUbe5zhLf6PXGJ0rd7iqzdI/Apave
dDtXDiPy4f4ERm0Z5PWq/ovfJGzlZKnohWnxm6o88Vv2o1deK/3ZUSVvqrWb4kx34XJNRoUBIK0e
AoPl3kiPanoClqE3li+Vc+wBlN6eTFvWzHQ5PQJ8TbyykYTl0/gXNWVLQ+61plEfUMMETCZKirWH
+XKwmZfjnkSZN6eur+Zv5vxSG6Xkdly564ExDzfigM0PP0JwJYqbDa7ikC7Q3H9SEESh6y53toA4
Cy1JkWZ1EzHZgdIs4gqEF+f+pBkp6KqMvA9m/VfmNB7viSkn4qXlzf10wCsFpCJ6PHFZ4cl/LijN
mrmztK4PhnqnMC+eJY5rxfuiwRbXk8NpPi/SIsSoFKcYxyHo6s5HyLyftdqvDVk5e00MJ1lF9ID0
y0XooBoTKyqzGoOEbVhyaMxXTTYXLBMhnKu6TiimhyBidL1E9RXtnsgyCDIRwpECFODUjDNEGMpu
Sh4wCKfJTHjF/yINAq/IE76AHBT2O2ZzAdb4ZgyASqRuHBnMoOTzv53G4h6MdQIwegOfHz465nNL
b39WLX+9iE5j2i0bQ/hQ3OXbVHnIASAz3J4RPxOhnx8ItYh6DHxiD6KPdevNBeB2vFw2MCNbJuF4
z3MLVrG4HoOObIY0hdP6ef0+lwngf1/sQ6LFTU/4eTDHr8q3LP/1js/zpnmk7NDfI7qnGDhvTlPg
VCu5l3UY5QTL+N9JEBTQzSpSmxwSktLX7wy6fc/n+TsDTxyedDxfHzbpZj7HzRCUc+WrCfNltaq1
qwKdsP8VQIRzVjlZ75ghbkeHPGeZP6L7JZrZRhm9wpE0hK9GIRxsDmNCAKJCX/a5MsWYzu7cTl2Q
1YFmbaP+zkhPbrnvAbpMjG2r7yPA5AJ/d8DwbUo+Xl/KlVcbD4DgfIH1giY9QdMyMnIg/iZVoGeT
5/YVwPs6n7tJkKiXEbIGsr1bWVpkNOHBfjMb6mL3oz2lLYdaLgONFV4THsz4SalHr65ij9qyQWn+
64VX3Jkwrv3iIFWOEQIOxCkDE+/6Ir/vu53SHKPsBwVoMjU8ezT829dzqZ6wnhlCnC5OwjII8+xz
08IBxfqubaZ7sEl6lTJ5+jwE10WueAvkj3g3P0D+8JAUDChp3ModVa0Mct2bfhSSr6/EMmdfF86a
0St63hF8vf+QjR8ncqfRvSvj+1rrATmTIrjUZnBzszYgZZoOA009M/nURMmmc3/V6KF2XU8Z92Fz
35jZ7Z7qTLDgqax6dJg9QnCJWXak+t5xpZ59nwcNCwtUmqZiM4bpAjQdABATQCvXN38l6ACHOOJa
RAVwh2ImJIxZ36KqXgSW8yWpHnXnvqbfrotYsy9MASJyVvlkjIhtkbU9ScDHWgbZozJvLBm3kOzz
gvmqJMWQEticA3Xy+v5z38mKEKsCLIw0oKiD6RNbCP26AThOimIUwWQ+u81LWMsg4tdcGpA1gZOL
Nw3wuQQN8qkxegtPmSApiocxSXctp9+1Sg+k3lu9HCSP8LUTyXsNgKNiomFD9KDITefgSMGcRu+8
KiDpZAXoLdSASN4WK5YFYG7kdXT0NmDCRbDcLFHKqGzyKkh+AUyg+Y7Rrut2tXL1YOobFwGHxdUv
2MWQYZuVds6qIEsp9WrFvC8GCozEbjeAxaQuWwxg3QwmgQ6NpUzhuFMQ/7mhw6qgYj9DRdnE0TtS
k2cShGVjGglzfYBWJYBWHbajjmxmcMXcziQI9swGpwBSC3SgdePFya4DaG+9x8AAsT9d36E1E0B2
lU8E4bq+YMZoHAUIz2FUBRbAzdunKvQ6a39dxFoiAsAz/5MhgjuMSl8N4LYtg7q5a5vYt5RT5nae
a7+Y4QfWv6TVi6XLbukVlwBkGLyagfPrIPkj3NJq0dt0JjriAgfkOXtDhtgk+b7YdJq0Ohxaje9n
zpNpbJrx5/VVW3EBy9/vCh4n7pNaA/laGcQtL1DpzobSRyzW30nRz++uKO6LIUoMSGF+E9+Z+iZs
/dCWJEtkayVc/VRXwObkQJe+bz9XRvEYlqnkVSgTwf++uIRRva3+Xa4y3oK9Nmn9v1so4cwnit2Y
hYGFmhvUjbZKdR8p3iw7jTIthHMfhmGrViqkkGjPKUnLzXUtZN/nfmexSl3R6Woe8VAIT09MGEbd
I5jLmo/Xpax6rz9HT4SyqpsSwIwMWtDK79VHHUP06i5NX1JZS4/IIo/nLXz9QpJwyAv0kxgGwyF0
UR1KonQ/zGD5cwDPphuJuQV9brmdqb4PVXrnKB2QCJtPWaIeKqV4HPpI9/uYfLmu/PVziy7R8yVO
gdUepjmWuGDbOPdbUEx9wfjjdSFrWdaF4pqYpZ8rlqgZxYkKO03bIPjJvLCMug1tksGLy2z2EO69
Umw28NbnGtQ/wOPrXAt0NphFljj4datC2RPcJRpmIwSr0mLbrYYK772w3tFip8j6q9fez9D2jwDh
jecCIHFGDF8GqVGDM7rdJqaydwCLUTXa1tTTg2K6u3607gdoqcfuDjnMfV2px+urvr61f36GYG2z
SmdUk3GPFd0j6WOPlYaHjmY8oIlkf9dP0P8kif3yYJsZbNAJwtuYH+f4oVBf8vhQRA/SCa3V6//P
yooPSxdsel3XY2V7fQN8BUAc4lBcX7X1638hQ7hjaEiHPMzxQq+KCS0QJ7t4rthzoj6Z5WOt7ofo
GwgYt9eFyvTiJrtwdJHOKZB6nhUAQxUIWx08zt91df7ZI+FGIG1l6zUXoRjaVqu7owUoUhBJ7uqB
7K5r8/8c9z+yuGUu1JmjCa0SlYVrOn5u9R/MPBHycQhrUDkA76783usnd/qaWXtAyUhMUWL0tnC4
SRP1WW/AQhpt37Q71T3lgFjsJBqu7peFfkkAwCErJzZpKJlRznk7Y79I4ydHvBB8ydXHD6eQJ0IV
/o8EQQ8ntPSURbgqrPrO7Q5m4VvlG1V2VbyNtIepkVQeV33iQpzgsoB87HY2GXAH2t5Uesi6XTcJ
2fcFXwQ85ahMbCxYRfefWplHlyyWmA9A8wVVJw2LFYOV1/bqlyT6GSYeKR7BbPuu59SfpTKESDcj
Sa8ZXBUL3GMjkBZiid+WGJchOKAq08zG7iac1GzXRWiV/jD2d3+1HWIPA836MQb0P66GevJe+3SU
bPe6CiYyiIAOsS/mhEudpePk4r436kPYA4XW2UezrLdo3ab+COF/X3gZayxcI2t5jFsfpvRlsN4T
o1t/vi94zF5jTZcX+P5k7azkjr1jSBNH/M/3BS/ZYNoQdzQWSWuOVLkn8Rc92hM2/+VeCJ6EuKgV
OJQvU7RNrT24diNZZ/Dq/W+BOg0QLuCe+k0auNiJEHU0QIAgZQ/uWWX4RfO9lWIeiHwtbmU3+zeE
XogS3mY9KrPJYCEBEKWHyfzU9p87DOs3RPIEXDfgPxoJtpUTLR4AC4xrJPpsF75iP1AquUNkiyaY
l97lKc1thKFD+1g5W7T2gw/lPmxAJuS+y6P80UawtKnKAbn1O2viAkcZZRsQnEmsjH/i4r7iJPOm
hv9dDOSwoVRGPG/g4Cu6iYxHJ38qqie7k2CorJ15DDwA2BgdBtoFiN1IGPhp0hHON94CxE6V7ftq
9LcUIDhf4s5uBhqnEv0Fj5R964p9RjoAab+25Gg130mfbYpeotTa2i1lCjZdmYY+Jk5fBra1y3Mv
pDudbFn96brPX7O3pRTBpFHlianWQTNd+VRN+5Shp3uXaJtZhhIhU0cwbNbaad1kDV7tbhiwdriv
qnqXaTGYn/NJEtXyuEQ0u6VSgmWDW9QCGT2Usgovpn5I72fQX4+bQX1x9NP1BZTpxRd44eW0MUIz
RQ+9NH0zJWhgPoDLmI7vSHIvNRIisbxTG2PKYOEYzSLlxpiQRJU8cdYVAUgzH9rmfISCIpU6utTB
jdDZ9qNVlq/g9N0niCyBLfWO7jHLxODPf2SJeceiC6NR49FSfRcdVHQ0p56MvGzdJ/wRIQRkCjBk
dNYhheGwvdY+O+Y74oClCoJL6KIkm8HZgmAJID9q9U9TR5INkWkgOIB5bMcujSGBBMbsaV+u263s
68LB79Alhc4HxJOs2NvNNpcFexJzcoXz3rGIRnbEzUk9KN1Hm77U5bcklnQl8K9cnvQ/uyycdCu2
u1S31TKIihdGP6rJqyKjdZctlHDAk4kQtKzi6I3TLjJ8WVV8Nf23NCThaFtqSHs3xDZ3lG6qNNlE
9GOMFse8fFDYizmyHdqOPYd8M8f7Xn+K3Z+GsWMgPfg7exCOf9EA/oJEOJIdOiraaKfWwXUB1w0C
TWHn/iUqy86I+ANG146jeUjYbow/aOnH61Ku7xb61c+lhAjP5oJBCghoiXEwJkkIKPu+cOw1Oxmy
usQbSa8wGHGXyTolVw3aQGcx+hiJA+rU89+PSSXbycoazzzWo9kVfOdj/S0sZYQTq2osxAhqFImm
T7aBW6upX+rkUwh0/nfsw0KA4LySSU8rIIAgji1xV7U/7eLz3wngGi7u3dlph7YfoQEbN9oMVHeJ
9101V0CfgWkEpesL5udeS9EMBcAX9P/4ae1l9l5TttkgicFlUvjfF1roioNcd8MvQowljNp2sL4U
CPkzIqskygQJXsztQUYfh1iuKBq9Jnoz87ceqJ3T8PEd24LwAUwmcEuGOGM7DS0lcwq3PyvoIzZh
v2ifui5i9Yj8TwSaJc7XrKBqloQzfL7qIrXjzeGnWpasXz0eCxHCKWSkD4G8iFNufZ8BxvDzugKy
rwuHLwRR+jhOeOK30Sta5ajE0co+Lxy9WqnNSs+xBQrZ5wYw0iXrv2pKi8URTl7YGnqdENhsbu+d
XfHlaMgqQ7Id5n9fnIqo7Fll87K0lflT+oxqbiG7jdYXCWBeBMDMnBrtXIQ6tWghsqAEKtN08Km0
YLCqAw4AWHrRlg5ffi6gQgDKMlohT8RSD1Qrnj08JPbzEGs7LXE9I+k3WvFK2m+zdU/DxxJzfan7
iN5HyW7JfodwrxtDW2UNiJGDKXyZ2p0NBhaZQaytpQMgUY6Ar+sX0zZ5Gra51Q8MjT7awc3yjdn8
vH5i1pRYShBOTBHObHS7ngWz8Ssqns3qzgA4xY0yHCTdgOqhEzAYAX9HODZWFupDPzXFiZZKcoiL
yH5AtofclZMtYyzX+Oafha2/ZVku8mLo3r1ohRwpIM6yYi5OrNH9NMVQz+gDt2TTsUPXPHaZ4RUK
9Zup9IuWvoLWIsnKg5bkjyYtvZDofpNQdKerkiW4SAbgZ9mIOtBdZHCACWEJanCRTUrZV6eoIZ5h
t1slfSvQ2KulP1tH8qK98CKCLMGLZH3tVISN1clxPsUu9TKj8ONU95JZxtR+YTyCJP73hTeZVJtW
FWq7JzsKt1OcejDV7SAdGlpdPAcTgHgPowNRnHmAS2cW6MirU2r+UMrKZ9qHJIo8cA9v8kLGb3Nx
5KATxrFhpjb+30UzdkXCNAFOUXkCPPdHq00eehr718+DTIRw5gBZbJsKij+nsC2+UcU5dGEoydOs
iADoC6jC8A9mZH8/jRY7Y059ZSksL08tVf3yk5M3Eh1WjOxMAP/7QgAKDrqmpEV50tPQo8M9vMZu
HNytJbtzL4ubAEtZqiLEVxGKDpjcodiQ+YOlxUA+bT3gjXhZ3Wzm4g40Eru0bTdGFu87N/VofWup
DqAmDjhqQIvHEQrFCavKKkhfxENxMub8LoaynSp5+azYN294dwAeiP7RCyZJwkrNmuq4PI1juO9T
ffTCYfZ6MON4rLFCr2ioROKKefBhd81EngidHiLQt6M4UZyGkJgrOm7ob6Ms+l4TAOIHA6i1fPhY
HAUnPQoxqWUVp679OsXVtndliFQrBugC8gqwKA5SarboUVvatwWGm4uTheeuevQ2WvLx+jHl97dw
lUCCizFzkJ9dwpVlFiD4x0ItTgnY6cxq8Ozke241D202+hrIdzVnO8pooda1+iNTcA10bI0Mg1+4
KkcMf5qvrfqWaLlvjfvruq3K4cgTsDiCUIr/fXF8WV92QFboYNRofRrAyrmNUrTGDSXpfQYwS8n1
t3JRuJiu5d3KmPvEnMu5uLjpsgzIgfQ0DxXKLdl2QEdSpd4MUAjQMMScOKvA4lRRCD0Xo3Q0V9zQ
TTmX1bQpZEOKa0a9/LywOXoUzx1A+tNTmdX5h9oyy3tiS9N7l2v1u+ka1DK8mf8CIaqemK6g2z8+
tUO8U+J8CwaUba3JUFEvAyWMi9qYwzWB8w/kOmFLamMsQP4ztifMf21S4zDRryS+t6wH1d3l2bfr
5na5cnAGFpptOfQFYCkEH97YrJvtCBHgNEV+h57rmxlCHFBFAT8YeREH3eRiq3pPiq4bZqVEn4u5
s4aPRfaYmsAamr+S4db0riBKODrjkJRtXZLyxGzPZV4lm+dYWSsNfYmg1kPPNaC7hFAxMjLgqaEb
9pSycPAcxc68ps5vvr5hNYBUgWt2ECCI8GAwq3Rq1bY7gTtHLXd2jXl235HB362ogjEFHvVishdR
jfBCatBaqCXDHJ/CcNCf6zFnW8tJSkmm+lIKQSoJfZ4IdgAYIHbDWXiEzXVYhW9R3VobcCrUjbm5
1X7PRQiOxVFjZdAA1vNmxa9sDJrD331ecCyhQqeqBY7jW/nbajN684wT3o8YF3F5BZdXjIXDbuYW
68e2ct7CvtpOz1Fjbm/W4EyAcChsA8ikdVQ7b7MDc3VAIXhrzVbQQPAgNfguTbw2nLexaDbo1vG+
uwxx0nwzjC5iPZ2/NcAgo9kYST+/QhI6qFNeOuyUTw9THlPPmJDv1m+32XMxgkFN41BMwDtiJ31f
xePGVGWAIJeHAl1yGNtBghUPTmRKzvUwJl2d68GlJwz/es6hV2UNCJfXFBfAM5E44Qj0xB23wpAa
nUJPVvYBQ1up9jXpgutGxT9xHoDhvgCkNpAr+ZCGeJ3njVYw6vQUe9Fi/NUvTL+Nt6VLJc5wZa3O
5AjHL9XCbAIbDT2FluuV/ySpDHFUJkDYDIeSpmwmCChHvJNH09cSyUTYhQRASZrIeXDmKgPhsLAb
NKqMSevt4Q1IYngqb5xZhiV2sd+QYKl8VpxfGBc0RMxxi9HJhvHN7DZttInIdqglQemaEgsR4tnD
SyvN7RQiNBTmPrgy8IELczrXwBLOXNqGJHIGfD7U7rtfYYpJgPK+uHmGgkuBh0UkCozjC2K9zKLM
BrHF+JbcKyoIZDFdf+OpgAD+DEVlE57qYipvVOemSYy5f5uOvX3Xh6dw+tTJ6Bkvx3FxU8BFYa6U
j3xezEflEB/azqADgAA3xmA9sL7yQVn7MnfgBQe+saKEO3MyfxUY1VIV2YV7Wbv9Ld9Cvgy4IxxX
6tx/5dUcpU7FdKB1ZF5paRvDOGTT5KOE5w/mfRk/9dNj0kZg5t2HwOQck4PdvnYyP31pM3wZsNrW
b2YE8eGSVTEegGmvB6SI/BaQzk2cbQjm7fLx1hiAK6zhwQmmXiy32CJaYSZBjatJD6xPan9QrVuz
GMLn+dlbPPjmQQMPRonPG8O4RVt93MqYANdNBvYCJD0V6V4RI9qqlMZxKgsaDHjgDYVXYIw7TLam
i9mELVqFS3uXD8QrpfMQl74Ja7eQzN86C+XCeaBGNpt60Kj39fw0RA9Ocrx+6i59E0TgnQz1dKDg
iMph2LLqiljXg6TxeuLTeXP9+yuGpqs40rjtAEKId+y5CgAtCaMSITuKGtu2OmQPTQXmA8lFt7JO
wGlGbhMqcNA84VCZoWLEiZGbgVIPd4nSPybG+FRV8+66LheJE46wjzlrB28LcCOJYT+tY7XV1NpE
k9iXzryzjF8txmFC90Oj77IKDUmqbJB4ZXfQ86RhThnHFFNGgmJVO+e5mxtWUCSxX+vHsZLkU1e2
B7ksHa4A70xUMAQLm2tSj1UY20ETH4d+9oqvNVo6S+vt+sqt6AF/y5GOTaAoaqagh2XMhBSZYgW9
u9MV35BoIfu8oAXV3QpJW3y+UY8Wsi90lpQe1gSAYhwFaqCJAJ1VuGLryk1qNQytwK4L7wehst6H
FQPmGT/VdAHfhZBQWB/qhn2dd5kd0PFUJyHwGrSNS26OpUAcoMGEwXuMiX6RPMBlM+pUxWgHKjrp
3cLPoh837zJBdACDUsF9DKzO87M+6XmijUNFAlPbdfHGlAEir+wCciBYfdXl1ABivSTX1cGIkcoL
GGZxUFbcpttbFQDSN2aF4EQgBLtxroDduVU2AgE0MMJNk/tVdvNldfb9i0AwxEWVIZ0QqNpD+zMr
JP7p8jCDMwvNJ/wcg0/WENY/d4eGtLYWBgNLvMqdn92xeSb9VyIjtrk013NB/O+Le8msnbgHOnsY
pNG2uFfGrYyudk0TDu6uA+zVuERcHXUS91GVoenEzX0t/WKbp6j3tEaVXByXFoVUFGTgiQFwiwvI
nhbD01pqltHbbPp5+BCbwc0Ghe+j4qaDlQW4ksJCZeWoV03XRm9IDNL+kMpAwdZ+P6IqJHGQB8HB
FgzWGbBIhZFEb8qQv1rteE8BLCmJyyUyRKPNgZETNSC0e5swTzuoO5fI7PZSAjrT8Z53iIVTjbD4
3JxclrpK7mpO0G7Qe93KrJV7/7PnNrIEy89zY1tYq6EneYykiBNMdDvoo28w1Te659YgfmhofnT7
cw/yEI2AQx3x7gX4ZhslZdXriQvIZWdnt+5O4scvT9/59wV9bHfOmrwMoc8MupxN2D2pt9935yKE
+8iaMmZoFCJ0e6e0XqnfXT8X/L8Xt4TDUnMgMsO+uE/DeWyimVAl0OcRlAOIO4uDEx2G8NkNo5sj
XOSJFrKELMiY0KweJ8hymldkhd1c1i2wYr7oYNFRxsfjEWVHITgISU/cUrHCwPmYAp5fjW/GRuTM
0vy1hlbOFXhPNTLBd0LaMGjuC9Pdzsawvb4dKyfkTADXcHFCajRVNHXYhIGW0n3UkXtwxlhsU+sb
W28PoeHsrstbseAzecKBt5Uxy2wKhTJL/RHT7pDE7DBl2c/rYtY2xkTPgcaJuYE/JxyUbqzyOmFQ
K82OQN+wJanb1c+DhwTvGljyBUB0yswEvQJlCOaELzmG7/Oby37YdzQXAXkJZKWIqgTDGhKtqWwn
D4O6R6PUrtJvjmrBKA6iTdQxALtzkfpKzG7q7Ma1AqPe9JqfZZvr67+2zXgp8YQzsO4v8px9gb6D
qLTNIIvyZ2pmj7rR7aPKvbXoz59kCzHiAY/rYujwPATOzkb9rsqGErmVCL7q7PNCktMCyDgQDl0z
yAHJWCXUn0nqRxYuKhmA4Op6ATEA3spBgVQs9rVAi0qLNLUwkzh/U6n71GAwqE3T/fVtWbNb1Prw
6MZLFl0ZgnPvy7YjwLq2A61v/abYDRl5z8a7yHDxwgxvDzv3J8CtSErAK8Gw5hmkPBWwRLeTzIms
qrEQIqhhqiwzhx5CgMeM0syRJbfW37hdLQQIr8oyzR0aRRDQTQzTFKn3jkDhTIAQvalNgeENvkxA
Etu4T8S9/T3D8ceAS82r08jaCn5WLbLUjENiBEYx3w2Jsp1Lyct7xWTPJAg7rZt9F3ICpSBUPk3N
ts4Ot5sSnKsBLwWYPg1tRIIpFVmpq21iB1E43ikgEyjGytP73c1HAmwLJoYo0McIbB3BlvQm4Zje
oR2U8aP5AVxzt38eGVBQOgCRC9UGofjG7CYcez23gyH96HxQjE/v+DxaCJHH4c3D4j0RF1qRDx3s
COli42syfbv++RUHSDS0drq8Xci96PGMDJdlc6kogf3Vtnpfy2y/tCa/cGVl9cuhWTSJ6Rquaw7B
j/4tYZ0KjWTzbHVKoCbzVh22ef6gVs/JuE806hNjoyIh7hSS62PFhH+jpiNJ7YJAhAhCZ71WlYrO
bjBEnyrb2ppleciimx+CaBhD7PZfIcJVHhkqqNe4kNz6UOyym1tjgRWMhUNHJMdkv7DfyVCVeAba
bkAouPC6+onG6rbp2RMAXSVPZn4UFtfhb2Q5fuSRJNFAmSj6FIaWhyjXqvzoZO3BnbQvVWEj9Wm5
5XasyK8uzpTtdfsTNug/En9DCMO64UzOXUCqDj0NmyQ/TsojK5utm3w29X+uyxBs/D8yXA2dsTyB
LB6h0p4jzAax/Gg4e51utXing+NSBpexqgkCefSnuEjQiNVMErlKnFUmO6IsvK9atgeA5/OcJRKf
KYTz/yqDrDHuLl7VJEJABNIPjbquy45M++LasR9GP9Wm92LyuUMPc6fdCKBxIU/YINPo0xgVPXbU
Mj+zfulo9Ly+O8JV/1uAjewAeF6QpbnoiSx69MRXFs2OnXaXRA+W5BJb/TySBMCdgAe9yCsy5vQu
QIjpEWGRZ4MjrwSk7Ts0+CPit+dbvLAMLZ1p5IBxL49bdjeNVfYM6vZBIkV0oL8XCp0FnKABYfcF
gGo3tFOt1jo9WgkjX6YQ1UMlUZiPls/hAO4Guu9ZrN1VbRZutTQxd3k3ofB4Xdc1K0fAATcEAEpU
lYTLNOqrLmvtPjvmyuyTMf9M5/GQo7n0upi1XQM4NAcXt5CSFwuLZI4TbWZWdkzC0AdZHsqnfymB
/4LFpk1Rk8dZCglgB0f7T2vdFnX8u1sY6eC9DRo4Z4TvW8DoiEmhZMfZeQLQray1iIdGoqdGMhmp
chvN8qhcnP98jEf0KfozsmNvPjpp64Fdy+8N4BtoH2Ll0U1139IkGq250aVI/vfFikVoZkoQF2DF
IoTMxeiz+k4vMLsk4zUSsfH+XbuFcoKRzWZbRhprs6OakENe00Nu2tuOpTtOATbYBfD/SXTvNIB+
V9pPeW5vckd568L0tkfCv7+DGGhkAi0Zj5LONSYR6SM8P7OjOTYn8LDcs1jGwbxm6MiTEewiGrfw
VD8XgfqzXZSso8esruM3J2Thg0P68eP147R2aXACa95mA25VsTGhL1A0mpyZHkd7RCPryUwfteyp
sB5BQgl+59fr0taiCASsQE1EmQKhpaBTpILEemQFPRpgX/bK3j2wzL2LafYUUePBxayP5AoRq/i/
N2opUThsrtKAcC3N6XFKm6e+ZLGfq/X91GNac2Tdw1hFO6UHaFmNFJ4DigqPtMPmutKrG7lQWjiQ
OpvmOZkZPTY1AvVNzCSR7Pr3HbhdzloMUA7BUHrDCV2twj0WverZd7QNSxZxzbM7oFz+rwBdENDS
Vklr7FrCMBJoFfldp2bfDTMPri/UmhvhncIY8MGWXYxaZiPGgGMlpcdIVTTPmrtXjU2+QbN/zETW
ULiqE+ahkAHDEUbx71wnJ49JpyqwC7Q+PZHJfEtMkNYZ+Y/rKq0a/EKMkEygozPhGYils+zQi4E2
GanMryJlS8Fdx9zddWkypYRXs6bmQFEyoVRpa5u4BeFFXHmJ/fVvpFw8azt4WJahlfGo9A8Ox3/4
UBBJxfS6IoBrEnYH4JL/iiD1QR/2zQ9dVnpf9Xv/2xiMKJxLKGtWt0CDgnc1gAoca1+YU21qZh0N
LfxAoiFodF2ybuvmzRm0YNpoI+dKL25JG4wDTuqCmqxGW2a8B3ZsbHuNvb++O6vewNR51x4ScboY
HxmGPShOpdKjq3ymL07x6frnV5XAzL6N1DruJnFnwsbq3CIu6bEvdeppYX8XqdZh7Ka9U+d3fydL
2KMxbwGDOzVwbIavjwdz8AbQ5smKXqtHdKGRcCdVsVOi7gWNCEZtPN6+3NbmYz87dxRXbj9JgQdX
l9BCHpZXEHjy6dwOGMBa/4+0L+txG2e6/kUCtEu8lbz1bjudTic3QmeTqH2lRP3677BffDM2LZjw
PJhMboywRLJYLFbVOcX1Ns4PCbvPs0NR87D1tFU+/Zd7wXGEwhHR80DSt9iqetdsivzgT3cG3eXh
9d1ZPKOImyH9DD8WDb3Pp+Fl7tzkCZ5PLfnQtaMFXlYVR8viSiGTI6JCiLV/eoMnJyaqayCtKGbQ
F+Hs3KHElRW7WQUeWTwxACehMTmCUIjWnU+kAkSFxWI/+iL+U1T6utKcX9fXanEiiNGAlQXN5xBG
ORehRZQA9Il8VIYAmhPGM5iBg0T1Xl6waSiTQb93IBVFwZU0kbw0I12Dr3swhuYOs0X3nL5vg2Z0
jt3kP3ml9sbTOQ6uz23hvXEmVcz9ZJOqCkk9L47RVd5hz1VEAbpyQ9sZvnTl/NectA+tHjZAnN6W
DheOHfJjiA+7ogbwonqgrJ2R5X6WHXz/oa0zUJU8uKOqEG9Bx9GM8BNzjBgrKkbO5xZPcDwKHw/r
xtrO87NGnim93V7j1Y7wE9TDwHtNMj/IyuRl3bq4iPKwCxlXnNIF5T4bXjqlflnWGUqfswPQ8jy+
b1SMh0vjI3KLah0gvJBrkIwZKiF5XtpFekBL5paHpcIRUA0v+U9D3Wnd5GL4uFjn6dfJU/m2CycT
2VZ8vuDOv6zaiH0zMklq0wPe6Xi6xkFnJjtO8TpoVEyqi6LAGi9CWaLBpbTTtJjqxvRmevDsJGjK
eNWZf/UJ2CJTRZe8ZAhs0QYEGDLsvpw9ibK01ctkoIfBqQ5W7u508LZnnHSBXWtrM6XbdFS1QVg6
KjjZmBpA0mjdJRmfObcYQUEEPZjoXj8R82Hs2q8j/w9BR5g2JLBFu2zRdfz8RBpmVfs2Telhbg7x
/KxiP1rQNzQdAxsLIqhg+JA7H7GZmnU5mNPBbDfoP9Wvr9vKpefo2fiSQSl81Ek22jwdNOcuc5xN
bT9PIOlo/cAo7hkB5u99Fm16VQCEBScHrAmIoqPsDWFoOV5RlKQe08waDwXLA2f8lVsPhXaHruZ1
rHDaFnQPNRGI+IhIpH2R/fcKZpV6HI+HuTpowwNPs6Cef5jtvuHf9KpRmLcFrYM00c/nk3pLZjOw
ipxyplnsUBC03UvdfVc6X2l/I7WfuGyg0zqcKYgBP620bSCjnx0NfclgpFnAkzcy3FaTcSFAUmtC
0GCnYQM7oNB4qDa2qh5/YZ3OJiBdA12T9wgGY3y/+Blrq0lfe6oy4IWNPxMhGYAUXahibx7FFF71
ka7qvIepeXb1fO2XD3Wpr66fpQWVPpMn+R191Cej404MDx0vQBFyAJrNAF+wAaqn9RXCFuwCUL+C
BAq5FVzTUraQkmHMK6Nmh7T94mwN9np9Lktrdzq89N4dBt2OCg/D8xxd7bdpvyLDMxr7dMm2Kd6v
y1pSBcDSUA6O3LQP7+bcgsbEKTq/qdjBGp+Nvlg181tsqhIfC3cdak0A0QX5GVL4cmLNLCwEAVtz
OETuilV1iDsYLO5RwEEVe306SzuDRwjAobhaEcWUYh6an6WmjmYwhyQpA2r/mt/+p/Hlna9LjdlT
nA+Hft8Zq+xGgO7nwT/5fLkdwGjVRRYDLH2wnDuaPszTfdco3oELewHYOjCnoFdHlsiUXLSum/Qe
rcj7AzXucbfk1q6anwsVg84nWEHKO0AM0g4AeqAwWY7t8iwvDKMw+4NvswCwxyBq3svoZ2S+jfnX
rA3ekh1zA2+f/NH8MHE3nRE68e76Zl1OFe84lM0IpJ/IjIvfT94idUdQ8jsn/cHGN+T2XZqs5/6j
qm72SlEugqpMD8lD8OjIBQv4BqBaYtLhuKIrT4UY2401gFCLcwmSQZjMuiKNkICqUuRw6hs7Pv/f
+KDdgEuAegtECM4XSiu9ptJTszvQt0r7M1Uf1/fh0sbg87E2n7pw6QSYTd6yWk97OIM7m4ZVHhbs
1nMvECGIE+soR4D/LkdRWNrzyBkabe9uCaNBAUjW9TlcGBYhQMA1gcIC3YNsJ+soBvWanUX7/BFg
Sdwv14e/WCJpeElVm6YsOHMwfJyvDNGzWvsdq0iFVFOQTz6SYii3TaN9NFiB02bBqGIvXJLg2Hhh
ID+A8h15F4jVxRrIesm+4h+Rvy4SFdXD0jKdChA358mJdiviFSbpCbqcVvqm7eIqIJ5pP9bIyyk8
1yVRsJJg9sNb0LyoTi8tbUobpC33tvFk6FXYoK5hvJFtHK9INDp14LOi1kP0jJa2ncd5YsdNre2p
N6AHgcGqh7zUSsXhWJoKwrME+SDM5IJ0hRVZNozIbR38YTrYJH7wRmtrdDdW+n5OBhhSvPvBbIB+
sZLXSgnC6CM1oz2CgXvCxmcU7QSkdBRO/oVVx5pBAMro0Kz3snErSJQ9rbC0aG9NLXzJMQSP3TPA
PeGclooLRJyIs0sMogTZIiDvqGGFYTxXt7zN7YhlJD6UZal/yUn+t0Jvv1Uz2TzwE5etnIioSquW
ztCpTMkWW7PBi5ElyQF0mL+s7td1O7M4+qcthuqheksa3R4b7jZGGx9SPvlrwjx3NccA0l2XsrRF
YHzDnUhQmnFRrEUMyrPec+IDMf92/IPXP2r9x1T+vFkKQqiCGgLvPfC+SPqWc2dIez9PDr5XIfcQ
9r0Z2E616lNVrEbss6QHZ5LEqp6YnYHO2aTraXLokujRa4sDM3kaOKz/WTp0k5oAI9bm7/8wO2Th
0fbINA1wwZ3LHGnqmjyC7nEzDimC3Zmz1fkT9VTsUjIHoTi3aD32ryRJy2vQaXRm68WHfsrMlUXc
PEzR9Gzd2QDTUs0cAzCKpiGo2uYw1Z36oarnJADnmbVGPL5V2fgF5cF0gaEBoRr6PcmBMYJGNkWi
d/GhIk7YlEdtLgPL/m6Rv9cXeMEqGoAjA8sN8NFlBbzRc9OYnD4+GG4UhxYtjK2JrqBhWdN+c12U
OFUX+nMiSlrhPvddwmoeH2bO9hrnZVjNeRqYfQSiR/RQLEgwz+MKBQ+KmuNFxfXh5uP15YHZRDoi
RQqs6Yju4PvMKeJgpvVfxNBFcPMlSpw3nQ8//KhVQe0WFxbFZ0jdizJnGY84NWlZjMBTHqjVbNHL
Z60XAKh5xe1GBhWUCM/hfYF4jAyXriursBs3iQ/5xJEQ4p3xnHGjWQ8NmDSygvqKW3RpE0WaExkG
UYhuSmtZGRaL3BlGDY3qu/sCj9CNG/PqmQ1PAvzarNH4FBnDZlKVOS2tp+iDhFcUGBTgJ5xbgpLN
pZnkRnywymibcJoFjTuvbTtWLOiyHMQAPsWAb+xcTuRnI5xoWBwTLcrYczv87FVTWTrbcNP/ESF+
PzGk8NKQd8vi5NC0IJeLf3XeE3EeM/J6/bwt3HJYr3/FSLazRwxCm2oNW5WgxfqUZx8MZN3XZSyu
lqjjETuCoizpTZb7+mgxQJsOvd+vZ++pnZ11MahILRZnciJFCjU26B09cAN7YqG53j6b2/yu9G2V
yVXNRVLtLjLmmnGALvsYlMooJF+zCk/mHrmC64u2PB1UI8O6I9Uth2dsBkC3M4v9n8hh1BE7SzqF
yVuaC4rsUYtnCrSZ7IU2SKzOXTpGex+eItDioOVLRv7iTeaNuPHPe1OALdzPuVy0enC92k+oV+JJ
GCdfCtvd89hU2JzFyYAuRwctKhAp8mSSAfZGAxXsvmg5WXU2/z1aPH4gKIW4NSwkQplYN9SI4PV2
UYaQRY1dmnUS7bsub0LLbJ1tZcQhfNE6dHNfhdtamhg8CRSmo9waF72kce2EvqpDC+PdTpu+aALX
3THkBq5rm0qI0MYTazPbWm/xRtwQJMjcZ5AnZyrM0JIIASxFhkNkiORLCDyjmcsNCpsZrd0PNFtz
/tw+h1MBkuuALkKghEFC/QD6VzMsoq5Z25M7Bc5Q+uv/TZR0z3hcy5yowlx0GEsv39rOH13FMru4
XjiXKN8HVhpUMOdbUoylY1YNHJIEt3X+YHaH7j+EOYS/848I6Y6pwc5czLWr7SOih+mAeFOsSM8s
3WKnEqTrxY1bw4wnTGLOQAtuhHSu1+jyHFoq2qwll+NUkLT5sz/Pptlg8wsSVtl9zZ5Jfo+OD7Yf
0Bx/FFfaknUGu+xnvT4idkRaudLykXzWMK8iqJpylU6qCMGSAEeYGVfYNNT9nu++GWnt3PAOAqrf
Rv1LlQ1eUi5YfYD0RPzpwiMcB4fZuIYRGai1VTSbz3n/taKOwqos+dTghbRg93W8beW6mgE73lNa
wqcu64IFUa6729izupBzrYM+JHybUzYCQDL6xa2F5rDSqD+BzYQfCh4+yWw66GHTG26u7e0Mzwaj
CpxUcUMvriFe7gKEByyM7GxmKULdY5tp+9pziwMYwqP7PK2sHRD0+ea6vVk6Rg62CZ4ymEtMR7I3
bk/rktWztncmZzXq7zYCKjT7jvOr2LFFtQPoDhcNngoXfO1dX81+k0LtLHQlZKtEVT2sGl86N2Do
Tdoi7rU9iR+9LvCar9cXSjW+ZG+s2oEP4IljM64IS4PC/35dgNxY5NOVQTb7nxWSDA1oH0jfCQnU
D40iMGiQvmm/rIP2y/j8n2krzQ7av1YdcBpE1i76cv0LFtUOLDkCfosWgp+VEidXtUZ9MNFGDEZ7
WCd5OJHQKBXqtiACwU8w9sM8oPbuIgk5G5PlWom/54O50mYeRrP1Uo2/r09E7IX01D+TIjnsY4n8
GkcDjH2VWG8FKTbVFO8pQc4jLsY/NlUx1S7Kg9+BmkuQwkO/z01qo3tR37qVv4+caEOGauewLCgR
qwqn1roze2Rar09wQRnxAHaQPAT3LqLKkjI6nmaVSdL6ey8dPzgpVjpvvl0XsbRTKBgR/VdQAgfy
p/M5gcCZDvZceft+BkDui8VfnF5Rfb20bLiJhFMtaCll/7NDDwqelinZu1qVBmVuPGtJNwWDXXxz
vIgh4JTeXZ/UZ7ZR1oxTkWJhT1S8M60maigl+3EYt1rebWOnWieF/zyiCNNIgDxJ/W2S9m8D6150
dJ4d6/zo8uQxNfM7J2nveK16XV5CBUHShjQNuAXRZR5vDEl7uimZLRLjfWGN8Rf0LzqMRbZOWXHf
R/NqYvUfI8bHNeW4shJLcVIW7lGg9uA3A9QJ51m+aSaIilBhQfYWkIJb20W7rt7M623SxqD5LZrq
sU7Sn2lOVF1kL8uuxKwFGwK8BLAJyxdPmmdgno00sjfKwX6cEcTcTV2hP9FGcx7RWybdVlOWPA7t
VIMQvdXXPSrd7gA0+6NQiUUt9BFKQlgJZLpyQenkerSnLbJ+LrWcsM06O0ArzfExS7mxo17GfhRN
nqEFWDS8tF3SPpZtSlZl09qvUWdWqxicwmFUT80WpJ5o0Je0WvNUNnH2fv1DF7fq5DulAzkYtWWN
NCJ7VHckYVKjN2MFF/trz8corHs32Y4dSL5JUqn2askUgAflnxWSDo3RjIgYDDTa99xa+cl97vKV
pkp/LzgiIEX8V4j4iJOTOSVj5OYThBTokmyuE3SnYyB4UbwalgwnygPQlsSz4cbJsY/MA6fBmMRk
31r2hrB2M1FVSHR5tf4RIVenjCh8QQM/zd+Pc/ZWoMDbQKnvOCpd4CU5LgrtkOMBduWCRLIc0bjB
7ROyZ/Ex7hD0nOxNPPy5rnRL6wX7b4H3G872RW1nag52PqPn3b5MkQDICJyC43UJS/t+KkFSLnfu
dDPKIKGad7W/a9yfxS9L1Uhv6eyA+AgHHFEvMC1IcUKPlKXT5sTf65UXthUKOMgPY/iNLtNrnJfQ
o+vrk1rcG4SKRJ8VFHeakryU2FGUjjrZ5+DWWLs5q+HstIBVAnAQXhf1mT6QrzTUw/8jS3J2CkSn
6tYYyX6y/T9OQh6bzn2yCX+qihrVNs5h7OiHG5nBWOm7ziErzsz95N3YI154r6BRQDABNPoCGiL5
3yzpNN5xDk0ZrLIN7NxyfmUtB8i5zopfs5HWirt8UXFOBEo+UJq29kycGYrzdbbyoLI/qB40u+ur
++nmXKwuyPGQbnChOzJhTBnTPktpRvbd4I13QHG8zbVphAD0508sy6u13mV81YKu5Ksb5dZdXswA
Lc6A8jMgFfY0YeVqpj7bJXMxbO26aTedNbDQAUdoSFABuhmzJFpVDJxiuFyqAPmHRDGJpRtOFP25
iMajXabsLaa9xvt29qJ9ZqVby905zs7Rm3ULbEbOVtcXbGlXTmWJk3hixo2RNkAIENTQVF599I08
2g08Tn77SdWHaE94Y//KT7XzEGQG6htpqAtWa61Cs19qFtF+GjfGjzpTQFqW7J+oYMRLHwUIjuwf
OVqdl1WHch0/e3D3hqphwFLa10TJmugHgjsJpuJ8ufxuMoCAtqO9RmP+xUXHyEfu+WkwwnUKrTb5
YHPkPmnc8fa+V/o/uabrcVDoBjt4RXpjH/H/W0wb5TaoS9dRgyaV1PZxBGY1Eba30LPHCTNNoRxL
ZhjOvuhQCf6di3rE2a/S3mkSBB616kcTjW9lXa77Ck2NPSAX26L+SyNVmf2iTOSWXeD6hH8hedce
2J76uodCjtpj0q4G+1vdFKHG8C78aPREEcFfMvyegHnAm0fjWPl9WyPLEXsRjpo172fzV4pAAbBK
imVcVMoTIZLF1ytXo53jR3u9z4IqKQJVzH5JAKjVcaQQFRKlV+daWaZjbw0UvhhfG9adkudJNbz4
/cRGDMZQwyfCoUom669PvRdk1FbXzdDSPpzOQPx+IqIZxzQqYojgxgtx7uNxaw+3ctXgwjsVIV14
HsmSGfR6SNY86+xLmyiGV81Aut7iwaKp58UwbLp+H3fRj7nUn9FGQxHMVImR7HUSlZ3Dwa23p+U2
skBhG04qCulFEbAoyNCgL8BFRJh0pVXGYGbdc3/lazvmI4em8AUWNepEhDSLEpjKvusgIsEryEKV
jCLesnSrIbWECwY0wuAvlcx0kbnpNDEGI6JvoxjR/007/1CSki9KARkV0JOou4Enda60VlqQ0tMb
XAZDmLwUdtB9KXqVuyg+VXZoUEv5jxDJHg6whQxVgtG+LcvnxK6DJrOe2DR9ge/cB40PH3+Yiz/D
PK3ioQvz2lA4/EveyMkHyJfMJAKpaG+Hh16JoE/cPEyl8ziWFrhJpxWwuv8hrw6iDDTyRIoYLqqc
7UqzbspcEN3texoAEw8mJGXP80X1QwssAkGI/hHJoGUE8I0qxtO8TbxNDpYW7qp68ixdY8AOIkCE
6wVlRJIGziZFMQVeaPuWujkiEqn1FXldc6N7vXEfD1m/Q7QwXbEG8NvrplQoxIXCgFUA9AjoYYW4
qqSVuZcWiQ87V7L0HVm3g51aq3oCeiyr1gS9JEPNm4OyU/H5LJ4GF11ccXWDS19mA+x6a7a8YUZm
P+Nsl2sW3AT41dvJ1fQQwfJ2c32ei/JEv0ITlgoJOGkTjR6+WEoRhqMWSOL/JuQZrPdt/fW6lCXt
J4JN34aHAFy4dPw8uKt5Ppr+HlVvawOuz1i9oPNv2iDgbyicV4UsORLBEH5PtdRCWHr4mcdfRzOo
ESlKkmBsvl+f1dIBOJmVrJ1mrI8uGyGJmSvDD1V0lKrhJYcnG1tX6/Gs36f+x9i834wwxU0OkjQ8
7nBDwUOU7K6W5YhSohfVHg+iOAuYitR7+fP/HV/ac9Zr1mxqGN8o3yOQLNFUlfxaumL/nQHCQedn
NDb8eBxr39+71bPlbp1orUd317d4MWB7KkOyA+3kWXhHihiKHt9VmbEyaY/utPbXrtKOPhkfDLs4
GhlzV2g7/64ru9aKVZLt0Kl8SQnazkLaFTfnnvV1kPtfi3lLWi9g7LlukiAZDyP/fX3Kn9f6hUhE
5EUDaNFLRfKDI1gD2pe5v9f0hrJt3QI6F1czPQ5tZP8meHa+GClDcLimUfLUe3zegr09fTLBpB7E
dfLO+JjtAAhoXlzEsdesTueXIolA65Un36q4cLZa5baI1IyTAg+1YM2QY3XQIsUAFNfwJJ0u/MF2
eWTj2Tgi4FU8ryv85anq7xY0G4ljgdAQAOaLuJrOU8tgieHtx1CP3/1ckSBaUGtE5ZGLBLkpiljl
wp65dTmIWZAtrOP6i0PpB3f0Luj0Ynd9oyVDKVpJASeHYB3qeEDuJjdFgn3JZjpE5MtciQDMT9c9
Rvmd9ZYaKnCONKNPSSC2RNWFgTQUqMHOD6ruUiQKPR8tEBjftuhIYbTWpuhUJWvSvkAMrI0Lnmaw
2fhAgojPOHn+WMgptXbE+9cEjshx1FUcbkvj45IE/wsYJgS28Hz8SXOcGSiM/rW0fhdbp/51fT+W
hneQGAJ5BZ6g4MI7H36oYm+aSr97JdPeT0Kj+h/Hlz4/qufKajuMH/uh97V+u/XrwbiACIdoqQEY
ji2O5snij2Se5gmgga9cv2udTad4sV0uDkBEWHpBH2QAVyl9PCki9Ib2aPvKdqgOWZOWr2/9/s9G
B6j+t8VtKBfVakA8AE9aNK+eGZIEN4nCNC1NQMSX/v/4kiHv9diNbCdvXjMte8JtWDYKAZeHDCsv
3H3EsUSNuGS2/QwJUx9Rn9eK1B/9wEPCQOhAbYV1kkwsDhkyl4LqGd0yYUFkAodEQBpKlnev3fg9
s62Qa2hBh9arRaOiCrhcMUiy0U4K/gkBO574/USjCNgmR6fucZzZtiFBo3oUqsaXzAXtmEatHuNb
8WryAvr7VoU6/3zpQEyOP3j52PWvGrppOj+4o2JZWvh+tH630TcD/LPWRYWuO3Z1E/l6/1qUSdDe
GaOKmm5JAHYAyeHPEyG/gaqS2RTghvw1Ld77dcm+37xAHk4DmloitICqPGn9Z9fnblHX6euA2Ei/
VrWZWDgPZ8NL609jDVzyFYZf5c6P5q4c/sfPly61vOisSBsxvpllmw8UZG+uL8/S9zsE8VTQy6BC
Tab64Nww51nL0tc8Wdt8a0TryVQ8lcSNcuLpibOMWj7BJwFXAx05JKM6kMKPZz1N0fz71adV2LdJ
2KMWuvU9tFMug1ELr89pQaMAmBO4VkRiUPUhbbnNKoCO/CQFL4celMldq+KvuBRAAL8AhTqaPggK
NckIjl0EmLnmlK8sO0SB3d8WnsSCnQ8vxJ+YJABgUhBIYPg5nTbOhFoEow8o4Di3LtO5GGmZcOK7
ClH98rUJqnQ196vrwwvNP9/28+GlkzFH2QguUAyfA0zq2G/amg/vvq9KPy/shejsiSSP4SEMI6ef
UcU1pAnNp1eRevZyGrSKq2hJgOD8E+YJIGZZmyrQvTmDOQ2voHkbDrn55foyLQ2PV5DASdvozSDT
FnbabPms0MdXgz5WKINOYlVd4JIEEAegohe0IZfNmNEXruW8I/yV0vt4iyT27RM4HV5yKJN0ipOY
YXjT/TYUr+76+vCXBkrwW8A6oY4JYQj5emhrjqIlt9Jf0UVAu690VG+iaZCPfs6IS6uYxOSlAggW
hcegRXRBlSvoPc5PHhLr+lw01vzaGHf73FA8heQT8Tk63DuE3dD/6ALP6xp8nFOw7r/6Bfdf+gTV
V4aok3MbnWlBDojKjYYQLg3Kz1Buigy7aIAshRUG35sBi6XjMXmv/HV8I9MKQLvnw0vOZsJ7WPUW
w1ucgBPk3bRXBlheVW30LjflXIxkbTM9aY3YgRhmh7UfzEShYarxxe8n5hYPDjCPUIxfEjQU5Q9d
rnhVyCqMdUL5Bs4eCJVQICXjRY0IfUrYNLKj0bwaZOXrOOSKQPLCHE5FyBQtMYiksxaNoo6GGbRN
mGyvH8LF4dGVBEFwcQxlmFZKrAGpjIIdB33rl49EhahdGl+wasBGoberTyRNGrTWqHrUcxzRKyoQ
TaZvXx70ukW5P7jucBoM6VybMc19K2u7Y4quHRQQwOLX9QWSoxzYYtDb4rGOi99GUZKkoz1lHXXQ
iPbo1HdadG/pQeTf4a7LtNfrghZWSsSedAQIDPACyu+vtARWzaNRf6RuEMUrQ+F6qIYXv5+chczz
OeE1hh/zb9r4w26//G+fL47K6ficsnIcMb6ufzfaY3q8PvylhcU2+KiBANUIGEblYJPmOp3Ps3I4
os3Nj6buNt6oBdrgbYpaFaZZONRnoqRrr7AKwKWdYjjSZmOw33m+rgYV16xqOpLaVg6rXHfCdIxk
FaUrLV+TJtBUlKyyf/6pu/8ummw7vKikbeNhJlM7BrTSAqurg9npwpT+NZq7nqqmtXRY4OiJjRK0
FnLGl7t1Nw9xmx5r1HP8MPyJe6KSzb5L8og/gJWG3+fGmKsoiIyFLUMtn48mIRYeJBeRNa1OkYKu
vfTYtpn9YrQcJPUz0sKoPwaaCSnuv2OfDJsod5vHGkufBKXWc+CrfXfcaO3Q9kGUzuUm87ti0zpe
rLgnLrdbsOIioIySfZgrmc4rYxalfYN1Ic2um9Y9e3KddNVWbnD9lFxuOOSAQwogL2FF5OdL28++
k3VpenT7x3RK7kqtXo3Wo0/NrVEcAQZWyPuMJZ8+BaBh8MN1EOMh4I8eSZIfQnLQcqdJkR2bvm62
Hpg1aOAC53Vfl6O15mYxB71vt5u8mYZd4ztFmBtGvDG86Ltlm/ofls/Zlmi19lQiFBGgZB5Vv6xo
/lxflwX9OPtM6RYyar+IGjD9HzuePA92+UezzZXJVMRLCzZWJJmhg0C4IbAviUnTfiKg5miP5sEz
1s2tr18sNjB7eG4jP4TqOtlhnimK+afWbI/9RoteSX28vkhLXw+uQ0EqgsYVFzxhiWkUjd017TFH
oWW+cm5MewinEjFY8JsKCCLec1LAA9RAKNNgWXe06UO6G4q72z//dHjJbEdp51RWh+G58+oU3xpF
rGNhdUA1KQr8RFILLs35/cYLqvVU07tji2r+dB2rOkUoxpcT902nlTSJMP6YrewoGBV+0sIJOP18
TzqoJRCL1cg4Fr/r7vLBWcekD/ns7a5vwqWhA/aJ6KgtBVpNFJier1LatLyvdKc9ls5uRvH+3B6p
04Yk/Xldzmf0SjI8PgL6NqC+qHbAkTsXVFqR28RGXx7xNVbo974F2J2bhYCrmZtEoySsPWCbc1iu
h4SU7QowCbDruSRPf7eJ3n7xkum7FfHi78xp+mKb6fhaNQkFJWrsvzSpN226FDelHk+FGQCQ5qku
rYUdEbRmBu4s/HfBNDVqha3Hfpkf2TDe2Tk3d01O51UbWe/X12pJEChYAI5G6QIq3iUP1i6qwiO0
y48dQKv7GXxgD16m88Ns1PPmuqiF7ceuA/Ngg4bcuwAqAoWNLge1Vh6zaTdkd3H9yOiB14py0YWj
AimC3g6dmQU04XzvkaWo47HwymNNHw1/k3UKJV5asNPxJUvSMA3qXWH8tDmY5KlJn9Ec4vpCqaYg
WROrGSagRiFCN7Ycae7V9eEv/TBUw+E5BFgcXDF0zjhfIVIMZtK71nSkdmDa35Ex1c11nPycf1+X
czkN0bNARxEL4u8ianoup5/Rps9Jp/FYpTu6zlrFRiwMDx4UkFaKPDmSU9JGdGZD/c7u5uM0/E12
rYroeWF44bKILpPQJyInyicGwKkeE3bs8jiw0GSNBjcvDwTgYeqhKQdI2GV/gDFRppWPxxGNf7zf
KhDLwvdjj7E0wBmZIKuXhm/5jHyjxhEEiqMw24IMMLz+/ZcHAahm4cqjIyNyIZakpaOXxR7zmuno
ZE4Qt0df/xKB8Ou6kIVZAIzrgIscUHrcq9KVkTM9Sr2GOsfev29h/1R42UubZOIOwMsdB2GhWwEw
kmjp6hTu0Xns9De/ztcZqdaO8e36NGRAKtwbyBH4OJQpwMmXq7nmyAaRd0O9Y5scjV9+sdXsTfuX
8d+Z+XMXV4oXxdKqAV+BsIeAnV+8eMYyQXCWQ9qQ8MA7VuV/2BZMBvl4JAhxycqBlTkmfqWjc9Ex
N9zgiTQ3oibEcmF8ZHPES0W0ZT43HcwxkzZJ+v7oETs01wStsa9viDAO5x6CSA5CqQDQxSNF7iIL
/gePerHfH91kRN/7l56+dNWD/1V7q7N5fV3Wwm6cyZLsYFloCRkiyNIqBOloqDW+4pQsaDEi/AIi
QZCeJ/LL2p40VCZ1c3909Oehs3Z+xoLJM4KuHTa3zwVBefRqBD8YalWku2Nq8wJPmBYRu49e0INs
/8Pwrohco5mT4CE53/cYD3EtTjMR+QgGb+12N/vpgont3/GlraiMBB24o3Q4lvODloa5pyDpWlIr
uLfoR4KXwGXAtK4tDdVbGTum9p+Kf++S33X7M9d/FNNfx1BlLWR2i89TApZd1CPBITFwFZ6vlsO0
cQYuaDiSiQSlvdbTXXfgehn0+jeQXRJwquX39c+mCdF8a4xWafGlnZ/wfqNKwL14Icjn6fRTJL2o
KkIGU7OGI/dQ/q49M+0Hpz9SDWRIm7IMnP44Jy8mfb2uLgtXEA6wqJUD4Au1BJILEFu11RZZAjP0
3v1AlQVqIa4LWNpPYIGRt4HSiETa+QpPtW5pdirskNevG7prSXvH5jY07V1B6KZSEZYsTgjkATjG
cNFQ7XQuT/cbmncG6Y6R47y0WrSaav6VkUwxrSWLhOcFohHg2hFW8FzMOKVlY9Z4fpEh0Oqtlios
nvj3sjYQXKngscQbBg7U+fj2rGu2FkftUW+BwHRXI98P/qNbv/SNioJ0acVQ/Ac+XuQIEUaTTnRZ
29EQmyYe9gl4W2e7MoOEj816zjyiWDWx2dKs0BwF73sU7KMKTX4qOZFTuXQah+No5dl7mU0dWql/
q6LRWoHMqnq/rnoLayiK3cCRi+Qz1lKamIviD69wEZ4F9UGWAGeh3fsmIK+gz7j5xYS1gzrgsYRn
+UVpYJJ6iY1OsQgEx+u870Pm38itIgyV/5lGR3oVLw8ZL9IZES0S7vXHqIpwMa2SVuVMC42S9wZ1
ddADKLRAQp5rHEnzdKq0cjyiN/OGo3zYSydgyNId4+Ql86on12qaQI/1zfVdWjhJmBC8eHSkxZNW
nlludE3MTH84Zt60+665Kqa0BfXGU9kUQC80NcIz53xeph7zeepndpwiK/CG9zGmYcxVWKyFWYg3
DkKToB9HuEF8xUl6pp36iFk1Yof0zfg5f9y6RIg4g0ADZtoB3EvGb6KSlvg1cqxHxrIHOF0PCJQp
rt3LVToXIbkNQ9X5UQeDfOz1MZwrf+drIGCdVSUPpjC/51oGOXiN4FTiPXtRxjmAD4JbeUePedRV
O25PLJijyA69eXj2SHVnG+9x0606M177rRs/NlHGP2Kalj/9uq03JHPHADRr9rZ17TioHYMFVVXa
K3AexhuS26oqr8vrC1gfbKeoxEZuTHYQYjMfbT7H9EjTYhvbbegb23Lmdwy9Ml241aiuvL7XC7kW
SIQVRrU0lPUiTDywJidTb6XHLNeN0DYApjUfg1Vfk1Wq1+Pay+MxMDVirVLfRYVTbP1qG3uCj5Cx
9djTQWGzZYgFTA8+CC7+/yPtu5bkxpVtv4gR9OaVZLnuVrdYLaklvTBkaUADepBffxd0z9mqAnkK
UdozETMPHcEsAIlEmpUrwbgD+DPGplyr9tI1KFIsKP7k+Uc+xyRVdw15rOMHd3qX9oZfaKDBab97
tqxQuLbfmNYIYwRcCVKRK7bodNGnpXEIOVsWyk2UvRFUldBT4bY+6Y2oMrpQsvcbp43UGpJraO7a
cAd1ndIyr7T87BLDn7vHhZIg9Y4jeOFM9ja4e1N5h8HkoaGDbqb0K+2z5zWBbYUowWVzoMtGMK2t
CkfjY14R4jcPpS3BdpESZLYL5gycHbLvkmMiC0I3bv3V9/l+XFitpspnTyUDOfdNRLrK74bGJ829
QFgo0JUUQYEosTySdBM5J5m1o803rVcll0ayDlNw+lg524mFAcDnGW1e9YnpB0cGyts8CgyX4C4l
nArRBicGokFQ7ZLz+DN3956sK25zBRefF+xvB2fWKxbsEWLOEchOTH6W9c+LtA78IvPCMaqkUClY
NeEcMAStSGzFJOdsfpg86vfWvhyf8F/HPFYlCUkVOENkLp9ZLHOXN64ymoeRKcU7hjSUCAUEtSuz
WpeSs+49WWSPKfeBA1dMfUFHgsSf2BTFn2AebiBXznf6QqdNfUSxwWxwUDRM4nAgfhwfSezTUQLo
39IIUNz8R5AQ2Qy61VQmhSBTi1z6rjvdNkbbnwekB3S46MoUC1ZsasG+0hd/7v5A9rKxuJvbBIoj
+Kv4/qrA04JMASFUS86KERTo+Ho2vinofLYlr8eWXnOGIwRKSKGuaOTszGxoYeLxmFnoeKgJ+7WM
aHlzJX9FrGpiNYaJjbadn5Nqh9Ou9cjNgjHeFVIXeR2+gNr1QpLgIufxHE+p7QFmoPl9vi/G/YzR
PIPEFds8+Aspgiloade41ejmZ7SGT5Nfywpjm6tAGIaABcA0jA64viBEdSdFtVNyjtF0jgwX86vy
ZNXn2+q7efCAEv2ZGoZ0kXA7XNetUb+0cCo58+3kk8NO7fQPVwQs+6jWI3ODBjbxqmtkMGaLVmcH
1clsP8rwjVs7dfl9YQ1Vi0Y2TECpzov30Zp7UNCOfgJUOfEUyQP2J8gW/GIPGds/Y9YAZBG3i5Zl
nDluUp/zIgVP7GR+wcj0j66rByoFzhzsnTbwRcRIDxXt/b4BDYOR7zrn3jYovBFon8MAQJgc5GzE
dE2GQWaunaNwBtby1tm7+f32AF2AiJKRdEI3oEjIRQgbmsYqyzP4HJ9pHP8gXn8qWXb/HeJdNw4i
ZV6RFUN/veyAfc07iEl/fLNk1fGNG3r1df73iycmW9oWvXRteU7198Q5y4Dbss8Lam0wQCFapOXO
3vLmgaft49038wosJfz6KXOWZO67/GwNcDU+KNaHe3sNuRJdwrGEBSxottG7hkswd6W5m95uL2DD
S+fDXWxefQXntNiu2o2WSRmIaM5NmfrmbD445E1n7xV7F9OTPskisq3jwI0Ah7+J8sCKWTufSWmx
JQX4Ld/HPgq9t1fDN0O8+XwSHXoCUXBfGcpEU8eSjQVeyJKGlfvYVdGiv96WsWHIUGFE1cz58wiL
uZ2uo2ab1pBBHfCdtUkQjx8A+QyIlExrvRpUTNFjA4wK8ntAUl1fjdFsPbj7MPs6aQ969XHQtTBN
ft9ezvpEroVwj+Di/s1221dsxosPjCfGlH4wa1k6R7YMITCKWax0JoOEYpz8eXrxvMDGdNrby5AJ
ER5iu+squ0rgGxntMaWnpX5UafgPIlAaR9u1hd5W8eC1OVm6GrS1Z0fZL4vmT1bme/rn20I2j+NC
iOCwsMSjyPZCyJS/ZenPNpb0yWzuE1rSkBvENUEYcX3cS25ajcqwT4pOghYjQVw0xEMFZG/wugID
tforR4Tzwp8fdHWBe9d/zgffJKDTPbB+7+4nJ+jesszXZXjejaL2tUjBo7R0DJJHV3V+zipM9pwx
O605jeWTknsBKoO1ti+mGsmOu83BtVThwAw2Lf3EIHXE9K0hpPPRKXzz/kInADJoWwT1uIUeUhFG
NLcYJtzXCrZzSnwWP2vpj/v1jpNfIQjjwEGxcKGYbT2kmVIghEkx5e99nEpuz5ZiI52LRwZ1WuCh
hNNZ4gnN1iDBOSv0IfaU0K2Gw+0lrGMXzFoEmx3eFSSpQXF4rdrMmfXFSu3iPPRhYRaBmz/R/mHJ
s8DL7l8Mzx2D4B4hKzLGQo6kLIELt+kEWl6t3hnpo7PYksVsbNeVBGExXrLMRa9AQv3cGjvq7G/v
1cbnUcX5M9ERL8yqUKDkTT7TUU3PVXeqA0ruDiZQhACjPJppOKGaGExU5pJpalrQczN9K/ZK//32
r98wYlefFx7GuDdo2lF8nmRBjOud21Noy2Zr849c+xLA6CNlANpdDExDOfdanZDAHmO3G+tX1Qzr
ioZzlYaYA9Lrd7vX13KE59FkhJbKADlO+zph8INsVML6qJEoQnkQzDqw9xjld70Ozy4LQOxI9tr/
sO1HoDJun8XGNkFROWkZuAuwTYKiDrkzqSO6jgCrc7/Y6rzP3ytpe0CB68ttQetDR+ITcSnGZkFj
PTEMSRrizlk5xGfMz6iGfbLsbVlAtbFVoAVDTAX4G+ytuBa9NjxGAfl4TdiOfq9lnYqyzwtPhVmZ
Ta17+LzSvLnfaS+BWa3tH4pXAFihxs1nZ4uQ+6rtKr3Vu+LVyz8axmtafvaKVzvDTMi7jQc4YRBx
crgj7oYprMMCet2ZrL58pUrpW7biO87u9llv7BTIGNGDggcD9RJLuOCjaWT2YLrV6wtmvvtslgEp
ZN8X7gT1RlMpaFy9mpjwOB2rSXIUsu8Ldxro/gmlEfx+nR0J2985QgzJZ3DCg/oJjBjQVtSZr690
ozUqXtK6eAVbWqO0GE8EMHkm49XdWMSlFDFp2lWsakuNFq+K59c/7Le7j/jq64LdICYIFUu7Kl7B
iIEpHPcShv7/PQLVE5+2g+SY6DGNzYTz9bLidUE7bR7OMsaWDXPEGSX+833hiA0t7klhpcWrY+7a
EQFBUMoS/TIRwjGzRUEJEliCVx2TDNIQo1Y12VTiDet9uQoR4QNqM1Y7AJ2+EtcZf865aZxNPtjV
6mi8g4u1HG+fOt8V4VHFFFkQuKDfDpR8opvJQFihLGicerUY85F2CBN2qK1fnYVpOsbndqH+bXlr
HUaxGaUL4N/wdKxahokel3kMV+G1Vb5l3SRnyZAJ4H+/CJ+HIS0MnTZQszaym1Mz3W1rrxfAdeTi
+5bFknpmuOrxclyqkxTiuNax6+8LlrZO8mYZPGxQUobUCEdwYg7h3WcAG859BMuAb64LxraKLUzT
RHfJGQlygO/qUhL6bxwBup2RgUfYggBJZHB30qQukzKxz3r7TI+2rG9+/ax6l58Xff2F0tasiGKd
65Y+u6byy3PyB1BShUhpHNwxl+zW+kYiBgPPBxhEEefDvl8feIFRtEwb4vlchOl3mu7HKsBM0rtP
BJ1IvJ8HNViEe8IDXmbgw+ysUT0T+p6xnSGDpm2cyNX3jes1NG3m6IWC76fGmfbvdRmdJ9+DaysC
Bl7ELWitRiUM1L7X37dyHpIV9niu6shQk/bEsva586xf6Bb83bD2YTD79MFL7w310ZVkg0AQpgvN
75r47KbaqMxLqg9ntc8xjcK32tRXnU/J+PP28axUgMsBDhLZGRBTrpbXGgNTXBUN1xkarbsxxFxv
Chrn6LaU1c2HFDA+69zZxQxCMUaL2eA0ZV4DK1YdUN5NndCg9xoviOD975ydiMNehDcSXZpDqrGm
OxPFXYJsCOfUm++9/VwGyiyeCU8U/BZCKJ6PbmG7kwnQbXwo++On25u00mQ0ggJchYYhgMV4qeVa
09wOnF3KXM5nNIOP+6TZ/VefF/l7lXEcu2LB5yf3STsMMoJlya8X2zzyKjbsdsTne2Wf7DCJ5F9+
PW9XwHg3BAPC1hcFRR+Brc/n8Umrj2Nyuv35DQXljCX/+bzgIRa6HY+xg8/PZOe678z8XXZ3lzKc
EEC24SAgnuQW8fp4MWUBDZV1o56zLvbLh9mTIdE31gABwKDhNuMiiCBdTL7Q6TSnKnpMYz9RDJ+V
TTBOslzFxkFjwAgeC0AzTX3F6WN5SCDgPqvn0gZxd+jKGmC2lnH5fS7/wgtho+rRlOH7nfpSZu+r
er9kEs/wD7vKlVHHWQARwM8BZcZVH2Cd5y6aio3lTJJhOSkqpXu904sw7sYkha3torRzD6Y7fMbb
Mv1s9AUDq+pJbYhPiK6dMyWrAtMkmrkDu2iKLn+X+F7X5RiRlBQB8KRgw+/S7CeiVo/5xFQnZa+D
yzMcnMl+cBdn3I+pXh2Q22OBMdfFVzSwFy9ZNVHMfJuX/tlhXudripMExJ2sMzH0rn8oLRp6ThP2
GIJtBbaKcbShU83dPu7UeZfPiRIhVjb2Q6GlB8uqi5CqEyi6DcCE9mmSJd91jEaLYmZ9VboRI6cB
SvRzdRyWHe0cAKz1JFA1VhwXr11y39Bz7Qk9pYqPiT89DVrFdN7SOi12Zpqljy3J+6BNiy6i9bz8
TExjfKxT9GmTchkCN9PSwFU6dd+CYzQAPrV5Ld08Cdqi7ny31MZ9Xpqd36Ot5oc6OaAsqW3zzAy6
TD7oj2JM363tF9tbtB+Y7sfygBZzE8H2qwkgKdZo+UoMlvwpZ/m+cZLvvRm7MnD1Whnx6KO/BFk5
KDyCiWtlbJfC7OmYmWfDBDdGvDezXWz/uG171hfqWoao8NPQtC0AN2ctC73ntLnbcuLzPMmEJAfo
Y0ViUdegRl2DbvtsM+WhC2pgQP/h9wOfxhvOddDQCIZNMeu26hMcXQLHwdXPQy5ZgY1Nvr6tWMGF
AP73C4swoskr0ZhlnhfrF1iN/DbHAEuCXh9ZKmhTEHKXaNVGuLhCu40mMO1F3Jhn4r5O7GDEH+f5
s6vfOcIENhMRKSosaAyAGV2BHOyx0KcJ8S+6EzsMeHzIAcbN24+3T2UVSnAhyGEC6oIyyIrEryFg
DW9bZpwXZoSLg/nf7LkxT9rwMSe/bovaUmDAKwG8BdYVFXfhbe5qderVYdLORvOBKe/Hw+3P/ymm
iOePAdnw7JDfR8AiBHWFzjJNi0ftPBTM9+bfpMEAnrYOUvLguT/17iFvniY1CZTO2VH6yPqPaFPx
G7vdLdVZq56n/rlqfhjLoUklubct8/D3l9lij8LSDa6ReFh5lr9vFn8GOnKUuM5bm8ubWcFEi+d2
Nem6sFle5lOroyP+qM6Py/vbm/snxhM3F+4CLhgGhsF9EDZXVQdVx5MGnTfUwKldv9IxrBm0bfmx
KLpAn4uwUd45LljuknCc9gV191r2KwaTRFJ/rauj3h4VmTu2XrTOMUweOFrhaq86gBx7ce0OwVik
5m3gE1c2AmJ90a+/L5hcqo1Z3uX4/tz8ngxnZ+r9bi5Obj/eHTFcCxJsY9HEhkknCDLwNIE3mmSL
JOu0uRTsE6B6gG+sQDUpr+8n6COPTLN+DyKp157S09T0XzEiQLKYLVG81RDWEWRKK+LRAcFXnA21
DSai6dnuE4wnQAG384pA1xOJ+VrfLJ1TJP9HlpA2qGNiYbolZKX9ZwO3eUoeqSzG3tIyZGwBacS8
ZM5Sef2uEG+azDiLrahxRt/re/9ueLuG1nd44uiOAislamLXAqo0Lwu0qVpRajJfhZWn8bTD5bl9
hTeXAVQoWP7QL4fOk2spisLmhYA9N/JAM6z6in13twFfBn9GbHDwcfjptQA7N7vY6hcsYyh23aiG
JO8+DAqTqNe6YUWQIwRhjj66gG6qVpS5cYDJl4FTajujeR3QfVrsxnEIZrX2u/Kz4X66ewt57zLU
DbkDdIIJB+VpmGyqjbYaNQkiJ9/T9re/v6HNV98X7E2a9MxuGL6PWVyGF5okyN5uS9i4m1cSBF12
MFQ0S3pImNq95n7JAHj9kcuaHTY0DaQaSH/oSErhfgoHNMZgpXWHSY0c56VIX2QdhVu7ZICaAAVX
9DXDW73WMyWxm3QwRjXyjCZoxl0eu34uq2etqgJICl8KEbIs8USVXo2xhmypEEB8L2ZM7MUwzmaf
Z8fuzrn3cPX+sL/xfn4IXVlnNCYljUriBZjwXTadEsNvSkk7w3rXIAKFDj5UC0BHseaeWlVqas2y
AIp0QPg2kmM23P3GoKSBzj8PHg5ykmIXSAJSBGoQawEu1A60dk+UZ0uPKtZL5Kz161qOYMkwEKde
CLGXswZeqp+LbOrZxucxVwGDm/FYokTzx/5cxBFZnYNuUGnBCtIESxGiEez2HZR9X3izGub2SF10
zpmUO8sCO1Zhykzk+ppzPw31as6HyqGB11eE9SmmAdl5fGbaknzrSBxHpet8K0BA8FaOKQmIUesg
PgGK0y8HZdnz9mbfy/XHOK1Oo64GY6P8ai3lVZ/dD7eXv1bEq5slPhNt64yaWjOYoKx5cSr7mzs1
D26b7m6L4Q7ptcN6LUYwQnNroxFixgVexkcjPmTdWc3e6V4KdKEs1bUpCkg4NKIDgQU+9Ovdxpgt
LTF6okY2+T2XbxjwHU5sPGTJuaKFJCe1Plksi4+8Bt4XfdziK45WxQ4kjJUagZMhrNRvMXfB4V1p
325v37YceNbAVKBDUxxP5pRgCVPtXo2K5KA5WVDnu9R8NfKft8VsKgN34P9HjGBmZ3PWB73v1GhI
0qDEhFm/shR/0hLJcrbkcCge2E1BAQO6zesjwiuV20mTaZHjHhM9pIvv/YNaX0rgv+DCaljoctaQ
y9Oi3gEGtzp2MYCXklXwXynq9KUMwfBVlbdU5QIZxPSdOSxl5C+bu4S3iMPvAWoSI/RkRkZViwst
WsxvZvEEj90bJfq7uQSQWHLTijyTWH8pk6n2xrTSIlqM/nh0kdm7rVEyAYJG6ZVKrLLvtGiy3oZ9
30mGHqw73HnnzN8F/Pn7xTmbhd02+tDgnLvqsUH9uB/wnBrO9NlpxqPtol94wVRb1r+VgxPmShrC
9d+pIJShNtkRE11fpMI0gxzz2AykaLssLAiVQKo3NwHpAE6Ugj0W68+g089ai3paNKY7NwnRR/EP
m/z3+6INTzCxe46JrUWZdsizUyOzqJu/HxgZtH8g9b6qcaEqUSRjrOP32x/d/sPH279+y7aZLt5H
/AOHS3wd7cUr5rZKdO5AnhbmBbN9GKZ0N02ywfRbXiTazf8wNaG/XrxQ+tBZRtKpsNZzfnK8cqdV
1mk23WDSlMGfGZqlXRll/ObqLmQKr5FVul02E8hEgcxXvNNSPepG4zvtr9u7uGksLuQIbkwe2+Vc
NIsazdUn8FVY1tck+YesBYjB/u6fEHCNWtdD0SAD2ad3wzS/GzQUxShqLrEMP71u0eMX+0IW18mL
i12SwYnncVYjlWVhZb3U5MlpdpmNuQQz3S0YopKAaLJqP9fsE1URA7ze3s+tc8O8QfgPSMMge8l1
6UJ+r1aLAYYe7KcFn+wFXPyq64+ysUxbGomBMHBWUMTH/wQpZt1ZqEphlVP6juQvbf9OGT906QeQ
w+zUThJtrvmtsaeX0gRjnDdGzNgEaejwfLAwoCID2QwzmwA+zE5T6amxxmOd0dBt20B1l6+MFWHf
JEfV0MKhXL4krRv0TSMxj+u+jOvfJRrxmSZ9avCzdkjte94vIz4RB1m+wVeLY0o8X9XyXSzryd48
4b97L/qJqatjvH2Dm6mbc0hT85M9KSHNul2Su5IIQCZKuJw9ALF2QXBx+nlfTe/pFNbNUTqCevMx
vDhfkcB0qualwZQeNYoxVS/X2D62C5+W9ZPWxv6coPs4QRdaNp+tqtj3RfW+Y/bD3IDtIi/3edIe
W7RC5CkJjaTw85y1QVMmx9v3aitfxKeng+GTD9uCr3l9saaMel3ucZUvHuoa8wuVvWaehvZpbtER
X8ZPaQPfs2p8hhLobdlb79ilaB45XNxplwyZDfVXo7bbkYdc2d3+/OZl5vNDebQH1Ixg6m3UaxWE
AzBZxW8PTnpZDpjzi4p+/9Vg39JUhg3ZkMfHSYGyFkEBsAnCThIyep3i5UiKxDtS79XflB1mY29p
HxIZyJBbBsHVRTDF+RoNkMqBu+x659KCqJ6dltg5e/7duoufg3+mcrOzG6vo1BrLEFDNPVPm/e0t
3XjVIBfLg4VAHVecQ4kOmrSNy1SNxuSA0eZWGhhEcmobSnElQribSJyO1mBiacpUBVrzBmTd/Wp3
JUF4NjN1bB1S4pwcMAiBAQYcSuN/KUJ4LYtKmSZ9hoiYvHbdQ3Y3ShbzLflcIGg1LpAj4oT0JEmK
Mi8QU+d6OC47YGLC+08arG4AgPJG8lU9uh+tdCCesURVY34lUxECHfirkiL0thTK1RCuo0qB8Tdi
zjhv07wvibNEivfg2YdGyfwFTX+317Jh7sHo9leIcBpKBSuMougSuQ71lRrjODKfaU8kk6iubDH8
7xf2rKimKveIicWYu7QLvBI9jBIRG8kUPgIFNW8gpHnd+1oEQwGm7k1viRLtNLMHuFzjp8m6OxkK
YmnANVGn4ICNVTK07e3UGdUlmrVD2x7a6gBoz+0j2fInQY2Nnm8HUEYwwgp7latGh+donqNc14+x
mvgZGV4GoHXG3NmNNfDmmn4ou+F3b3SPTm4GY1sGvSE7sg1rg58BnALyUmCiFqEpqjcqrtkYc2QH
eUECc6nvdzWuBAi6l2rmCMixM0cmMMjFjprfu0L1y/ZeDkaoN5CPaC1BwyagF8J2xl1CR1TiwLsP
/kXfIxJrsOUlgKkbMaeJJmTe0nqtdygk9yAAVGa4MiNob/NjY5RB7TwSQ9mj1dWftWc7LvzWeq86
P26rysbthRkC+xqgQ/xdFVR+iHWCpIVqRJ29790fDk2R/t8bkhL+xsVCdQ71RZAEoGQqko2NQC4u
DdGMKC+eyr4N2zkDOczvqvYCVE3/YUWc0swGBhZZHsHv18GBbMyDYUbu9LLE3+zhpdCADstlEJmt
nQPKE7gfoEo28gStbqZFwSAn73am9dDVvjH4aOaQ6PjWJbqQI4Jiu1kvnBENVNHkPjtZ4w8kur1h
MgGCJ4diE/BRBgSo5AEdtoUMwr8mB8P1sUEQwVHDJrBEgieaTSnI9mrVjGq9UA+dNbQ+1YbMR8W7
fDIS5InipWsOjV1/07tJ8xE60qADlsD30lFWKOJ3VXDucI01XGM+iwwp2eu7VlqxUafKZEV1/9Rg
cEf1pPWSEG9bBN5cXrRHa7dglYa+T4A6oFZkd/RbYSZPrleDnNja/cO5AUv7v2IEqzSRJF16FWIy
E1y37hSyf8hnYq/+SuBX4OLJLTO3z2y7tqICc4J3TH+9vYANlx50iJy3DYXtdXCUaUuaVVQzI7sP
rfjRzOCk7HPyiFmMUjjN5plcyBJ0cO4Yngo8UlE16H6hBy4FzlWWMtq8SRdCBN0ahnbOuz9C+uCX
ej86G9cInR4WmOfgnIqOg52juD1mKQwOztqolSfdmU+3T2TTpl2IEBbgTLpaKU2Gm5rW7iN6a7vA
VkBD3WEamU/Niu3vl+cg5W8D4ozXTxVeH+C1OntQK8jrzRAD3HzDHAKMCgy7+7H/2DANM9x44R5D
KwQj58yUKR6lZqQ0R5ofj7fXsXXweNrwEiD2ATu4cBWJYRdlqSUwoYWvfCtl9CFbynv5eeEeVvVg
zxk/ltHcWQSzup9cUwIT3Ih54Sz+XYFwP9ykjDG8DStIqgPw8nWFCsGxUnZozK59Jht2J1uQoGeY
6VEm4AoC5oy6yIA/T5oGYN/h9qHwj4iWHrNnDIeXKzmj07X1AkWY2VdGbkYZeR0VjBdFa3BifdeN
T9R9T2AGbovbujsceoIuMngeqFtei0O/f+uBUM0E8kQHBP+TPSphNuUYVLi7LYh/aL2uv4KEzYvB
7V40OgTN6MV76HL2MqRgjSNp8alENiN0G0Pm62zqNygAwCKq8X+Fe1p73UQJI2bE2Hs33WWDxGfb
/r6JGBXJDzR5CbezJoyTWC1mZKUHWvjeJNmyLX0DLSEsgM51XLyfKJ43bkGpHhnTfqj2KEmQQhLW
bR3/pQjhjhbpNBVoAdKjFCMclpDpD3WKvgiJkm1tFBgfNHAaYCAvimzXSjYsCairdV2PSN+0fqYZ
S+D1jQwUuKVhnEQPvDHw2xC/XUtRM2oYrMvAdqkZu2yxT17hhcasIEZM273h3D0SG68ZEl6c2guk
GSsWpilOFLvWUBTDkMn0bZTFV5tHY9gAhaH6DgyScDP1tvWWWSOY7Dgn8SenZMaurdsy863ZVALP
mqx/eA4Q4iN7CPodzL4QTmlalFozjU5HLfvJoc+W7DpuqjMHO4LUDX2xFteSC7+sRftR1ZeqHhVa
GTYp2Il+abnMRm/uGqwmgigVwFMxGdI6GBlSTTZ2jVq+utihEat7k7wYncRd3hKElCdS5KBjQSeL
sJputL3ZzXD6w6gVAbHIR33SO1/XgK0ziNYH95vPS3HC4fSWZeclplJEg/UFPJhFidmy+2r8aHif
bwvaOiXOrM1zBtzNFYyahiCAGJ6CQvLw2Zm+xsu+lXFRbm/dXxH6tSI0OvBbywgRTnvKvB1dTmZ3
0mSziLd8g8uFCOZAqzo3L2vsGAD1C9snjyn1J+eQxb7xO47D27u2KQxKjVmmqI4j/Xq9JEoVvTcU
XNay6eeTahfWa652DgKEUjtZzEOtpGkmO0ReM8dA7xgDK27/gM09BUkGPAcUREG4cv0DGtclceqW
eqQlw7umJd9ZF6M+g6ydP8YyZdzUkQth/Mdc3OSkATR7VgpYvnbX/qzyo5SSl98e0VvgzdO8SIOK
hiUsp7SKpfa4bR2tc5Y92/Xp9nZtr+Dv94UVFETHkEo11yOktfxO/9lWx/kf8E1w2//KEHSinPOl
80bI6OKFBcxa3qD5OsZij2//3WIE12ockiHXbNwngHAOSNP6pjKGmSLRMNmRCI5pk7KcURNSYN8z
v+2cY1y5/2JUQcqFcAT/WaF6y3E26Ih+KChWmLxT1KB9x2RMFptHfyFD2C0HPZOKguGlQMp8Tdm+
147D+PsfDgRsJQCE8X/FkljhVQnRamyVXjxU8ZfazHx1iiVO1eY6LoQIVpT2eqH1Rox1WC9q6/k5
25mZjK1889AvhAhGNB+arDQsCNGV95wx4/7sgMEBHBglwpNaoK+9tiTorh0xzdNCIrdGpvjbpMqc
jvUCQO4HskXMiMFbBvbtawGLqqOsryCHyzC7wvar/m66Mc6qD2gUqF3/8OQJ1yLWZtYqxEIQkKs7
l2E8xiIJctemHfVcdAGCXQX8K5pI79MwtrQ9QyLSoHPylEzaRzTDA3tV1GevlXVwc6N0bXiR8kR5
HPxpyNasBqwm8URsMpRm1PThQr5gPib69dXkK6hSbt+RrYPBTYYMoCeRrBMsfNeCRiJrezOK3wHh
EFcSA7/9eYAy+RAqRB6C4rJeBytyjthMJY9j6Wfd6z/8fF52Q4IGp78ab1SNsaVk6D/r5qAYD70e
3f7++nZjX1DSQ2GFN0mLLHapUzA391IrahxUoY6ZDQykxIBsbBF4qfkYGSQzgW0SNNeqAapvAOeP
tJJpH2jmTV8VlprH2wv5E3YJGgXvGDyVvFsLjokgxquAtuz7WYsUTBTskUUH1dM3xhz4JZ8ay/Rd
Vh7a7KFjLzNYvhb6sxgkF2hroQBG8noRWsYwz+baBoDxhSaWqajRPjbVQ53ph9tL3LigfCz0/35f
LIQt9ZIMqg6Q8azN+6TrdqxKfb1VdnF8d8YB2Usg5oG7AwQc2YXrlVh0aZW6wttldvPuGbOjdrdX
srFTOoaq4fk1QAoIR/b6+5pZ5XU2ESNS3C9jNMgAe5ufx6WHSqO4vgKpgtui1EzAVyIX2N7pk3m/
x4WS7d/vr4pOSVE5dusagOr9nusnIPR8j0kOe2sNeFD4eDtwG4Lk6XqLWqvK0NI2GRHBncy+dqYs
gl3ffJQaUX5GcgF2Bdf/WoDaM6PvaT5GSrEvAUTJ/CwJ7z1miEA+HuMmMMAKDI3XIpI0LkZqgq+i
yD/GaR50vcQBWt8ICMAOgZkKddrV8DdnsNCY6ShjZBT1Ho9U0NRhp+wLV3IfZHL43y8CEQrcukYY
5CRw41slNMB+FFvHUtpCuXkoaIIAKAC5vhWzQK/pJUj29BFNJFXY9uqPcXB8w5YROMvEcOW7WI+O
bOVs5doYVb25N1pyKmj93TWKb7fPf2vb0DSH4jmaFlQkSq7FaBVi/4UOQ5TnkWNkADuVfm7NYdfe
D+dGKAjnCO48zNWqhw7Nrb3dO0YfWfahst6P3tFOet8lH6bk25x/vr2srd0DegTRIjLnxgrw0Fk9
QXJQ6aNmOaZOVJCj0Umekk0RyJfzxAIaxUTgATpd9WJoyBCluelTFbOqFd+lu39Yh4NmNMdD46Eq
Mrt1Q1YTEKf1ERJLJgtNzbdciQXYWgeIow243ghRV5Ov1FQZU8WEPhf0Q49SWaW+mLLi1ZaWuYDy
cEoOg/OgXWtZ3g5agcFbE6wxeXCo+ezV1p6ObUgt93R7x9ZeKzxIPivY4fmCVa40Iw5FaqZgkbsM
vlOepmwHct3QmD7krSyZvbV1l7LEkKX1+gk4SxaZE8bRfGprcKbIhhBvbx1XMiR+15RWbUp0FjfY
uoR9xRwflj/QJXBlCXOZFP73C2tjaQkm+/WQYirsoCXjn/YaR39WOwmQZv1m4nigZyCoQy14RYUx
JYOXtkbHImT9Md2y8YtZ8ipvHsqFBOFQLEY9knsti1rjB6sf4hw4eRmuYMOTxWB6eEbgZ+bX0hb2
q4r71i3mCkLYWzp/KvWHhdg70ysA3M79ofzcl5+TugoU/aHVn9qhkSxyA3GFH8CRDYjI4beLBSc3
cdN8dPQJsCf6eXSMB4xmfCW0eVlcY2csdjA3xiPoHVTfBrJ8sdsvt6/Z//EDQDXIZ6m7q+QwBYfB
OOnQGLc9V/pvbRzDttw3ykkd3tx8N9Bjrz2Zxt1ZIb7sv1IFr7Sa+7krbUjFaCu/gWPUhHP2PbEk
RmTrOlyKETy7Ji8GK5/tKWrcz3b1hdZ7CmjR3bzbYNu5lCI+8XNtpSqXAgZSP6WZn0r67bZsIcbI
ggYJZCJAuPO/X9zqtlzABztPUJI2p4HKujBZioPiubtMTb6A9+zttlLwq3Ud32FBCO74O/KH6vta
ngE7NafxAvIzkLjpzUkra39gJ23SQx19IUUteR23jAnaw2AXOW8ouuev5XmlkYMbKGER/ZzHH00Z
aRh/lVbLufi8oAVFFuvuWOPzKgVDfRo6CVg1dR8lJXC1+aU3hqpydxGWdy8h4OJETOuoy2jTDOnb
pI7M+qM36b6Z77LECGj26fZJrXeOp0Mw0gHzHEAYawiqB3rBagAVVxXVvg02dk/KyL5WPXwctTCU
cuFZrHhsQKtasXyZqyjde9rO/u3NqIftisPtZaxtPZfyp99WRaZL9CvQ6Zgu2QgpBNStvtFgRozk
QDY26lKCGNDXZCwsl0vQ3D3n8bOC2yvY/D74OJAOQZny/3F2ZcuR4tr2i4gQM7wCmekhPWSmXXb5
ReGqcoEACQkQ09ffRd8bp21MOK/PQ0d3hKOlRMPWHtZeC2LfH49w1tiNluhMhhd55LGdnskdrW4D
3lkHmAf0Ji9zRxN3pz6zewzvjxFnZlR0Pw0jMcOkQoz09aesbYYdoJ4LdDhgFss03tCXYDTKCoHW
jJOPaEJsgMP5eorPBsaF84hGdIDtUF5b0rfWnesXWddXB8KKxNRXzfTsArSPVqENE1uDVNuv51tb
vnfzLbMIuacHOZRNdVBWF5klePNddnI4JC6J5Bep4Occi7U1RD89knGzFQBbwcfj0Hp56AqHiENO
GHTbcrhJeTyW4ZnvWjt1cwZsRpCC1WSp+ODkIuCa+bj+IGi5BCXCmX1a/QzEE/DCUQkFoe/HzzC6
kQe8N8QhsAKAYfw3U4Dcc6D9uWadFUcM2UTQcpmgb8Z/LEFL9mDBBGR5hSeujFp5aahLSJBHxAMN
tnHheZcNf5i0iR9RRdZwV4rN90/I+/mX3qbDtBYT5vcK+Vo75p7TvI0Afdimtbh3RHgGyb+2sqgs
A+2OqrxpLrvIrJzmQTOmIE8tY+HXcLLGC3WODHLteLyfZL4W7/yGSRe6YQMmESQxVESPX6/ZyvA4
E5A9Qw4FFm9p85rR1ihE8/rgRgyVqnN2aHV4DG7NSS1I2MxL+O7XZ2FZT1SMEljGNGq6p+qM67s6
/tz2hFICIEb/EN++G782KNhQa4xP5Q++I/nj16uzssNIi+L5t9Hv5KCR5+PPp9T0U81zeQh1tvVI
vSm8u+6cYVv7BjwIwLMjdwHfaWFnyl42CskyecjT17ZjUTt8/92cX5z/TDD/gHeLRLrG7eA9yYPl
PSnnb2ievl6lzx76XJX6d/zFKuVNl0GyppeHkdOoc3cDTUIXGoHPX0+z8gAALgiUEvrckH9dYoiq
nncVWNmqAydQTB5qR0WWyA4oLz7RLng20nPyS6u7HwAbCYVImLTlC4d+kKpsA7M6uF2F9sMBpR6V
+tdGWJ+TPF87Aqi4InEFTm80Ny0s11hJlYvBUoeZx/1B9GeegLXhQfUBtOJMAo1yz8cDENKi5IGH
W5JKU14NIx+OUKT7fjsoCqHvZpmPybtjJrIRol4Mx6wixlXROzdSn8OHrHwIcPUohcCLBc57yT/q
eNTMutRqD+RlaK4G8e2EyCxw9+/wi22YFAxMxjC89pLsfiK7rw/w6q9HJQR8FTMOcln0hjw00joK
w6cvjv5pG+eatFfOK95wuGLo0wPSbmkMcxkYKhtLfSAAJxPU7Msq8c/ht9Y+YuYSn4Foc0fzor3M
Z8ToVM/1AdzccbGh7Bxlyoo1Qf0WuXxkFubc9GITqorxTLu0PYze9SCv2HA9AqV+ToBpba2Au0E2
1zRh3pd6E2HbqDQ3sFYj+MJS8dZYbxZg3d/f8HeTBAvL3gHQUnkd1qpxn1WsxZnHb+Ub0H8w8+BB
WxI7Pm/Vuws3oPeo1sRsDgbd5VZcT2cClnPjz39/N74pScArF+ND6tEIH3o7nuQZ92PFpiOoh4QU
EHLg015ug5XBfx+Coj002OHaHBPHeoaO+SCOqX769mbMWhYB0Kdolv2U7SRNbepByPrwbIaHcjyz
Vp+vBcAGHsK6EPJtKOAsaje6Cd3WYsQ5ANLcXND2jKu5MjzcMzxBaBC0Z7zJYismy5WZGGxY8DSq
QffwbS3vOZ8907BBdgtR1rKCoonhD6g1AWCSvl112Z/vrv3/NuUAwoIqM4rMH39+2anWNPPOPYw3
ZXNL5RkHZGV1ZpwS+k4R6iKGWhxUxy79XgFifAhLa2uL6QcojM5UmD5bJUgWItqFXMlMl75M3+XC
bZgjTKAG6yhz4zpMaH3h6jOe2ucbN3ftovILfCJgJsvmxpFlLeG6Nw9Bm25Kb5P7ZCu873OqYBY8
oDNrFMzTEvevHDUE1FAWQCx9VPmXxriR44E4ZzKea0sG1gMYcai7wLNdWL8q9fwRWqvWoTLFBXER
CU5peYscK5qqg+93hyOzCo0aQOFh0AHH+HjCgiDNSoM2xsGPRP2U0R9fH+CVjUHDRwhVwLl2jo/5
ODy6TgNlKhkcWNc+6oJiEhu0ucbj19OsHOQP01iLaUrXGbmvggO3qsicom44sycrE3iokiAHiFLF
5+YI7bWQ7TNxEZ36t/VgFWd+/7zKH7O0sygCgDBzFg2xzLyM714MaueWJyrLPfDyd9pu5TOp9oO1
JdOWDX+/vVTY75mKgqB6/KmqjG7ChhUKXNNqQ9KrvL/4/vBgboDNRYskMvYLN2dy7WzqiOEdhBXl
qJ+cy5aubcT78RcHKmAkH4nJ/IN5qmkRBem51uSV2we3BskrYMiAirEXWwGCm1D4VWoeBJihejBp
FFkeKclj4xyT58qnALwFnxYE9ciTLzmo8sLgzSgVOUCYoLun45ky07nhFyvVWSpnRgFmzSLyKXQj
4m9v9Idfv7hy0mY14QOGZ26SZzH7PhUleoXgy6JRbwbfLPUGVK7dKU/z6cD1UXv3TvEy5N83Tni6
5046XDrY28VWj4YEyW1VA3KcB1GDhip/vHKGM9swD7K42vAy4X/gAQcMaumpZQ4pJq/MQRcJdfli
OAyNHfndw9ebsToJOEbw/gEsgqLIR/sh7UAbeU3JQfI7iJ9QCPS552CH63NAeRrbYs+QvY9z6LxB
itAFLNCzrtKijdzprrfOMTuv3L45TwGXCqUQXIzFh0CJiua0AKsQEX8ra0+zS2oAcfX49XKtXI0P
s8y/4p25JaMPWRCVgZXOfavIfUG3X4+/Ys4h12KCfhnSUXOS/+P4WZkDHF6Co9fNj07+w2guQ35p
j1PUuioS5/qP1r4GdMBIgMwgx09l9D4tQr/QYEqinbvx+/Bp1OcO8UqlHO20cy8QWIxm2taFI0o7
lHcVr8nBIuOvurc2mrsZsA/yokQRO3PVRTA4G6/yNha602q8ZmdCwpXThyYG4PsAG4c/ucQKKOjg
EGNmBaqNR3e8sbPLsrv8etfW1hHVBKT70Sg2793HXWsZlQZIQScwTvl7u2tvadidiaXWjves0TIr
KGKWpcUxqemldTlPoX5ZHDoPoYh60D3+F2AlDx+CYiKSI/C8l1anxS64UvUw/qSaIil8JyLjkHjM
ZrGUw4+vV25tc1Can3UokRcAM8jHlQuYQJShPLxkFYvdDgkUdqIsS76e5XPMO1Mp/TvL4sUJKma4
NXQnDtxwb3ilo1ZozPZqsHbnkTMm4vMn/eN6A/UJqSqkaefD8s5EtHWd1mzIpkOuJSrlZmw6fGMZ
z19/0uosUN0CbBVyfJ8w6zTzUMQqQZ1kUiMF0cp0P/UCpK1VeuYVWiG8xPf8O9OnGjBho0S3HmYy
rYjzE/WfQv7XZQ8NCB+IRj9f9v9IU3w+72jzsAGChkmfuZXm73+3irowiFOCJg7Mi6DM2YBeE6ym
07n689oqzr0Ls6lFjLEM8qnlDeh9G3CrWA0s1ohA/z7Mf3+9VZ+tAz7l3SQL6+Bq1ciaj2A+0+Rq
qvu9azdnDvjqd8yPKxI6s27GwsiCp0BPXuOOBz/c8enOGO/0OY2sla9ALYCg+2YmMPkkaDgV6LJq
8qY63gW1EyEQOWOm18ZHYIGsFPDeMKSLVQI7JPDGYVYdXSqiwCyi7/cnoagMvTIkOpF/hKbuxxNl
1W7OEQULaHwlo9hmj9/e5ffDL7O0BVWwpj6Gz6zHdNp62cN/MT6am4H4mV+BJVSZDTUz88Dkx6nt
Iws13eoMhHxtAwBQ/qd/C+k0f7k+KS/rMeX8WEQNfa6qb8fBAHiANy9E7hEJu2VRfCJC+sFA1BHU
FzH6w6EInHy9Qp99J8wA/dMAKSPE2stXWDiD2ZqVqY6ujjMSVeF1bkaE70UOGOyZ5NTnxcJcwP3N
pR3T//Ru2R3rZUXaGrjnvRyv1VR/+zqgawAM46iFQfQK/16c1gxQv2xy1TEbi4RDSCQ7h+D+/CjO
MwBvBd4OEKIuD5RuDTERPqlj0oS3YZhoHXuROfw334EbPUusIXWwRChw4rMm7UN5BGtpQqcwxqPx
9bavbQXStP+ZYT4W716KIShR5RkwQ6lF3DOS9Ofgpp/fIqwUGlxmmjj4kNb8C97NEHLfLSqQwxxV
ccUrQNIuGn3VniM5WfkOlBWQIkS+GSk1Mv+Kd7OkI7CsE675sWnl1oRKnnsuuFibAV1BsLGApmDj
FybWz/JsCNNAHW32KKr75tteMKhNIKIJChg4w58suEGrySwZ48eR3kNLVXzfQGF81CDBOIVeSUzy
cYEkuoH8sKTlsc1UQl07ao2Lr4/SykZD9wZ5FXSDzDuxuHSmC7KUsfXKo3a20rjx6iuQRZbn6FJW
ZpmxKy7u3YwTCxffQT2zLIO+E0eQ/tRvb0X4+5zxWJ0B9DJIT4AyANbw40p5WkIFWg7YCftKBq8Z
e0CPP1oOzyzXisGd8x8zQvAf8snFvSiQhR7cFk+e4Rb7vHcTo3cS1YbbgaAJO1LN89fbs3J+P8y3
WLgyU7QD67c4dtm48Zx2Q841AswjfEy5AMGHi47MGrKQ6Dr9uHAdyaehGHxxpGob0Cxygkg5u+9/
xdyI65sA883G9+McaWVmQlCzOurxxbLeIIL89fhr3wBkTghzBWJf5Fw+jm+Wvq/LwBJH/2S3UVhf
s/LwX8wAU4hMJ1waMA19nKHM+2loHAVXB70/AWNx6FbRlJ+r5a6d4tni/t809mKhVIFuqtrFNBXf
OOLeyE9oADLjr79l7Uyhdo/qOur4SDwvJgGNuAx4W4ijCt/4SZ/rxFodHuUxxGi483ilPi5VXXY+
MA4EByqER9KXmzIvz+z3SoAGBEKANgR7xgDDhfs4B7GUETS5KY4BMSJTX7gBTVL5luf5hhtjlKH6
00sSybNqnWsnbe6RhQ1Y40kKykzUzeTyo5ze7PDRVD+s8e/X27PipMDew5kDbAAox2X3OkTAdcp7
eL0eD2Ozsl/8tNhNrvgTKCsK0+/zucycnyAyIrP6DRztj0vptAhwmobyY4duVhvUeYaCPmR45syt
rdvcDvaPnCJUoBdJjyrPOuiMYxbV7QN/1w2Jda4/eu3ugAMfjd5A6eFcLKYY0tLIfYU3RvNrIDs2
TPGo6W+b/hw4ZWWDkCdCjA5pLDz6zmLFessRQDuO2bHlw3MnzASOWkSgcOm13Wbo/advnwekEQH8
hIuBqH2pihOq1h6bQpTHkB8Izlv+KC07GvEPoQ9fT7VydYFBhgIebAMY5Zc4zWLgcJA7F86A/+RF
nfX9xwytIuAAQw8RvIDlIaDjROsW23IsH5iOdXrOKsw7vHjKUD9HKQqjz03sC6uQVhN2poZbnHu/
Uj/mQ74LWh4X3bYluzTc0ibfVOKWWuc8/pWj92Hi+e/v/Nja85vJt6k8DkZ/03p94g/2vuL0EhQt
Zy7SCjUx0qHISiAAm8Ul/IXDRqqsBAUTPHMbPGNpfhtYN053k8ufXIcbL3j1wgcbEjHUa2N97oqt
eD9IxRKcDdh1Auv08TvR0ZmatRfIo3T+tPV1aO/RhrHxxx1VF2k/nfvUleMIfwGpX6DKUahZ5mVr
FQ4yHXp5TKv7cWhiGUDwd5RxWvC4dN+89MJRmwZ9DhbovaS6D+1NFf78+kr8g7lYHCrkUWHw52S6
/TnPJJVfOFZfH13SXtZKNxEqVAnN2NZK7QebW1vd2M8ojaH/lEfcJpvOaLYpAgI+thxpV5GYDMx9
tV29fv3TPtkhhMhzx/O8G+hKXuqZpDzosokSdeqHOyBjotHc1vXGyXYk/XamChPgTQpnmp4ZRTXv
1LsDbg+yh+69lieb83gn03OM4WufghhnLmMhr/uJM8AbjdHKghbjmxGkNpNB1Enzu1GvWfXr60X7
dKbmpSKI1yDhDSCpvzDeZZG39iCc+uTF07Dh2fbr4T/dEIRrUNrFtsBgz7W/jwvlCms0p9rrTq79
txAnNuxIveuNI3XBP+SceRlWvgUEkS7aMUEXgRB6XtV3u2Jpo69tr6pPAmrx5Mq8//pb1oZH4OyA
QtUHjGNZRWp4QTunzOpTbf9NN7b4+/3hUToCpgp1qhB53I+/fs7dB4Vn1Sc0a/9uzzkcaz/+/eiL
tZGae9pndn1S/DX27DOZvU/uDPIJ70df+LhO3qadE+C3v+Tj0Xjp9Y/vrw2yOzA4DhhfPlV2jaYv
OxSq1KkUP1vRxNp0vn1Q5zZmRAFIrCJJvLStFehkDJNhc7PwZhjgNnv73vlj+9fjdGE0345r4CXh
UQYeDFEm0iSLa2E4eBiDKq9PfYaEG28hILV1/Ud6rpvy865jHkDnAISAKtEn+RhgXcKqS3V9Mtmm
YptzkmTnhp///u7CDYSUjSgxvG72TD6W3ybgmpfJQ688aDMgr7FM50onzLOUYnzSBslQpXdK8dg0
eUwCARHib2sLWwDtwINAehqTImvy8XPKsGn9dBr6E3CNkdm/pT401m6/e5JnhjeAxeEwIMxYQhr7
KS3gVubDqff7xK3qxPq2EcQEcMaxZBj/U/9ESpsy85jucZCjJrvJjO+Pj7IwyCiBfJnpXheGBEun
xgCCI6d224QSeLlvY6gstPwAUYPbDpHlTx0nEy/K0fIz9xQWL25+YtAyIdtzPQ2fDdZMiouLjpgc
HVJLzw1Q9xH+DXNOzRFEydBR5Zvs23yB+JD3cyzyCl3rtzhtmIMxCzziPyAJc8bD//y6YgYAClGV
m3O6yxDPqbRGSytmkFnC7Vs8LNtSvJHxEgJLBTkHcVhZM0RbaGhCZ9nMU7cIJ4juKsBSbOsUTOSi
IAkYyow23X19P+ZX7oN7iWgVxCUzncwMLV1axjSTXFhFQE6m+TZYRdwPNB46hjSGPuNOr8yEJ2WO
HebY6BO4uGcAnSCXMp7a0QL5uurr7tqivgU1LxYmcL/ot/0H9MoBGwLfHRHfJ6mEYKIjHrjWOWXN
puk27bnW2X+yYYu1g68I3Vvw8aC8tnRQatunQ1UJ+2SGrbtJDbeMOSsDRAV1czPxKR1QvJcgnA4y
mSbGYPaXTu/4UTuZ6noyg+JSCs6OZq3aKO1rtkN86t9SUE7sbT4SYzd60OIxSVvc2sMLSMWAy/Uu
CtNttyVJ+42okQhkRPoiopCQvCOTn24GlxjQdCrMY5575wjIVvYQNSXk1kAKjpho2ekYgm2BeFNt
nwLwLYTlw2hZ0TDtxvaM1f4cZc7FK0wFmAX8WZybj0/DAH0IVzPHPnUui+z+XgNx4QS/xiYAv0Ma
pcNe653FLz2VcEBYvr4TCGBWXtoZMDm3GIHE8ROLqqr1RHvq2SegQX5YMpQ3IoXY6MCcPAVC0zrS
qlV32rN4jDNs72prBE9wjwbHKJz4wONwIKMV56GndoPLy71q219N4P8iBfCd0i3DdmPy1H+dzIw9
Tl6FZiY/Qzk4dmxKcUzs356D1i9g7OxLVYhZpTwc8iSvDbnptTB2Ye0Nx2zQw9EYQ+/VQVIFSkel
b2xbU5rojEr/SpVttZ+DxI1hjZQyIChmm3XcpT6Sx+FgXjKa/8qNItvK1quj0CnKrW1m6q0YTL0f
QJN5LYIWCfnaYi+ZQCNOlI2jBdvdwkcoU2c71Wj4j1XmvtS8dVEy9dkzjrNXROCUOEFi50fZN1Uy
+VPxxEO/SjQzuy0+397C8AxxZ9LpgkE+Mgq0WWwkNeD+tcUjCHXSfTMaZGNr49cEEeY66trJyiI/
DfhfYxyySEPbZeMU0ruVo/lIe1I81iDDvjBlDbUaV/tlnJaTZyYZGt3sjY7yWb6xaMPnHtXdZhNA
c3FnSv1aqO7JDMUQmdVoXQchFj0SIUnjupXDz1xWPjancic0JnP+OMoKeQDLCOnlaNtNzK3cufdZ
71RRUAteJkLYwcHRVo9qWcZjqjgQO4VZp/e+XY2/GeneoOTRbJVsXsSEHHGU2UZqRg7JUGEru+BH
L8sfQxM8WdM0ZhFaGQl06gsZAZkKundjTBMyiUBGvEvBa+mFQ1XH2jDEHy8APq1MaRp3DRVHhnzl
hRPWD+i5eHHNAVIleWYlfTNsWEPeWrOvI1p5w13YTH2bNIF2q5vGqPSur8XfEraKbtHUAqqLpnMf
PNYpHVMJRoTEbG2QCqdd0ARxMIzsBNzQs/BaAR/L8AakB/tjUbMXU/mHMW9lExm5eO5N+XvIFIx/
kTmxKMBA07tpH1OH+RGTWbBtpFdfhob2oKLApNiUMs94QtBzed1C+0hF0lbgXUltGRFGu43n5WxX
5VMadW4rExNN8X+huyEvi4I/liNMBakKZyOq9Ek3hv3DE1Z1OY7NH+W1TRd5MhVXshyNWLfui07t
yU8M326CC84m8w+MD42quh5ieHjtxgK/dX2AOQanoAJxGe91D9LQooKvzyAMnyIxg1rmD+jaTNYF
eIHTDFQHhXbuKAG6ZmrqKVJuWyUDtQu8sqGX+CX76+VKJH6TY4YqcEsweino7wJVM+EouVZk9WSf
jzYRkTM6Sl02I3ci0ByasZf3KhapAnteWUE4wQTtHEHzVIz0apuQsThYGQx16wy/QKWsdtDcSeOe
Om4cWsq2tn2Gmm/cjMEfezIavu+L+qaAzsPNrBxp4WjUjxbn+zE3DqVfSWM3dXixIDRGOjCosgc6
lD/NIIfh6ZnrTInL+mcJhrL+qg5Yvne7GmZNi6IzI8METzvP84xGhZ+qG2kTtNoVYdE/CsLT/rJ1
jfSid2V6GkEdYqBPTkvEIK6ICiO1d3jN00vVcsE2ueFrusNRvStqsmspY5G2imefgOwB/mGdePgF
cePLKs4KQ+soTS12YwVDdl8PtEj6ruvUZnT7654o3D7BJJGJGIbgtwUPcjtklPym9VaX2w5tCxtC
e1wA0BPcDbljUQDWvBRkziS4rZnFWVJUbv0U1Pb4gCr5L9Chk2vedveixG4YpkOegdgL+shkTRaH
ha9S6EKhCT7LGhFNfTnEJUBx+9QNym3pkuFVtzXd2V3AH4kxPE4i/4muMnkZWMrdW6Vn7wNVlVtc
ZyPu3I5GeEPbKDcIS1A2oGA4EON2AnpwbxTUENe213VDVPLpFyi0cmNno7pj/VGNH4BRsnWspOiH
PtGw9lGZOV6CCrqTaE8pYPNadyJx6VVh1PdOGNlB+btTdh+XRgfjKtD6dDnIzOQ3xUw2s9ccOLUR
4I0mqUtI5IGb383CTcXB99FaUAJmltfDiR3AkggNWkqbC1uPP6uxDBKPgxVAWhO/Tqd63/RZG7Vd
CXSqWf4K4UCBryq7a/3JSpqutjeuCyUK0sOyun3nRI0jjZ94OP6ODmMkbqtKJ4E11ljhDtFPJDSR
Ep9Ombnz8f4VyQQlwmI3joLjnGZpFTlTa2dxq1kZZSJEY65bPZJRSRn5AbLMdkuHBGCqi9w34qlE
87cpBOhR8ROJzXGqyt7eVYZtbVhmBTHTQX5jDwWPSl3upEsjamJf2g4/DE+1PgGhT+6tOhUxutZx
SZ1OgVgmB2F5pMpW/ADTbrmVI7E2LisoDi1tTt4wgAGUSnXogQm5sEGLvwd4ON2Vw5RFQdv/HbGU
MV5cGQeoDt97YL7YzSn1hId2v7GdHuqAzKL9T1WC2w+66fdAb9GNMPL2J+xg/7MsxjGBia6uqiBr
jgHkwWEcfIjAU78vbq1ynJ5ZVlb2jaHN/gVs3VY01bUdA1aM+9aa9Gdd899m47lbD0YhIgWz4m6w
aCwNXVx6DZYj9PUfx26PpDfhXDkKcCgjOAUyt7eBzrw6ZgMgIDbqdUhaevTCtOsmoTKrYnCtstiB
oNN+zLw8Sj3RXMIMi0jkQbUpWO0/4C1Tt71d6Cu3ANlMYeF2aKvy85gjFbHrC0fvoOHZX4chTaMg
GwILwVs7Qa9aqBs03zs/7S5/aq0g+9G3eRW5Q6CuS9iQyMpztCo2cJykr3BzBnhz98GkQrkxusGO
0twWf5qW+NCLr/CgN03Jo5GSP2mJenfSSfLgtEMzXBheV7R3nWNmvxsLrkxn11d1aB1ah7M96FFD
FPhVOBU7E2IldTxV9Z4w/1h4fYGjbJaR59Y/06C9l7mqLoyQs9gqsh38tcAdwBE7bGFod3Wju8vC
M5zENAbvEvSBbQxgvopq0lndllVg7qvNacbq4cm2R97ElgB3gnb5bTrZ6YY6Wb0ZDLPD/9EkYfpa
Nz6PtTLqDY4IKJA8O2FSQrErDKYdntu/9mj+6mW/BaWIQB8FimBFuHPyIFHU/ZPagkRTQdGOgmbW
yK8Zup1yjlw1y6Iw7/ERnmxj5DumG9mxE9S939AGXG4HWUCI12qe7EKxuLS8n9Posquide962wJP
WiD/8koEt3lK9B/0aZE9C6h+mAJKd2YpQG5h9PmjSNtqwykZL1Lp9eFmdEqS30DAQkUGD9NrgiUH
TzBa8gO/rxCT1tptI+gGwvUq0AazCfsR+OsAz5krdAXnzYDQT4O38lmOeOsiouzs5IBFeYwNpuxX
3fv1T6toXkBH/NqnHo35lDVw23Lo6PQPdKyGo6pbeH0ZzMueNG0nk7LwShLneT/UcYAH6c8QTMEO
jOzdK1yGOkEq0424w1BFzNtabbLUUBuXluMmLKz8GuQO9Z3Fe3LftB7bKk+62ASvKOI8bXgYSTbS
x6KVgLNSqyn9fav9yopSp5umJPUNa2tY5C/N2u6utMRj7Xl8A7OLgIEwdWEKyOoCZwawXGfw9JU1
ooWHWns1VqcJs10FcxT3QMS8OEZdXSNoAIHdZGRDvxcOV9ZDKT0hLkBly+TWg2cLBnuab4tSFUnB
sgdUm/9UBXy8ys1j29Uj7J1GNBFOf8Owa2HCXdgaH7++wPZveBEUT0AjBvtJWvlmyNEEMOI2n1pv
gv9eqfaFWW6LYdv70lQh/HofisTpqGPRKO5sqpKDa1Fk5gMAG0G7M8ec5XD6RJca10UIMukSL7dh
abimKKW1Wik4jJPYpj1Bb5g2vJ8dNugnLUM3vXFb1Fl8oC8vCBsq51J25i3K+B1IOTu7irmjyUWZ
u7beZEGNpGc6onqI7gXnVnksQGte+dvKXTiz4J28NUPWwxnss6suBbosMpGd/WHoKr1kNk37RFog
bDGEB5IwdMJUV6HiMDeyLLKnwUuDyPBLrANQaeCRkxVacEy72oQWefXcqSBoxoAD7AzBvWwbGTV1
poARnlhcpPkDMUcW57U4cdI+VihpXTmhhH+XTi3ed2hc0ozzu4pwEQ9IWjwJT9xPMoMjRrQfQ6AS
9zmrsksT78WOmTLYgc/EwmW2gwTIfHEFLk9SH9HYZUWBQ5W4SftM8VsQthxbj7xAPKvRe5q2TnCg
hIBpayK6jKgqf3NXPxC7fLRU7eK8Ot1TRlz5GJSNCTF1a5yepKOH205B8pGnXoKHssCpD4OXjk1P
yCGITOANlAa5SD3XeMlFTiIkktDrwHxlZVvm9/xIQYn05KX49U5V+b+6SSPx4NgHMJa7m3GUP6pc
s1jkuBc8aN6aLkhxy6onpx9EbE6IBbNBVZGvDBcqvaWIGxv9XnoIyQP83scscNgTaPv9VxDYZVeT
ayo8oI1fRuVAq1taWYOOqxIRbIkupE0J8Mpeg3iMbM0ppccqEKFIoMwh5MXk6GMjvKLfs2KmZC09
BHVZiP5F3dM3sxvfilZfdyoHC7rHX0d/OlVIWxQImGTHb3QW/LapcCKugCXeqEzjOeqJqcHTGABf
FvgCJIcBaM+AXWgrbDgkB6zLsK18dI456tKtyC8yuL+cUOdxJWAgXU5+WQ0aci2YomhiWAyUXjlA
EEOGNVO0/TEBnxWPgUlxg8rur3ImIypdP43H2p8QAdVZum9Fp6+kbWg7Knq5p1NqoHHVBcQqtzrX
TIrUexokekhMNt4PpecnCO0R6vUsh2EJH2pCnwzJjMh3S2c3sVLG42SXF1MfZNsqpxo/jamD14sO
MbycO21oXr+AgaFN2AQPG/EpDHY2VrdDYOMbejSeFlPZPRj9VL4WUJR7RuOr6C5AwFbf5YDaRxae
ni7ufec0gTbtUYGm48JHZi+PrYwUe/DquY+ySBluuFe3gGtCrSuCv2j/lOhov5ysodcJrQxfbUXF
vV2n1daVgjwhIO4TDgDgbQeq2E3DqwZtJ7b5WlatHi+6FN36iJ0Ab01hKfAKhlHYEhU3QTjt5BA8
Y+lpBH8EvUMBHNVxIg9V+T+knddy22i2hZ8IVcjhFowSJVEUZTncoGy3jZwznv588MyZEUEUUfJ0
l/vG1dj88w5rra22+9An+jeaPZHg1vIr614sjJauH45fP1VVWKgPVloPm1rz5Xu/pMkwOItirbbV
GyUDZa8L8lfLyzu7S61PXsPAlFCzdU97cALx3DoVDnjo/jTK7CsumbEZPMW6awv1mFnAVDojbM+Z
61XVpijEaFWIbRGtBFFM1rni+OvCJJ6peueHgX7bShMiBCvVaB9H8l7O9X0q9HGxwkXOaYA9bHIc
K0uP9krxxVT2lV7aUq/9kju32JZ5Jh0UzwOSSynil0bm47tnVMTfiejWaz0adZSj5Eio+SaXbrgJ
mybG4yyDbWsZpR3WZfRA7vbs97n4tRf87BDHhhGvWyf7LglDu+Ne9feFN+hPjqq2p7ZwHUJKJJZE
I3iNq+Fn4KbarkGzvbdLxQseAtQMPwVDnX6PSq17NSPrUyKIkQecUCfjFvnNOuRYrMJKsu7ySIjX
AQpdqU3KWf3p8Ih8AobUSPshCH5meAgHt1PER98lI9q1XWOL3DGHwczkYyXFKrmaWBDtRnXQZzaF
L5bcPqvDIO2KRG03aVD5D62MkLQDBdH26+S36Qm/Ci2lobgZnI0QYbsMT3kNpf+H4yRI6zpg6JzB
N+5cjR6q9x3CdW/qQL6rJJlzVxN12W6qfurqQg/XjVuY5kpzpeqoFsGARoaW4Q9Ygkf6NDbsWmoy
BPOD7JOfuGMTc+NzY8nNuolM6aVtleyXX+e00nG4QRGMGIYvGc/CrlIIbbcdoeCp0GXiR13Psp+l
EqKZW+YvhVTJKFGjWr2qAq+tVpKcvCah3t3z2lLV1nNEfMlgbkX+kG7KyclkPzo35HLSm7Y+1aWc
f0FCaUDws4g3biFYT7FRu9tgSH6FdCxfBTBtDbtw4o68ofWNpECwcqu4/DwAdTzqney6K9N0BoaI
+3Kvy7kv0k3HMbat07crsQ7otSCbb31Z+L8sUqDP6It9Jvmu7we5V1akhAcuFK9XN4Ojf5bI4UUD
F61OawM0Jr3wZ13I1aq3gjIirdAE/rrNhP4lVMrwlzECcXyn5VK0XOVbRfB5EAYz/8epx20gqs/8
7nLdFZQcVjkZs7Vs1c0GnFz+6lgEtlJjvciN56waNTVsWUk5nEnc2pHqq6uOS2hbqan7PQAE9IKi
R/UileWwlYfqsdFb5RloZ1DbreyPwYYQqmwvpeu4domK86aQdok/kAMBxg7sJiNDdT8olCxUMe6f
4Y+aj2pLJ7k+1pLdeHm8VEVrDetATEw7soTGJvXMaXIVdLIlQFL6KpeUcAGnMFeEQ3JHGst9UJym
6McsUyV8rV45G83nwdg0yj5tP17hRc4HrA7CLjCp1EndMjRMvI04VChRr6Vg7y7R9OdqGSCnxuqx
xD9TWKJGDksh16ScY2FTaivJXSjszXx/xFSAaoLgQnvVCfo9DkXHCkvLPFfaD65VNuLtcszMErz/
/hQhrJdGS+KN70dZQ85oryZ3Lhm420YWBqFMoIVk53uTtI8JcuOBp0VYKLPOfR6IET0VwJ/CiBz/
/h1yQybbQ28d3QBPf//LXWpBcf119B+hN4D8ol0vYmmXXzd7SxEUv1bOgCKFOzPe356bmarfxecn
c0NIp8qlx+fF7MEy7prhru13RrgE0lkaxeQckKGk7iFUyjkZfg7dq//j9iiWPj9Bm8hZmbmgJ5Rz
Vu3JcCsLKzw7SdTrYQSDDdC1yRqggJfofqbx68WtGdp9Zqu/0iUx3rkxwJigNZNF2HglauVkkhdm
AWCQuOOV7FOb3q4fn6VRwmXUgwX8P5X79YOSkjSa0GeVnKSvbuL0ozRO2JvvDRiXe1UP0iHIEJI7
10pjt+baEZcYBXOTBLWEXiwKJHZsXVoQ8kYh8ySr5zfyaLbuLJWH576P0M3Yc20kf0xRIK1lhr6S
1fq55T3EizdaYWERxjmYAAtGwBI/H/DxdUffOlSpo6qVcW7ap8Fdo0fS7ooXK/n4ibgwM0ERCnEQ
upaJmYzSwdqNFt6FmRMhA9il5frIIrnq85OnpEA8LzVwmrXHsFtr8U6lZFyQmLm9Z68fCDAsYEcg
DEBjh5lzueCVLilNnFnEG+rgP/RacqZGoR2zulEXLF0TfwCsAV/ROYSwL9jIl6aUMfBOTNE5S8fS
0JDmdYFe/MzUT5afroRsJdWkGhbkIK73GyAWYAiwVzAsT9llTq2nptFlztlz3Z0jCNvT7emb+T6c
aogLYz8utOUmWAujF9tIdzL/NU/bp0SK7xVpQfFvycK4U969fmlcWSXajv5rTUmp2gj6R3n0TMrI
3x0BZuhSmpNVCTV6ItVK6L8GATfiapHfN/v7EXvXeWEBy00Za1ad1WKEIN5ZkkECxDvUbf9iCd4Z
mOzg0unUrM8xkInb8lWUF7bt9e/HOQOfDdgW/vmVSKHYVI6Skh04Q+sLM1SFP3yn831WAL3c0U2e
MgFCyRWqtHWEc2wcEmnXmgv34fUBB43659iNQrCI1lzuH1moaAAhaeGrOdwl1mugb5P+/qMrcGli
chcmXa6JYADCV01YQ22KlzRdZpbgD/8Ujhvv99Uhc1EtDrWE5nOqeBffp+6HT4Al6eBEAbnCoLqC
ojWtF7XxIASvyU8PdHPz8Q0ExxzUIxcEd58xmZ0wj+U4763wVSE5KNvp549P/vvPTyIIuSn0ymj4
fJwczPqxMBZ+/rg/Lt/TkSL/n58/7WKsUkUJG5XvS/UqMyjJyjbpSaqFK99cEgqc2atEiYC/AY+N
GliTo9wFuu5FVpy8GvqntG7sjvZmS8yk65d1lJj9r41xs727T/O4RFQF/NSrsMla32420pi62Xx4
US6MTJ4FU08g/jsYSRUapwWHIfnwu8Yo0KCCqAtfDhDqZBS55nRlkCSvXOibQe3vnaje/cUY3pmY
LEZbOnriOFHy+lb2j13w4WeNrlPI/6Buo/H4TK+lMGqKzqXAdY7DH1W6UuQFFOTMnQH9DGy2xUTB
X58sc5SCf+hSRz934tq/Awnw4cm5+PxkgUMBJitwf/3c+N0WEbA07BfO3ewAkEpFhgS/BeTv5QpH
sq8PzdAyQQX4LoNmNu2ChfE3Tk42aAneNbpKkTqZ+uKBU0okn0zj3BZbQD16uHWa7e1pmjlsNPUg
niDF8edUXw4iBcQgpxR4zojartTgKRUOmVusog/3L0AOkuwMXTxRbRyZlZd2MqDDPtKQ5tkNsoNz
Hy96STO34IWBySXuyZ5X9BQrz+FvUFSVv9X8lRHBFV04dFMnGb4FxXB0q4iFR1j0lB3fSKpTZp0h
vFYG/phMjVW+F+o3A+pCXd8NVr8G20Iy1tvfXqk/LIJ3u2EkkoAuBzaMFhZ49mmmK6l8RXKdTnnt
O0rr0DJD1Xap/36yhl7Z+TSYJlWbvvmV1v5yYrn+1aa6dUiy1vkdW3p8nzjiW0ZDjG0sO5YtKINM
NasBfaMIIAmrvESfoo8888WrcnqY1bJ3RKG3pcU7Uvur+L5RVrBM2tylDNt9EsyE8mxWbug1b+0o
Amc7qVYAxAG6uiup1dPaI+yA58ZWGD0Ar/NeWkt7hdYprm9PzLiy7+dl7IUM3BC8Nh1KR2T15daK
vDql5UjgnSz9h6XtA/819u/VwrJzq7RbY6lHxuRQInWDOYgSY9oUcbTp+pcpAEq3zT2ar95JBW1Q
3zrlY/7Ov0yMTwdrbsIcmhyWUGpzXDbTPYHTM6VzEnyMOzB+3+DaYrro6DueyssZSyRv6C1Krc85
eG9JfZXrj93tfwzgj4+tNEmbkhW8NBAlSS3IpWo9x+1G3BrNx+72P5/HoTXJx0rcvdrkrEtmZvSS
q1nPUfP00Gh/8eMhmJJyRKtfvlIK7EQlkcTUsJ7p7pFqn9t4IRyaXLnjr0fKkZQ11zpKWdOAPtCF
QOm91j2Vmu0EPxV9JVt24X7M5b+yMnleXavzk9Zt3FMUJTtQPt+NIvyYh/BvE/AOcZpJFk37RTai
08So3bsnve93FDMPBVjd22d7fq7+a2JytmMX7aqhw4Qr3yvC2tRWXrKrlnIQM0d6lOEiMYh8AkTs
SQrYUposb2ACP0eFZvcKYj13+fn2QCbOwjhXxKhI8EJ250RMO9xKplMNBWzj56paqcWeEtnt789M
FG0rSI/j9BDFTJPkseibYV+JnLj0lyi0YBLus0ZetR8UNGIc7F1kYSRYy0yUOTl6XWRqLrhO63n4
WYXH6K1uPnz6MEBLWglyLmsyFT0HKJwUmmuaz4n74N/l+of37PhwjxlgKpY8o5MNJQklmZpINp+h
kvSPWnB3exmudhIUXJIQfzhEZCKm1aJOE0wn8nP5uU4P6i+5PUjmR+8+LMDEhDCO0tfI4Lm8Wguh
cwqhL9XnrPDWaglwYPhYvkNhH7HEcCaRL6WmM236AHrT9IpAUp/jyG7iu9hc2Kp/PnDxYLPCHDOF
sg5ZObQPLoegNW5TJk42PHtRvQY1bwferuqAwfn3Sd4DRnzy+3MrfnW1TeHsnXxhC0jjcb6yj3QS
kQ1CQPKU2dbAdSmAog7PkgZIS157joZcwWEACoQncyyKtfV7cBd2xtUFwL4jqCVoxgVWSPNcDrqV
BHxjxFGe9QRA8iGsPnbBcPuOWtQkifkXwTF5srG7oCqHIrCMI+ieDdDCja4sOKCTvX1lYbLz/EpN
ek1yjKNY++s4LNcCG8T4YNz8Lyu4Vuxsyrmc0st5AjAmcOvIxtHM8lc5Tu8HQ14Izacu/NSGNalm
ZS2ZzqTWjGNaC/dRDUop0YdfJlBBuwuboyqBteyE+6RJgPT4X29fEZOb+sr4ZCNASrDioGGAnQrV
T/li6Ke0QN1wyQFYsjNJQAx57/QSsLNjbq4amGXVU5qv5aXDPJ7Vd2fp36MhChoT7LT7GjfNu2SN
UXpCJOSJeazf0iFb6/rKyG1FS9bBy+1pm5yfK0PjcN8ZCjJNb+o2No+DulJYpw/eq1ffn1xKXqGX
jV/x/S81lcceysTHf78xJi8NuruNanqXv98xBwj2YWoeJSC/BEXVUyWEC3HD3AlFThkaOoEDxbvJ
1pLUzlPAyhnHpFyL8Yv7pUr+YhXIReMc05f4uimCkHmupzeKcSxhUOkpoCWhgTrwF1Ml0+hWAZgC
s2YyjBIZIHRyJYw0yX5Qqi1Usr+wwEM3+uBjZmViATYB3KbQMo+Zm26V8rsDoPi2hblzQYylSFQk
yBZM1YnFXPSTPPWsoyvuLfkHqj+bICQqHfbhUvJ9dtX/a+rPbffuZHi9IoRN5VrH3n2UYEuXyNEr
f/G60N9Yl+m9wEsz9QlySwSVm4bW0RD7Z4hGz31lnG7P2NwBJyxFNYNmflRuJ2tilXROl7TGPHrg
q2HWDcAt/zcL8uURDIPBiAq3ZdXB8fl2vuDXzK7DKOYDQsIYA/fLz3tD3YaxM5jHULzrml+FD4xz
d3sEs7uK9nek7IAwEElcmgAh0Up67GAiF4NVGFm8G20krqU4FVdFUcs7Qw6lv3j3GRMqSAwNXvzk
5oJ66iYKbduPYQ8xUjukzaEzf98e2Oziw4SnAIkDbU4TBrpe1YGmdRZK81uQe725sLmmlPc/1zvV
espIYCZIa08GIWZSVsleaR1heBbSiiYAqnqX96tQPavKOv9Kr/MMAWB/RSJ6qD7mUV8ZH0f/7oSa
Vd8XqA1bR+Ah+Q80B6NtHpjygoc5hl7Tp/j9ECebI1bNVAk0hqh5ql0DypTqZ2vYJ9GTFOigKReu
hFkvCokJ7mkKHABqJvZaNBTyvOA46Y5MWVq1PMC3IoR0zajWRVhINrSF8pBYQ7mT5Ny8i8WweL29
b+YOxPvfMPEKIl+nWNTU5lGrmpUcwBPMVQt3R4aELZ8iLV/ftjd3xlGS4XiPxa8r+dAmRfRJyCLz
qOblJiHH6TvOGnTdwk01P7ckGnHqiVOuFD0rkeRU42CHEsyTq/WOLcI3qiyFkEzxiC6N72nafauI
XFRast8e5LgdrzbSO+OTe1KsiN1SyzePymA+BkVwZwXxQnZqKoHx50iQ7mDXoBKnXunyhLkqJGFh
6EdNfLYSNBSc+7Y7ycMxpElMS3+Tut04MhKtururFkGd47aYjpByByEuLcHHpp+XBxJYUAk5Gutx
U2yVIf5tWMV20Jx1HOULudbZpXxvazKbIWwNMYUNfyyGMofaCLDbJeWaDK8VuG3EPtK7LKu3Rifu
4OguybjMreWYGBqBBYx16kt5nuNUciDoR687lJ+UaiGUWvr8ZHCiQ3P4wOPzI6Buq/Gf21vx+rwh
Wsj1MrYtAx407UOS8/XWQfX1mGb/JFW76uK9Jvy6beN6DNggZB5LU/ic03RE0WtVbxiNfqRFiHYn
qwvP5/Veu/z8eG2/u/z1Xk5pi8XnFU/4msjVk5unD2THD5AXF16A2ZGMODGRgiQyNpNtHVDSkXO3
14+DBWcetkX4z+2pur5uGQtYLSKMUVZpKviPch4wD7XWj3q8cz0u2+Fbx7PZZAfFXLpqZwfzztZk
3vJ08IPGrfQjMLRtGpdrzdrcHs31g3k5mqnDVkIl9nRGE5Qnz1gnpGZL67FGlESvf8Gbvm1tbjwj
SoMzOOrPTf3bITIqjwa9+rEJpIfcsXZD+3rbAlX5q3uN1CxAN54H/NAreIYr9GZXqb37rKdibmyh
9SZ72F/1uuK1LledVmt3rmIOm1hui9fWaLx10OXuXVYqnd3Q6fW5E3LtTsyj+DlJMm/rmqH6Gc5o
d06Tqt9xg7Wfa1PQXvAIwz36NtE+Q4LBHgbLWeViGayhPSNn4FBWgXcu5ZvQqPpzmZSsoeOpOwf9
CeSC8maXGlGzjxI5Wpt65R+V0jM3kASDrdKECI+IoXcfRijgroyuDu8Do4F6r/82sH4opUh8rvQi
pJQZWhspsr4OuVjtiiho1l4RZg9CrQ5b5DDUQ53mGsB6YLMoLqT9MYI9etTiMlwN9FFd5QC/tpoX
/OiQgUYHx5NWbqbUazV3hCerT9qH0PLDTWFWzUHKwmxrtaKKWFmbrnV1SM9KoMLoi8R0lXY1ahW+
520sB6p/b8jZi1NDGfKa0HhzBD3dQqWL926dh9s8L9tDlgf6igYB8l1uqF8yrfNWGkgAu08H92RQ
XVkJLvQXqUS0wSyk+CDk4g+3lbx1Ugpnr6mHX1a2cOHOnXCA9mQQqHwBCZicCVhjPgwvyX2mg9/W
isKDpsNQlNVPZl/uEqlZeD/m7neE2XihABSN/IrLy7EySklrJQ3xIM/boo+NirR7iIwlCelZM5So
kLqS+DN9791K1D1Yt+4zLX1qCMXeA4t/bGt9e/sEzp3xsWyBPwz5kXLP5XACBxZ6r3H+DBiy0D9h
L982MPeYwNEkLTrCNWn3cGkA0TxH9IrSfQ7QGUjFwTag5mYIXoXa7ralaZYcD427hOotksR0+74C
glup0/WdUrnPciDtraDbcXIPmZmtieHQOxLXZdxCTFO/h1X86ETiQsw0t2TvzU88i9qta79DlgaV
D/ProMlvmlft2kZemNC5FTPBd9JGlD0IEulyQhsEmBQjdZxjaqY/VW3UlJacBWd3zgbASKwAQOZ2
npypopJjKKulcJR7AZ5ZYBfRQuJvxsmURw3F/zfx5+/fORkSSiX4MbVwbPRMt93Mauw0DmFbWVDJ
65NeGOu67O/0jutN0Basz23KUYUQf4CEGrpyl3NIXsXUfCNzjp0RbYPoe1aFm6j/HgwL8zhrh/Qp
JCM0T0lHXdrx4RjVNJhyjnlClaj8ZIm08jNe1OTL7a0/u15IMhN3yVwY8mTrZX2UlXoZOkcn2ijh
Y5itP/x9nm6V4I4LidZl49Z/t1icax9xFMs51vELbZnil9ufnzu5fB+0OAVn8sDTXIcvDJaZOL5w
5DKX2REAdxJBce+HInEfQZI3a7GMTdvzqnLfwZNZJ21nIkOj+H8zUCgLxLEj/2/qj7bDUNbob7Ir
y7XxqHWr2wOVZxw4CVd3hEUhgHuVlUzVolU6VKGOfeVlmxGPt0o1q1lpCSD5AG2lL32LrIWc5OaO
5Fa2KlDj2GW+SJUfb+SfCidj24VutjLKPFhlEuo9SjZ8NQvXXIeSg2cQhr0dp4KLVlv927e0g99o
v+qwVh+HUq7XUFLjlaH1S3C5mduPkWljjkEEW2hOtqCaS4kfiKZzRObCdnxl40YGjYjT/e0ZnNnp
mEFHFGQ1nWan4RVeqjwYFTtFMVEFiYJVvmBAnvFI31uYEsdaN4vaSPCEo+O06yTM7Q684SpVjOeY
5ptmlRxQrrMLOVmH8LVVo35uNPPQtxb6FckdMpkrwSt2Ztc+0i5+E8b+XkIO6PYszE42sHVStjjP
V4lbScvBQUkm2zR71M11Krl2vtQCfcavQuV27DRmMB8U2C/PPMCSFvUESTj29YsjfkI+bS2LII8t
bRv3CxfA3LGAqmfhWPHaXCnX66Haaokfuc9+xqrmPwUTichwV/u7XpAhV3886hyJt1BwR9nUK0Ya
IhF5qWmWcOz6pyDY5//cXp3ZLURwzvYkgwEHcfJEk+ADoCq3wrHtNOkgOLq48uh4ugqyAHr1MPaF
qCz5hIxU8OAYqNyo5PnXbuV8IYp110OtOJtYUaIz4j7Ozy4ypFUWq9DzDKHaKnljHNQid8+3f/Xc
nqJJwehVKERjUz86x7eUW3jcx8r8BJ8X+HQEOlPY3LYy8yLS+O0/Vqb9FrReCJGZ1ISjKLGxVsG3
uj0ES2jBWSM0tKIV35g/nzIOK1PL9S5JuCQoy60JMeN15bfO2iliaWPmxRLbY+6oEJiPWFd5xJVN
1nuI3JYoKBWOAhpoGSnd1vodhU8V8IxaXDgq87bIQAL9IgM0TWgoihdbZcrYRi1Tj6Y5Ulyv00Hn
LUBapVlCT82dTHms3fzb3Pj3717+SE1l1HEZ2hAgICHtrB6CpfVWySe/kO0iWbjYZs2BUh271AJZ
nQJdlBZRpTIbHc9kl3vcoDZiQTuVduliuvDUz0wk2VSDmIHgZ0zXXY5MqxuvyCV8s9pr94Lrf2sc
hdYc/qYo/R2SUgtx48zD9d7cdOMXrR+nntnx8iO3UT3V8ZfbB2vp+5M9GBllbPQ630cCiTxXvMSy
lcb5uMxAy/wDbXQkiYw9kC/ny6hEpZSSmgGU6j+ysQZvMOy0BudkwzXtwU5uefpafSPG1hkw9Tcx
buwRWI7X99a17QPSjXtH9Bey1TM7hp+FHAT3LIUdY5yXdxtU7zuUXlI8qsHZNkJlR/m9gKhi6Hn7
zo1XZqHbtyd6dt+8MziZBwTJmhC0nnM0heZRC617oMMrwcKzQqmRJhoLJ2KKPRujWpmuK7zAoka/
r2ksJouJk4RDy7w3Wg96qX5UkDsTy296dE5tZBn7dqc4zT4b1F0os+6I6S1c2rNzDGkE8DjF7qsk
ai9UiNcIYxiDaJEqPNXdrkEtrjpa1ucoWXiHZvcZMuPUpegNehWbFZmqIi5CbFYjO6RG2saUHtzu
n1T1ofaysc2Voy+EaX9owld7m5ubWJe4+oo5JDWm2Ndp4Rw9/SUF15ehUu1Xij2oEjCkk9F9Mfud
oNINU5Q2DWJOwAHtDE22EpFNAemaMHbt1CPGGx5DQ0SasbULSX0KTH2XdvuqKFAaVFYl6sGdsxda
lMjVg5EffLHnrQA8UB0RvqOB287UngJibrd98v3vmrPXkOiUvwvW5167G/I7dPsWrkFpbnHZXly5
1FuYgMl+Lr2WYKPxnaPbfUOWP+6PiUhe0RvobfFT7xPEgPay3jwL2lPSBnaK2nQZ9xvZ6uwMsK4u
BnZlmPvbh0yeO2XjT6I/BZSVK2yFo0a9LsWSddTdx06u1l392cLjR7Z7lefKpkegjP5W2XBIs2+K
zJvU17aafxXEYaVpw0YNfrhlvlL9DJzkqaF9iproq7Lf9tVvJ0BDS107+VJm5g/Sd7qNoFeBlcLv
IzqZPCmVkxt1EGgWuIMaBdRs47Flcvd30g5rWboX2rdErQj4PlfZYxobm1DZNORvZG9Hi49YDUhf
KnYZf9N0Ogg4B0mIdlHxNBivWbNr1GOZnkrrrVX3Q/etqaI7PfknzjtSu+Y+8+5uL8BMuRMK+h9S
/diAFJLK5b1qmgNKkqWjUqeW7MZ7Esr7ODz0xUljywfZW5X/Uv07Ch0hamO3bc88ZfRXw38elTsQ
hpiYLou+LRrXVCnTP9fZY3a6/flxQ09WSeVCpX2LSZB/1TRBLcPGq7NcOwa6+mh13k7TydMNH5T5
Ge9tzIwDGBOSyjT3Y5TkKjNEEY+mHKxRE62kD2qDXFmYPH2dWw9NWdbaUVRPrlbagfL59kzNLQSo
bXoqMA5gKNOrQdVR4a407SgDm0NHc0lJaPb7tOhlIYgJrtJjyM/KVkl2+hiXNiIwP//i17/7+mR6
iqK0lLri68ByE/nJLJd0LmZuTjLbJNzI54yLMZkeq+6Vxk1y/Zg16qPa1cegMz8FXfYayM66N9x9
p5Xxgjswt3lHUjm8D4vu1tPMpdHKrdQEbN4mKHkUS6M4p03nbpIGoerb83dlioMPPX5MV/Hyk2u+
vAFg/Xio5tbRSVTui+RNb7ZDvQBsXzIhX5qQ6bPRNFkenbykb+5qWaFuVXvRMZXNJVjB1YPCaEZ+
APkFxLGu4I2DmyaB62FKbN113lY7MQgM29JTz64C5Z/aTXa3p+8qCB0NWjhMpGhmZL6kNtcUx8rC
U+h/9vR7yUOtGXHJpXzV3LgUUifolamjFMD49+/8Xzd25biurRBKE4iQyou3mVkezKz9Sdi21yrj
9+1hzS2ZQmcnsuYkn64wVPmgtK5j6eGp7PUKVcPwtXSRj5TVj1ZTmL6RY01sBn8U0Z3LcUVyTLQ9
DOEpQgm2KHE4f+bV59tjuTrAExuT7Re4vqcilheeiBD/UVX3M3p39yAfqK1XP2U3faKl3FLrzHmb
6EUZZKDA804et4G6B1xYNeQd9WlQdtbbbF0p3yiEqM3BLJeqo7PLpfzH3JQ4IER946GCFZ7axl3H
xIZik6/cv9kU0Lhw2LmbWLLJJmyE0A3rqIhOES2rks44ab11GhAQv71ec0cKSA1N6XmO6PE0mbvW
7B1JCbLsFJaG96K6g/Y5yD1UWV99hyv3L4yBcAdtRbn3qhseskVuRHogPfXQa9Bc27upf2dBLu6F
ZOGmnRsXLZ0pCEBovxZMitQMtbi4zBC45DZq33p0RcvhJ6HC7SHN7b2xoxwHl5v9KncUa2kdKgqt
afPIlbZCSEsdYdC2ZiD9o8vBGa/1QazUamEir155Thl8SN5J1PZGOtHlSfaEoER0FauV/CAJD9ZC
AmDp8+PkvrsAsxB5VD93sxNdT4I1QM7bczZ3gN7/+snWRh+tFOR0bOf7Lc2J2xqazyxcdUsjGJft
3QgCrYDRM45g8Df0Clb+xwmanppALeIi5vOInQtPkry7PUHj/37hTrO8SN+BgZZpQ3YFRqNnhNfQ
oy87VcKwS+P7rt1m8ZcgfUm6vSbv8n7J4Mxp4cEjOrEMoKbwKi6nqy46JakRQz8lYg5Yt3KFByOk
W4qVysLa7QN5YQfM2oM4j04e1q5una4YUievO+xZ2+BM+fNXskTl+RNkTyaRtw7fZJSkpCAx2WVa
L/m60HjJiU5YAdiZLhBWLWdqBUjJNLLnwhM2QdquBGSJK3RDC80/0hpE81aAgNr8WdaoGma+FNhc
0/VrOsAOrE0vdG0ZsfozSygNdm9Gyh12OlvPaJeE3Lj4kCmav85yXdxkiV+gFB26d8iPtzaC7/7B
9QLaDxZt+FzmSHxWruKgJezQjiMpaFIWpyvdVdcRCVN9GOjqBBfNpo9LRPztWntPFIcHIjmBpjSK
s2Z9gqMbxYm0VVqFxDXYE5s6BIKAch5/a+k4dhRz6ZuZOl/RCe/LbRBXgA/9UNy0goGCumHSa8aO
DTWxlcD8jcyc86YIomxbnatLGyL+Vz0rw5coU4OTKHlWtA502hE5g1fcBZLS257kSve6JDrfac4g
N3btBtZKGFuiRGqi3ccRehF6KRW2lAnxU9z1yrpNw/apQF6aeWmLhb01c/TBJVJzGXOYVNumR99o
OrqolxEPZv3wKy6lhazzzN5FhAqI7qjXxeaaeFFaZSZxqKnxyUX13R++SeGj3943TODtS2DmliRD
yeGnao4HMA2FgnaoC6fykxNNR2wrfMgKE/jGAmpjZrJ4/AlFRpUiKKkTd82TFJrKZUV8ir0752x8
UHKMn4+AJ6swlu2ISadVo7TXhlLKhehkuJ9a9NuVTNncnqW5AYzyFfJIJb5ObFhZJvqClyQnP19p
9Zu+VEZd+P60dI1kTR87Dd9XrY21Iff4P/18bbKZXCt0NLHn88YB1HcVrG9/frzjJncgzDYI4soI
F7u6A8s+cgvkVKPToNerMqvvFOWIb85Vd0fjrQVXcm6q3hubHDyzjTTodGl06qUDujCKfL49mLmD
N8LpRokX9A2UyffVMO50EyjBqXI3aVjaNVo3sbROt7fNzJw7FP5gCeF8i+ZVjN54lULZJ+ZIoEuq
SAly7tre6eRvf2MGcA4sbROIx+R5wkGkcYbqxydPqU8UGey2lfeZ1i+MZsaVIJ0yRuhsgmtspQvv
JlZEtzj16EGgfb7R22CjSo/ecNSDynaa1naihRTEzEYYlwgfn3wt7PqJdxSoCXtOSouT9yzEyaZI
048fetRWR/EUFmkUirh0V2IjKEwjTfOTkpGoo1PRwk6bOTYaTGZwDCNTl5rw5ff91FJovSNnJ01e
xy8v3VvRrYOF0zKzm0cqpQhIi2wXYeuljVytpYgeFNnJivpzk216PwCLKpg0k/ib2aLwa7Kr+e8U
CWYkkpoHHaPp4mxV8+d0eyfPLTfsGZk3EdWBK8JBX7JEiRiwxbxo1a+7fmmqZg2gwjPK00P6ny63
KHDDg4suThSC8nXEn9sDmCzFvzS1SPdQgYWjQ+/my6VwZQsJG6NRXn3t8GWXJg/hl9sGJgP4lwE0
GSD4/mF/T/YTBLgKJ7hWXkUyBuB0i2bJoV6yMHnHy7iSZNVjCGr9Vdg5fzEAbqlR1po14P6dnGgv
QW46LSU+rwo7P/D2C26IMrMEMiswEovRu4INdrkESuujN23myqubxNrGcMLwyTWk7JNUpe6zCKXo
XtAG9Td45GDtGF6w0sJMe6SZC+0fmtYo/4+z89qtW8nW9RMRYA63JGdUomTL6Yawl23mzGJ6+v3R
+5y9JGpCE15oYDUa3T2Hqlhh1Bh/2FuaMM61mplPRVf1B4yo1d/mON6Fc14cZXW0Mb6QUr9JpfrE
magcUkPCR9cSSIkqHf5z1In2Q48h2UDSjCldPHlzIvH/Q0qjc+tMyD9BiGH/FCIaswCKvsHVa7qS
W27unlV1Za1WwN4Her9Cel5Pg8hTSS9EPQdy7ofiTu/OUvx3T9f/DUHtT7YUkON0nl+HIOF2tFCX
pyBXfyqAPZVrTKptm+v/RTA4DLjajDfdTzXCfiRqximo29ZN4GuB1aMVNPYP0hJg+vzVSM2dMVH1
6aLj+xvt4vzhPkDPGY4vN97rwVGqruQqqadAE86nYS6/ZLP5QWuvic1td9v6mUAl0WDhZcm22Mxh
MaNRD9xm5gknD3yopD3l0FSuXN2bW+jPPHJ1U+xmKfAIWAf7ooaROIXUDak0B3+smXq0hORfcjp7
hlx4zV/muW+CrRv0RTAzwiqprCPkeDpsagqkXeQrw9nC0/83BKc3bR0ZBtR2PEprIyYlGSxu54Od
Y5Nl5gfRfIXO7rZq7BVz5BYdKIwrZ8vFaaTcZFHkRBVj23MZxnrMuBnnIBZd6pqD+XFCBDwzKy80
xKHL5b/LftbDHnlIDjIgnmA9t++2LOU1F5uT/lFTfzvfI+3T3y1xfp5DmMenjirr2+HUfWg7hR1q
H9HPd3Vst6bpjAvy+0G2CIZ1ENQzAR+j8AFEZotMKgAET5kDRdWaLb/KD2H3xTkMltvr3zCjRJhB
q/zs1+rubPrF/NNUHk3r22Aj33SNHLQFsv/vnwLmEKUmULOcWK9XJu3MMJ/nCrasqO7aJt+Nehwo
9YLFoXEjx8u9FuL0lwhPq5SdWl3DtK0L/8UT6k34zZGMs54QaUL4ocNENHNxrJfqm0hf3CtTvo7j
ZSDYNXxQGFcrypIa+eaOBSXvGCE38H1iTw8S9Bqz5oEz1tley5t0N6YZIj7Jl0naKV0WyPo1nP4W
YrtChZnjFY6GfLdOPvd6orNRQ6M9l6MHVWBvVAlH8VTAH6DS6o9FI+d3mm1WpzjNdF+aFPXE2ulx
KuUWzXBvMOSjsPPIiwZ0s/rU8FPqoxhmTs7ObIfxiK3zNe3dP4nZ6ykDA0pdYV0cmv2G4yC3QzaZ
iRY/dL1k7JJJaZ6SdpoB5NO3G0xT3M+1UvpdW1rIi4HqDjUqqRi+yvXwMylF9peJJPV/tso6dxq4
H2e7a7RUpmFT5MnjGKnliXOnv7OUxPBygQ3vkpjXvFK2a/NPPHi+RKR1Q5Po9Rdz5A476qhKH+PY
rxW3NR81XJq10/sr881tt47qRZTNDkjVel4qQRRF+elwkTvmlafQm1t7E2Bza7dDPnVlQoA2xNvb
elaGp/aaWuibY2SdK5qfa/uYOwCt2NdzRfYat045RY/JON9kSXWvS9rBkrC0rYV4mLCKV6D+h0kY
kDi5XWk/vz+LlwZJPxkIDt0iTrLNIPveTkauC6Q4Y+FHiXborId6vvLQuLQgXgZZP+WLW5yWUKYB
8YoeVUBmXZK68QyIVHqUho//YTTkV2s1hp33hoJojA4OsU782DbWjzipfppm5k20ed8Psz6CX23w
9aORFqwFDBrW26erUk5jlZRa/JgmSeGKeDh2Ag/JRPkAowTDFe13o1w7Bx1nPeheR2WxoAUKTG51
HJA3n2qosaXDWHsJpAUJ6S7M5t+zXlgRlmxKi1Ni1noh+PcCC+/7JSsbX0phckA66r2Md7JLsW3w
prqb3N4Ml109OLNr4xToLiU23kLhtenCLmuOAy8AN6f18iESGrZ39HuPSaHau2js9Ht9HpVHbRKa
3+eDfVdNNlRpJfqk1d34udC16WdXpIg0S9aY79ShTZ9oNRS7bmp03wJN6cGqJaWyyx+1ULC00+Sl
LnxR0dtzs6kIj4tTF3sJx+hTk0zmMdLbwe2Fufi9ORY3TjLPu0bGIt7qMhzJm1TfibiVHuK5SzwM
PhUfxw0sKuO6vhNLBZedu23f5cI6hwNGlUpV1tieG7qnOxjQKoU87qzGRh5i6PFgVkOAvXFm2k92
W4jHUW6TB0fHXBXUwO/Khhdj0cWDqm2A7+P09kIKAW6UVaht46p7V2iZvqupOPqTZox+kw3DTrT9
91TDVlk3qAy29qz4PIUqcKRFeGtFpnxfUKp46gr9NuKcrHH9nMsJ59+w2CVOZrpx2UYnM+pnLDaz
O65rZR+ZFmdEav80jGLxk7RNaJpAKcnTBDkv2WBKx1TaOaLLvtDfnv1IZDks+1Jmm6N47urmZCm3
fZI8GTx9vRxE+WOaOj80uiDHORvqgfnvIGvK7KijpAsa1kb81ZlbnkjTWH9RgCOOXl/pkUDfafk6
tyj8eKViFw+SLY0+zWnExaal0/0RdaVviR3JX9W+73bS2EqpJ82W9azOavkjtArlI+bG1a1csBQb
1fnVymUPSAOGBfPzgdUx78Ki/1VIk/RhwaQ3YJEkz3ZR6fap14W6OiS3pq8bie2yENXqyMn9Ox4W
82nsMKBMIgcbV3uOjmVpDt6Ay+Ix7XOF1mJq166Dn+wnR+q6H0mdDJ4sxZxUrTp+DzuneOQpL/nh
2MQRtpOx5NHKse60ZvyQ5BiiVpWkgIvRRXRIaonm24SAF4Wb6DQVRXuf1L2+U3peSPG6UmbDqvAJ
nYNarwbmOfkn0+b0WxnZ4iHWltotmYznlGTMPIVAhfejVpsf5pC5d001hnxvCzCaShl9zJv6m2rV
xeeuVr9mIb6fM0QuLCMXPCxH+su4935ZpMnY85GmB+bW+azNverhhgLqWa96XyvmClxnAbMsk7/i
6mgY/tx3GI0kogbFXPOPFiRElPfOJ/q0CcJNRenLkdbtrAloesT2rD3HKqI7vekFA7Vzt7dxmJ1/
WOmPgRdUFJYIA/2KcmNxjTrLfGUsBB+55n9o4C1tIqxwUIq08+zRGfzFDCvf6J1032MT75W4kXpI
CNNKHNrmhPiPjgFxbD13eiqfQTNHXh7NEabimu7NrDl3XEIcOaNJ9pYGVZsisdpzK0YJb10TX2UM
rjEPS8bkoGda87kbdOkHpp7oROh4eBZWjVhTkks3ZpyMhyW3C6/AqhXNpkH2EiMtPBXiaOM1id59
sHK4XmqY2IcibyuvFdb0e+Bhf9OCa/khqiQ/aWps4AhcrQ3arMAwFEWmI6ePDDo4Hv1cHpRPqVZ2
lTdXfXdbZ1P2w5B4N7oJUsaelrbLwWnN4ayBBTzUtEd3Y64Mn1WInr032bXig6zrD9E82ke17HUv
n2L1My8P202zNkOntE8ObcLjaDCH+GZAL/NxCkXNGS5h24t/pZcqQr4XWWrsc0nqngrTnB/TvBO+
6O3ejcrF9IWdVcEg9eZZAi127IW07KAfZF+wXC+O6Twr2JIapdvnsnUzJ1V1NjusTsOsxyg0Vuz8
pi90/baa89SX5B5MFHbdaeg8RpIS+rg0/sTxJIFZUnaunuefyYoKt4roYBeh2ftDoSd7WbI4NZxy
uc/GPnElu8KLvmm4HXBPv+sa3NHhGg2umk84XvSZ7LZ6WO66vKphymBgfW4blb+JP+p2SHuxT/pM
3C0qhs5ICLY7DYeaXZP3s6fPUoVW2Kwfo0hW9mEZObuJYqPXRIr4xtWb7+Y4TXbLtMrMSjWerImU
7tDgQAOr0s1TCwLAm0wdTwIpzxBcUJy7ZhC5Z7alQyu9pOnYx23Q2lH7VKd1ceg04lqiBaQTyqXr
RNn0qexza0Uw4oILavM+jHvH1UQqnzIn7A+11IE7t8R0duC87fJiMPdtl9b7juP/1Gby5EltZp50
rA4+iEKAKegU0yXZa3yrZvF0maXurHgw/aWguCjN1KG9saYeOWldBEtxctws7PXbfLalo5rxDyO0
sA+PMfp2qg5y48ipAdGvPZvOpOzSpsyeutSJDhq+z09tldenol3EcwOSw1dmW39sMYvfcZ3lu0Ea
+u+ZQNFmsufGdQC7onHUj4dSqFHrp8wWnaGo3Bk5FIysdspTroaab2lVc1Ov3uja7OD8zCpmTyf9
B33Sk39SU6T+0OKrrSYOTSRVKuBhip8VrEzYCwg6q5B0kdKtlBv2bOih1q/uayuLDxYm0u7c28uR
Eiq7LLQjPy17DWGnZnG1JddPfSkN91TgTP3MswlmNagJRGE680OWRvV5wjV8V/Uyi9ZcYj8PaTFh
YGae60gb9k1hWK49qMUd4MPIM7va8qXKKLDBILeKLeoF2lRT/4nKr1mJfkaoL/oJafhw3wDP3I+2
LlxZzm13Ls3Oyw1RY3aJ8lA9oeUBOvkfexn+aa3J+joMoUIdKeHME6p8aIcKYQeEFtwZ2i0klVq/
Sec4uuukODlomag+ZYsUeqoh+kOWl5pXdE7rN1GS+jI9iL0hV+2hpGh9S1rAGpyHyp1ELO9b1MMg
iHSPIoodw4WEl3g5UPhDEla4d1Sm3vjzetuk/cA3nbG4p4KjP016Vbp6JsmtB/ZT8vRh1btRh9EP
zWzahV2XHEucT4OFZtSx6kR3D62mosTTm/dspHk3pVH0UHWZfN+WVexj8iHtU0UaD9XIU3umom65
RS6nPljhep9mfdj7Qljiw6xGv3Kj8nLNeGjIMncKtMDPJlJ9s1ctUvtNs+YuUBqR/dRRi/jioM2y
M1L8j0c5/idTMsUNpTH3shCeT9k4kH0GEtqV5nCsjMHZ920o73C1gRAydJZvLPa06xEM8cKibXdD
reNiLYGoXRoIHo4i+l0uKSw66q34Pldf58pRODGc4sHWl9TXyhhTE33Bb9msbXcCcbAD4yHtYmVO
dqYRxbI3KrVqHNDAXoY9qof1Uzkg8aLH0edogZgS9X2LC3wdGzudl3kAFna4Negb5OfUAWVJSksD
hbqA8IGQaWejdbp7J7J+ji1yRzXQ7Xs9RHFpEhOp6RjZx9AZuXcK7sEkr8wdTLn+RNFR4MypxHsL
CPZXWMXWLT4i/Uerl/Jz11VLYMK+NJHHWLrqpgXUKfOiDRsvxbyapJt60kM3cSDE6jJ5Ak1y7hRq
TPmc9VjZGGCTkFt4IjWDkBjW+R41R/O2nAb7ma5lWHvpWIvzhI04RKVQHhu3VMLkVz6UItAlq/iQ
R1Z2U+C+7uuVpihuH5u115DdHcKql/ZOO3MyGAl21otm+4uqjMe8auJj5Yydr2fWt55lcBfWdX+H
9FvxaWrM9HaIwXAiropO+zwkz3Eq5v2kmZUvFltztaaRP9pqnQRqJCVeZiQx76FGHIph5hMWRfNx
yNH6NJai9MCQrwmPsChXGc457pdyV0X1Z6lrV0VHs7gtU1HfICbR38UwEmjMa82DkbfTBwtY4Ulu
U1YJLuynxkh/8/9K/XjUICipbEsjnoeDg4vmifdWEzR1Q1bfKjbFPH0Md8DBhiCfK8mVRivdwbTK
3ULnjVHE0fishYa6N1tDfnDY0x/RLKp26PcVfpmOsZ+sBNBqaoYbOYOxOJvD/JToRf+kZ0vCyQm3
rhxFt28zMG6pfSq76VMW6pIvUqp5kTpmXlqUw7068VjqOAk9WS+7varm+l5xesPTOnk8xMag+GFf
/gqzVnBODM25ahPlHgpB6uUyduomJLt2GRHZSOz+VlPi/nteAsWXk0a7q2glujltZx8Ynck1PWXn
WK4yXOPjGoUH+RDDq7adsnalRV3OI6zlXR+msEwdjOc1I2zdaIn6Jyw5VMSwdNWf+rZAXS509nmd
Yje/jPatgkuwX6eOQ6Uv4UZvq+6jrpQ/06S3H2SNE850alKWsZEogWj5aY4S+7vaIqGVJaHw1b7t
kbAr9RuldPqzJeRfJiJAnipa5ZxOaKF1eHK7lKTzVRVy2Mc4nHgOiZ9rtNW8M9Em8sLYNnfSNCmH
CHNFN8nt9LeuCjw3tEh6aMwsPSeVKPZZNMoePjzxrhtTBJvUBKPyljshMTqs3+WeBNTBQwqVjjao
FGM5SrOOOktW276cZJKXOXF+Ggw61JO9SquNdewaSVR/7Zt03sljGJ4WKEXeIufL2VHn7DulcXOP
Yth0u7Tj7znN8mddk5hLI/s0IkS0r0T4j+i64kMLADzo8xA7qUlVg0q1BpdUNNoNqlkeSMIjD90V
1acwMvppXGmuwvc5iUTC3slspLOIkqF2KZnI94gshZ7ox97PlfI+Rqr4FCJatIucGTh+T1XCTPXq
BueH6m7Q0/GxSKTpGULch6UH1+HWK9U5dPQHbZClZ8lJFHqveYVQc+rEga42JP+RnN9UmgNnTg9/
O2UmblDBm87q0JQnnevKS+B0urGULQIl36X8FEb5Ux3P1jlL08JtoBF6ZSLb7ti1kRcmBsqFjSIf
hlK2vaa2h30Rh5nXaMYn6uX2cUny8nc2zIa7zP36xIrzXWZEA0+vtnkweyVze9VZDLeqleXJpIp/
MoWCjkreywfLKn63eeYcB7XJfECVpGFJp900iK4gdqbcxvUIpzqq5aDRhnXarPnUO5LjJ1r2vSiy
5JDz2NqnIJopImiZh6RN7iPFQIbNi8s4U/WbnqvJnPbhIvOCnNLiSyZJ7edwSsyzyX44JJoDLhTr
8UAifXKTLIx8G/k5NxsK5Yiv6XI/SAiuxZVRPTUJFX5equFNBqZkV9STdMSpOQcMjkc6yYQV70EU
Ab7K895N6sJBso+cEk27X3YiGjdnWx8l6ga7vpUc15paabfUK8dgYu1L1OzdRmYVRY4BJqmdlDtb
TPltXLTJlWbZ29I1lTwYIdj2oEcAlud1PbSdRtNAB2kJhALn93a5hhW79Ps2tUJ+Gao8zMfXv4+g
YWdSVF6CXtxP6Sm+Bnm78vv6BhYxgjWwlYTfdx5yUMN/aS1IGZp/QQiGGQ5M8A1He7Js7rUpXAJs
vikPnqHMzuk1usylMbwMstZ4X9SkO6MwRnMgSBZ7meReE1G49vObT+DQVummnp+3qDNCw4i+vl+C
vvj7KxgDA2YFt/JN32C2mtnMqDYFRfct6LTvf/3ryA9A/EJpDFqWsUZ/MTlhO/ZSO5hyILXqN5Vy
EBWvv6NCrB/5T88DQARg6Df6H8jmjFnd1UYQysUDcA164LP2+/1hvG1urDFg+4OF4Omx7V3S7Xc0
+mlGALtc6YK2pDLx8f0Qb1sbhEBCDEDx2kCx1//+xUwJvdLprFdGILgXO9X6YOQA4538m4V66JVe
7Nu2A7FAORHQXEkRm2NjprDYLHVpcClOx6wYzksoAAArH9Uu+gdZA8qP15A/F5YZIU1dXZEeKlSs
18OTa2myU70xggqf2/wcRz/fn74LPQ0Y9HS+0L3HTXQrfgmJjBymDK1ALX8u/QFYs0vt1J3Y+Ki1
rx2J9+O9RXuw7CCH/iEbqpiKb3qTRu04eRnLZlAOlrJr1NCgG9KejdA8jFW8y5KBEm35cdKk3VjW
ofd++EvTuZ5raJrhXfqG0EIVt5eA7ptYVMjePJ5T8y+VfP9sq5cRNufCwJ0ej6lqBhEOgQjpddZ/
WPDo9q2tKBNu/ZbVWJEg2xSPWBEg4misjKh1ZPV6zUp/O1k2QijooOs0R2HjWJutNSvk+qMltKCj
ZIbihkTd9v3P8bZTv4bALhOnxtU0c7v80kVt5b5p1WChPxbxKCuDsh1dqz4vdbM3iu6z1Bdf5FA/
dE55iKnf6dOv9/+GN0tiBW2BFUA7THXgCmx2WCY3Bq9WZw4sCqJZXNwuWveX0J8/uDBg4yBtLUTE
t5aayMUolA60ORi7+rfchmersA/vj+LNMbiO4kWIDfQMV780ylt1DrL+u1IqblE+TGXuxsb+/TgX
Z+tFnM2tzZvDhjREnLLABrZOyLWvnBCXIpA+c9jh3wndbTOSmH5vOsUJEdbKX6QX7kRV9kqQt8cQ
wAWg4mhgAnh8K0sqz43eNAhdB21nRSW+jgCImqlFZTp1us4t47g55mmV3yB6lDxXZmLDpCp/vD+Z
FyBooLVWAThgYeobUYZCisrUEjmwROoeFoJmtkriq6eupnTekF2DEl0MRxRFszUUWbcpS9pRyhSm
NgYGzsRa9WUSnZtTs+/EZ726ovPz5l5Z53fVmjDQMnq7sa0WiWKlmsZgmuRPqhHtW9NsXUhS0N3m
OXWNsfQTM/9HWewrZ8rFyMCVoDWQvb4RUB11rW5DRRkDASprFJar0k9GLjLUbpXhsRtLL5Sa3fsf
8k1iwGiBGWESwILiKNtcavFgmLSR7JGHaLX45Vzcm+DpYzzVKrs33ZnDDFV1VVwZ6qWwkBFwxWGr
vNUR1FEkkZzWmQIII1S8DzHEvRQVR8HVzX+s6isf9cLW1FcQLfkCyntvcq3cmSpq2BrrFZvngiLg
NXLmm3xxhRPB3cBvHCtR2uivsx0tr4wSGWv2Po9qG7WmEnP5vP/rLGANQ19tRWPCpN2mpWwBsBVq
NwWLbvnTYjwoWXt6f0VcnKrVswgGD0+ELZw6niVaGu0wBVldicfZpnDMe+SakOSlBYBiA71MFZNr
kM2v56twwtYwpGoKWJK0PI9Gu/bPzrUQnjCO0/D1/UFduGT0l+E2h38v5mFOwmYKlBjcxoQNwsfZ
MfdL+s/7cS5tYRQ9QEWRYytvlNKFXDtxZJRTQDnryQhrDuH5a1rrn6xOQUU/8ZzBui/wL76yny7e
CuwnGAdwj1fawev5rPIhx+M8nYMErRIllKgENTvD6KjO/Wyc54rcNNJ+6NeQdJeWPRIBpFrWyovc
Hh+S5Bh9lyjYfy7PCq8Wo/1dSz/fn9NLqRYWJvw4+tgs+S2M04QP2dXjMgWR/GBwAqugdaT8QYSm
l1gdCmSPZnnU5LtY/S2Np79HC66Ea4yt0Zzm5kG2+PXU6mPV5loiq8Gqz11Q6EUR5Pj+EC/suVch
1ml+8RS0+2atVS9qYCNyNBUHSb0CO7twgb4KsEmIW13LhREzBiWlU6TtY3EaayAp6VehXkkNLo4F
uC+350oN+iMR+WIs8gJpKKURGFjmP2b4/RqH4MrP/8H8vvh5MNyLPZc5P+/Wauou+bXyy4UlDb2X
t8N6/pHjb25ENMzpWiUKFaoWm95mFsozrhbqORsV48qtpKy/9QqXh44xBDByeKQ2VgPC1999rrpy
UfA7wD7bcZXkq67dLlKyj6tPevzTXtYWWXO0QbNdE865cPy+Cqy+DpwamRZhm7IEbRp9wMJ3F2uf
wzHo1Q6luKO4xp+8dDwRzwH7CP6QC2yzwGup1MhTuyWo1eiHmck/arXe0b2i3RBHbpKWBzmx/lnC
5lYbwLf89e5CR4djGRw4Zujbd6dwasMuBHwJFWf62s2u3C0XVuTLn9+q5wxllsyxys/jKedWza7/
SxfBlWYCunYV94T0YfDYfP2xoi7pUnsUc1BE0icxyWTckX1NcujCzfUyiLYpzPaDnMrO2EAqQX4V
Dw6kOTLjmar9zymmxSHLXyUH+fnSng7vf51L+w0NQep4Jt8IcNrr0bUtzQNUHpZA6b6Y5Nj9gQbq
+yEu3P5o9PwbYv2CL84MvTPNaeiKJUgsX//eKruiPXbG3z+VCQLdAb8KnuRbfedOKVStWwiiLb4x
I3B0ZZ4uD+Lf399s2XCW5NqIakrb0PqcA9o8Y39Ur1XtLn+Nf6NsvkbX27MoB6JozU7W3OSLdm0c
FyP8SWB5xsLh3Kzmypz7rI//vPehmuV2/C1Xu3ulNXbvf/QrcbY6B3Ycd/rSzHNg8I6bVoMyeteu
EXdX6IeX4/BmA1eNs9A2Xw7LDjyfgDpnVHclKOkuAI/y/lAunjCIzv7/EJvs1YlaK2pyQkQAm7qs
co30vywu0kYoJ5iVvqEkSeAcqi41KcKQPpYjCrTC9MP6PKrtfxgLBzGlVNWAI65uMpEM1sA8SzrN
E8qnQO2u/Pylr/Hy59dE6MVWz3m0OgUwVrhxlq/+GgDg6v/hNCHf5bCC5c51tv4JL0LMnaQlc1rJ
Qdz4SMdGJxAn5rV3+aVPvrYGqDKisIqO4+sg1iAtiErRJ7MXIElyX7upbTy/v6wunShU3vDjoBxL
uWEzV3YehmDeIzmwrXHnpO0xDdF/cVC/T/fvR7o0Gm5+snjqVg7Po9ejAS1LAUKaaWm19nBQ0O3z
I+qNV7jGl6LosmHrFKRYytvMTbYkw5QSsqmx20s78EbvD+LSdK1qtwbiL/Ret1woswAQES7GEswa
QNGo8XLL2onqaPZX0sJLa/gPGdLmGWnTaXo9W2pXGnqMP2RAS98dsu8lqJ6yuPLkuBJkezyCN+40
Ua9BKqy2ms8D2j/2tXLFxSA8m1bmtM6MbVYYuXqJRq8x8UUQt5Z+E8tt+g/vf5eLn50MbFWPo1u3
7W2p1OtS3GanwAYUfO6WWj2Ekfj9fpD1L91m6nyN/wuyWcGINoeiNXnoFui05M3XEtBBrX3lyzjV
fwlF/3Slq1J92y7jUR8KZ7GA+afTXLmq3N44kvI4VMtdnZrPLZjn94d2cf4c2N2kmdgCbo+aOm/1
FuNaWMxG7doKD0PtyqF8cef8G2GrhZBRBewchQiOdUglf8nvVhzgtQRMubjaqO2hs0sCQ6b/et8g
alTXvc7ElRB6yCzuRnNGaaz7HLV5fxOKRvMWGiZUjgv7iyRgbxZAINximuyDQOusigc/tQpxeH9+
L721DJp24BGozaDb9vrPGqpcySRBW6Au2h+FktwZtYjhOOHK3dMOc51CHg5NWfz9O9x6GXazYueo
HkHZxHOAR48HFHF3lWG/dR//8zAxVkkE1g0tvT+vvhc3oeUkwonh1TCycKTiCTitxEdlT7Jt3siz
0t1IQ+Lcg3SHWoH/AlRjqdilRdacGqepD5FaNR6elunX92f80kJAQnJl863v+G0jxkCQMy51Zjwd
b+IvovHlePcfIqgqlz8SKzBjN980ieGvJfAuAwXMaWa34Hqfq+4amuXSvkHYHlVtFeaesY3S2ADH
B4czOp9wM1v6M8XerodfYbnvD+daoM1aieyy7IeUQOEMcAMXFbBRD1MxQbl09M/vx7q0HeCCryac
lIec7UNzTKKF85qWYilJd+o47ypHOugJQBeFvlE+pp9lOfn2fsxL41u/E5ITEBHelM2jZohDu4X/
mOOIqD/auYwMKDakV865S0IhpC3/F2d7qcoOwpLtTNaWTaVfQTzqQKQ5k+TK2Scrv9EqKixs+PQ8
5PKp7q9p5lya2pfhN+WkYm7CEBDdEoBU7WavXT5X3Vkx/EJ1Zev4/pReujW4D5lM7nZ0KLY7IJua
xBQqD8VWdQCZ9y4vx2tavhcHRCcOyVuAPuCVXh+ddppYFfa9oL91zkhNkpZbrYlCL9R6ykdZbu1S
fcw+dEU8++8P72JkEhdSPcQD7G2Sr+Ww6nSDqWy7Y4sqQEvfYFE/Joq+d8xAsa6krhfSCzJ9CjD2
6jPEs+L1QNuVSi1CMF+G9Mjjvpj3dXvDvJrXrJouHI0kxmRiq0Ay5bBNmUfvzQmObSoHkBy8pf0J
66GPP70/dxeWBpIoLAtkf8AM6OtufHEtdLIyZzPo46BaPobL3hhP/+H30apZU31eklszkrqKCmWY
GiXoHG+a3ca+chpe/Ptf/P7m75fbJSqFliuB6qRepkxu89cIQhv5ARNBISqiJsz9dTm8mCGZ+keR
z5ocII3uqv4ClvXvpwgFBUQkEKFamyavA6DuPhY4wCqBfTenmitBdHo/wPoDm3yYpbr+NHc/aMt1
nb0YQS8POb4fgxroeYYJq1OcwtSAnStutMk4tkafee3oLHAfryl3XTjLkckDVbZ22GhZb4Ymykwu
pRUeiU75OHrmJ8nZDeXT+8O7HARcmeWgefNGU0rLQiW1plgOclkkLmotCNrKoRc7y7OpFVcSxIvB
VAqHdNL0dW++nkt9dFAlAVkWiM58Qpvlw8ocdKUifZjta6pIF841muD/xlr/+xffTepgsqpTxpt/
+Jbn35T20Ux8cCKoS2EZd2WRXDpsaIUCOwSEhRDd5o7QrNK2Wguk6QCpn1QNsR0etHF85dq9tF9p
zYFmRVIBccPNmabCB7HCheZCqfWe40Ak//vSLkUF/HmBg6zn2Waxt5EO9702qR/DDzBu0klcmajL
I/g3wObE0cwFWEGvLYHe7M3x3P96fzVf+g487DhpmCILwbvXHx1tZqtHFX8J0q+zfLa1IOz+yydA
N0NhDdOC3ha/HWuMl9Shn2QXP+vSNfJrB9rbCxLhNY11RIWdf9+e+Yoa5mncptaDkUAViM6R8yWB
uq3Fkz+lVyq6b78GsQxURwACUbHa7seqhBqpJLP5UCnn5CYJ/3o1vf75zRZMRiQ1lpKfL2/tynOu
5UwX2uVgpDj1V6Alzbbtn+/UswnLuzceoPTELaIRy4OIIlc0J8U41arsm/1PZeVKSzcKPFJl+vi3
q+11/M34HKStYMuNxoPkPDdwmdvkLArlyo55u6QJAuJm7euBX9oWfQZnLJslY5BK8tQI2JiFm1mP
7w/kD4bz9SW3oirhY4HHItPYYjyrBbBFSgr8QG2+2bdDYY7g+jTjQyyS9DOzDNu1Kp6cues/iVrV
SETrBKO2XAm9Ja8h3vdOdzOpVnsPsJbu4xKmyWchCfvQYwV0oydxFPSlKE5LGhUHI/of0s6juW0t
2Na/CFXIYQomUZJFyLKcJijb5xg5Z/z690Hn3msSRBElv4kmqkJzp969u1evVUaHXAHiJg4gDmgM
l+s7QpFq2Grp0N/3xI53HokGuwIPcRyQ9/rRFoH3TOWpp5ZvSl+isRe+eIMm7o3Bz53Wh1SmKUfE
lvWYZgVvjJAck6KNkcCC1kWNlB64eFpa2sb8KczCFiizqrz2ofVSZ/XvoBNkW/BFJJTjMajHPXkw
/1gOg/ctG8zxoRzM5mjqRQDWqS303z1Ysn9j9OC3t1diabWnm5gXN7nEqzvfSOmwEhM0pqTiFNMk
Su/2Gp3S0qE/MzF/uimVW6Z+jglr30S0S+1vj2DJf5GPMCGPRIXnKqDIMmaybzz9JIrdPhDuxuLf
PKlt1b336Dy8bWt5KH9szQ5gX9QqLNnYGlrz4EGxiETAuy2AkFAml8y1Sxv05YUiZV6qFNz8J6nd
5zttjfTyOiCamACn5M0b9dNcVdrwctKFnmSepP6l4QlUaBPK505dy+IsTBR8l1PWE674ifnpchhV
GHiFILXmKRC/tw+p+fX2LC0Ng3HQbEykDMZyFtfBMiXkvmfpJ0mpzOfeHKHr0Arh0xgr3ZPW0vN3
254s83sv/RVcxVyOQDlB14O3uByP2zReO8ZlCkqqKJ67fDhKJg3RuzKIRiiLTBGqpvSbKebRrhuj
6smoIU4K09S33RpKUSRSq/vKrKyXDBdlwg0fF/uhRAcArKuxUSCj/aEB6HuemA42yJ00n24PYLYe
3LdouU2gUJ6PxFni9P+z4LSssoqSV2g6WnPf5RDTvu8Q/vd9EFyEKCiHIhl1+f22sFDEBjvB94t9
1YuHzkW+MzuoSQanTfK+Y3hlbba7Ald16YSKTCdK7sPoGK3JKSzOFje9BBiUGt78CUbXaiG1cWo6
haUc3bJ6bRXz1+0Fme3g/xnCHxPT/88WpJKRNSqMwHTo4bdFMM+muFHdh/qdIcN/dohV6KPWeXTN
NZs8iO99rWAo9Npz1eiacCjDtN/llhAfbw9p5oj/M2UQCWsmG4C39+WQQjpShZJ6kSPn1YecRmYz
m9Jx/sdxoB25f7ccwrSlAQTrxGLUJcxZ6O0J9Gn7sMo7vXEsw7u1cvc82PtvOBbvVJJUMmprs+Fo
QilqQV1aTtkM0b+D4babzEisGLKHTjhItSXfj6mS8xD32IBFjeBgGuUIoxahBLtOlQNnVGJxxRPN
7uv/+VUoD1Lz5afNmwBjIaugpQ0tZ5TVvVv3ez3flsLH2yu5uP8t+CUMHmUaj/TLlRQML6zCKrYc
aK3sJ0op7z+/cFCCUeCKoCV/7k0TtW4LsVRMR/weKncwpd3++XPw3zRJ5DGmGi/vGqoos62RZ6lc
SaNlOKbUn7TQ/0dRk60OyZEZCJ/8WIUeKKl2tK5/LFLlMRublZzjHJT33w/gniV+pmQOg+PlBMpw
jRZ5phtOppu2oXxQCPOq+iVKIrpKIJ2Bps5PjY24Glfz3bNr6srudI2deZVR7r1ciE3sGsNPKxu+
5pJ516PUZtdKuNa2t+DCyINRRUWWAHSZPksORHAaZoMhGA6aZTpcr0Npj/7oblWj+2z1ob7iXuTJ
q18NjjbLt+TY1ERyOTivkGGKoUvKUa3R/wQ/gneK5Ub6aCSK9DsYrXprabL2pS4UaQsbnVzaYuYG
H2i/YtpbVIWOeROYH8xAgZkgMLxj4YvNBsIm2FRKtdl4BRxBdRkZG78qu0dfG6XnXi09u03qicTK
tb4WqdbaiSiBFYL8bHd72y4cbfL91G04dqQS5rkQSxm9RK+51YJ228CRJma7aK1RcNkG0gu8vkHS
zU8GPG26W5hcB+bEZ2L1+wSqkmotzbtwEzASqt7088C5e5VzF92mg8jGBLBX2p2v3rme+kSNfO9H
gQAfkXB3e+YWDzyAN5DR3HSEzrOtMZrwvsleg0PJhO9toLzoQf7QR8nzAJGYHSc+95Fri3ALBKH6
MbbemcZ6O3fn9mcBSZS6kRhoHXdR3dy3kfdQa8YKdGXptKEiNT1zFIkK/LSyZ0e78+qxlNjlZJhS
GfYTuXzpM5678IaYR5I16sqcLtwBU/yDhAPo2Os8bSC3rSr5quVI4hNsHZvQWxO4XbMwmzRe8apQ
cMc7Sr+X9d3aTbn4eR3EqEhDrAZ53+WE+X3fW6mfWU4LD44wNPbvlU033SJzfyRRbKVpGOwVFa1L
AwO0GVln9pbTpQfdu29+G+mDpO7guiyHXffTHXbwhsEVJ3y7bXh6a8zt0jRBiDV5iSsJWNkc5Tor
TJMM+lPifpa1TyrMXwWER0P2tRt/wql62+C0EFcGp6oNhWU66ucFSV+wMrFPiDnSMNl7ofsoC8l9
lpi9rZQDrDnoUu0Edy0AW1o/+czqbP0skgZJJXiW08NDmgzN1yaHR+T2yBanEqJ/FRZz+h/ngU7q
wi6Z8OxzVOhfIpAWQRJCNPQtqZ8b9SMaANuhXwn8lzwwKDqwNJAGs4LTTzo/x0bQGoWv4YHTBzU6
6MhBxLvbo1oxMc/aFzUlKrKRpuOF4U+rkV5KkXqRT0P/bTtLbn6S10J+Ep0X5PMuh6IlgZqDPzSd
Lsh/KVp+TFt4O6jL/SuFUNS6uSoebltc3InI+hBW4ZquygU5j1u2f2s6ruH2O6uth63lmsFO8aEA
Feta3HkEXttBdddQo0tjReaJ8g6qSGyXWUTnxoU7yL3qP7vjsYQCzd/W2qGMjmAPbg9xadtDYiUT
T6m82q6usrYW3TYv/WfZ3HTKg6qtxKaL3zfQBuCpTjZjjplKTa0q4yHwn2FWEuKtpa8cqYV7agLw
cgtT2CHVMJuoUITNiqKU4bRtf/Ba0e4lbZf2z3W/4pUWDU05Pyq9BuqgM/c7PTalou10x809O5PC
o9iPxwZezHj77hVBC5twicVA/nA+Y4FWqGImQq7QhLqdAzIZ1pqwFw4suXaYT+jSIGSaZ8tKT8u6
MZQ1R9U6mJ2iT51Qfqrj7H3lkSlKAQyMZhC7GNmgeVoD1eumHg1Dm8BbpXKUk837J4rAZOK/AWfB
30t/EBRSAolcoDmtso2GQ1a/3P7+wumfAp//+/50IZ+5ztCLIFQc+T7k4Nn3pIqgRQt3JhixBIwh
suu3zS2cFCT3ZHqbp5Y7bV4IqWU9Gs3QUh0V1Ctv+xVfNgdVvi0HtQ9I68WpLX0eiwtjluS516mO
NCbiE9RK1jczjSFEVYv23stwMUanl49mypNASVKIjsFOH7JsDA5mA0NgUSrpobD0/pGSzZps0dKW
JJMDUJ6OfWqz0+SczTUInUJE2EV1vM58IUy70zzkUgwBRsXbs7zgWElsIssh4ZLQL5od44kNNHf1
VHUUxGsxQoWzoLDVbqXgYMhrIpdLToP6I0eZjjWkQGbeaYytIU+GRHVkwZHLFFZ6zzbV11H+i62q
gQGioALm6Er1yTTTSvV8KHpk68U3ErDGH0bxNYJrWXho1gLCpbUiGcReBZWiQR5xuVa5H2V6YcWa
o3nQLApiUmxhmta3emG8s+Hvbc+em5odcViQdTlD0hYE9Yuaf7T0tYhscTsA0EaFGZ3Zq5iCZF9r
diWHrovNYqeaQ7CNc3E4hoYU7tpWMx59v1wjSlk0CtCWByvENlcKRnoSNyZM0vhfUd66sbdDLSBQ
zcc6/eiv9bEvOTGaUknFwkahSnMIl0ZyNI0qU3NSOf2t+rALGumxLaXPqln/GLr0k1vIa+jJpQ3C
uxiGA3o0yZZO4z87zIJcD52VsBszv9sUiSPJdyBI/uKapG6M4JTMAxWls0sjqZukXldoKsxATzlN
8foa08TiKKil0FMDev+KaasBIKH0nqE6ubwVs30h01Gzv+2MFt4DdIL9MTHzeqEUlMZI1dppBGic
E2hX6Wtsq99QC7Tpj3b0Dlb/9bbJuZTS25GaDu9UmiEIuGoSCBqUeSyuASpd9WnsW/8+QOrioEpo
c2h5hly47sGmHY5w57d69VCaEC/DKiqjiBH+mxtI2EXettL9fVZm8O16rnHIuyqy4bKB9781zXqN
KmfpwHAUyW/S2QZGe7ahVA0+faObfnO/E3gBKncWWTPDbtc6wpbuYPqNJugL8NurkEVtw7SDf4lr
qICIPKGSpKIesxKyLo6GaHUq9/DYmwd4spjJglE0qjOKXwYZr2NYdlv8lEtaw6T2cHu9l0c0Baw0
opgwxl0eE/iXG0PsRtURx5NpHPs1+ODS92F04JWik7u5wqhUsU8vs0yQJOTBK0zRT4gZrMzX0iV6
bmJycWfuxPd7sRbAKDpRKY+21QrQ3eIsCWF3Xptsb8/XUi594sGAwB1k4rVkrKIIsUunk+F4ladv
0CrYKkL94IfprmuU70KsfAiSYienwedmTFf4EBdHitvkWUl4wnpdjjQfIV3tShHbWV1uaahGJqUm
gM5Uqdtr8VD8uj3YJRc3gYjxBngZxZydq1xT6zrOR4NOAcluPOXQDbIdWmuNwkt7ZGpJesvcA4qe
/n+2gEGWQiaFwoejF44rfIifb49i8fPwdE2JeggK542ofaEYfmywYupwKICUHW9/Xp7i/Fk+iuDg
z/dnsySNlRGpId+PEy3WbLUME6cYgX0hlA1RVh64KGaJA/JAgR8WByQvQt65iWt3k05MISbxgT5J
wC6R0U0oZGWril37VS/L8JmiCaWaMu2PGZTvd15B8lCxcvNbFvvuykCW/A41MGnKPk3EsLNUkGck
mYdR0wHku4lGxS7j59ynwGh692porRykpb1MC9f0mqHX8koIW5FDsay8wXTy7E61Pg8PQfwsK3e3
12ZhA1MR4j1OdosLbZ4SsvJSgvWe+kISv8QpxGUt6xOunMo1I7NTKXpR08YhryLZTw7qeBha6hjW
ykgWNjFQ8omt5K09Yp6nS/TUlKucGqIltq+DVW21GD6N27O1YmOeqHO9UepLACBOn7ovCEk9mtH4
etvEwqozDBRup2Ynso2zudIDzWtoQiRZ7L/K6efaeKnTz8HKa2dxHPQb0Ro8aRrOK1eCXsIZD0rH
6WnfVTby0+0xLH1+6tgmDCCyhNDl0l15FOZGsy11Z+jpgkO/YiWTtBD1AVL68/3Zo6aQsi4ndaE7
bZ7tUXp6aKvuY58m21bRPwjm+MOUo2/06q2Ynab+yo0hmSrDDUAH2nyHyV4lW4FfmE7V7Sb5pmPy
FRB0V23ctWbhhU1AqPF/lub7LBRC05fiynSsQnj2Xf3F1fI7b1ROoTz8c3ut1kzN1spQXMGPktx0
cG50iGrbESGvYCSzPvy8bWlhV1wMarZqUir3QhbiPQcNsgBbWCtPLY7kDRFNinvqKbncdUPaFkrh
4sqaULsvUGIX6UmvtQ+9J/zNRjizNP2Ss+u4R5ZU7CenWdU/Ung6W+uXqfbbAmkupfonXCsPLE7c
mbnZ9Wm6PjqJaoxL0FEUNKYXw4rvXHDQcFRNYPL/pm7mdGjmTwZrwOlk0d2g7+XuS7wWBKwNYn53
hkNY8sbhouk+GvVPVT3c3l0rQ5h3c4FZaQ3fZ5Jy67XXvouBahvxGo5t3tX49vY7m6g5TiQpSrOs
hoz8XtXzestfVXX8GprlY5tJL6JZv6gmaFZXOChasFMrA72MNXTu8kCnosYEab/KQsadl9am3BtO
7llPYWEcPMv7lnfv7I77n5H+MTOt59ke9yJfUSvEBZ3aah4jS/4FlyRVX3nlKC2Ohr6CN+QBvBiz
bSFZPbJNQmM4gfclC77n3u84WEkLL/oFgCQT1kCiI2N2fELfSHUf7gXHFz5oWWHrGhyt4Sc5/nR7
By6BGkg7/zE0O0URHeydmoOvcQdkn6p+Y8IiUbWnAsFCefjiJc81TKZVlh6H5Ott24vTCEMC6SmK
XtTbLldL96WoyQPQian7YUyOgfpuSt//NsSZidmGkCNJD7IaExUUsO3BL94fNExJezpJAT2ysWcX
kRKPYepBheIErvEtD9svsuLubs/S8goRk0xWNHBQs2nSKj+XlFiG11v85nl+bwt5gYJbipCnHlS7
WnORnBxOSSYc27He92P0+fYvWNyLBNyMbwoj5tD6WA54Xmih4aCkUWhb/WsM4iDb3DayEB7xOPlj
ZDaTbi6mhqBipJPF3N+Kbf6zFtT0S1Yb3UfBEpsf6eh1u5BeDfjm3HEl2l+sk+A4EAwgLUyNfnbg
YhBZcpjkhiP1+r2fRQcDyaHabTaSXH6iU+cw+MOv3Av/UfrqqBsBXfztvZlAUCS390mzxhk3mbsK
20wdTDvAGE7HdHbOPFnXeSN0tK7ujEIDta5ft49eFiSOGFbDx8q3VMgX8rWszqJRwDiw/ADcugKz
CEOAcqAYgWiM7wPlwSy2VNpV9W6MV67upcXGpwEsnZp/rihfwihNY36E7siEV3ag5/tYQ+EuTNuP
YzuKu0HO9p7U3Pm99PH2NlsaImAdPCpLDCvDbJt5lhlM/cHcEOn3Wv0FhlgHS65bd8Na4L0UO5xb
mkWOIWSIejEIOvDxAwpEo7G9PRJp6VjCusJ2Jck3iUNcbhHRjccxblAUMOI8ye1ECMythP4P7QJV
/mP0i8/c+bQnF2K16+gBus8TP37stCp/brq2PdahP9wVgZJvBmHQYe/Vn2//wiX/fvYD5w8C3Ufr
Tm5Y5UEJ7+ss22h0reX6X7jgcyuzFfWR5RMMSt6Om1AM3ipredvFUXDJ4+F1ig7zyz6uVNH1FS77
0DW/VzT8uHr21a3XMpCLGxPOUpVm2wnVMBtGDFRSF9Bldiwt2yYVHN758FTq7i8p7b4qZb7W27u4
Pc/szbanUcP8K/QSScdR3LpJ9uQWf4GjMRgM2WEUiWDOmfkwXtmIUJH9AISE3uu2KvadvoP9Ti4f
lLV31OIqndmaDsuZv2wHON20FH+ZR/BdZz90qdjIa+H64okjqTXpKRDIzuu6amS6iReQ0RTyY+ai
VZKWd6hN2kq71uWwOBxghcwd2TSKeJfDSca6G1ApAmKt9L/ygRLyaLwA6jj8xQn9Y2Z+s2uWGfZF
iZmJ3KlQgzuS/TtFXwsyF/ca3ddvWMJrTaEgjfoyUABUSW6PGHT2iLrfCupk8ficmZjttaJOkRgo
JhMkh7SNGe0E4bHsN/lazX1hD7D4lNxBU0wEEDM8eusjgE5tTHeQMbMH1r7aUzMu1NfbK7MwHsxM
sH4oDICjTP8/28+BFLlFBV8YL0/xyBNYtXVy6NLQ7BW/vlPGfAVlt3SbTJsakvWJAxVk1aXBwo/E
BlnlyY3KH1X5S+7/8h71eNwWhu5/dEXPv69jn3YrqxGRbJQchOD2rh4iBqnG4o8mEpMjbU5rycuF
g0CRlz1DMpkJt6atdTYPctkUuQx0xJH1B8H91sP5o1AC/IvJpr1nwu+SwLRmp80PlVAGhQIvjBZM
POvxAdHC1zE1kKos7jUKj7ftLYQ/EGf+rz1DnO2hvDCzMcxxjF5ECLk1IRHL0cE0NgNaWGjQl+Px
tsGFA8j7yqSrnPISOhyzR15CEj2ojZ5YxNgqaIysBFVrn5/NX19HRiqKfF5rvvb3ovE3n6dwAfUa
6BOq/5d7wEyzthQFPp8YD1b29DeNfuQt/3x/dtY6wqWhcvl+fJSlfRHsb0/+0mrThA7iY6r+XrFo
DIUmhAS1mlPFdAxXurkNxuobXY67tGt3aSb8K5mRthHatchoyVWdG56dHauzSPjIAyCQPNzQLL5p
tXyjyr86850UhNMzm6ZVdCAmfn356rqK0k7VQbdo3PSfQ/HZOtyewaX9dfb5+TXVFQmUtgWfD0Vo
aZARfifz6Nvv1xH+4MdTsrpKT+mVXLdD0ymOapTmpgJaetBQHl4BxS6tB/51ao+1eGfO8x217/Hy
yAXFkZNDPO674k6u7igE3p6sRSvg9oF/A5G92m6S2XRS3Gayk5MY6BXjaCaIs/RCtaWYteaeJ8cx
e6aSfaURjptwomycHZ0QRHQvDLXsVIPi0RnQ3cNa9KVosm8loG071mFGKnk43x7i0omiNIt8FwxC
1+x9SaR6wEx7Beh5/lCA0zRzWgaU8MfQCt2mCbKvikWmvomtNXGBpZ0I2m7qRkOtg+1+6YroPIsG
vfIUR2yaT35iPURjsnITL914JOTeSCswNQeEpkFfoATiK05aIbk7wEy4bfxvtydwadkmrCm184nx
ev50hNQRXICVAXLyyCrYUpf8SqzCteVUT3/LyLTfxZ3vbd1MEXe3LS+Ojqt8os6amjNnGybNKk3J
Rc6AVPXt99ws+89mrsfbXO7GlYOwaOoNaEU9mjb+2a0Uj/ogG0KhOm6UfQjM5C6S/Hs3C1cytYtb
4o+ZeQ6fAn5f5n6JmQQW0E20xjW2PAz2Ac04Fni02YzBY1Uhpcv3x/JDMdw37g9Tev2LRbEAnXOg
UPOZt2+bQhpUGbVVp83Kz5ra3VmB+0/RmP9/ZuZ0oyN1LrcrdYV7XEGfSvat/cCNT9LC11eeA4uT
9mdEbznVs7DR18Vm9FNTcXJ6YDWfFNMkc7aywaaZnzs/4HL/O21vdZczIxXp60AcPKDVgV7INi9Q
4S4xMnU3VE20ERNwPJ2yCr1aGho5Op6F9GZfk4qOlRtP+HTVEZOdoN753ocwWkmpLJoAi4QFLnRA
UZdeLm+GQO0TEfzyGH/t3OJJiZOdFq51u6yZmW6ys/nTJS/xtUxRnUFIik9RoAZbLUmEb90oNbuV
HT6lM+ZrBdsdGRxcKg0Ks/RKL4mJoiDt5EwcMnYbqO0e+pBqUxhajEq6F2aPyTgM+ywtsq1ZIU2U
I4C6qdw24mAPAJ6jOrqrDfhve0/SGrsTxfhQNX22kTOxujcHqbBDve7s0WiCez0rnkN6s09iWEb7
OtHcO492o70YKXR7ZY2dRPSTDLqEey/1X26lZLBujeiNdV2m2wQksW11XbPpUFb7V0DBzQ4y8bsm
iMJXXozyToAi+bEaeoJhiog06at0CpNAl+wITscXzfUkOwz8YKumbX0stSzYi627lrRa8H2g95lW
ihOgi+bdj0Ike5FnAAPMpd2w9fKVVVsIZfg8vQsQHSM2MYculV0eg8DrNaeoHkX/OcseqvIuQNr0
9uZYHAXRi86ZIqyYv7WjHG0GGk81J1Y2em/n4spzb2GfI8Y24Yl5AAC/ne3ztqjCqOgqzUlyKFte
R/rkg8NfDGGikKDbQAOAPf2Es6NU1NSeqgpwfqK+yI/tGqPa4ghIL/HQnmgv53cQXNSJ3LsJ8sP+
z6LTNrpeb6VxZQwzI1MSg/aMqU9SpM6lz1fbi6W6FZIxOdFnKtIBD8G9Xb6vcvtmgzCVjCQASODd
s8vUh6lR9aUuPBlisRmRWatY8FDbvms1/scKUGLyKQtkd2npZ3LYGOFJaB8ky9904/sJtXhrwTeI
7AMCtlcodd/zOPpiGp2URLQ1Wj9yEZfU/37/OOhXZc0pQRNuK5e7CuIFDemHLD4NwSZ7pkni9udn
YfzbNJ1/fjqXZ5s2lOrO7zQ+72rfxgDM6+Ouc5+L+hDWB7zpbWOzQ/5mbFLApegEa8DVysPFbwz0
7iUnOY0/GKYdZ93KrXltgZPHo2sS/VAAqc2uGMpcRmjWWXWic6ASaKFacSOzoJ0R8H2A8LDFqLiq
+fkIVNEPLCWsTpJchR9a0fQ/iQI4/kijf0t12+6oCKJh9363pj6+ODJ2AH2DNPSCFbhcKF/N5Squ
i+pU/9PGdvj63pWZxvXn69O4z7aBOERVxDVZnYow2Oj1sf0LNt2pcq5M5HPTPTV/tVlRDE8EhFkn
aufdYIfKGpvh0gThslgVfPD1m03xJDWVVJZ+KJ8E91FUVldgSgmexS/T4k+ld+p8lglye95VKTWy
H3mmJ59qbO28FCfslhKpWDFODBDEYxN86gw0S3UrVaEbgaNyY0GAA2erOwQyvkETfmSuVW7o/C0B
uGuv7BjJjtupezb19WYvwKr0HLWyufUz39zT6yXYqQwSHr76cNMr8ovX1dqT6WrCXein4FT7Lhtf
e0sfdFvKZO+uQlU43zadUe3FLBwfSNp0r0kNA1ynBx3CRJVgCOCexWGblrmxEvNfLwLvSloeuESg
zrwCcMqcBT1NfPnky9uC17//bg9y+f0pxDzbp0FJu0ulT0swvCTqF1X7cfscTKfocokvvz/ztnUr
hWmiCtKpiwPR6cq6+iCRjkrtRmwVIJu+HDylkvhOCAs7iw2lcTAo+E88KjO3JRa+3Az1UDjNeDTC
T2axcuVeL8vl92fTVphl4/KiKGDIOGlw2oT9il+c9278NwKONS1VpDI4KZcLU/le3/VtXiCO+TFW
6O/ss20vPomxt4mFD4Ufb7vi2wDS9vZ6zaLT6UjyXIZYClECGljnuJw0HAqvrS31pCntsK2VQnmS
Ea044JjTR79v2IO3DV7PJAYpG0AEzDivGDJGKxDGAmb4kxxveehs1UjYvd/CFISBZZpYYOaOMoKg
1PNG1CpzX3mWhvrjKKQrj+Y5nOlt2qiycAXDME/ieLYf2lGv3aLWlBNsnehFiGr/K0tS7dCFKWAb
eG8ftKgL7pBBl79FauRvNbdzt/TmFCu/ZN7h8bZvKCsB5IPZ7ZogzI3MQYmtEsG3VrAzObV1BDMK
N9z5/ZfSfaAPT3K/tvp3Nw9t0bvrzHAjhS9m+zrWaPQaySaujE2n/u7j/ph0pZ0XH9R2JRt47RQ0
pMq4twC2T1S5sySWH6mgOzxNOg0Zrtu3S6vZZt6usugmef/iY4oLkvmAtOHqGJUq+oc0k54U/QgW
ROpWtq+0EMAgYguzEFTWFHPmBsKkzvw8LaVTKUKpKIaQZWtN2z67ei3tWj1WBrupkgCkXp+Jd1Xb
6ffhYCLCkXkybMeD9qjBv7UvQ0lBk2YodxnsXJ88wFh7EHHv5UuYb495pbcys7bWm7py8mqXC9vM
uKujlSmfPNOly0ct4s8OtGa+14+VJJ+kLZ0mBkjqKLQfVuLr7TO9ZmN23gwIQP1SYRha+ixDaKDU
dpvub9u4XtlpHBrJMBrYgM/NQjjS1GHbFGFFTsrvnoZEFE5hE3AHW128CcdM2fat8Dokcbni+68H
R7z9JsWAa0Jqb3Y83GqolNJVlJOq7cf8fhj3w1r5bsnrQpoh0sc2URfPn4xjwJGJK502hvaQ+Vv0
gm7P3RyePZ00k150CjYmb5Mr1tci7oYyl4z25LtutS8Vt3hV4poOLSvLo49K5Mufxlz/NQxutm+T
Xjr4eVs/hTqpMjuz3Pa48numTXe5KSfWG5aTt8zUvDfN+VmcI5Lk6qpC6E4hVB7bvBHjXWq28F+U
WW9CHk30JlulvzV9q3mhzIVWeV1pNg3B9RpF6sLyXvyUWeZEi7wE+FrUn8byKFiUeB7Bp9we7sLy
4ltNhZ6iiStpXiUAT+oPXYmJIX1ShsAW2p+3DSyECecG5vWBCGpwiZc6FJEvlgvtxp0xbqxu5Rys
jGIO8Ze1Ruj6CCOCZYelHb4TBDft0YtBzJyIPrDEcpT2J1P8ngSO7h/S7OPtebrOBmhUYOEBoZtj
wlTPwl/frUdL6sT6BHFQp9pRniSdjexz+k9BFfGXXgWUEnNr3PRGRkMwkdbaK+56t4FFn7SCQIDA
nTUvgyhj5/tBrTSnvpObjeV5J6k0nlzUyFaO/IqheSFkGMdRi1y5OQnSVoJIKt7376xNsGBEgBAw
TdzVC3BmTU16tTOj+sR7t42Qn9wgO1yrz0BNbi/bQjx3aWnm+/NurLNRCeqTJX+Wxp3mP1Q9TYB7
zT+YUbUt9ENQ38fJWlfL9Y6/NDvz/CBWm6SCOvcUKtp4THxdux+SpllxhgtW6DAlAQbVkAw4fVrJ
c18o+VQKJAQKXOQ1x/BL4m1vT9+1d9AvDMw8XOKV/VjGVXMaIqGgeCi0m6BNk1chibp95ELjetve
9SkjvKdoDv0TkJerhgXTFKQoimoG9Oq+SsnGHA7RRk03kPyU3d88yHUyYZQtES2Zx3sBoD9hNCL5
lNWPdEj71vvnjge/QnQ8xR5kWi8XJ++iJDPUXD511WMY7iGHkKr98PP2hC2cVZKG5O55GlNZmd8P
QiZ5AMEsAnARrOdDIm+Nd2bXp7N6bmJ+Q1SeSFVcd6VTFPPO2JCtkdSVU7oyivn9MFRJnVoJJpT+
IfrehscyWlmMBQuU9GUyCICciGZmi2HGqQCheTqeIrFSt2kcHVO5pENFK1/fvSA89CcyRViPuZRm
ychIjgUrjAZ4Lcr8OMryQ+slsOAP+lrwcf30mkhagLVATUUGfP6+bzTSWdCyM6Kg35nja4WAlByk
H6DTsXtrd3tUk5e8DLp4dFF6h5yN4sRVIOu7ftVlQDKAlYYgEH9r7nNff9WbY5C5G2NVIu16tS7M
zRFVbRPAC1Zgrhm/6/Exy1obnbTbQ1qzMXvcjEPax5osZAhFfojTO7V78ZUvt01cu+fLYciXHqDv
NfKQvps5gnbszMGu+pXTv2ZgtqtDYOS1LKHEMrThoar3rpiu3DDXFwAebEo+UBrkZTzfzqMMzzr6
BYFj9LRDDpp/53lKZ3u5QU13tRd0YTwX1maXtVq7fdWWReAEerczzPDJ11az7QtbmXYwklTTi2xK
h18uStu0QeAFhu8MyZam07Z61sJNgwpI9Tx473YGxkSaosOYCO7wCn/WpFXVFL4ROKIhAvC4L6mq
G2uubWnSJhcAOSOVHSKBywGprd9UatkGTq0cqazf3d7DC8eErvw/X5/tYVGqogoCoMChYvmMYNyT
lAlPiNWtFcCWlgV1DugNuMskmlcvR5EGAziiTgocyT/04YMXH8M0tCMBEaBtuaaHuWZsNmV+0dIx
A3u5o6vfUJISESyQ4wABI/QntH/dak1CbnkS/wxuNol5ZnWZoDO4qNW3rkvHHOm5wFsBcC5vBKJq
eP8nYtPZ1ZNUwATI4Qf0tJfRax4W5b0hNGtorCUrCBdYwAzht7wq9QQ5tR5VcwNHQz2n31jG19sb
bu37s5BzVGheSoMgdBJZfJaTb3Usf75tYWk1zkcwmyeRphVIThmBlxzF8C4XD8Eay+j15QwYfGKa
I+iYiG1mjtlog6JPWha8rD/V6YMbRXaiyjTE5rZavbNXigDt0tg0o2evAFMTeMEH7GZR70DvmJs1
QOvScTkfzTShZwYA7BudF8gBPEkvvbb1wt62rNRO8nDLC8QOhPdhFt8GhOQMXC1TkwkPxEt7sjtI
Ke9P33Hvh2/xmqdZ2mDnX59tMFmssyCKW99RBNV+you1YHZp7c+/P9te9ZgMnWTx64OGWKnZkdWM
xB+td3p/1mPCQ/6ZpmnZzpZlVNPEzCdDp074Ze6F+Mftc7I2UbObMhRSA6UAvp8qdtFu9N3tzy8d
Q1J4lL0hF7oOYI0s1QbFjH1nrGj7QGI5rQx7VMLDbTNLy8EjljwDdJqEMrPN1A0ehWlUQZ3QPFjW
vSR+VKTuIEDR04f/3Da1cE6oG1Dlm9hBYZiaTVgW9p3vKoNHR4MG1Xi3B3p+L/bVq5SndwiLHpOo
XIN8L8wi2HbIXEmIThWr2fAkNxWLwrI8R/C2wk+zQubv7vaoFraBNtUS/x9pV9Ykp450fxER7Msr
1NZr0e2l3feF6LZ9ESB2BIJf/x15vrm3SkWUontiwn4Yz5ClLZXKPHmOATITEWRIl2VR+oOWIQuA
9qP0W2ndGPqiqCKtWEAXGeq7CJMEZ5Z0IsFuN2mZXadxkt2mtwFXPPQvpwhxkeibEHsN0BrpQJo8
8zXX1hhggG6ogRwdJBLj19QsFW5L/MzzRxLsAMsNMjkDkg3yi8wuIeBoet0IxhffeoS8/bhBHrsN
E157+84cJ4W9tcoyDCI77wmUFR6C5w7AWfRR73g6xhkQQ4lVh8TY+sPPzLsfmmOXgpZyWKLB2H10
P+ABCAUaHdUyVPzkHnXKcIGCo3uMK285dHV1JKTcXjexkrUTNoSqBLIaUJmWTpJvzl42Z3yMaTWG
KXrw+zoymkMNfQdaDRGraoBi/ZBnXmiXWqSwfukyIP4NdnBbpG0uoVJAAg6tjVxr7A/uA8/IpujQ
u+5Wu2zMb13C6jCACkNrWdu5glxO2iFt6Zba1i4A426a301m43+ub9p2VHiYta0MYVKkokWp8gLq
pPVzWS9OO4Bsw9Ki0smdO0J8KHYmXaCYhbXdLErPyJDh3X/R6JH7Fu1BLNHHubWpoSPOlh01NuP8
4/pkX559zDU4rwWbLTqb5N1EfEYzLTf7uHRBN0iNZ0Ojirh4bdIARwR2BDkMOGfpaUE89Oe5pBzw
DN8aXh6OoIWltWLLro3j1IjkJX3idchh0SEO6P1oPjDFaogNL/sWADlEWwqiLWACzo+6pg8GitMm
ixPHB3boN6ckXLK32vb2rf5k0LhTNk+tjujEpBRelBCNnhvdYLHVGC94C3wtLfYJV3I6KumYD0WZ
1Bn0q8AD+2A4t1WnmDXFEGR1riZhNnqA8f20+l1aPxvzM78fWVecRjCJAvF6vioDDin4F4oxBl93
lNNiU6mYqVZHgPVGeheBHijbzy1QqjutO3sszrunIEpqBa/MZcQCClTE29Bsxx0Pjvbzzxt959mk
tZhoFz+UkE8fOoYX+Hhf0uQbQctaYVib6wd+9dZCqAK8IBz7pbZyltou6SFWELuFYJKm5BGkt2GR
2uGUpdtseC3a7mB3++tm1yYSFLoINpFrwX+kiZxcjxh6rrPYoUfyxuen/+3zwvxJLE5mx8hZsOB8
ApA4vEH99Pr313wYYiO06eJNBDp9yb0MAZjbLTSegLD/e8YAunPQCTArsHCrS3NqRQooQEDEjNnA
JCX+TN+oZts3ZZI6X9u20x7rxagArecJqAzJaxb05Ghac6n4DWvrhC4HVFjxcAZWWXIJduU2y7C4
LC7sMaQ7R1PhfNZn8h8DMm7GH73aS6nNIEu4yc2N6e8/tddOxiDjZiAdmemc41TZQ7Y1e23T/L6+
GxSTFEjrhGQf2NFbjGHw3p33xPrM50GygNsS+R08nM43c5dng7Y4HG7zYJi4+X1VdXQtthDRCzhW
hPalKflNzykyQwtmHEbyms7ptvQhAmXeWN1fn5gnC24zENjqizDSnUDR2zJ4Tz15zG715hPe8w/F
+H8+LzMIWeby/95T98tbNqHhygyObgGBdZDjpA6gvkwVla2uPHgS0CcAFAB6VM+XJqAVEGoVnGdw
yPoSQZmqZVpMvRRoAMCNzlt0LoP4Tn5P6kuddOiLbsDFoEfT+JR3N6xtb3RIBy7VBzV/cPEgCf+n
VIb3EoYj7YO+WSZtTPo2RrPvdmrGvW7y+6pRZWTW/NoZAExyKiaEfh13yHoQsuZRax/s5jGohi2h
IBa3Y2/YFU28kI9HtoZANwAyhajzIotFaNtVYOzoYxsK2N2d0fy6vrlXDhEIcyFNAz2LP9wg51th
GnHlmMxs4pz2Udb+1Vsu+uh3Y/Y/2hEO9eRqA6Lfn1LDamIbDYJuWLr3WbA3VIySK27ZQBrDNwTe
DNGBdME1lpOUbTs1cceiobmhy1YpX7YS7CDDANBJIB51ugzt1Uzb6voEW5u6c+gYz359LMYN776T
+iZTYQ5XDuqZMSneSHKdgrAZxuw5bIyoMBWh7do5PR2MsH+yKjbI8NKM4ftG8xSUr3N7SPtfvQlC
PJVY2to+A3rBtqFrIvIo0voHHTAMSaD3sUXePPSkVqiXoSfN6n5e389rM4Y7XwjQAN2NavP5iMAX
yP2J932cDFoYskIlALPyfRRGsMH+yE0BCXr+/QIdw0sd5HM8/jCNu6y++fDPRxYOcFnxFnBtORlT
YONNlVvPMb0n7l+e/fKJz//J9QJmjX4hyVVmA+LaBioIcZq9tFkezstnDOCaRKMQcBLIx51PD0cm
xjcgnhyPNo00bct7pRsWbla6W8CPDsJItFKCQMaS3LBvUJeXkO6OaxYYu8zuvrRJ/2KB9pSPXgRR
yLBn3X0C2ioUHO/0yv81I7Hlc7wM6uWQF0FkUvc2K7tfDdiQ6nz8eBB/+vts6XIlqW6gS8caYxu5
NL1pQhUkaG0LouosLlb4uAsWPXvwXM6beYyhGB0WwKwOhWIVxTaQpxgpVBHeCjYGOZ2St3U5sU4b
Y3dZjGh22i8+Kw9tO4QeKYDl6/nm+r5c8Q4op4OTyxBscIgXz7dNb6JhMRizKU46qG31bHmf/NaL
MshC8n76+7qxtfn7k1sVsuwoq0sbKDUh88VcZHK9sJvvg/rjiSKMAx9GcRPPKdkDWYnT5Hbvs3hp
tlW+m7SNrcp4rE2XKYSvwEbki4N2Pl2W1Qx+CQKceJ6No0fKJ5ZPEV/oM69VSdRVU8gOAxoOYkgc
t3NTea/5vbuUY5zb+Y92yTZDTr/63D8MTMUYtrouuLeBQQODEJKG56ZSpCWTWV/GuG9ouG3w1/V1
Xwvg0GYPGDoKEXj9ymmQwIYDgJ72FBdQnQl1Nj1wvX0wrPSA/rDlBh0Zu9EoHp3c2s+0/IRbADM4
mptAjoRstJQIK2o6oQDLeGybT67zrGJEWol80LaCpC6evLAhJ5HQvah35TRPca91YU3edPuY5IoS
yNoCofMBHdnw4qK5/HyBxq6vZrzhxzgd3M27hnT29QVa22un35cepM2C3FWAdl+kJ/KbZSjjaije
pmL8GqBWfN3U6lCAhkcnHXoSgCA+H0rdMJouSz7F6Bgdi4NJ9te/v7ocSESLipEgE5B8TJYYXPf7
ACeU3Qsq0OzI+k9sKJHr/n8T8j2jka6DMgBMVGCAsgk4MhTB4dpyAHUKHmGBr74gha1nzdD44M6x
k+z88nE2Hyd2+CBvhHi8wUViDHiFogJ5cegLl3FIvc8xM5/M9qnP9p0KfLS21oI+GA0u4vT/cQsn
Qa7RzW2dOf0ca9k3LWL8y/WlXisz4fkEfyxqA5C5kUJbbvX6uNBWjxevLX9AHjDZUNtL92nWWqE+
LNUWee/5dlgKdzONVbMpq6596nhgKM7PykDBNQ0AF9TFgRSTu3iqxprBEWUusTEjxxYMYdltr491
JfY6syA5Mc76yXc5LLTdru+iVPuSGPdgg4JobFncTyrp1JVuOiBtT0YkHSOiAQ+X5M4Sj2kfDfML
CG52HtqziyR0yC4hBE3ez5D72bEqjVprm5E+St0E1BoQTOb7isa1rkIcrBwLvGIQP0NVU7RMieDp
ZDt5oGq0M73BjWiCT8erD4P7A6xPwGXS79dne209EaUDXoi7FwQ0kiXsK90p7QQJum6MnHJrZ0zh
BlfcFIYCyhNkftF7L9/uJLDQeOkhVkk1P2rNB6o96l398W0JTWlxMgSD2AWxymT1CJZ61Dd4/kbD
evx4huTs89KezHnl5R7NRuCK0qjf11R1ta4sg4NgC6QEIuS+wH50fOROVgcD+P+ifGfMCjer+rzY
b6f7KQetc9vg8ymZQ/04Oo5ikVUGpG1EGzfzGpoMcbb44fy65KoC2couEoRqQI1CeBOi25IB3UaK
agIlB1qmIu6D4f5OKVG+agLsxsjmg/0AL9fzSZq5VU9zgUdf12T7Cn51gXD1JzLWqNYjPgQxINRX
5aT+nGWgecpSHrdOBCIHVVf42jqcfl4Kn9LBpvMSaFNspJu6ij5zzFA7NqEZi6L+BbUQHT2mT2aB
AHNoNgb+KOKNtSVAot0Hpa9wFXIGxyM1BKgCh8fVGA1p2JcRdPY+7PDw4sRrAyqRIoMjrfJIeAIh
wQXpCccIt2Bz+Pj3XTycIX0pXBFwNue7aPRTm43uwGOTR0yD4oSi7CRcjfRuRncd6k0+3n9o8hM7
4OQo40no5pxihZP0YbFAeGx1kZU9+PVdjqaqgivKeSs30Zk5abqQL154nyQTDnb0rr/1Y9i4n5kx
iEfjEhbaiheM/WM36s4CEwPdLeWefLu+4CvxBDrccNrQrAW6WLkbcRgrNL5WLRacG9odEofeoSB+
/9tcGjsCeYNGQm0u07t0qd3tUrTkwy8apNnwnoF18GVdZAsLMKgmXORqpuw3dEK583GY6LkBaYlK
NkC6RjORDHqazTvCb67P36VLwechTCOy97ic5BphZUBysy/wjPEmVFbsF1Ml8CF+3/mOPjdgnu9o
NoKgP/GRmLG7HR+3XX7k5v4zY3ARoQt84EVOchLCfUPnj3HRPqbaUcVTtjYCpOnxTvLgttB7fj4C
zXaGqRzrEaxx2T0f0dqOcD1D3ox/OO+DnILYymDN9+BmJPfedQCoOl3P4lKvt16Z7XX84bMqIbOy
5KbAlIn0J1yNJ4ULwdxDco4YQzwcXXRomboquaQyIN3mQ27q0LSzYGDyNqDRDomlcJN/HnXSrkKc
gAQ34ioHEEfJxJgOpGMBTOQ12c7OU+N8pf3fzvSjnA86NHLSoQ3noYianoYMkl1z0m3px2E3iFiA
VjGQrRVoCOkyQAKq0ma/8Y9aO4W+30auo6jsrmw9vGjBAgzNUHgYOWgxPdZzxgbvaDZWaLEOPOjm
s0M/KBePJ7RgjwT2GXEL+hLlgegTC+yGtt6xdJzIKNuI8uHD1wBMINWOyhqAg8iZnh8iO/F7kgS5
fyzdJqxLK6K6Aoa6susQWguxbTQ4AcwnWbCyYNI1IwtEL7doCxk/7unPvi85Mk+rEycY8+Boz9FA
N/3Lh53Y2eelzZTp3jjNAz4/NREvqyjzVVXu1QkCqyPwzcBtwtufL0GbDmAKBTfMsSvLqAQ/KPA7
nxjDiQXpruo6UJu3JiyQ6mn5jmf29c9fBke4YyHzgVo9ymd4JkgDMJu+gmImPt/lD7OtFWGbBWMI
QaCfmc8OXaDdgGHuE2M6NSrNGjDG6DvuiuDI2xxEWXpUqToD1g75qQVp1obC7ObAgYWF7tI8yvqb
7ONhK2owos0Qsm3A0cpng5O86HuU8I+zBSJMHcDhDycasC5/eJDRNIeAQr5TrBrREUu84xTV/OuQ
frm+8pdx6vnnJXffONPimCM+X4F7BNRoxAGX0Q00jK6bWTkhaI4T+gYCRYm48nyDZSAfppNdJkcd
fMXZo1O9/W/flzZwvVTAsSK7d1ysKGh31sffh3jRCNmlP+SwF+g8u1pwEy1dcvT4cx6W+dP1n7+y
Uc8+L01PniKLUY34PBhaGAv9ZWN9PBo9syBNEB0dai8MFtAbwbb04y0DmB+EDcg1YLNeCLyMyJTl
lTckuOf08MYuVMKqK9sU5VREiaLlDlRF0hXkZ5qeVLzT4P+qLqxSZ1PWVdwPVojqkCJYXLUFDIG4
TVGLlAGKUOykYCKbEO4G7z17dawvo/mqqeAwaycCl/Z/rcgJDTPXvKkvYWWBAo87BihHf2LJcR/h
0MG34yUi+VdQc2uZxabkuHFLFvnDEF3ftOsj+Pf7knedG+LoxB8TMKCQML2zlk9cEBCIwwMKuCGx
vcQL9eTJjnYirRjRJXGstDefvGWb679/7dCdfN6XXh92b/fJVMB1G/yOOu+p826qNK/XpghVDeQl
gYcW6jTnIwBpbdNbY5McKal3xqI/pLXx9foohIOW4nXB8oycD65uYBXFTziZJJN6rVmRIDi2BbqC
Fi+NStfYOnWw98x0B3bBUrHsa8cD1xByinjz44+0KtxhTjoaGJOh2VE/FaFvFaBviVuiCDvlmjD6
c5B4EA9D00DlBnX786G1Xsn55C51nLLhKzXMl9E0otGCLgiA+EgRFhvCkE5rnTkKiB5fn1dpd8A4
+HZsAWNHXKcjzXJu3EhGr+D6VELjZdwUoEVJO4DnmWIPShtEtiLXv2yrrNtUh4ZLUOnfJmaC7UlF
MCZ+6MkGuTAhuU7iuO2gT0YZu+Xfc/3MaB86fru32QNL/2pI7JHv12dONSbpMiONZWouNcuY4C42
vFD7KJf2f4YEEmpsC4RdFw+SJWja3h9gof67u6OKWHj15598XPr5+eBXfjHj44V5N6MfKnm+Pj3S
+bn48fJNrCe86DOsh+bftl9n91DmgKserhtZ3b2AQIpwHn//Kd6deIXUDbTU6a0yzr3btLufyZ3r
fOzVJsaBpD+iOmhCA60sB6Z9FVSFmxNIAntbtFzl2+sjWFkGfB5cB8gAAOskkyt1eY2Cj1aUMTc2
nYm+YaJ6OEue8/8H8K8F8QtO5qg0x5FZdVnG0LbecQrXUpJDk3t7w03u57lUrPvagIQEG4AmuHWQ
pT83RzLmgmZpLuOh9sMJPrMwFJ75zzNNOupQozJQr4ferGirPDehJ7U/5ZxjREVyx4PsR7qU94nD
NoBG3mmDFg0u3dsGuyWGtjUWHvEWykTuoIhmpdfkn4k9/RnSxFpe1Qc19BjjxQH1W5bxY1rP274e
9p4WPC2u8zvrltfr2+VSPxLbEQkdCBIArYCkouTmagJcl9aPJdITXswDeiB9du/xYNeZ+d28QD9m
JA8cZTwjaKBBuEQFzw+Znx8JXp56V2zbYFGhmlZOIUIXB3UfwChQ9ZfuEMYC4LNMHY3Vcxfabdws
1QZayeH1oa84eBEgAacB5LOA6J2v+uDVIJX3PBpX2f3s3yXoSsifSQUFma4Ih+m5U+mxrxoUmTMX
HdcgLJSmWs8sDaizvIy76uiNfUjmXesFYUYeOtsL+0YPta74uEMT7ekotttICl7wU2lavYw52gnB
UXtgdDsbUK9JFAHH6nL9a0NuI01rykAWj3ERJw99AgvZX+iEUizXihVUAlErhStAP54Mw/UXsJi5
pVehZfGFty9F+a0wv13fESuu5syEdACzxfYKY3KqmOmH36ZKDVE1APHvJ34TRMdloncYADHv3Tw4
gIhey1XtsCu35NkQxL+fGKlHEyzLLYwMxsugQ8G8LMBAP0dpobjGVIak09N2Xcdxx1UxNJWItUm1
A4CtpQo/+ee6klzz2XiEzzwZj5251lJUMOMuLCqKXx6otRoIgyVkB6XHrUffvTbbu9BO8Kd2X7lg
riv31QTd9voYMC2iiH71e71ckJS7bxf0INavZtqigccDVUtxmAuoEJptyPvftLoxy52ZDV8XY94t
wdZpqzAwf89+FlbFC+1BxGFWW7fatJ6xSWd9A6Gmve/80sfvRZWGRf486++cQLqhNoE8+RaQB91Q
3b4rexRHDS1IqPcC4yKXrLORmwktqyZutXvXrLe9kytcxroFIUkk8LgXOYPamavGddD4Yxo8Euxs
StK8lZOAMfxrwTxf1JSn7Vx7WRPjVTcm+4y/OB9kxBd36ZkJ6UpnwwiB7o6iC8R/N837TlWgWNn+
Z9+XXMU4dHqjF/j+pD/QaZ/6N+CwTlWpgpWI4MyK5DKAJmDcNrEUgMfeUd8EWfMesVDoNjtNm7YB
e7/uAFftoYCEYr9Ix8u9FEahI59smnXs5GXUpDT0anAn7RoQ+ZvaXaoiUV3dabidkNgE+hY8B+f7
wPHy0h4m0ADyxbqz+1daqjCrqxYAsRXFcDRWyORps2nhGZo2TcxAZeqFgwreq/q+NIJh1gfoYtU4
jc4Pm77XxfP1BVndZoIHCMVwiH1cEMBQtkDoHa1s3jJENXvOzO+03fpYnf/NjuTNoUSXZ0ViNHFi
lNvMY/uW3SX+Y696/KxuMFAMisK4SExKx1LL+8LWExdNlG7I3KhfDpURNvmLVkeLip5n1cuc2JKO
qFFmVpDWmLtk9ndNuWzYWNyMvSpFrzIjndFqaUo/MzEkLdn7oDfiFfoJVJWyNSOYL/EEQgyH/Xx+
UoAhc0DPiqY2v+o2YzBE1TDs0Y68u74NxDJLt61jo8UMdVdoigJye25mzJvEB1dLG2OJwoIdffJk
B7fd7EW29/W6qbWdDYkMlM6goyA6S85NeW5iFYlD23j2oUBsWuCdJYAvjcENoenTdVtruw5+FHBT
AB6RZZd2N/570mRthWE5IXi7p3KblqHV7kaQ0WaKAvmaR0AeH69JIat9wac7u3k72mnRgiLnm44A
wrE+sUanBqRtvZDc1JYkb2OO/nkfQnX5q63vnPZ3Y+2vT9vabji1JO3sNklqHcSpbex8KaZNM0Zp
vUvYzcIVW2HVDtDyFnY4UFnyu6hNRuChZtLGqQXm4WHSDxlNNm5axYtt3gULUdhb3XrgLxL5ZTwm
5KKI5hKq1yPGRayflf7TQPVxYO9G+vP69F3sOlH1EqRnaNpEGUGGSrQD4MlO29B4Mfx7D35OXw4Q
gf0yJWxPqHaXW6ruBpA2ywcYNvFAMgU22QP4S/Kv1GczNCcIjc2cGzujg5pY3Vv2oXY9qByPqbvV
KGDlhCXVTTJ7FFjzrn7xy2S8m/Ip32hsCW6JFWQ7u0yXzYj4O6oKu4+sgOY7c5mHqAPUaGcHoL0D
Snlj9/SlgL7YNiCuFuWpP4Z5plkb3crNL2PjQfJm6YfQT7ppO9pTe+u3yBt4wI+FjM/GfnZHN4Qu
T3U/L+itNLOMPQ556b1ShCLbvHaO8zCYEeold02x6w0aIYMZdvRLze+NqXjuau/mhWwX4t74HmAi
z9qNRqcnVzNvstGkW4t4y7ZZRrSSGHoTehOQBsx0QDKqoxlrgXfcFAS/l/M032RTlkQ+hcwr75kX
5s2sh6aJDBcp6z70NN/a53M5R+MyfbM0bdhoreVuyqBvdv24MIwoNaNs6JyodW17b+bp16Ja3B3o
1P2oHnp/07BkinQj/e0NlG/auaJbrYb8RlMK1ipGIDSRJd1OA49FaHL8AwQi8g2kLupwtjorbJq2
C7lb0kOtB7/rDOTZbTnbO4s3Sdj7NrmZcgSHXZrYG6uwTMgioS6aUWPeNxPtdroNsBgEycwIFMxZ
pI8j2Wtt5oR+tdBDw5YktByMMHfxhClcSjcVfvIPSI6QW1YCYwaME9tlIKY7AjSKp37iLy+6nuUA
NWYu3/fB0G117o53YEFpcLRcK8zzxT7kc9dvoeIQpCHQ7Fnct9bPmTv6qz84w02bo9mPTBUIupGy
OVw/h/aFf/GBH4bbB2IOJwN9JOdXzZLQJhmNEQ/vvrt3eBtCwfqpGV9B3n4PFskwr7WnxrXuvPyx
8fYUmNAhGZ7ndq/ry8ac6BaRBLr7c+yA5KHsgk3eT1GLR2hFIBvcZOEyF5spxwsQink+f2Xlr8mA
dp7NowXupbptxnTLfIqM/kNaPKaTAwdHQzv5mrYjuvmPJnHAfrrPIB7c2M6zwXvFFKzOgJCdBoga
vHgyjKCaKTKH6CpAG+IvCwXNcqy2yfKekkcN+sXXp/siVBGzfWJLup+8IW2xNSbkadAmxkCNjSMx
q8gdxUfOAhXJiHQ1Ec1OciiBYkDOi0e/9N7r9UGovi+ukJO0gz4YGdwcvl+SNmTZW6C681QGxIqd
GADrWp+YE1YEpPTeEjaqAtnFHSdNkLTnof9qp8BvVTHvECQ8187G7b72jmJfqdZaCuJoxd2OzThZ
zEuiZmjCStehoap4lSqsyMW+plomkAhiLEUb9e3z2H5PbEXUppiuP/1wJ8thDQ54sBaYaP82/LCo
7zUGAqTd9U2lMmKer7nvFbVDZ6w5BVOUtTOyI+0iV/8fZ0sKAZay6kkwsSrWWARCCuifaFN0fSCG
akWkdW+Dkjkk1yuQr+n2trChNojIpsGN6Vtb3wVqH8krHpaeXqJeoDkbfcDlW1cUklR9/9YW5U+D
+D8CDtLB6z9NWL5wDGi4R+MOQFOIws/nuDLmgNpuj4UsvW9pF1vetOX2K+ILaMdHQU4ia1JAf1cn
A91mf5hTROXw3OTMlsbs0wIpymTLTFBh7unv64O6LFAhrMOTwgMZECJW9JKfmxhbwMlN7haxN7c3
/nAHhMKU3md1FlXZQa+rXd/9gGDHlN+X7M7l7KOlXTgTEJygHgpAhmgEOTeP6lgFsTuUdhMvZlYW
ggpCsWxr7vDUgrRsrOAkWUbU86m16UDN+sGeBaCrzkcgbVjEeYldIQEf60AlLGC1N+r99TVaO9wn
IzAlVAz364EOFop3qXkLufKwJSTMdDCEWsPmuqW1/XZqSdpv/WyN3MqwGkRbtrXpbm2nRp5bRQe3
PiCkHNC5JFp/pEXPdb91RhelcNbv2vEpdQ55ElKV3tWqFaCVbCAawHQsv8V0VI4KLUURLncR8dZv
HX+u9V9sfr4+Z6v7CzgioFugYQqyw/MdPHvVhCJYgLfYDy2Pxg+23v9ne8EB4LXngyPDFuZPrg87
Sft+8RrMVfolrx6xGRXnY23NT0NYaTF0ezK6IBkQLgT7yd/OiKVVPJCrJkDRg8IC2kouEjJCfiSp
iFHFE4n8OtJ4WKt6n1dNiC5jdCiIqqQ0itJu/MYLEC6kyeNSPjXWa2cqapFrCw3qg39MSI6ED/oM
8JuI9bMNSIdTFW55fQgoGuOJHaAzVLpdQTJMmB2kVdy4KKwlUC1AT7pRq8jmVocBwCacLfLWFz1q
YFlmhaflVZz5ZNvwG8tVIXPNtZMnGvr+a0I6Ej1LcXuyrIqRewM/TefON35v22FnAq1FJjwMrbn6
NlU4L8PSTA8FKIoOzjz1GzPvSOjPuR8uBvnLK6ogXBykh9qe6FFDUxpBfLOJ5pZnW+Qj3K2Hdg50
0SbzxpvQChP4eCslhqei/VdNmrQ23CZ2ButVXKOAP/Wgp1DUPFcX30dWD83rAi4h3SLeWFBeeD7Q
Qc7bMBehW9/oJlUEV+uj+MeIHO2Orb70QLMBBWIUBqqWRqSn9vgpI6KJB5gPHETpJFYg5jZ5TSpk
RMfwqA+qy0P8/y/CMHA2/Pf70jHMk2TImx4xEV7HabXn/i7ZTOzWeP24Wwcj4z9mpAXRrWSqWYph
sPI9ye+d4O/r35c1Xv849hMDMta1KtA+MvcaQG1JfZeBBaOwly2kGJ7L1tg4nG69xLwtEt2L0Le6
JS7yYLaKQHt91/0zSDm+9Cw2QIk9QWzUHl0CgrPk2+SowDCruy5A25ggYEI3sfgRJzdYkmpLByk2
lPMTZPeQiLCc7jN32IkJ4ZBOTNi0MOGauyrWkdzinIWJBxke1QNgdbZOrEg728vJODQjBhJMbdRB
P3MEKWPKd9c3hmq6pP1tprOTmOAdj51lg8BlUvEzrDrnk1FIGztYuqFPXED1K/5SBBSp09ug/loQ
xflRmJGRO5VfwrN7GEaBVBCvzXBJwbtjvnPrEy8IlGD/u73kdh9UGdAHYmM8kEnGamSAYmg/ry+J
YuEd6T7LEnQZ9Q3G0hnNdiwQrnbZpsx9RZfDupl/H5jSJVPCTGlOeGAa9cMCkllqfjUyRb1qfVn+
tSF238lJcYtpsJKlreIR/N/58KBpXpTSeWtPKlDV+j7+15J07LPBTZuZYDTJ8prr2suwIKd7fV1U
JsRgTwaTekE3awwm6nmZgHBrngdIsl+3sb4o/z7BpbUHEjzrIY2EdGC55b9Itxu44sJcWxJooQK6
LySGL8Tx0EST1oWJDVwY+6SmIZqxgmqbUhWxybodgC/AXiNkOSX31QRTGriVj5GgasJYCejpGNbz
fZMpcPprywJ4zz+GJA/W2trAnMaFB9PvOw/kpfMHaUX/3J2nFiQfxmckIqYaFgLnls94On7iJJ58
X35xJ50+mZWJ7w/eT918sdq7blTsKzEJchhzakJ6apuAmzcoRuF4CAl3ZLXa4L6Hv2faK16ZUct+
Xd/Hq4sCrCaKk6J9QsaGL6hdgPIkwcEfXxzmhnal4P1ei8tELx7wF4LJWgb4BCMUi8qghLanAUo9
Zz+SNzIWGxa8V7UqpFidPNR0gUaHTorhSp5ymgy/yB08KE3vLu83DjTa39K99Waan9nKJ4bErJ54
GCvLmyk3YQi8oYiP+LK9viqrA3EN9IkDRAARZslJojrTLkHtlrFh1ZvESiPAvqrqffamSJsO2of7
QJAeEM07YIAC1gOQj/PhoGZdGDVUf1GeDpv0m0cVm2x1D5x8X3LIRelaWVKJeBKVK01IjAPtXbTH
plDMm/ihF6fnxJDky2w2WTRzMJA6m8M6fda1CjSOisy9yohYvJPFNzMfhCcejHRz920c+0c6gzHA
UD2YhLO6GIvnB+BTAT82mMXOzSRmrRutVSJ3P+e7AmXW+hfaj4DfhrZUUEa9U23nIvnMpXNiVFop
4uZdZ44isxzEBKqsc7pprGrjWP3m+g5fnUS0YqNjEG13+Pt8dF0QjMkodvhgPDo9ioL7jCkO6erF
FiBhgj5m0SEqbQZuD/XQ6GjfqVAYSIL7rh3CrDz6/tfrQxGH/WKhTuxI+wFsRYiUarSLNFr0AmLf
z3wdJCVor8PRlNG3ejonzE8Zvt4a99yev2oQfr1uYnUtIB72XxPSok+ZtxgtAVPo8sMkXxzgFl3F
UqgsSEuhj3PrLA0sFOlT6cQju/c/3BIgfBjiMUHgIfhCpA3FvByydRq6SsbgXc+/T+M+G16uz9P6
Qv9rQvz7ycGnU1knmoFGw8m4Lcq3RsWusXbiBbcm1NwAAkA56fz7GtGp66eIW+dBv3H7CcTiwSYw
vs/O3/X0DdTcDvvMq+/UpDRrSCFroKrBCzlL23uj7TYlQCLcN247nn+7PntrewDRLKBCOI+WI8Pv
0E8LhLS3IDjLAC1p36zeClHzvG5kbYnQXgPEMMDWgk7vfAp9q5/dvsYU+kn9pDfuTepXqihj1Qaq
YsDbgX3nArLspowVNGlpXITmslei7dY+D75KDwLMKE4AEn0+hKEc0RCAan3sBF8ddjQVh33t8yLj
Ao4ENANe0OmMpY9mugrnBKxAJQ8LVd1A9X3JmWi8oTlN4Q0duvOrEHChj60waPlAW4BCK/hbIA1s
SocEUaTRE3caHogGsLj/Xo9ke92CfG/IFqQzYUE61DcaPjwU00FvHt3gW3dfOPvrRmT2Jsy/wOkJ
HgbwbIARUAr0OTR3AmvKhod2MkBtlO7mJP1qWNWeFm9l+sUneUxBCIuo+lbTvjvWK+BeJGRlESl+
iJiw0+tL/BB0dqC8YAjmI7nznULP0eBgL31I2uCp1IO3oUpYWGSJDeGHHDIw7g23bfS+pnuv1d8t
UpDQgSqUIgMhO78/PwOlbDAk4/fAhZ9ve9A8t4Dw4GcY6bgLvGA/9jbZDPP0jTcE0KUCZX/fKf+P
tCvtcRtXtr+IgHaJXyV5afdidyedpPNFyEpRu6idv/4d5b03Y9OChc5gLi4G6IHKJItkserUObFv
Sm+tK+BPMuhyDigUNSCsCF5GiHWrbQHMjDJwhXXiUQKrvIv6Lj+4TfEopDdBCyHaEYd8qljpPVZT
cwCV7ldh9r8sJn7qY/faMyCaOI0+aB7P/cjItadIb8VWoD67iabhJat0I8wgSQGkngwFJ3exLf14
HLelKw8mlU+4zgK3AeNxx1GnGItd57Tzv7S+NdH7WkJrk1fuL5AKPNi9noQdp0ngMb6Vlb3jAFr2
KUpPTc220FW7owauCq37kBtuHBA0LDG9S8PbbqNucxwf1hxZAUILwrwrOSfaRdL0ZCYem085O5hs
BeEwBwRnCzKzcSHW+Ye6QC1JyHzMuh4IwyPhL8bwHJdNaALsQwZ6JNFaYUrZ8P9njKJUi7IENGmV
S8NwSDlZOugxzHbjbPp9Ju8n9+e75uuPDbByodNXm4lKVAK9OmJd1OA+B8FRAg5Iv5Js5URZmDIb
FaIZ3D7L66qIjS4ykU7LSudoeq9Jva9z4sfxl4Rw315DHiiLPw8GplBBB6cyWPpUUbKySz0mit45
do+e8cHu3m7P1cJ6gI8dU4WWMwe5L+UGbGqPsEQk7hGP45DnP/KiPHjDifbVyl3yx40UN3NmwhLc
hfYfddvLQ8dwWzPzqsE5jn05+YVM7tO4OHSOE8bp+H0cBu0O8/pq2EM4OMX77pl5FtGWq8/4cxeU
52qVhRXZhJs+do/9WBxiax8/0XLLcrqylRYWC9BfENrOhE7XjLO6XVuiK2Gm03cAhXYrbrc4h+ff
Vy58exjB2RhhtQRaFdNxZzd3g3bSpkNZVz7LK7/v9sB+33aR2QXUhTs3Om+Gs1BcNk6ZRAKDIkeH
foIwzfDptoGF3XQxa8qjDtj6kfSAch/Hbgq0FEJYPffR0+FDMAn//vG2tcU1ctB1ZeHIg7S3Egwk
johiHbh0HHdHh3yt+RoaaWk4gFhYCDSQmriK+ooCaCEoNJMjXMSvolebDb5tj1s9K7ZpWm9vD2dp
dc6tKS6RJpHXgqaOHJmhd37GgNxn6b2g3cq0LdkBngAiVSiRI0uiTFtexJGWRTY5VkLedVXzwCFd
n2ZrfP1Lk4duCmTHccECqqJdOluNOE0ygeEYPPMjtNkcQaw44G5u+cqBtOAH0I8DaSZuVTD8qUEQ
cYY0aywSnyarBn9nkNKVo3VhxjwQAcwsBOBAvCq6djRzeWnl9Miy0KZ+MW2A07+9+EtjODehLL5b
1IbNqwIckc+xsxuSFd9a+DwFFAKAbzBPI2KbF+ts52uyJlZXet6xLeWdKKtNnq8l+Ob7XjlcQASB
9keQNc2sQkooKkFmNfYxKNKoRQJqvVbOc+lsTQpB2a9R89SgBvfuKbswOI/5bEy8lCO1TBhsvzTA
suAOWDGwsOx4sOJoAkELaC7UfDIDdWCltUV8SgAfInua+sT88P4xgHYc7VRg7oZyzjypZ2Po0cxT
DKbJTtFBulCS2N/+/MIepIgFrDniALeEioICj1wuWaszoMsLM+haD3DHcV/1P4lZzRK88uNte0tu
NvMCz3Klc/+CcrTU6IgYIUISnwbvfgwSY+X+Wvz8nD6YlYawEZXPg2aej1YnwOnk/hrbxKcrP39p
wfHdf75vXK7GFOU56yNwRqVVPwXOVIU86jdai76q2/O0ZkjZK2XhtaTOMRBQjbdZkKNbai0RrkJi
5kBpJmuFHp7lLICgDOl43G3i+FSObNu41UOeglpkNMPcMx6yws18EGyHEDet/QJ0yLGO9HiOLrOV
TaRiotXfoT5KEsY6U/YRO1kuaY6NmdrlBhRaz5RGXQha2XQDGuPq3hoRhKPJ6EvGnPZeDm3jV2Iy
fmr1OwnDrn6Q4kV1ymTqlpgYXF5brY79NvtIhiNjJ4NpgQXxwEGuoB3/6LqphyNeSXj0WaA8uMJx
lYgmC9fBxqBYeTxRvyIV57t6/WH0OjzTq77ZuUNZBbqH12iX0goYW+4Gsut6vxb5GGpNVYecdTwE
RZ4VJgnP7kFVLbbUWpN9vV4xgEtdHXVtvLyQUaXKoSQiykwipugYtZWA0oKuP0ex+wuJ4mLXTIJu
ucgEgIGsDDVX/O5J8QYJXLaX7mQfSzMeX2/vlvnuu5488A5AuWzuFVB2S5skdKqG2ZO94dnOkBqQ
/MjsNKS0el+t+n99A+WC/zc1n0Bn57GOzssUud34VLsmwq9vMTR/orXk0dIxNtMQQ3UAOSTIIl0a
cSepsaGR0bEpjMBGiyCAmbdnbM2CEk2QaLSjCtoJx7479dMm8T79t+8r4UQr0iTOHHxf+5Unob1W
zl/7+cozYtKcvC0EPl9EYAQOrGrlcbfkUOcLoDi40ySalnt6dByc+yabdq0VBWnynFnZijst3b8e
Qgf0S4OvDLROlytdREmVG14UHe3okdC7AUkor9P9Oj1G1hqj0KIteBSkM0HYgILBpS1ujhoodi2C
QcWPNIYUafVctZNPS31juCsI28UZRDp8JuU0nCvmr6rONIqzmxzLZNwAerGprOhzXJKfA6t3t31t
0RSed0BXUyi5q5lW3tddwUFGccwbHpjswWimjcEeMvR6/jdD8w852/uDzUHjLGHIyA7cKPysvSvt
Nhjdlctg6fIHJH3uaQfF39WztQKVCtqywVsrSXxX5ckjQIr7ZmIrS7SgDYdmpzM7ikMMHd5MEVKO
4HSmH+OUfxs4gBedQTdmLh8JeotLt9mi7XzbatquNfMvt+dzySGxbigp4cZDy4VyzzIbLeyoSuBB
kPZ+UQFTVgHuTV4z5AqLlTj6D8BXvSPOjSmDLZ0RZE6TEx1Z4XTbzLJQgs/cn1XidQcz6vmurlon
MGuuBcTUoYxbCDbuqZiPL3iUb/Rt6Q+oJm/cySh/8tj9TPT83oschAiyeYgcI/fplBkPtg4Of4G8
4bbNiO33mptjIjUaEAQuyPG3NMwR0PhpVbAXJ02ju6oR9D6fwFhH86L3KbJbaNZvor3QUDPoIbP2
FBcJDaJJp/eUoUaajuJeQr8llK1MdsNoeWjPS4e7urDKJ7TiN5uoQLe9lzvRo0iz32PHtx0HDM23
h1wEWuL0T6RtqkCkExjrDNBuT0XT3hkdeJihXmdNaPrL7hMJeoCYTmZQRiBGZ6jJb0qL5fu0518m
0sahq+n4wY78jthN+DmfyDEquLaV0qJ+3wzxzpI51MHNcfhtc28Ib7vQ1UUA1QcNByh4qhHuI3t6
uSUrQHoYzfP0lPUAOj8X1kqFfen7KOuh9IlXPa5j5Saeu0QKmdL0ZIFI5yjTlarh1dGFn48djoc3
Oh0Rlin3TNXENQXVQHYS9jerDIYtNbZO9PH2HF3v89nKLC8JvCPEa9UafpYOkVFPsDKnP8SHMQmd
5D5jCBlDQnR/aKU/gRrTXOsdWJy8udsRHTazSICyvyGlpdvpIGEX2+PjIN772MOwoGUDBNz8jgGF
1uXaR1kB4goxoOMMz9dky/n32/O28PNxOoK1EguP36r61sTsVnom56eoe7He6noF77T2eWV20nQq
hoTi82gcTywexuNa1f7qHgG7+tkA1PO1zItWHzKkvZzIOjRC+zAOSeLbonzvY3W2Y6Jsj5LnHFoo
96JhZlDPsHJ+0hoRNt6vtn/ga1zui2M5szHfJWd3b570LogtSn5qRzCJ9qiA8ypI+5Wbd3FNwCfz
p4g8414vrVTC4YOug9WiriVuoo9auZJvudrw8FVAzwA8Q5XvuppUd1qRJMRD3N37lnzeBr2xAgxd
mKhZUMpAVgrcmldKJmaEa6RrcQx75DT0X6vqV96t3KULs3RhYv772VoQD7IijS7JMQPtDCgP1qhO
176vbGxrAl0/t/F98mG8L99/oiPMnhn1IeZzfeS2iUUmk0agPeFx58vMfSSeWJkglYsXS4uKIUiq
HHDEI2+nYuRk1Bhgvse5ZI354NduXGxRlY0OXmehTMkGcPl7Q+ZDkqAKyjyZtoVmiF2qJUlg6xX/
oVWtHpoA+G5siYPCJzVda+G8Cr6Un6g8ocweFJiiyRiAXfWPOmnaTd1Nzy6YTWQtAl50Ky+dxUU9
mxLlqnO0MUIfHGcnl8cby4sDPvy4fV4vjggNyHPdEZBb9ZozqoQ4VUxQunI+T1QL2vzehpqlrF7o
uBK5Lg4GaGhEYjq0jA1lMGyweC69AVnZZHrNcutDTYbt7dEs7uN/TaiV7QTyAwCOIzNrxw+0+ESc
ION/M2FnJpQbiEe1SIZSgwt4qZ83P7u4C90eaOIvHDTGfzEcXA8o0+O5e5X8d1uni7S2YWAKTQIw
6RjT7zb6fdvGogOc2VDOpQpCx7aJNkLcESTMp97Xh++lqPymvx/Ntf6OxfXBTYG6FdLmV8GNAVVf
xAzY4mSyQ2Z8HXJjW2vRX0wbuBpsJOmBiEMwcnnUmhP3cg+0HEdPJ2i3urPTHeBbu9vztjSUcyPm
pRHJeGzN5yLUu1gAMv3vDR+/aWO8Eq+tmVGWh/BeVlo9lxW91yk9lfIp/4soYd6NGoryUM5APuBy
JD2yc0Y1oh7bV30SoFtpr499Ap7htdVfOgBmrnWUFXGJXKG7LBOCRa4FOR5nN9qfCn3lEr8KE3A4
6w5y82C1A6W5CjqpBuK0vMNR1k/0CRTke8bNA5/iUBus4C8WH7J2uNGBjbyqjeIwdcY+cmYasDcn
/hm5+3hcSTQsLjzUyPFQQ6v1FVtADBxQGxsCt2G6i3hoGRtWbf5iFCjmzVTHYIFUYX91rVtjLEBm
1lRJfDcxMe6cfox2RVOvJWfni/EikYCY2gXgAy8OJLauiAMybxyMtpz0o95NH1Ka235Xsi+y4B9w
Yv8SEok1IH3X0LGLVlE5gyrkLHWoInALMDxLO231Y9XFG6btkmL07fpTEm1qeS/jtQ78haMU3T4z
eTCAlPCO+e9nIZ7toY+4L6l2jMrfrHB9wSN/AG7SdO/rce2Qm3fl1YxSkJXOECtsKWXXRto0OV1S
6McUfN/3rok03sT7bCv0Gk2sJNlMhWtvrBz9WlbirqIUF63PCVHM6zUsasxiMaQs0Y+93gaa8UWI
lwgEprf98xrOM7/ENLC7zoWDa6pKllQx5Y2uHz3jOZbgTBwO6ETxAcpM3JBFGwTRNP1+2+gfr1cm
1tTn1MVcO0YGYN6YZ6vYRkiqZVltH60yrTejWzooUJN4wyGIs8+1xgy7XH9NZS563xWy2fVtWwRS
ts0vT3gjGqJL/YlWsfBp5QK8qjntzhCxeOvNpv1QCCF9s57Sx6EGrBK3lPFi1LLY6gyRtTblcFQw
RzyjHf1tnOp8P7qjEWha1wOgCT4pt5r6LCwzXm4cocVbItNx09RQnPcz2jM0M9nmMZLE+dAJNwlq
vVqTjlo4Zi/mZ/772fww0PzEjdXaR1Dth42+jcvAyRGe0PefsXhMmvgHuaTrXtAMRCPlKHTvaHv7
Ur8HzZMXb2+v9cJQLkwo4XyFkDjPSphAQsecKT0P8XRHfv6FEWwSwKuBd8D0X85XIqs0HXjvHb30
g6XvkzooU7jGWi/zwnkAkP6/ZpRAoa1j2WkZzGR2HiJbqpu/4iEc0dhWTX5ev3nlSirmuhSOgua5
RWWjZAbkNSDP4h2jjAay9QI3gYRYxDctLf0ovzemrYkctaF/H/NN59zdntaF+xE8JPgHHE3WdS/n
WLusMkjmHcHfeT/Wzn3Em4+Dtyb3tnQGWWh7RE8i4Bfo41Ti/VhMFrhoICqc1mVARxBWNj6JcY+Q
0nfib0Z6KCzbhxj8XwzvzKwSw+apTEQ6CO/olh97sQNzG/QU/psJxTG55IR3soYEMCt/mFP6vQdj
zZivPWKWNtn5BCqO2eVN6eoME2iOn8tsX8/Jcm03mO8PZpC7wY2OpTJBgaTchy6HGm01Ge7RNAy/
Ml56/jHzrJUbaWksJnA/GrSl9OvXsoZj3I1HIDGt3twUEw1MaQRV/q3hK6OxFi2BFRpcoggmoc9z
eWrYpdkVicYg4Nrk7XZMPDeopOxfzZxCYNvh4otrcbKNdG3y25EPWzuK2D4parqbmhw0BhhAvI0I
MQ8DL+q7AjIAQWe6yQb6IekhEVlxcDhgGgOxjEAa5vRmO+UYODWEeIAEHsJubJxtUntQtem1AQof
pZ2Il7aXzi+Qj9b3o515WzwRwUtcWchQuIkdNl3kPcScTKHtcbFNSnd80mXC7yaa4G5qOv7UTqDv
g+5q6VeNQx4T0a2pEixMHc5BB0EROKrQSq7sWObGFssiE5LToCdh0e+0rbcWuRco3NzeQEuGkKhH
axdiW4QoyholdluXnW7zU86OsfmbdL/bEVzx0/R+r4O3/WtHuaYMARKcQmJApv69yA4l/yH60G3X
4FPzRlQCnz/RJPqY0LZ4BWvTOsFyS+r8NBhTGNEYsuBrsKXFGQPpFrJ7aBYCaPrSq6WeCc1Jp/gE
UCbzHa3ae0nxarpkTyq5MmsLwT+Ct393kDJrlhQEnNrYq/Xwaomd1TwI0DF3zaGSz0O+fbcrzGBm
84/uo4P66+XAyhSSkwjvnGOfoD0m3+flN/i5P+gvt+0srBFo4gENwAKhyK1Wh4DfE0nSWM5RgvUw
1r+ijLcybUsWZonOGdwIATJ1iXL0dSZTx7xjHAg0edHVV9LSxY0ua4cC3wDUltpTmEcdgCFljIt7
7qQKk3SvvZNqds4kI6H5r4nZDc9CVJOmFbFmE43+nDLf1QLQY7Ev718KC0x7NvRToSepIijsLJks
mWjoNbBfSHR6p5LhnzFAGX6GueB/V1Qog8Fx0/UN3NdEoAHebLJ2rCw8Vy8Aacrx1YvWTQCvidCF
3gdV3//EaXpXQiHEjPGaEFW7skfW7Ckbsu1zrWssIDRI1j2ZwtoVrNszA5X4iB7Ktl0pSy35GTTR
TNydCAng0ZdOkGhJY48jgMw2PQ7kF/q8x7Um6TUTSmgTQznQzbUZK00fTf0la19KbwVUtbQdZ6TH
nDTHgakmtSBMA4BzzaMjH+uvCUEp0nP5/rYnL1VewAuKdi0NaEowLio3pms7jSwcigKbJ3Xfyv1Y
36NO6MR+UiR7IspDk8E1eLKL9DSoJnrnkHYD1uvPWWbtbv+YxQHPjKhz8la/ykYOhan1ZpkBERHr
4JhPss9Ns9Zkt7RuHrS90N2OE+iqb5e0omZWYcATbQIimKre1p01gg5kTVtz0RA4JZAoBlIHD9lL
H4zbsfJ4PMJB3Pyx08F6nWZPjlx7xxoqneWf0wKtqv8YUlcQnDfsD/iR9ia/r6vE2Roez3bZEH1G
clduNcBJEiLMx9Ek9VZOZnTXdn21kZHtbAtIA6ChtW5CqfdgfK9AvYhm8B8mEDO7bKrZoZBuF7bo
J/WJEeUbtMxZm5jnejhFtEcyTxDYqhz6Zg+le8rA3xLGTQm4DaLpXeZqfFNNnfBFm4mwNngTZLVe
ACwDCE9B+/4+4yO/oy0dS194AFy4UemEgHQKENhN9raoyuLQMpNuLS6n7ViPoOjr7MInUGDdNmAP
3KUlDkgGbYK9FkPrCuVk+epNLsLWfkh3o+CgRNP1KHA0YHeGptVeLBfpbok6otOkvltp05MWMePO
tOVrjv/qqenBcSVdKXdNbr25TvZdppa7NUbi3LMsebAgMJjhhbtJ7JKhE6OuDsMwZoFZD4U/ViaE
nyVDVX9KIB4msynIPGb5XsemF61G5A2uUBGIKoHYiyvxB+S0N0WMclJnxOWrXcQi7HSw0EIBNtuh
bc4KSGmOAdqq2idotDs7i3TOpvM0trfHcgy5QBeN01cfaeoNOkhJdWODDEpuBEMLtSlUrgCfaiqk
9xlnj25a8bDmo4ToBApXmSl/1ZMrcenr2mYojRrtWaKF9B8eDwBidk99UWoba5yycDLjbGPkVn/f
DFyHcnjX40dGXzvhGK9R0usHKtyBBlNKenRwM90OC2KiySeLXmmbFj7YDOg2p93vvAcZsUv1/Dfr
yDdjEMWjzPB4aWnBX7oJ9IhNNwwBsJ4u3r+VC1B7RV88uo31wxB9GAsP1DAkd3bSbiP81sm9rwoo
1zJWo3WFAuwVlp20H9KC5495rMmg7yrqT03VhkaRV6+x4dYn6WVwRrhScTdi1/jaMGpIYIAaotLR
pOISYQCt1bv6VuMawP0ifbOy9rcrRP7kdZ0ZoCJh/LZq5s26MWwHTbThgULgJuyEVW1HKKSFWVuA
BMxym2NWo8eCGKzaFnXTH3iRpaUPMBy0FZuOhC5u4vsGhPwHVMsw0DHnIdRgfg0Cwjn9EPNnknAw
nzcNezWcQW99mvQo3DLWa3dumU67vBK1bzI9PugJoXsDIm2BK+P4Lo90b1c2+hiW+tBv6kpYAOg2
UIsshviOm0216+XvvoPgDPy2QX0tNC3oxLz7gPc0B21faGua8/LKmehKNxKGbJKTsDbAi1ib259f
OHIvPq+chFpH+liLRIJXTAQYf/KUeNod6NFX7uWFl8yFGePyZI/ivmkH1ianRkLe52vFt3G1jaKV
GHPNihLD8AmrRaM6OUlysKs7Yn0sm42jrbxj16ZMCWN0K3arlmJFIILnVzVQBtZDQ1eiv6V0IWZs
RoUZMwOSpqx72QBMCuqJ5DRVeoYdUHg/ocSTHjJbTo9difwrNkzKtjS38iDpci20RpqEOUvXoFcL
IcbFL1FchIqSsDLGL3Gj0Jw2RFsZ6tr3Fd9o4xhoJVdLTsa0ccJJhLc9fCGORjsgUDganoHIkCvL
NQwpMZIByzU2z3n6aHQvUXoy+V3L1sKXxYGcWZod5+wdZRVSx7XWJyeL/AIyQBbfbo9k7fuz+599
X+TEQTMrNhEVBVpfLAvy5jgwbxtZSIxjukDkAVIpdJ2rT+apJ2A7AFHFKc9wfY1BTL7LLtrMHQMN
68Fi8rNZ6wtdWKEZ/ghdKLyfDMdTcpEa5HUHpyyjYwkSWz+vutpviniL//h3GbUPjuh/3h7jPFFK
6mbWRfwj9ImtpWYLR9aZgokmOtYj3Zs1utBKqCiVIkLgY6wlcRZWbZbx/qPKOU+pciiVk+mVBgUo
PGYhLp5qrVto8fson87MOqCaU3FCnUiMIuHoI8mtbmMI/bmZVnmTFo489BzPz0JUllBhVzzbLVJP
0IY7xzTbaXxXJBsyvL9AcWFCcW40WKTEnmCiK0E+ZPgGI37x7p4eZDpdvNzwIgAPBl4AlzsoQ5ys
mzHHDvIr5yCSlTf0wlJggedmlLn1GK58+fnewFtvSm3sHS9wQufdDVX49YDGoFMXjfOAIysHJdH0
WT5U4uLJG39wUTGdPt7eGEsDwMMLDWFAhmAMyvzkOomdeEJOs2GBgLJDt3K4rH1f8aNRr9oGBw8/
uZ8TazuSFR9aOEgADkYOG44K/Vu107hiAnwdELo5VTY9cPoJRCCJHIPWRem5/fEXU3VmS5kqxPN2
QWXDT+N2sj5o2svtzy8OBZUTXP5I/V2ly0aPeJ4zlcmpz9xn9H/g/y1ebpHdgsjeyqqs2VLclhem
Uw14op1MNOQH0Db8InsNaL3WyQIDeurQ3LU+3x7ewoECArMZRDPnE64QQUSbmNlOSXKKC77TooeJ
lwcevd02suRtcwOpBrkYA2aUECpyzUnrERSdLPoEDvxsrYdqnhflGgFdHTpDcHUBDq3mgQzKzQR5
qOQUCdcf8YZsIeAXDZuIvh+qdWFI2fhezz0vq7DxTf2n530piOVH4qNdrsBnF/zgwoxyU+WF0Ate
IBDj8muJDp6qcf0cEpA2e26MlVhmwQEubCnbh3hVnKa6kZy66gSW97468WF3e/kXTQAG+qcVETtI
SaBacdxaRoXlT/mX1tokiC61FTde9ABAtOhcPgNCUwmN7Sl3CrwGsEvTbDL9OE/ij7GZxC91w7Ww
Nivt/UVoFJ3+rQgpS2RMNU8F1gS9SAb1ac2gpDcRCK7b0RqR8dILBPRgIDIGMSdah9TKA8kS1tpx
D0YTvDQoAjKQXfzyGnIwijK04/i30WibEVUXaDPQTR9pv1Ir+pvxnv0G5WgqWhSlJg/jhSSnA4UG
b9Pw4hnJgr94Zl8Mdt4bZ7G1bGQC3kktPhWcVJChBcelRza3HXLhPELrPRqVUMpBxlZtIS+aLG9l
a8Un0QVNAATIf/u8sqVcZxoZixxUC71Qx+X9/S8+j5gJqFd4PLTFL2cICGEeNQx0ET2hAxr4+IM+
Avp+28jChpr5vP4xooyhK0StD0MXn7T6ZJrfYsfcGUYe6MaH23YWzgZcCjYw/B7QWTZV7JQgSLab
2Q5176Z2hyQO8kJrUI75I8r9gKsbcBsdsD8kmxUjLvdo0dYp+onM30AIMG2ls29pEEjFzLQtiM0t
Fbg9dLRqssTDghcbSBPTcpOtHQKLQzgzoSx6XOQyazOYoPWGsdAN378MgJ+A1grHBKAHyq5Dzg/0
mRPi8QqCubmt+1O7ycuVrND8fLxahjMjyj1QalmXDA5iDSQA7AaCMmDlfCDVPs2+dfX3tl8Bei2v
yr9jmn/O2UnSpnXDEgZzpfYxijkINkA0u5JOW16Wf2yokU1RjnmqobR9ypy71N2RlWVZmTEVEpIT
WXhlj2UZbZQsyLif+LivtW7jZd1jY+UvYrC2SMyvHGDzQtxYKJUftqoBqW7GFGbJV2Z2fhKdqHFK
imE3NrUPoPB/cj5D8W06TJ2j5ZhENpFdSWQMChQjQp9kt/IsXPEIY17NM48YumjE9QlDTvkzip8d
D7n3cX97MEsH59lOUsvrLujahNDBPCvYhvN9XT3S2q/XkAKLfge4/lxlh9aASu+YMM4dd8SrhOR8
F6VJ2P5F6xxYFf+1oFz4OjFRZwCW6+SWlT+8oVvEvz1Ra0NQjhxnEqnnEThZmx6Lfc/+4mIBxNxB
YXgGVNnKWgu3QJbbIUAFQR2Pj8/19LmI3h+nY47+tTH725k/sSzPWwjk8ZNOy6Dof0n7Y9NtNYl+
69+3J2uejKsdeWZJWQ3TbaA/XjK8CIZNK4VfgWvAgFxCgoJQE8vtbWvLS/PvuJSloUnrmKzB3BF3
7+j+yFfOl/nX3hqNchEARGxnOvHwZNcfkui7l3wqU8/v0x+3h7Foxgb2ALIsQNw6yrlSd51Xu3JE
Pjun0Mcs70sOhVcigyS1Vl5Ri6YgmjF3uQNrq2aEWM1q2+0pP8ncAShlMtoH7shuZ3XFcPLygazM
4OIKoU8dIq8AO13lGtOytRINNfqTF8sWb0MyQHVm7Vm9aAQPdsAR0b58pV88Zui4RxaNn6z6exIV
yAKuRLKL5/GZAcUP0NhcQizD4GDOd/czH2FKnQ92zDa3/WB5HGgUAx3k/EJU/IBnmQChCk6aZNhq
qKKuEamufX/++9kxILi0yinCtZJ+qlGyXGOiWfw8ZD5A22aAAEMtBDSx23LR5ChApZ+tdofI7C+m
5+z7SlJjRGUzbQnezqkMWP+Mcfy37yvTb4xN5XhxnZy8IaT5Zu21tbj1wAY9syoBU6+iWaXduyU4
gZBKlj8NewrGAiAw53MhtZV5WvRWxPh4R0BsF+fJ5TLTxmQVYmfciLoD2n9U2VM9sIchvD1dS+MB
DGWWEsXd5aplhKobhyjNB6R+XW9OZOVgoZF22DXGygWs6sHP4BuQuqFnCPllNHmoahJmUlUGG3Fo
ibjfxVHxkTToxupJAgZ2HQCLsk6CNO7DIt4NmYTc1ORDn/0xjcYdKOx27hrV3JKjWzp+FagMwKav
RruMIflZeCjbTcP+rR1WArO1rytubha16PsIt0H7xZxCc63pa8k7zn+84uXWRCrB0gmpwXhbNOFU
gAl9JY265BkzYSAqP8ijglDi0gFBpJ8PQ41wg6aWX3107yE0N4o1eOV86KqX88x+buNVA1yWitxL
S21sWxf7KWKp39lPLZpE0/1QvlQUisHZX+B2507Uf8wpd4BwxDiBPy456fwVb0+9fbm9nZaeUEhv
A7DhmEj5qBUzGjsOdBg8dpKaeTS7YQrjCEj3xhwOVWuFFGlPFnVvXb/mb0shGzjKcDBhEyO9MTvM
2a0wEI0kVAd5IHbhNh/G0CyN7Wi4e8NoP4iBrpxOa+aU00ka+ehVBczFwG9Xw7hNHRKitBTY+XQE
mO8vTikwmwCrDJpl1Hjm3XY2urSvQIYqObhdjeStNlOAVFMURYhvd8WKqaWdhVoYtAwgNY+TSnF7
TsRgt30DHlYn7OsdKLAAN7rtJCsmVFZSrYK0RevODKzFm15+atiPkf68bWKeEHVbzYxMM98/8Krq
Ydumdm5ThpLYVN+nzZeYfrr9/aUhoOqM7M3MA4POjssFGXmcM8/m6amo8TSwxntLf6m8NQTq0ihQ
yQEPLGzpqIpdWoGXIUHkpSkEh78X7Mv4buLrOdQ8+75yihYVSeCvoPiyxBYIpVSspLGXjtDz78/j
O3PbDHzYkWnj+w39AACjFv/WtB9OuvIuXJulea3OrKD/02NtXKQnyJlPD3a7MoilE/p8EMpWZ5CU
yVEhxCDahwHaFHXyK4P0Auvu0ZRSkbWH+tqcKZ5Fpqp3jRbmxi4YUr+MXuxpt5rRWLOi3AOa5U16
1M6eZTV+0rzFFoTqy52bfrq9T9bWRjlNHLeLBW8wGq/6LWSBRve32wZUVaI/YdXZ8qiHSaHNAMUy
S0+pS/dtf5/SexLdkei15D8TbQz64qUVP0x61+lbUyeHfm0TrUzlH4q4M/fTXS5bCEilp6gKpjFk
8Z5J9Gnf3R7n4kR6CLnR6gcFG1WFOs5cgwxGCQiXvbOAeVn5/NJ9BobPfz6vVPTyhoraAC70hJak
xN6mv0S6ifQdXxPTvh4GIH1/JMgARwG9h+IP8USzvJeoHeNN7VtIbvYrYfb1aqDZF9VnSIOC4xOv
0MvDAOfN6MZem53Q6ekP/AvIl4R2GLN2xc71BQAJWtCNwRCgb1fRYTklqNC5IOCrqrd+ehHmwbBX
Dp4lE5aF5pSZgBFpx3kuzxzLAtzyf0j7ruXIdWXZL2IEvXkl2U5uWtI4zQtjLD0BkiBovv4kJ+5Z
0w3hEiGdvWLPiyJYDVcoVGVljnrH83OjMbQf0FDVmy1bjEsDguMc7bmxSAMDpGYhQA9M2V0nsYCE
CfgRAKxxQCQorEZh+Bxq2XV9vp3pp278uH0mJBMEnAiKJcC94JUoMpMgLTsGraZhras+ZBBO5VCI
CxpVjfT1BYANBd4bF2kZkISI1Ro3bd2ldLIK1e7HOtkB8f1Y5Y8TAvW6v7HZm9/v19YEz6w1bud0
PqyVR+chV/X/SxbEghTFCkAB2hztm9d7ajKDemrTnJ61wg+nJ5+NinOhMiD8fLRRANTIYMAvYlAW
TsNue80l5/tqAIIDabTJ0xeK7zf06+TcjBD/nm4K5/ntVqBwhGZNQBTRHyqcjLyYWBuQoj0jbqFH
bp269FjS47YR2VTh2Y0GJvyDAE9YC9oZiRHkHj07P9vgs21+2v685HTg5//7vLASw5jrZDJceqYV
j0gf1UPsJ0v0DiPQv1tlOoCdE29fz9OWnNoFPXvDTZcF4YBm0HxWBHjSkYAXyARAFw+8v13wF46Q
eHmuZcQkZ6+bp2OZV/zFzovhkz22Qbw9HtmagBrKdIGZBnZV7NCtaes4RV7SMylvz6b25ooYgCUX
X18398VAanepXKfE15lz0+U0tHQadqOiSCo7IaBDAYIePXpgoxBOSGlUGYEiO4aQToB7nuYZ2tJP
w6JYFMlMobaPOYL3BabgLyn0xVgcbU48D6wNZ1t/pM35jWp9COsAGbn4vBCQaLh4tb7C5xOcD3pW
uSnJlgJ4ALlFdE1CmFNMF4AUx/PaySJAdaDlpwUm3kEhMQ4WgykiK6klSK9i5aHXZ4g4aEcvascq
FnLGnoNGpRUaPI9G0IJsb9x1Va8fvCvE5p+ZdbkuliNBFMoTC2ZK+rntJsAZg9B0PiT6raadLY1F
4/xz26J0YMFarcAD20Zv87XFtm8ali42ln6qQ0ibzOSDViv8sHSTXdiwrm1AwUwn9Woj736BHz5m
/u/tQUgOy5oNA7YHEoeARq+DvJg2X3ObsoJW1tmkd8vypDUDVL3JUR97xfrIRnJpSDj6Xl34GgCh
IGqL8hINc5Mq8JUsB9Rz0MAAPmrwUlnCgeFeRdHKupLTmi+6t2fWyVZBoSST5eBMAkmOCu9r+gJw
n094mnKoigXPdgHedvcH89pwGXfbiyKZqys7wlyh6TOohx52bHcMSfXSqijtXr92EFGv8mholV5J
M4WrsUnzGSgoiM5AdxQnxY9oaoZ9b0SA+IVW93YGkGtzgkdG9TApGwpe3LL80jn3QbLrs0Njx9uz
JuEgWt8JqFmtQAJwMgg7gJHe1lszA0enAa7/Dj2s9d6A1AWjnybvqwdW8rL5mNDp7TsbZhFMrhxc
wCwKZ7QE6AfpXZqe0T1av0zF//Hz62a5OKGLOdRBG5RgUi37KDfXhliFh15XW3CdVwMQfEDv6GUQ
dOBQRNNcFbvkoOVfdAgX010SbS+R9Iw6aJVAUyNqCiJyGlFMWVQ52ECrWn8ytCA7gfGwPxnNO4qk
2AsXlgTnbHkEjaqrIInfgV4rqqgikpEeUTgaB5QW4OcQ30QWaBgHZwRFa/dTnw45Vexl2UThyYgE
NPQLX9NazmNHMrsEWfiU8hfGyK60glvs/LfHMLiS/5kR/ACrR5stfOUk18wXntvP8/Ce0wGAko5b
EsEryAKvt2/iOX03NCw/p+R27o7TYXtHyTyZGSD4RnCMZIcY7PWDVRBiOcDveiufoxl3RRAX5IZk
+cmwFLexdFX+GRNZ+22d0KAhHlCqS7nLUucLpD5CPtq/t8ck21tIqUPb2ECw7IneGQwFBqk8mOHs
5jfEod/zdcwXALeAK4kVKj+lFnqbgUae3bjn99rblQFW8tp/3xcuL3NiDd5dQFTb7CnwugOYOSLQ
Fii8omwpLq0Ib0eIC/qtrWMUDvm417IvrqcwINtYYL+FwCvqToD5C3dWruec9wRHwzPR792B7zup
n5g+nYpA22VaoUqyyBYdBDYOMjlIqyFSuj4nYxNQy0twThCuhQ8DnpLbyy4bD9S+8GXQFkEBWhiP
XuuVnaM94TyxG5ff++CARzdJEOe/tu3IFgZOcQ3E10tFrOc6w1LZg9nCjl8XoTtkR1Oj976josqV
zhfUpCHGvOYoRHUrDew73dRivuhdyf0wH1zFhMkNQIMOPARwXSJNLQl4jRbsCfxoXbbzITJeqOiR
ZeEkEhQry9f6iBCBQkvuF97sT/BdnRYXYxIO9uMwZjFICBRjkVtCrActGATHIqYn7Q2/99mMeA9q
OV4d8rAEY8PkKq53lRnzeg8vdlWmvgcz6Yi6A7BPLaDdpO8P/vR5e5etu1UMWSAqihrtysX2CoVD
ISBoTgtbA9iQWUdn3NvGHTrZ3AEv/ijpFLe9ROYGwcSFPeEWIwlopsFIkZ5nBMoNgCpWt0dXbBPm
+wpkaXEOmB95R4bhyqh4ZN02KzJAMc9WFdEq1lRa6rKj6oEwf2XdcZHhFVyOAfYvyyBQGgiC+5zP
cdPeZr5KxlplZN0zF+Er12e3qMABcV7aj9zrIPZ08mbV4192VpFGBDoZPew+IoFrI1ZgTmPp4XFJ
3BfGn2b7uL3dpIMIPHSWIscAbQ9hYw+BZZIAklTnwco/DNN8WnGWHPon22YkrVdIYUAjeWV+x/PM
FSZLm83Wh+wl7FCth5p0cpO2yd7SyvPiTNE8r9U8OyJ8CCHlEQ3JGLvV2xnVrn+DcLO6Zu4UxGmz
sxbsff125qoCr+wmuhykcJYy28mDzlobisbbgrxodrP3FjeGQklo6wrHJ9sYvqHjsYH9jRBReBIO
E/XomHgI09lxKU/eaXvBZPsCBI2Q0QR3zWtI23rb+shtpefGqB/Hyb3XzPGxR7PEthnpKPASAAmX
jiyX2JHXLgjLDYAOIT4x9/uy0Lw/ZufkqpemzKmCJm3V0XZXwIWw8hA0mUCegFi6sxGyEePQ0FNQ
ZWEKhrPMGWOHPA+OKs6S3RmXRoXdoDGzZiYzsrO/Umc1GeB/L22WRJmu2guyxUKmax0g3AQAxtdO
oq+TBnwmAPaMPrnPNJTMApJHeTD8fPtqXdgJhPZjNPMvg8XRYwYplzidjDhTUT9Ir6NVDR6pdAN8
aa9XSpsSs1+y86S7t3Shz0ntf2gGLdR5egZDwEdI4gIr6p7Lcoi1ot1tj1A6k8h8I3jBoQJo73om
dZ/PiV4m65plD6g9nqGwfEh86z0XFLg6vRWFiAKL6A7R/TwBAztCLJnOKHP9mdhvj6oSk5LBYFeD
9ACYL5TMxbuDFCm3za5CV4UJ+VJHOy39eICcvMJVSPY5zLhQw0a4B9JQ4XClYMCqLRNzlk8eitkT
2IPcKNUe0+HXmxcHbCqgCII2HtTQRYQBp9mYEwbFNLMrTim3DsxwIrN3FVUWiU9C0A0MAAhIoObg
CHugNmxwOoBT46z5xzQ7qErz0lX593mREtDMpoKZM55fVAPr3MzA5/iTm4bielBZEa6HBvjWNC+h
k9c7PSKTINSQAJsbVQwky0yCnR80pVC8AFRC7BfXOvCpTci6novhS6BV+5YnUWXTuHCWkINb0Sif
DbMN7fxxey9Irtoru0LckpJgdByGRXLQSJeRDPxznxJyahbQ2WWq60O2IywMDswL2OmvXpgznxat
5aP2AeWeb1XdRH0+fnr7eABwRYcV/kUjtXCIBuaOpmtDvc1gX7uh2+kAvAU/gCuPtUrRZCs5rx7a
0dYXMxJknnheW68jwIa3KRQgEeX7kPtKdsuADrvlHSXk1Ym6AH2CSQD9ddfe1E5t5OIJUhn13O/K
xTgOANMErbPbnru/eWjhzXRlR7hpG5cNlKQWUKezdp9oTgRt9/2k94e8fQLBzMEyqshOhoijwQtl
p2Pv02giqjaA1S9s/QrBb7ACSlogA8TtyKzQZiSqS1TMp9ty+RIkY1jq4JtanraHvo5sw6aIHSt6
owbkCoGN5/bIFDykfhFNA7sfOvPgkPHsMkWiUHIUPEQZIByCc3wtBDg2RcsaivZp7LC4pH3cqx7A
CgvikIa2sLjFAgQz+T1AzKHLfr9jzgBrAEwNHLB4+Vzvyrm06IgsT3o2GnAxxjMEV4w4KD+242F8
B9ALxYB/ttbBXrwR6RhAndCCWFwy71Lr1que7UmR6ZZ4QphAOhXSSggmxNrQZKL0kAUOnqHjrVHs
q/IerOr2B09VhJKuy4UdYdq0wUjtZC1zWsHjQiF68GN7WVTjEKYKwuMEnGr4fpfvPPPYuRFof/nv
4O2USmvPB/6/QstQ1BJuxlbrNEhP1XjZuF569OfkM53sTzm3WTjOzD4V4AZUXMayoeGJAx1HXJFY
LMHkqDc+9SYEsIHTpA/+HKRxBp+1kt62UcGXYB+MJfmzPZ+SCMDDfRJA6hfcUa+ipa63zR6aMDAK
iTra/UBp8UeSKu4SqREkkJDKR8yOf673d29A/wWUsOlZ73+wQAuL6RPYlhTTJ9t5oCRa+9KQ/MK1
dW3EaSbm9jOeN0nRh5NDQ9X7Sbo+eNCu1FQIk8UgpvG9XgPAMDuT0Jtu8+DWblFp+fL2uBJZFoAN
QWoNsIj4tvAI2jJI0eBtob8U3U3Wvr3hCMmAfwZEYlU4G3tc9BrpB/dX7u3SOrJK0NyEZhVNTry9
u6RrAueJQjtGBL6O6zUZyqoPBpbiRa3daDvfV7wpZPsKXdrw76h/vS5+MShPDE3rax9aF8Q4M0U/
DFiJ7oYxUbVNyaKhC0ti5QtS5RZLCSr4a8ve0j/ymkUQuw0r5+3oTw+NzSC7Q+ULze5ieDDrictn
XAV+Cv0nsPn7t9liNIq4WBYQXFgRb8/aqYKhXvM2nl+9mBZ/IINzNG3nOS39I2LPKCh/be8E2VK5
KCatSSgfTybhdLYma7vZXQVg2KHOWJiakWUr5k62SOiiQ+bQQlXklWi5u5ASQC/gH8xhCQ39oTYQ
T3l96Bu77cHIDKGKgLrIX01EMTbgWjUWE4GhxKE3CUmTMLO1A3hr45Qs7yiM4dpeUx3YFBAPEZxn
GrgczAdoGyWGGUEKzns7fetaZv1nYB3tRfQRoH3B4Tqa20cH/NBgfebvcAOwAEYtG2hzqBQIGaGF
polGUhudrwUItPUmVGwuyXoAJgA036rjglZeYQSpszDm8xXHns1VyHBEielFXsp/d/337aWXPWUB
qlxfRtjOqCALB7ReinJIXNQRE57c+R357bRDlIHnHs2OxzRdzrwrbgJq7xjhquf6+m0hjr+0LXoh
t5pyOyWwvaDcYk13NXB+o37LtHHXOC9tl0fWqPAUEg8Ok0ghr61uawb2enNUyIEEaYXUa5uDI38+
THoRbc+oxDOA7xF7A2l3zKl4mPpmDKYg6dCp5zkRgp7QHp24ClT1UqkZNGusopuIdsQcMmqCU66X
C9JclntjDEbk+8kxswNFnC2bL1QvkHFfNTchlHs9XwBouERbmT4t79inoJVXRDkSz427Dhjov4mn
V8+SuuW0x65EQaSsI6c9JPwInjDu+iEBcUzteIrVkQQ9PpKCeJ/jPYdGaOHoWnXb631jlXiukmgu
SlS0wb1iHr0sPXbebnsrSA8XekXWjnSU5V7RYxKWdG0RtOVZJ2moQYosq4Iw4wbc0hiaYNoPBoio
/K4d1fPob7O7eLRQGl6THQFqquKxRlLSy3oTPYTAmnm3AD1VYdZ19i2rpilEuqeOXYv6KEcREiXI
L0LGYihD7ozzje/WIJ5zm7sk74ouZJlXPIGSpEezsxvsWuL/zryZ3gyjPe0o4ldFwCjb2CvUe2Vb
g5cVI4bG9AfH72mJW6/8SOwZWCYb1wRRAZlk+RM0iP1nSAwa3JLQGSxf5bl1gykken7q2/zOw0uS
QBqYH5ERvevGJp6gyWGkZK851amHitv2HpEdMKCokBRfqeXQr3Z9wNymTTnoeGqwFrDDmGnH7B0F
QDAB/7NgXlvwJjosgwcLFQl7/XZQSdfIFgwREMJJH//Dq+j6+1bXWhWOW30e6uWmqz76oINIzZ/v
mCY8H2ygysGdIfJiUcMsa8tP6rPDVxKeuFLhXGSOCKTe/xkQ7ty8ta2MljAAFMp+qIbdOEOCA6fl
D+o2N2On1+Fca1m8PSxZhRjZBTRBropNKNIJ/mgCBrn1i6AC9yyJrCKIUhd8U+VvJ29C5t1Aszng
H1y32nvtrxxQn23zsqW7tC5svqHijeMkHhrO6F3SBbvaSvd+rwJbrLGw6ItAdY0qBpK8UHBbf8VF
QAbcow/pg7RGDqUPQWl0hIbpKcla8IRU5mlEXqBcK9+2f7OY/Eszm7f+VNyTIf29PVpZWOX7K0Z6
bQyFa7z+HQxyxkNdNtioLZqE7aCjOy1ldAcutCHMUosojrZkdgMdVTWEcij0vlL/1praYn1AGpR5
mwjYvSj3ngz+8c2DgntHxmMVb4bjFk53oDf1NE+4QPsCgCPg9ELmQo8WGtkhdCa3bUl81ZWtdaEv
FhKay06dJH55Nuq9HYSlqbicJWcQwwDLxppjhdqfEItaAxrtnAmtgoX1lBvOLqF3rPrTVvdD/Q1C
mwprhiT8vDQnxgLJ0AEkncCcbz4aUMpsTwbIXLPq3tEhYD3d5zOUVL5Tfwjn+ZmlT/M0xQ1kfcfv
PPnTuHst+POO+f03fjFJZw3WwtHqW50nvl8eDX7a/rxiev/6oovlsy0o/nRaWYFSRIuC5ZH5UGR6
5OQpTT5X+rdtYxJ6IESMF4MRNovXGD13gxzWcvSRL1+79JbO33TtN/Vv+4SFWnJbkT5MmBmR4kPF
TijPhI2tiPdlZ/DyV6xb+mLMrYHwBVd7ddb654GGVRouKuoMiVvBQNeUkLuWnL112i9MzJ4Lidoe
q1Y6w85ZtL2jV8cyMD8AvXfcnlT5aP6ZEg7IAIkrR69hSq9u66KPZsifqGiCJBEykg2ASaJ+hYKz
mNwEhIzmjQNvTX2ombnfgtGP57sq6tOX7cHIvAnicHzQRsMdcOvX81ZOHi40H1dfVewpxLF225+X
Lcvl5wXHmNmMdaaFcbTFMa9i3QfjKUAHh20rshUBXAjXt752XYkVTGyKgFnMLM80i/XqNHZQelbc
nyoTwv6qgn6hhMAEye24Su/JGsu/QwAVOSZ0DgBBjo4oXex+01t3tkfDw4MhzL27tHrH1bFiqnDz
4jGE1M/1Ymt+MaANdUawTYdwegCdjeIhKZ0lvBmAfcQr8lUDpD30hdPqI54NaQ09JT2q+J3tKryJ
LFxDjIi2RDy7UQkU22l1w+Rzk2KWKPXvBiM/ER3Ya2eJKKQDkEeLzFaD5m5qhEXbPHduE5nQl9ze
crKNDXoASCmB4dDF+bmeytYeCR3HuoLmwqDvIZDm7KBgUB/LGipozOXN8zvsIeoGEBPPE1B1XNvj
dtDYHa3qc44ZnZGZOfDsKwpV21YM2e0EoMF/ZtZhX7jRtU3DCiZQKxSjdzfWbuin9UNVZrvG9m4z
0LnoWRk3SA9l3nJjUfPEG7DV2/y7w4oXZlYPQ0531HLv3dZXxFgyfBY6d9CtjUY0UHSK2d41RWbq
c1KdkfX96baMIXJF5+sAjZKbtATnBy/tMmz1GZo6RnHn9u0BfNhcsfukC3/xK4S7zNCTxYRuIhzm
DHXfz4tOoN3Zh739SbEUq+cVAnYMF9t7bYTFqguHNcP1TK3Wqc7WXNxrWnPQK+NgZbi0i4ZCXDN7
cCf7qfPmD2XdfHJnVaAiH+h/9kXEXZXN4G5JYT+Ynq3pKbVCvYOCiWLHyTwGCmu45bz1LImuOyd1
2zK7bDDKNrLYQ4N+Zj3fb8+lyojgvHsbkox6lTdn7vxo2FHjPxdT4VplF/bK4Yo6MWAtr+qsbT8H
Xpq69dlEuV1v72YtiHR3OmrVTdu5ivFIj8KlNeFaBZPaZLeNV5+97BtKO2iXyiIkyUNuodu8yKK0
A71wfWPb92iuVayYzEVc2rauXQRtbarXJmwXgxPW9jMPsggEs6GLw9cXn1CbU1wqsgQegLP/5lY4
ch5yAHrW+fUZCsD7qQdpp/5sTM1uGB79tUW83Rk21BwHlbStbNs4rhms1EI62pOFnArvSOpVC0PO
Bk0dvnUzV9+NQQXVlW0cJPyxZ5C5WRk7rqdzpF5P5xQet12658UJbuvGuGG6i2rW5J3yRIWlkO6d
S4PrqC9cfA/WZjKCGPw8dPu8DUEYu1hx7x/yEmSoITcfK/fIVHjQdRSiM1uv6rXciX54sQBtucsw
gkcAYGstKg/E3G0fcOnngTVYryfDfNWKE1R22psu2ooI2MBqet/2x20Dsq2wIjP/pqaQ7BdWqXJZ
wJYcmEbuPHFy0vqnpFBEFLIx/PWCIHQ0kCBZ/fHFujDCpsK3IHBhNrc1/+LlighWdm4RqKx3yV8l
TCHST6bcJBnHEBqQiRHfiemgPSJBg26H5Wx1fFcv9dP2rP1t4RCX/dKm4KeKCqxzbQ7YLIjc91VT
RmDhOaSrrnBf7kpQ8KbIcg91FaPDaU/abJ+4eYyUMBLBeOv4zbmtlijH33xG7mqW3YGC5NQ4NMZo
ooxlvwq73OXmcMtAk6bVbewPDDLywa2VeKfWdnd6vcTbY5LuBAvewMXLGn0xwjIBpb2Ab3dtKeSn
gew8cqjfzkUN5ghkV/FsgUcAYuh6JyCCLRw/p+juHWJkeDRXcVqkLuDCgFg6NdF5lXJAdM+u44eO
dZpBQOuwau9qj5W36/tHpv3sQG6m+6rZk27Cf0MTs38WNJfQRAAE8qCBA78NO+9jOp1pf04IiyoV
66j0SF1YE7ZfnYyumZpAodeMP7NsjnlZqp480hTL5WQK96E7AZgY1ChmJm55bHo35J0Tlm4X5rl9
csGp1zbLV8AfPtlmuy9q/7Fy0GnkWFE2gTtwdD9v70/VmNe/X7gRXqJe5K+1VS8HayVDXWlR3MfS
E3Axq+vfLyyQKeHoxsChNvoxnJPjwp4sFbhbtU+EU+YyLTe9AStXEB4l9scZRHVpdZpLvi/JTyNQ
xDSqSRNu+r5kDvUSHAhtuLWgklG0ikScrBSIM41XN/hg/la9ryctLUDru0BZ/JxCx553X5PiI5IJ
evIwGY8Nf/CdJ23pw7b8xOmXumrDiuxsqGPbFgsrfiDVV4P8YBNkuxWlZWOdyVcu+uKHCc4mn706
bWf8sNJ94KSIfUDm0+6szyezn2NqAdROzoP5Y6G/9OY7b/dZ8qfoTw1/2d63/59z9L8zBELH6xlC
539j5BW8XrUYUau5DxPgfWFuNHsHccnC9LAHV09qd7E2scPC+sjGzwXv9NFI9BvwOv3a/kHSiYGg
lQNwHqr74suEz1AxozMaift5CC12QqvBcYQ6XO8oLn7pebowtJ6Fi/O0jIO9GBMacmxzvmlQl+6b
7nZQSgTIjhSwkuggBwkZwDnCsZ0KLcmyCvf/7DgROut6d4yok4YQcwKlZXqoElWDtHRvXZoUTvEy
Z2m3dPD2Vc+jfNgH/rcJeWgWPJa5Hk06+jTKLJ76r1O+R7dQZGrTzh0feoJwO1BJMEifERD3ckCt
DJzVKxSFEWhWRdeepGb5MtMDtCzDejwO9IPD85DT7zb7OpXn7U0kcyyXNoUZcM2sMvjqWJwgP9Iw
W7LjtgHpql4MSvBcDekTYykxKGekO7R7RQ19CVwtXHoWG/bzkB627cmeKwghwfZuoZj4iqGU9UMx
eTN2UUfzA2+neEwcFGjGe3dtGylNxfDk8/efOTFSsUxeDLaJHQSuMQpsOVcMR3b2PBC743wDLQR+
kOuz15Rg/Pd0OB0T+F6HHxx0AefNfnvO5OfgwooQImAv28MAXMOZclQ/5ifbvW3q8gAGmql7bviT
XXxIzDvIn4Ye/UjBYZv0TxPb1/Vp+4dIN8vF71hn+8LTgAvD1BKG38GXu/pzUES8D3Vr1/l3rqca
s2pmBXfTD7o5FgVsZdl3rXrkzi/4zzz/Ws4U6oCfW+fM5oNbfPPbA/douDbe2ipmRGmgC2UtrDCS
3QDdCxO/sGbRCMiRzlbzqLNP+txHBTsWhRM6wIUFCQTlPDt03cdCdS5lwBY86tdGJwBKkMcTTPsL
XXIQ2aEBqRrbHbMN/4nx+Vvh0DpEa/1v122rnZ4Zyd5xWQGgdPEnn83uecibH2PRq5Io0qXHLkdV
Aa26wDpcL703TqBVXJvWOrvbtal+ziBsqeEVlnflvurKeOCq15+ERNvAFPyzKRwueOEuoB4a9ADf
fADQacdLc1c13c7X573GeGzXxYe+7r9PRXLUSR7DVcaU5XfcMuN37PyLnyKshutzsxnXl4A9eyHI
taN81frrQjevdqN/1OmXbXvS3X9hTzhphsYbjZtwk3oPv4/+cqjn/Jm96vu2GdWqCofM59moF8Ma
t3bHxgriavhMGTxY0kapjkIb9tq2wTUaFKPFyyUV7jOnaRmY/eGP87R5TtrmVz1NpywhYTOD9Nem
djQ0fIfCieIekNpFEly30O2L8EXYvr5mjRUETZA/yoZ7o+rvGp2+QOBgV1flra41p7xcYo+/o18x
wBPftJBbggyIiKoiHnCXRoP+YjMoj/lCTi0wewxYGeo4ipmV7pgLU+tSX/hmkhkksTMcFquad9zQ
noxliHlRK8BG6wK9WkB0s3iOjk7PV3WkemK53eowUzYs7PNbE1CKetepUD7Se/vCjLBPmnkwqRbA
jJmw76Vm/ymIpxiJfEv8G8kaqVxOmJUm9bjAo4Fq8T6zsjuTDlWozQ4HwA4NglX3ZSnnHZkhG7p9
CGSDw9jQ3GSCxQqou2vLKdg9+dhDJsjpygiiHWHSKsISmYXAXlM/AMdC9VZwVyMdCoPbAPx6zYk9
0OL/+HnBOwWdViA5gc9r9bc5/56oQD3Sn7+SbQKHgceGWBxlo4afvwBSjkbwhzztHnGEFPGF7Lig
1v+fCWEI6GurrMEAwNv249yJah5lqlmSbbBLE6+WmbB8cAZEbSy5DcDq5VEOde75Qz0PkWGXv3GN
ftDSLtreXbITCqnLtQgLqkVQ/F3vLpIuaddkC/JJObJyC9tZ1vDZrtIHgJsVk/jaFHLlwMShewKQ
Mvx3baqBVgeIo6FKhy0I3GP+rUUk0ifeIyG+G28PSxKLrYl5hNmWBR5ZU6zaa3m9BMWqpQS+7WhZ
fgH+EC5zEWrk0I9fdIPiGCHX4+a7QlO9RKUDBV+ii0AwWNV7rgfqDWwx7YRCWMkd0T8KHHOkj9Q6
IELrjNAFn43K4uv9idGiWA89OwACTbF2NI3AS1MTj/p21D6BFBpKuCUSPYrUgXRcK0c66sToAhDb
E5NxSVpIRoDsbIZ66eB0u8qwb6ohuDNnFbHa6+OAEV3YEk6c62pL4HS4C0uvADe+dlvWZsznYE+7
JM7reqez9rGruaLNUzpE3L3rjoFmkbhtltKlLpge0CA52HHXTOhXTccwyNlN2UK/b3uTylYNemmu
Axgwsu9izmdJJuqQBrw5Jv0VzEBx4qR7miKWee0dQZmE9MNfEkT9VW+K2SVGm/VILDnzMiGp1aLw
1qr4oGRGzBVWv0pZYA8Kt6NnDvNoMwRMxH9Gp0Xo1CrOAdlcXVoQApZxdMrEW7lKFtDiNATVe0R/
eWLt3r4kkCgDeNcF//ArCbbUTNAOMaByuCQ3rXZq3HAaFR5X6poubax78CKUADlXqncMUe1MinAK
IDHxue7m2C0OyTCGo/mYsId56kPD/rg9uHWOrqMxRBAXgxNWCbSORrVYeJYUVrejtR1m+kuGhlO6
lChjchAQqPaFfNX+Taewahoz0o47sEhz5+NQd4eWV3EBijTFSZLkPK6HJlxjmdcD5z3DUF0f2vSj
XjRRQI6G+SfLfnRVGbfV7Wh/RgNhaFs3NSi57YFH1nDysuftOZY5kIs5FnEsBJJwkEFDucLTuyzU
R+fJbIabsqv2Q2uetm0p1jMQ7pm8Tf0AtXVk+YMHY75Dej/QyzBBztNdXjxV+6tq3wbm9b7Ne57a
xMHzbwk+lPlv3ezQUIQNS38OUBBLGnCANCu2/6cxPm4PVGlaiFBzyJuY5rjOahvr5Auw0jn9PQZn
7uNGT16s5R7KG6E7Vv83dyDCJQy0CpWZhiEHbFfzR2qcpkExtvXQbRxKsduuzf/3UCIq+lza5int
smORQUN7qOLB0xQnRe6p/zuRgeB8lmCyEtvHTHLjD3i7w5l/3V4r2cV9eQAEJ+NnmlMEHTyoZrlh
poEZiYGolucMNBTZba/5D4PNzuPwDpzm6gLwgEYKDuMTAXtTRwqtrhCdWH52KI0sXIz60HMejQ2J
FrovzZsqzWNW7wvr1h8VlS3pMoIhwAQDBbL9IrJ5MYzemWo4oEB/mJLYTcqIzM+u9nEGMHR7huWm
1vKes/ZQilC9Ji0o5xQvhRHEcWbESEzSQ+bGjqqGIfUvYLD8f4ZEX2Z7uT4VKzIgAaGL8ZkSHq4A
xDq9M+0/HnnaHpakYoIFvDAnuLPWqYvSaVa9y+C5aoBrqwkkyj+59Ea3fvXefV0cx1bxrJe66wub
gk9LCfr9CbJmIKH1Dq1/Z7ZO2LN7J1DEldJjd2FHcGCzlekZ9IRRxXaQAfzcTr+2J0+1VKv9i5jC
LvA2bk2Mo5u63UDN0Gq9nceDeAatTGeSOOtQ0962Kb3cL8a0/v3CZjoHftNAafzsuMcMOulVVFvx
tgnlnhDcVdPag57XmDdnWT40fh6njfPYW/kNSATjGm9JqusHlMCPxjQrbEsdGaiTUEFfgTfim6pB
m6wO7kU4sqaPvOYuBS4IQjHZc1LwvZ/8IG+XiML+R/kOXMgoAaNx7no+gX82M6CXcvBmGHtSB9/H
uoiRp/u9PafrVnh14aBWsLbBQmFJLEKBlM/mfgNPVRU0GoPv1FNAv1QGhHFQg/DFTXFpMq3+Mo1Q
PnfTH9tjkG73izGsP+Fi6/laMfZ1AxOOM4dW/uQv/iHlbUjYo1F8tidVfCl1Exf2hK1elN6S9gRz
1prILn3MRi0cg71aYF06dUjFgcrZRS1IzBxkCWc5ncACUQwR5JUS/7A9b9Ije/F9wd1pOitm6FUC
EOVH6fgEVSpVxC8bAbIua4Cx8iGIDFB9BobMYPYwgtzdERRY9D5++xguLQhjGGZtyMrZx60E1ooA
A7EtekBZc9uK7JJF26qO3hg/WBHj1ztsGahXsEbDJQuuD7MbdvP4oqV9uNhWVPaKQF4+af+MrT/m
YjsTvNoLs4cxtOHvu/yD5qskB6UWkAZAKy4yN68A46ylQVf5LsK+IgjrASi/LtyeMJUFYVloXrG6
nZz8/DFYPhXe5+2vyw4gMAAgd0XxPADJwfUMJR44UVNgYs99SLTjPEYoqE6qHgSZVwFNpImMDOov
r/Lgi81dSMuDtyqvf9MazjHPI9AthiVOfJOGVqGAa0j3mI8SEzINaCcTT3vQpmPujbA3Y2Ml7Tdq
2FHhfyWGfZjdl+0JlC4P0uOrzOFajRGCKwJAtDM1SAO1xlcGvM+v7c9L1wdt1ki/Q8Plf0i7rt64
dW39iwioUtKrpCkeF8VOYjt5IVLVqEI1ivz191POxT22ZjBCcp/23tiA15BiWVzrKzCOeP99BLMJ
5yX+PJXujgxzrB0P4uZ5JORGpEsfCaoJyPGtRYZ3neYLdK2t0UBGYE1u1MsiKsh93dy2nVyakA9Z
Vv7DwoY1FOjchgOfirWsxqj8SUDwErWtOp5CbkTXZ866OCCU5/4YOyw2O++nLmg4Y1VTlB8KNRqg
F3B0rVONOrHtorc5Sx23OZTm0Hp9MQFq/zrV0CXIXCZ2XMNcu0onHcHu3jzIvpA7AvG1EDzcFtoj
SiY5bWWoU3BgWWD+dBrVgCjXtjHEkcEiIsGMVrFtxJyM/pepZXpjha/uGwcleFTB8Q+U4D0AmFen
qJD2wEg1yodR5FFtPHTOV0eLjRlcJWp/gqBWi+r34kEKf6L3E+gD5DDyolEPRUda3GwwzFad0XGg
LSx5yoaGvJSOkz7ZtBK3DiRZthLhS3sL3V+6OFksMO1VdtAWw+hSiBB/IBmsUgz4r2EXbLUBV1MJ
M0kIQr8JsprKZuZEaI5lgvNPlEXoo2As7X+4iN4GWV1Eyuty6GEgCAlrfz9vMWcvThTekwAE4k15
1hix6wBq/llXQjaE9idDuDAw0aTYyD8vnUWODymtxZ7MQzX6/XpwVOekgE+Cd2oUJ4OTsJrqHYhS
oW6djbPh4keBYBdIWOjNQkfqfSjP71PpZm7xwXBadZwpb6DEy7zQ8Nr8eP2c+FNeW+ftgDdiL0F/
mkI5+X0sm3u05MQBB3QADcnV2OfV7NmJ69TwlMh86Ye+Xc9AGbJx12uGAvLc+6+Y6i+GGurImJwm
7qG+dOORycHamXRouK2NKnDQPeDO7WLbIJD8GTr5ynOYx+Zdp07gcndhiu7xD6aMiUHaqnMSwYcv
xqSy22CeqhiFHWfn8xx8TWf07300oiKd+d6HCllNRFXzCr2M+akzan1w7fEVBahvylDlk5mC61kA
THWrfFruBtCPIP+Ex50qvxtKpIdBF4soD3BstdIo8FnzxynrCrgZj9bd7LksHIzcDeFX9AAZcHqU
jeeGg2yw93mVh8PEvxiB+ppB6CUChkTvs/K5mj/5+rEBRhJqKwdIrql92Y2wfql1mLFCxhIYLdic
9hNkm1TUpG7EGniEeaZ/aIOqikUPrqfd2GBmOyh6NjZvot4a/JMPsFsk0IfbF20j/uUAAAYA0EFw
z881d8aG67Gc8OTV0PmwuirSzkszbRzYl1KSt0GWy+ptJjpyq+dpVgA4bkTwSn62eLDTFYxlZLrH
F9/YPxdg2IvnGxxsLaA8waZaxeMDxjrwofhQWMMU1jmTH4KMNDcNDdhtg0UdmZmadx6xgltzNLKP
vUAvLWqNWd6Dj0v3tij4aUaJ4DCk3N6oDl3a3mhVU7zEUNk7297UBvdGBaL4MAc64kYT5wYIReXn
jZ2NOV1v7AB1Q5DVYKt4pr7Aa9YWTocHTe5QvhDK5Cekhj+4r5uwGxyapNU4HUzcMHeU1u7G7bka
43J7wl8b2SfgTpCTWdN/sPl6n8l0eBhpfRw99bELvEhCdmnjU186+4HlWsaJEi0ege9XVsv90hkG
yj+Y6gWsPLYxiZeyqDd/fg3d5SbaLjrDn1f5ScwnwIQ9dz+1Ozv/Uef/sCx8gPRd0G/x1daPkX5u
DMgogY3PKfuQeuk9hbT2yLcwWpfuMXTAgQYD8Bm7fnUZj0WTmmMwgJK94OZrcImdOGvcPRk3rpY/
7dn1CnwbabULKfyd0fccEYmmSTFKIxyJdcPgv+qqPAIiOi57Hga9PNqe3slgeMgs+4Vmc2Sr9jjw
KibSiqXcuslXa/NPzgPVhYVCiAwSOfj7NZNZRs8kk/xD5/1wnK/B+Mvd8mu6dOC9DbFKq2rbVKIt
FIdy/7eh/5gGidXuWfmUQrXv+jbfGsxqkjnEQzNLYDCuo8Kguhnmhb28sZsvrxlM2JL5gP6zShJ6
nUO9te6hFoOyOZunyEOFJ/du0JfciLTKuv/32/w30irrJtToctYgEgglRgTBki4qcm2fLFbke2bj
fsobON2mLW5HQ6Hben02L3w3QJ2RD0NHBgXT9UChSdVCCrxaXk2AeLuVf6dZccNq9ygK+lI7ZHc9
3gXlKAh7oRoMkSroUuCkfL8WmQ2R2WBKZyDMYB9Xzrc0eyGeuS/6B4BhCKt2ffYqgi70xG/pyCg3
Tm33w7c/4sUQYhpBd84T09+SNDw/95AJwpAGT+HlNbzuO8FWj2RpytRDbb5MZbuj4lXlNoBjv3Tv
nNrg6fo0nE87pnt5z3m4EReN5/ezMAtaEuIY6qHNn2T1XVRfOHS3K7OMDfPb9VDnC+xdKHf1LoZg
dtdQpdVDWTEgcPZBsSuBMPa9z2P6QagYmn3XA57fULjrwRdHhQmaH2i3vh+byYmVwWFCP1T2vpji
bOPWuPjnkehCIRZ9u7PqUsuVrZTL9UOX8rgxf9vs4/Xff6FLjgH4i44TWpAoV6w+DoflG2qyRD2M
c+IM8Nyxboh66fyHctj3zofK+cXlo3KHjYPt4sD+G/ZPD+dNzthqoALastAPwLnR4Cn7BzwdBLEB
yQJCEWA+mPe9/zBT7vKsLYDeL4cucsRtni9UxQPpnjcm8M/N/f4ifB9pdUZTqsYsLwsQZGqQlG30
//euNL7baed/ruAACv2Chr52vlfcVLx1bkqHtvEIkcGvNdPdd88TIBm7+HnG7PX7AWQ38E5sta+M
/hkvRfcBWC0oIOQl3QHW7n1OWfqzHD13jHLtsh86MBSEmOd+73Mxvtq596kYGytqe1ofUteZPlXm
XMy7tAjypGss63cu06k/UjwHbkE+EZ/J1ImoHSl8/yTz7/KqnZ9EVXWoBpHhMfPJc+aVwSO8NKpd
wBvjwNWM4lBal9mDTGl3QMfXLUN4Ktg7r4LiUTTl/nQz9SXEqGlG8MQcgV7kVpqGE6C4B3sqwW0Y
CewkUsfetz0bb6tsbm8K08W7UUz65FCZ3jgN7oFCD9mBYMFAdB50+R4SCPuJCytOB4t9MJHVo60C
HpLlKGS9Q99Hlp2nQTi6hv8q64okWdEpEbrSnb5LX/KTofd+N/5mQffNAfJa5uSoCzv2oPTylBW0
u+2N6TEjg3OoZzHeFLSZd1kD6BPIKQZeckJFU+sMkQdJpYRNbfcwohn4xbVy8rMBjWWfz8X00QkI
udWB0JGyB++roEt7Jh+qxO1UdyipKvCFTa0iU7nZ1240/ccG9yMkr/KfGmqb+16jbuhTJ99Xreh3
VpB5e527TRR4TJ7Q9YEzn12xo8yCFo9YeBoA7gLcYWPNkWmWxQ0IOxR/RU5RN1vfx8avITqgdKxd
P4uRmA0RqYEWiT4buRmVZC6fjMGrPuum859KqynuM2hYhQ06Tre1l5rJxDg0OFhXAQcCE6bWTNsX
UY3jQfncizh06A8eZ+69aadgr4AGATF61BaU1cOzEtbZYM97Q2i63Dtxt7a/Gcomv80BeVRQQASB
guR601XluJsaoz7ko4HJlhVsM3xZ7FCig5OCaoa9R8wpttx+vKGsMU/EHruDl0K0Nmd4jRNlikj0
bIqsorAO1BFIKirf3Tj3z3Om95t+dWw6jLRe15VFAlrX3gpeRX4IoCHPgh/Xjxfvwo2GIj/UNsAK
dRap9/fnGIpr6VzWc57Mdka/CdcrKtgmuf2J2XTEHkCZanSYv/OMQR9xkdBQSyuIWyq6k2eWQThX
JYHh91fUGCMXLiT3c1dUkTV+aR0DlrbesBtzEPClHvSHrDLkd7/HirFovu8HaUUwSrEiYUgnqfFS
OsBNeN4VEsTcYqz6WHS8uR/YYD+hTyQOxNJsPzEYhMyWlh/ykZC47fmLCvrumLuojBCn8OJpnKDj
CpnoQ1G14/dx4PW+osEPVcPlLxWotXo6D6ImYPa9EihKdYG/t9yxfzKUljs/8AWwnCWdPgq75Ecb
L9VdVw6/q96GO0kH4QJbGeNholWHLIB0WVRxLIgZsi/AORh4iTB7Cr0+H34PuemERjHJA+vhDJSV
8FUVvM+TyhzbqO4z8ShrtVW/X62e/7yf4cqNLBT3LnAC7z8qwfi9QI3DgwiyNhyb5ha54L62YHpi
dN6G7tNqBf0Jtpi3oNq4CCKvs96gKINKo4P/4FVuPLvkHmLVH+BPWUXM90tQzaw9LHh+Wg3ZSLcv
3PHYswYq5qAKoOmyuoLNvOHEncwswSnXQJYNjLoaimQbGwRTtb59Qb7F2WDBjvCsiWSxFFh5pbPE
krE9QVtzp4sYDf5ijK8HujiaN4GW//8mY2F5QTROTwSaEubkYV1t5K6XUjHU6ACvQFsHpP61omad
mQo+pSRLhK0fMpV95qOcoPMtf+tcPrLMRcXWugel467P5K9WzJ83Rrhkx6u5RJEFM+ksRw46mu+H
CBOmwoH8InvwdKPyMKNVcOghPvDZtSo7FHD+iOnQ8+NUuCruR0/cdRXvd7KVsAKdRfEF9H3zHtbT
bMdh4hhp2qafG9Or4mDCCuhgNLtnzAiOHfP1HhfEb7BnxL0IeH+TDmnbAalj8n3piump5po+ZuC1
RGbP1Z3MQDy1QLyLae7NMUraKNXqoJy/KHyVR6Ym7xFCpOlv1vnNp9RAJnV9ctaoov9sI7xfHLhf
4Om4rkWVJnMHZQX9gxN8NMgRGVuYd3XMSAnnyDgjL51MceRs1FZXT7X/RHWghAmYD3i6Z43EUnAv
9Y0epi5tjKRjwuMYMgQ1QXmHu8Gh8arsMLMtRPKFJxtdSqtAzy+aUmvaTV/5/QQEVZ5w27tvWAb7
EmY9K0+cgpof0ow9bszu8hJeLT0K+bfFwgaEFNQX3y+9chZVXRsezorWa+5oPsx3AhWunXRHa6dr
tzhhFowJZ6UVJPZAg9tRZ+SEtjLbMtRaVvm1n2KtfsoIRpM50SxZhCCaqj8Fdvuk7fmvO06wzPTQ
BgKEw8PLbn06jm7hTaWbJZ5pRripwp5+FgqNV7nx/L50cL0NtHqfiFIQBdvWLBmDlwKCRhxQ0+tf
71IEd7Eth80efIjWzTMlgpY2/ohShTmHxDVgC7Rxyq+2AQpHAYhR2HgOlKJxOK0mK9BB0xcG1qMm
yCB9DVW/OuwICdH7iiF7H1lbzhiXIkJDE1BZMG3A512dhZVCVTrvW3we7nu3ePh7d9o19M6sRfCQ
tRQ3p8H77KMerC3boNUCxJ7HLYAhL3UywLrW09lWqaWNWsl7ZzDYvWya/muJt+WdOTRqo75wnhug
qbr4K9kLBPrM+lt3rLWzqZT3PRnrvYbYVlLC4CcRBLxUlInsHRsafudZnP0CqzrbyBAujXTpf6Pd
j1sBFf7VVutLAuhRJ+99U/3oYJQMqRcQW1KYj19foavzbJlS2D8uzD6QCSnO0/eBRpNnNgod833G
QhwYfhr706MqkmlLSOM8s8OLDIsUcwpp1DNSE56KAka/9nQv9WOXS3QLb2vnxSQ/r49ntTr/jMdd
PhukdkGOXFdtVEG4P3tsuqeNF7HUqcJKVa/eXP4w0DFZHsTPGs+CjVm8NDgfNTz4tqPyf2bDm3Fp
BwSOjPcDjNplmmj3a2qWka624DNngeBmBXKGh4WxeDOu79pgaAIqpCgS+BQBzc2G17rcV96X65N4
KQqUDNGq8wC+B8X0/aIwmaq8krp5Mk2Q1ZFIvU2gJ71QWPnGOr8YyYG7JUaDUsD6cxVl67SZw/Kk
cO0T1uLBmZpw5M2JU/94fVCrsxiOUmguuWBzAnmErPisATS5WlIUGxJV3Xr7Vm88Js52LP48bDFQ
VEP3dUnr38+ZslqLVSTIko7Ue+GVn1Rl7WivN1ija22SP8PA+oZxGnKfczHpOTDa3pkBawzsKrbb
vVP/Tu2PeXnPxqcc78bhY4vSAqk5TDWfUPHYWOln58UyTNxk+FSAtkCO6f0woeVYVoMx5ImQHgKL
j+1Mvo6ApRasPemi2Ej9L87qm3DLR33ztsDrrOWZi1dnabmokpSR6b5m+vD3K+PtmFbL3XBmWblq
ypNa9qEHq+l+Yz9dGAVWnQ0LK8gFnbsfp1mjTEdiFCJ3oqAyo8p5rpqbvx4FggA34SPXwEG7OslJ
6WWonfrINfgXRp/rv//wuPNh0YDLCLrW6+2DdWeIoeJF0hogQxDobtzWKcTDkeHQuOCwuApQJI2v
j+nixAGZaDhADrugYr///LLyUy1NHA/AWUeWL2AHdwMhtL8/hJBgOxQatxCm99Y5PXUFaedU4/vb
WTg6j/X8XPRLwXrjC53dTbj8EAWRsG/hd7AajVNlULFxvTIZSjguK3829kMLbQLUkD5Ds0KEEpDj
yClad2OBrx/Qy6EBnDoOWAsA7OUnvJ9HIgRKPlPBE1tkO5M4BwCU9gA3fp2t/mZq2l+d696XVMdQ
pr6zxt9/+xWRyQNljAo2mg7QL34fHdVM7oN40iTGYz9H0CZNi/31COdn+7sIa9RnbRmV01JEaKfA
fRqEqL/NpTVtLZTz5YgwwOkAwIrjF9jc9wPpipTZGZzMkhlqjj/n8Rf1N557lwaCubdQgncBwVwf
r9MYcGhJ123iFAH0riQUE40W6nDXp+vCenAXtw0U2MBbAU939ai0Z6soO7NrE4PzB2ZYqEpmuyZ4
tovPdeHc+dqMM5Pi+R7Ecqg2NvXZGC2AD5ACwkkKwZHfvp9FJamvRWFqWOdOwU1fkH4f1EAwXh/j
8i3ePFZB5XsfZfkVb24OsuA9Kn/hObFDroBDQ/WrUv5OVDcNPzh6CHF5Xg95lswgJGxT4egI5XHw
HFbLQ4DVAqp+bSTeNLO72q51Us2siC0uAQS0u2JjsVyMZyFxRz6DNvKa4hQENWQuO6aTuavySLbu
zquru6AtfowoaF4f29nSX8b2JtZqOmHCZdssyCCa0urEt/vD1M1PVG8Z6V4OgysS6FxULtfVDtKm
nY1+nk44oOmh7iAsPPt1KDq5kVhcmDs0WVH1BfQd8NZ1px+kJtRemSKJbd3p9qXsHuzhW1/8rT3d
sgwXTgKUHMB6Q6N6+R1vlqEtYJA4yoEkRmM9efYc6lLvAn1bu6BjVkB5TGYdd93s3mWE9cdJwDjP
n8Dzvf75zq6e5WcsLt/ITzGr6yuOzKpBYRAtPz2aoZHu0mY35Qy1q4/QQwrbreb/hc+IcEgVzOXS
OZOML11KAI7DqHN+KnygWD6PW33yjRBriFogcuI6bCTIRx5I+WrRQ+/cXJ+0CwfV21GsBa/5WI2u
00mScL6X9b78S/+M/6yN/87SHwX2N2vDzxvs2Q6zNJVNWMB7AfC00JLP10dx6dMjqUFLBfUMCOyv
znrHaCpSEZ8lg/0j83lkBh/kcAO7tkBpvPe3cHaXJg2iiYtwCfS9zmRYIJUMz6jAYonUX3KAdUS3
BVZay1P8mbe3IZYRv5k3RaZ2tAqEaKE5ckcr+7mU9UkCbZIQ3lbHXs3w1huaroNAuob+W1qC/6++
2bCzR3cyYsx+anIK+pk/tn9/TsLbCN0dQMYM5Hir/d7ZReukjLGE69sGlbG5Cr1gq2hz6fDCeb/c
MaDIn/G3oH/hqF4ZfqJQarj5xG7tboNhjZQGk7i6P0Fw+r8Ya7r6lMEsq4etcWLNvpkorsqongCo
aGE3GfY+LLSquf3RFl6wn3xbvjZUNLt+tr2biQLGgRfkF7MYAcUoUtDNXS82e9OIDHDE4VIcFPFU
udOpQYiThV7nEdLy401aTySayglaH4PlTQdi9M3BrLDD06mEpaBvjDSEnFZ2A1RIEQu7y+EpOnWQ
bDdNICdbEVlOboTMzb96E1wc53GqY3SUaNwLI+QQ2EB3xiexkzuhlUbCDBtmPEkKryQ1NbBemTPo
twRRZXDgDYqUhCptvHDowEJBK9R6sIEqhm2j2YetacNeeZy7O1mY1Z0lPXk04Ch9KGD4fJcPQRU1
I5rKpM5fYffSe2Hjz9VrP8EVPpxz3sCJzFTQ8VMdOQjdDrvJLtzdUGbthyI17aONp8JLlWb2AUA1
OKWMkE2CV1V+qhvK782RDCcC6m5oVLm67T1I+GYZrODNqU0jhRr6ISfec5YDxs2kx3bK8uqTo/sC
znpudxgro90FmegfMlR3YpDAKVjSPU9UHjBIAbk8QhaN+azoENcEFzErJ8jNUrveS7fGy8Uj4KX5
gCfMcyrvmiFzTrlN2ygdzfI4W6zdzeVo3QBGbITD2ATA+MwWGPROFqkWRpBzBw+aDILEd63qRnyg
Ud7BGrMKZ0fSg6GN8ZNPSIvCp8eSzivYXqIulfSel4duLvOQt60I8SXN2DGIv3dc9mCzge96VnZh
V/soFmSG8fn6aXpW/4CFN+BgDmrfANQhf3h/9nAaiD73O4oeiBtlzIfzqjoQj91NTFYhL0HvuB7w
wj2HgNjjaFTjIl03qU1zSOdBDzQpwAjhRH9yiHE/B+7vfwizFLBQoaWLm837cRmtKvAuYTSxHEFC
Ylqvo2UPcHtx2+P1SBcPL+QFkJLDtQQpxveROJBF08Con4C1HXlZmUbSrCAfi0f3aL1cj3Xp7gMK
B29eVMwgYrKqieS+2yLTS1kSzLUf4ii9dXh5T6w5jWq/OcBOLzb5Xzq+/7meFrdo1BrB4TxLLVue
g1nCB5ZYX31QbXbXh3TxXH7z163309fZgW4IfNET2qC5U6ClP25UMi8sccwXOjuGC0jwGU4cHVce
aHdmiVnxU2pnBy6KuA7cD2i0NyHJ6caCuDQivEVRfkGnA+Ch1XvQ92Shp3rER9LVL+DhdlCd/4ch
uYtyG3QgwMxY50AK5apxsiVLwImJBse48xoAOs2fwh12GdmSJ7mwZQGCR3MY6hN4C66VZ2dWs6Jq
zAAQKB0TPQC5Vuy5VhsrYSvMKg0qCjlxNUE+SntJDhEwIm+Ql20cP5cWw9uxrN60Q2VLf1QIYlZJ
I2+qNrTnu1bG1pbJ9aWt+iaQvwIoQzVVz5OPQPZ4kN6jbJ4ozDyazAbR8Pff+jb82aNvo60OIQ2T
ki6H71tiT8FnmxSHgapb9reGQ/8JA64zbBkDb9HOfL9Z+5Qjj+FzkCgNj94PUHQhZOORcuk4BW8G
Eieo/aKisxpJJsfW8fXS+09ZNBksbJuT3xSRZT5dP3iWL71OCNGlAS0I5Flg5Jfl+CbrZsCe1FAE
DxJi3Q3yd448C8oxHfzVc+SCxq6cthBMWxGXob+JaEEfc2QZIga92LdNC/rF4+x+BYsnlM0xs9pY
oq1+fZQXl+GbUa5uDCqRy3YKMYVTRbA6R3r1TIMyHNtq33MRyXlLm/PiB0QxDHS9BQtGV2tE0cIx
0ixjYJfvNaD/qQsqMvtS5D+uj+xinADtr6UIC57g6rhQ05CWaFCBktPTeNZuKNqvadDv2bCB37h0
ni+3B1YjeueA57z/bNBPL4ltsCBpOyO0/F0+bnHUz+uXKGdAuAIuFriN0B9YrUU07Dlcz2aadI6d
QNboUPn0k5AzPpP71BdqB1FSHi4gxVDk2SEo7J/XJ/PC2YuGB/JAn6IddkYUIaVMXTOvaGIqrwcl
Om3g0A22qy+I3l0PdeEERihwOiGd7iHhXK3IsuwNSGiWNKHkRc/HVOIlUdJjDuCypaPrsS4OCwcV
kE1wsAYl5f2nk4Yo+0ZZNOmLIfSYvYf4zF6Kf8lpocoEzAH6EXiarZY8yHl92/gZTYKxT3rDmkLb
Tp39BA31w/UBgd+Hn7w6trBQbG/RS4dXyHqp2MFYgtQs3aTzWfOoiDcCEsPMENLWEcgcLiTtgOon
6BVkAu4KkDAmFCoSIenaX5UxNS95CQxWaA2deayDHmg/t+qKqDOdR1Gm8hZJ5bwnAg4ItKigmsFl
q0PkhkPkgskR41f9UqUJHInZTR/TqZnjUmX1jRRje5NnnIZ90FGgsdPgLhMQ43fcqY8MN4CjT05q
8ZCSwIYSezZGdVqpCCC/EmU77R6YNWQJrNdKiOkM6c6CFABywWbapZWeoN7huk9A+VJYmHU07Axn
ilvgFEMKkVyQnUd9nxbye13hF/i5l54kEGhRjyvxabQMYOeduTwBQ+RFrbmAoNMuOLTCsO/hXwom
hJg+pdKYD3ODOy11C//Wr7vskKWsiSqh59uUlwOS31RaL0V61M6+AIygMcWti+pMjmNhrHe5TSY8
Tn3v1KIhdgRiYzoUwPfcmq02EuU56rHqZPAJHRfrtk9dY0cI9IMKqzRCZ7YNSI/O3q+aYUBlZ+tT
Vosy5oBVn4COVxGoGcGnsgN1Z1a8PyzM4L0PNF0E+RvzBv+mQ7sc02hs8zHm9lCDpW6nIR5zUKfx
exF6KUQXi2FhNTiDFXMQ6WOPaQiIL5Bxsylg06PF9HucPXKoWU4jw879U5W17v0kXAfusVzC6Rfo
oFTY3p3oAFBkTkGO5STN5zKD6jIeJTOcsibf/Fzzjm0cxRduM3QcIbsG4ivYwuuOo3T91ql6CjJG
pnc1/0zGX9MMB8YSssXye9tvNYnPsaB4Hr8NuLqy7QyMKeK7bjJ1SVd9me3vNXvIs6NrP6LcGfaG
jqYtqNalQ+ttzNUBiawt9UeCmJU+plMMBz93y7T3wpUGfjJ23dLZAcJ1FSIvRg+oUOYh9xniCQ9k
1m4cVJcG4eKpgL+DetQZgqhMLVvPWM7JZP80IcQMk75Q0S0nmbWty5KQBhAMQc8Po1mcMN8f8LM1
4lIF5iwpa5fsQdFpjl0L7RMyNt/ncXSglW/bL9yhRaSgfBWBr9XFvCsAgSu9NsYI+seiGvwNVMvF
0VOAq30sU5zSqwvBlaUF8CXmF56WMISPBE7pIf2Hy81B9wM2arji/HVFk4ycFGk/uUkqfk8pGCJx
IH5dv24urZO3IVbJeNvywZ4DhHDvep+DjrKF/1oW2tltBpAC3hIQlsCqf//9ZMFgrEi5i8Zt84VK
pqGmMSuoFBvPbtcjIy/S+PqQLn4aWLbDgQkux2e4prZ0eT2Xy4oR3m9g4CBXatNiZ5fNFhbMuXRa
LYRRJFYoP6DD/n5wKWrJZaa1n6R+IeJMarkfJ/ECeQArMnLvZ6+aKmZW5e18aCFFvijgw1UXYzjB
HheYdyd9oKMLOSefA2IPa/l9Z2pylyNRRM/LmneTKoN9VZXGDfELG9ziDkV6sNhQwgzmqMkr86Zp
nQJY6oDeprSnhyCf092MS+k51xn4wISMeyc9GtXg6jBFlTce6wb/jRcXyqLl/DgUc3WDYuqMouTs
7HCrGPvFcjN2QBfENTDhLu7nLvQ7e+vw3Zi+NcWXzpatODP9xJNuXEj2IicR53BRDQEYOnRqiswa
wO1/WB6QirJhQQEm9xp11NgNHWTqIOik7lTbPANi9wmMyi3n8ks7y30TZ/V6CVJDzDX4eYlEVQAe
dqGjtyQFLjyQgrchVsvPCrif1yiCJn0LoZbb3sUqdz5mSMf+X1NmrSod3qDS2ukwlFQ8jxTS1Orz
pvLMnxR6fVC8Gcy6vy0cU3Hknn7SwmjTzetPHMaCltM/jH3+s6zpR4xWwCvVOZZ2fl8URug2Q6zc
diMDuXh8QNgDWEWgf84sAEhfg+VIez+BM3JEWkDfij6Gw+Xu+pxeTDyA+8VDCVVlcLbXN8ic1dBz
kn5ilCxmtTiBvx1OpnN0lP2lc52f0Oo8NlregEB3cz32pSEiK0B2sMAyzzRfBqO2p5bz5XtGxIjA
gHI2Si+XIwDvCxcNoCLW6YfVNbpqgtZPaP1gyApz+FT3X6+P4tIGQ+4BSyQkIXCIXKU4BhuMCcmt
l4AZmE37Id2YpbU40Z/U422A1Q52SdB2IEmiVikeCvKl8sewn4+ud2eUDz7bjaj0yeAoR1BZ3Pux
vZ/LIRy39A4vrpO3v2K1yUVFSD5rDNOoHsDODovMB/VyVzbfKMRP6+yXyQ5T9vv/NbfOaseXswWw
FW6BxKuaRHL63HN/41C5PDAAtpG+4b17hhwTVeZMUFzwkmIuEyHUrd8CsOA0sEjt2Kub8294dn8c
OvajsPyf18f3B9m0Pm2WzpG3NKpgWrIs4DeVuswzWO+aDfLj0RZGNHi8jDyIpt34ozMeqWjziPpp
/ZnniiV9hjfrCH/HHYWCbgSiIkhULfkBRwR8gXKa4jxl2dGcLGhE61nGHD7HuzawvinVUfSRg2A3
BrQIM2EYzxN1AWcB7H8PGdsZxgkQS4HtB8DX18doX9yEaIwAygggj7c+YWofBHs387zEKnFQjr9p
T+q7SVLr6FktJKaLqozGhmaR0A1y96Hz921lQSzfUQHWM6kewWoihyobp0cp4JUUcu2RL0aZuzt4
RpI+UqwKQjQq2DFFeoSDhBqneWbdwUS1IQKwkkTAM4gTHunOXVDleJyCxPKBMXjZt0TYd8JFI5VT
JZ6DbuN4+HNhrD8xpDwAS6Rg35xBetJhcMuR9yjG1qhHiOB7p8xX7QLIPDRP3lCiP8keDX9IUPp4
NEkHUJr9EJg6hT2mRhnEfq2M8mawiykUjrjL/N/ZlAOo/j+kXVdv5Dqz/EUCJFLxVaMJziOvvelF
2OBVpEjl8OtvcS++c2Y4wgj2we6bAfUwNZvd1VV07SRcODLkN/HkBemzFC5Aju58LxYG95yB1UgV
O+TQtcluFcd7ESgoFpQsWetURu3GvQhBBerHDgFWMt5q/U/u+tf33NJQkFwECyfebEhtKZdaks5T
PY1mFcY/quTgreEVFz8PNDfQyLKVUVdcPogLY32y7Sps+OcJpX5klj7w+08MKC4/G3IBtw4DJtsb
+j5aAaks/H4QrhsSZPa3S0uZHrOrmGkDux02af2HNt0LJ+UKinTBBCIXAAVBYYwEgFpdcQsxk0Eb
REi7jXAATViZoYWtdPZ9ZSsBEtMlLVKG4ZA0N7k2vGZC7OwoPRSE7d69GGemlNmiYzNFRgJTU+3r
g2+8Xv/8hXtEivV0puRMnlwBvJsJr4HMCp36oLlIkDyIYcUFLy4GWhAAKUTi8SLG09KaJW3s8dC0
OagzZ3ujedPag2ZxRSQ0AV2GaCFT6eiY02kc9BlYEbPazk3zvTHNXdeybSTYSlV6cTyubaB8h3IM
aE/Pp8wYncROiSvCLL+fD12+IqKyuCInn1dOn61XCemAxQqzJr9x9G1jbIc6Xwnr1sagxFMG2gpG
UBSKsGSg2dkNh+u7auXzalVYT7WhKjLU/WzkeAE+sFe21NJqI7FNoXgk9RrV5ysUTkWecGypquzT
x7Ehb1oaQWshj/Ubk6JV8fpw5JSfXaKyDgFVUB1lKwAe1BiCN1M/otLBw6EojYe5dZINyXtQz05g
mzFwWSE1m7rfC5oSfcXTLOwG5Ixk8wmKxeikURaqYXmZsbEqwwmFzaI91MUhTthKFLpkRNJG4zmE
NA767c53dMG8ou5SXoZ5/cbE92h4jMSXd08hIDX/mlDG4eZGgT/ChEh/2DS9Kby9G3mbEXLCJN51
yVrWcGHJJPODiwgFUd9FNTNhs1sSLS1DPGD9dkZY1jBfY8gz908i+aVl7z9Q2I64kiWqD7QNyvgm
c4LUU5/ATVtAuDWBM/GVPb9wpij1bABt0PEryc3OF0mL3MGmScVDUCnF2tuwJu679n3lTgMANm/L
kcNN59Qn4xvUna9vgSUD6KECPRtiI3Qhyl14ctV0bUZ4p2tZ6NANsv3FWtiytIsR6KLtULZpIbo4
/36a6wZUauYszL1N1N9o2raiK35tzYSyBnUclTpokbJwgMC82w2h0VV4GDv76zO1ZAahsCQHR7MN
nI8yEvRE6Q7v8hAFQg/eud2zNfjCmgnlyCedR0YvGfKw6Gexd3nT7HOSRVvU0vSVdV8zpRyNKioy
a6ymPMS6HZ0hQWntZl6TKlm4EUA/hGZ4KbsiuXzPp6zqXW/GWz0Pm3Kb0cOM1HG9iX5eX5elHXxq
RFkXMaKjByD5PESR5fesodkwMoaVtV+y4diy3Y9YSN2rRXYyzkZpGVkREgswf6gsr3x/YTVwl6Gd
lUJbFtq86hbW9NnzII8Yas1XbWwDSJi1qJy+e6LOjCi+ZKwTF2DoTISQDKy4T97JxASAu7yQ/x2E
EhQn2lwProVB2BRp0v45R638+ggWpwmVVxT10BwG4Ob5foK4bs9Y7PIQ5ebpG2i88pW9tGwAXPYO
4EPwWsoQHAouTNbPPOx6+96aBIjT+T0kNj5dH8fCPQgKpH/NyO124nTzHvUhICF4CKoav+/3s002
49gBIP9oGt/S5Nt1cwu7V+JQZMsZMMIIKM7NlbgaOUgAESml4BN0AN5tPjKgEwvKvEXc0qum0Xlo
lO4BPCobA7CXWGxG52hCCDNlX6+PaHGd0AEmlZBBu6k2LAG/kMXgEebhTDKkjOY/0wCytjlaAwTK
DXURY57YUc5lOlZcWFXHQ4fwCdySvb01Gjzvy7Gj4N1vtWc2D+y9aX55jijg3Ei44MGvZqitPq/6
2MbuGICCr/ZddBt3K0/x5fn714Ry0aQVN8C6CRNeqvn2bfySiQ+dVQluRC4frC9qGtMa7Z62tcbD
zHou+zevekzXWm8XV+fEhHK9CDYzDRhnAZn2eZNbYYpuENv+neS/jSy4vuGWTOHphX5rwNAvAZtl
hEZmQErKsEu8DeHFA4RxAnDONEg8gnmFWWvJjKUVQtyEGgi6FfCiUnYeLTUdjUlOGRJubNMEYvA8
8Zt8LcG3ZkZxDSNctpE4GJdGfmd8gDjjL4uspDsX5+5kKIpzYKB5q2rThQ0gTBsgTa0iTCGJ16J3
0p6fry/UQsiB9vh/501xrVqM6k5cYEAe1sasP4OLIugJR8Zh5QgtOVUTUFP4S3Sxo//63KnqhAFa
gBaskJTWnYZSPk3WeJmXFgdgfrAy4x9ArcrEOTHoW+MUeyD3uE8n0FJ97rzd9flaGsapDWW+amPQ
QFNplSEbAwFa3DVJ2LUxyL+fXHXWZEOJxMD38ezzmxm9233vr3aXLq26FMNEdIanHiA/51Z68L1V
tj2y0BjJXjOf6lYElP3ia4WLxdmCeCAiQBD/u6pTa6I0BRl0zsJIe06tm2j2r6/G4jjQsQ04kPfX
b56Pg7Kh8dLGZqE+79GC53cJCA2L/e/rVpbCD3DFAziJnlJUQOWBPVkTMxnj0RF4VGpzuUnEoZu/
0+q2T/rAoXFgNmuB59/Mj3qNYhtLojFQPl4Q3XDqFHVtFzwEhfN852jWDG20mgb6aGj7zEXh3O77
10hH16Mg1rQFVjDb9kOn+zXnIPit7An8xrT2QX7MNynx+G0EDHhwfVqWtio6TCSaC2884CPOpwVN
jsMwtR5cbvk5J8Kf7a+k+8DdfmpD8bd2J3TN0LUy1EmoVU+1bAJaK0UsLu/JOJTDMHsgVGYePFPj
iVuHDGiVn185obdVJgIw0aHRD0nS/zZ3ihthBghCBhdzV39lzmPNAOz7iAWAYvBGgk4geo/OVwdY
gdkxKmQXURHcQCoq6X+WU79y/ha3wIkRZRgjSC6caQK2Ge0ZG1NLAVAGZWL28oHJQnRHcQhRDFE5
XCS1NFK9NhaI3wGZtZ8JEpZ40ly3snTtIvgCjEKm+JDjP5+wTFS0GyYHMV7Pgzl9ifieQQRiql6S
4vd1U3Ja1PN9akq6tROHAp0s9C8g1x+O4+ehf3x3gwACYrh24NjQCQGJUOXQOCXIvPOIcmReivvY
JTsDtO1a4h4/MAqg2jFVaIiA/z0fhRNVqbD7GWfTFBmgk9pRc92f120sLQoUOiz5gMW7RXW9wrCJ
oc05D+G9WLvzkp2e7CkEPd9N/gHwJzgjZH8tlh/zfz6YmsdlpFEnD/P2l2SbNna5s7LqMsJRVl3W
dQCzhf4U/ivXiAdVezRuanloiz9DdABd6sbT0IFa3qQiCdCyV63pUC9cj2cWlWdLnuMxmGMTYJ+N
fk7BUpz4DKUrW1+T/1pwBJ5LZYsWyMwuvQ3aapme5h6SfRqaqDNI31Y+c1dCyMXhoJsWKF3gyXGA
zteIMpbMTp0gqxR/tZgAXf8ha4CD52vFvsXRAG0NNAmFCuVffoKT89nVqMjwDpvB1L449uwb7te2
WonyF20AbgqeWSAFLjAzMQEN85xgbUpwzWgBTZ704e364VmaL/ngByWb7EBRszM2lOtctzYLpE2s
jQtIk26MgZ4jTJpWjqm94NGAQEOKyQKRp6RiPl8aLWv7ue7qIvTMtDlWdve9YlHJgRmB2ocPcsIj
GlPByJLutBDyEjutsHYcAdAmSoR2aGcDPJmGnm+9dm7QHJbZeJ/O5VcWTelhmEn+p0DVYOeh1xBU
YTW97ft42ruzVm8tYaFQAWz8AV0nYxg1Ahy0wzDuc7DaB9hIfVgX2fDQD1oa1PpAfvOi1e5sYUCW
e26o90sXnTluSOl2Ae06EsxzNfxpzazeUAivvtWznr7GzMp+xZx7Bx6lxq0FXpPAhXTYHiK9r1lf
9j6P5/iQava813li7lrgiza9lsx4/YJW0ojM/FDkafnW0VK2+WSVH9t2vgPOWtt/YNlxDgFn9vDY
Upe9ycy8SIFzCttqr2v+46j5IluxsbjeksELOV6UkFWFHUhTORTSkXnIRLN91Mt6+94xoFMaY0eR
CJjAC54uAEO00mxwAqOJv82WsW3r4suQGPeMOCv3/uVQXPBboyXMRaesDm6w861rcai098CrhdE+
6lBwubk+EkPetuduH9+XnDQmYOx4pCiBGOfo0ykM1EEYqpN+kzSIkqoZ1SPe7+ahvY35eDfW+vcJ
Ki9FPu8J5V/1bK1WfukL5K8AQShyZJIdR7nf9LysdeYg6w84QDim2UHv8eC3eHNwoVlzfciXAfW5
LTkjJ+7TGnlErZTmYTfXO260gT3f5HO7E/WzW7sP0Da+bm9xBZH5AQaEgBxDvViHrnZMPBQww320
E7Fx34OR6QMmkCXBrgS/6oVmmJHXXusi0xjm0CQm8VsDUfEPWECLLN57qDET9TXVJyBraQeahfPO
s28h13r980vrj1ZEQzaMgnNPbd6ItZpwq0fRDxhAcEp5WyPLI+jJZS/QQFoJDBdtAdYAtKLkoFBt
DZA+zb0qysIMbak3rEaTYu00Y9A7Izj5vUqE18d2eZWCpBMJBrx0DAxNferk/RR53pBhb5N97gIN
hzTZ7rqJpS0m+9yRKsED5IIX3u5A3stB3BCaY+zsgLsT245Ew8prV0aA565Chk9gLUd/DZyr2oQC
3FXZeLkszU0vWY8uJMjTrRHpX9rAZCHOBEAfuD483M8PJy8MM0+7EjXTkmzRYG5VPyH7YKD2FNtr
PGmLtqD/4aDeCO9nKbaatrZbq01y5LRZ/2Ijr7mx8NpGLY1G0R7Af+fnDGKPFY+7uB1OrCrux0Pg
YUjp67BNxoOMIDY27YyN7lK+cnUsWnJBso9YdKG/NwYxVd5kcR5a/FsJGfZseCb2ClBrwQa2NJrz
wd+HWVQ39zC6dKoTLw1TvOPmPvBKEphrlYGF7X1mRP79xGPHEpWRQYosZD9MtwoyJD6un5/FUaAU
jGWReEY1dNcnrheiq7JQDFXQtvoXMRUPJO5Wkh5L40C/mAG+IuS0L4DCoEdHi0lBMI7PpHnV0k/X
R7H4eXQxeqCLQYpUhRi5pG8RVOPz0BfZ2AcCIafrBpaCBbw+ZcXcBBfwRdwzTqyZCai8QnAhT/cF
0T5BgortasSf4MRC+O6M/GeNhtMHux/6bcnbEowbhX0v+sxYw6IsDhdE20BvQHYEMdL5rii1qXLB
OZFKkbmgH/uHZHin2C9q4BJ7KJUAkUa8rBNNQ21Uk4aNV9DPtp0EhW7uk+a+yrzASEgg6MoKLu1D
PMCBRUNPEOriypAgEVH0pcNwNUX1M7Ogll6lBzSRfb2+jgs3oCGZo/GuQx3ishoVjdCREjQN66hG
X7D+PeHRjTePYdqZ366bWhwRZC6ho4AA9oKjy21S0Hmmbho6VeDoQEI8DmtNY4v74MSE/PuJd4DY
DRorBBYJneM8kBixjZ2tququWZEDPbFSj3Wsx5UDR5cfCH203g/nxFY7GYVcs5Pvs7aveePi+zOk
j6g+Hi0erwQ+S0PAqgMfBlQKaE6UV3Bj0T7Cuxfup9yyOljj3F24TtFBjSQLmlwAo1RLaDFt4F9N
F3m29kDsO+J+8tIv+njn0PdHO3ByyE1QRAmXCVckSbN2BBtg2M/arkfLC6XFStf10lRJ3nsEItDN
uMjlWFXeevKZGiYv3PPTn9cPxdrXlbUuvCmFyDq+7rUbXt4DfXz9+5ckMPBbpz9fLtXJZqpFMxWQ
BsDPN6qAM2+TN8ZGA/kLL8YnqGtOkp7xDbw3D7E5vkJ9c2WASxcFoE9oagRMEKpkKlQTPr9op66K
wzgnT1Z/FO3PUuvQOzrkfpsWm4xa+7I1thRs73ZsfMqNtbtqYY5Pf8HfprCTKRgtParMEr+gsc2j
zqPXPvXeH8kBCof6kgSpEwiJns9yDJ3IYahJHOre/ag9sDqcvPe/HWDCATstcn1SgfrcROLalVNA
LD1MrV3DbiF7rUVrm4XgG+dhPQT3pHwB0gBgJr5ojk7RvYQ2mDjUmFd+Iw5ao8fJ6NGq0Gr36LyM
96aFHBF3Im0zeEhLJZXp+c4Uazc5rddSKwsXBhIRqLVLHLjMdp+PeBCc1PpoJWFrHAv21areYr7y
2LxsCKQYsVQJ8fCaBQxEOR4c5DWIjMs0hL/9jaLlryQ2N3n71lbdDrD9u66sX2lOOj9pwTVz/Wwu
7ksZs0CdU6rCKbZbN8lymrtJ6PbpZvwyp8nmuoHFCTwxoCSMtHpCW13kJKGY7438PhUoS767uwjz
5+IhCMSE7CyWP+HkbHX6EBl6IxBoztV2aA2fVS/XB7E4S2inAz8l8EbA1p1bcPOubButT0Mw8USb
nI66zwuo6f43K8rpajOTlmKAlawnvgkMS1eRFRMLySZMFfQdkIxEyVx9z6IzGT134KBHkrtqwGYz
IeoHp2N9N89JfpiEMT15IGAIqDOuZQ6l+7k411ICDUUw5AXU4lRlzpkHrqIUlenu1h7b28KdX8jQ
v8aTubIhFvfciSllz0Uj8K5lA1MA0UV+3yXikaCjfOPq2dr2XtwZqOeBiQVltwsQ8mxxcBKWiPqd
bl9+ytvD9S2xNGkg3oKMmpRxAyz1fONFaR4Lr5vTcKL7go+PLr03im5TNWu8OWuGpFc+OUNUn82a
uzBUF68R2GW05hmtAejZWINrLE2YgcYaJKsh0IF0wLmhCCquWcm1JIyKfU0O00pSaPHzSJ4gRkKj
FhIB55+fwGbFZoHPN97j8BpVH7gAUVwFhuP/ZTGUnYWykTCySSRhZxlx4MyxeB1ja7i3a/SbXF/6
xaDFsFDBQyoaEC01lyEm0WQCch/h1GggdS6BDRxzyB84UTuC3DMz/ASMeaOdBkhR9YGVgU5a5Lr9
RodujSlXxuLq4YXSyd+iJRJUVBn3mNhiQGsdEIoFoIkoc7SbhM5iZ7ilGzhOz8B5VhV+V3qvaAId
V7zW0nmWXBEI3hwUalSvhX6o3jIiNw7t0b0zCvRj91GQFPvrE754BBwoL8t7EAk45T2SMFEmoLdN
Qp23v9yM70Gm+gblyUPbNiuZl8UBoUEbYC/dkPpc57uU6xjm4GZJCHXrfjtUk3jqrArM+NWwRiQl
V0ZdOZnHRnQBt4+0/7mpCULN1ZRiFyV2Nz41BUA6VnW0GnsKIKBMHuq4MgNaV9PKk2Vx+0rJVxkq
gmmMyOk+8Sge6IcrPRsTwLLKo0g8kFNZfltM/iRE0KIMWTig8nPAEbABQR5UX+pdNIHG7fqiLs00
gGGO7BEBMkJFw2QJd8UsCrT0VwJF/cSPv1VrL/6ljXNiQ+1CElHtRMSFjbHb86EHqRm40KcbOmQr
LmHJuQGgAiJGJLQs0IucTymo+AYjLwlK1PnBAc8A+3R9shYHAs5YwJ1wP+sq7xZSzOhiBzliWCT9
vqm+oizqG+1n0n7gfpYtbbIPGR7OUrxJTHJt6kERH9Jk9iOUfgHe1oAeev9o8EiBBwU5NvKQylVg
0biMvbxnYT3tZrJJ3ZsWoF32H63INTvZ5tnIawjuDCwEGa1fW+BgG39kSeKXa3qZS4sDBgA4Ydyb
kHtUDPW6WZYs1oswo4FTb1rPj/iPqf2Ir0XGRL4jkSG7SJtEQEDUdtUUYWd00Dmp2SOn7ffOylde
PUsHEzbAl4AE7qWcaZaO1BudDoiOucFrjsaVTz2+n1nzen0bLDqiU0vKbgNcoq89YyxCg1Y7MKT5
me7eDxqERwrrJk3twI71HcjMPkE71gcn/KvJjZWDtXRwZXoTRwslUWhPnm+SuMkaQyvmInTc9js4
DI48WYNaX/JI4RWJggf0zgDJkvRG5zYMYY3llJYs9CrrxazmIJ/TYKgwvJxvcNkAGG9CNHEY7ylg
QPno3TKe3aCROrg+34sLi7cFyr5oUbjMtWQzYR4IAEJOqjZotCqYOzcJGoCNP2AIochf4B4iJCWS
zFmepl0HbzWMefZSWmm8QztozPyoc9dkYxcXEKhXoARlaKDeovlcx63dYnKNZu89tsUHolaUGf/5
vLJFWeREVjfiBukNGwyurt99uT5X8pZXowCU4pHIlwTFF7Q/ddbZfUliFsZi/u2IWw+MDKy8pbO1
HZp2e93Y4g5w0dAid+QlesLw4nY0PEAdHfcJjS0+BE8KZ0296JKl6u/XEawhsgEPparh1nrcgTds
yrAxCfM9Pj9Zkbt30wy0f/3OTPOt8CfQTAcmCcisPfDEAAkvyFmyZE3n6MI1g29EYt3/v24LTcDz
owfk2NiYrWcePd0LKGU+WHV8bdL8eLXmdTG3iin5U06umyROzMobEusYe5vCfqj5NiG768t3sVek
CZQDZbYUUbA6sUXmzVAJrc0j71vIZttHwaN423Prqexdc1eCqu66wYvDJQ0C8QP2W4AtUD07H1Nn
tjFYlUx6RNvaD8eZdkUSv/fdpphQps0DT1XfF5QeS8MIJsN69kbjUOOBe30kF8H2XzNgV4RPwr5U
a4Azz0et7Bx6hE7t59aAzm49720Gojk7QdAbdzl64N/dKySNAmZhoV4jQ3wlKpw1xFMgaKJHmz1P
UNzpVuZuYXlQ3ZBwciDkJGrxfHmKyUJG1hb0ONkuLpLUh7TRiitfOEDAEkM3FhALyI6rWVY+Qh6O
o3Z/BBjrV0xa/VNHmdgyAcI3czDslefX4ogIpEEtBzXVC7amoW166E21aE2n2TYiVlD1K7WtxQGd
WJC/4OSYDrjsvaGAhS6JnkvLO3Racld388bpSrEyeYujgeQjWm4AiLoA/CMF3s0IPejRAWGXo20j
y1jxCAtOB8jYfyyoD5zcnkqREQ07IIt+xCC19cdBfHHHVfHDRUPgLdORTkOXtJpnRUwx1AVE345D
K940kCD57ow3GyMQiLt+UuWhOLsQEY4hwv3HkrJAAmTwM5mw47SvbbY1PzcZ5m7TZYEot/ManGxx
WNi6kr5L0mApb3AXxA4mckXm0Wzaz2iP2bqs3A/Tmm66QxYGBap+QObhtaGeo4SAJpnrNrUHcmxH
vfAnnU13qcmsres23TFtLSsoQcfhe81Mn2kKGi5LByUxnZqu9e06Ayef7VTUH1lc/2YlEtB2GvU7
YrXj18Id7c2YgVGeirq5sV2Nv8g+840RR+IT1i2/YzN8KwDNFrqpQILW9pFR+HjlsR2JzPIuykGa
7TuidKAlZdoHVrf1k6XVxZ0HEsFgyg9z293URQMOhMAtINc17OOxCEZjk2qbMY6C0nbvMqQrHvQ+
Kl5nJiC525rtc4Ki7IZren1nuL0VWo0b/2mgW7W1vKzZ1dkw77JqmALd6qzPYhj5prOrdCOBD38m
DpEyNBsQn4gOcnNmM25pBH4k8P+kz2NKITIekTpoe30+XN+CSz5CwnXBUYe1AqP2uY9AiJ5Vdjxa
R2gYjM9VHJTZNviACRmFS4Vd2SZzbqKJ6sSkkIg72tHWYRXy/anPsl+9+HHdztJpgsraP3aUDe6I
Ok7E7FjHJHsF+XLSbGexzbNhkyJTaYgW6O+1PPLSmTo1qcweISPlHBRKR2/YpaYPDCOivuujWlwg
D8leVCv+KpOdz15llSnopnvr2Ooi9sH5si0T8IwM2TfNLFaAa0tO/C8xLaCGIBRSXawm+NT3TQYX
S25J/RajQ+z6YNYMKL6hGBhtcwED+hBEt/a0MleLn5c5NlCyoLqkeu7eNgWLCafHpq3+dLR/6nix
spkX4lLUKfF+lg1H2NFyR5zcqXPFjBHpd3J0vOgwuYHQnQMvX6c61PQ1Dq7LmizuB6Td5b2JBUHT
3rkx3k/ZoBeMHgVpoQKcvdBk3NmZt0dR/GB0/VNmxlsTwlcbY7Rfri/V5VNeGgcbkE1RxkfOXclc
jW2TQyId0Sqt8nrT1OZdm7h7guswg8L43OSWb+QCzxtX+0ZGy/YTVMXTGA6cAT61clMuT4WEIuJ5
g44VFTBOkq5DJ1GF4Cy/rQUuCfR4ivinR9sgiuaAQAkpEQ+p/vP6LCwdcAC1kDqWRMcXrwKNM8uo
jIkcmXtH5pu4vW36lRzU0qY9NaG4R9FDvsQaRgJAxmv7UKQrQeDa5xWvOCPUq6iH6zjpvlLn63tz
Btgkpz9ecYBWJYweMtXkSD5bIPWxY7py3tZ+vvKuoGZXTMgvYgHGAygKfbwzVnzSkoMFAzKa3W0J
yFOzKgbPPVMrbHK0kZ/wh5SZ+xZQj42la5pfudBY/sCWQmcsLlv0dIBa7/xQV8yZ63Im5Fg2VpDM
gB3FOlRst9etLI0KWW3oy6McDAULZWFYjCtXOC45pgaaq4xn131g5fc8f/lvZpTliSaI99AJZnoo
mVrkmTqPI96XBroWrxta8ruQqwOUDngB6NcrhnhLSidJBTlmQgumiu15ZxyE221iPsMTRNb+ur2l
fYc2fqldh0Ic8jvnq5THnBkeCp/HkWyGNPNNuLv/ZEHl9We15nTTpJOj1X8a21drrWtgeQRo9EKJ
D8UH9cWMsl+K4IHi5JRtMFrpY5NlK/HCZfoLxx/5ZEkbhkT9hfYnasBN21WNcQR4z3qJRi/eOpzr
r8VYDwEXdv7ZsBw70IUpXnptim9KQaZNRrooYCw1tnWS1q9lpXsPMTDar9cneGnLAC8FxCLeo4id
lINWzz2NoRVqHBOa71OPuYFOugcS1aOfCXYHxu21cHBpynFZ4oJCMhAkycqm0RjJp8qusGms22rX
dofrA1r8PPR4UHuRuXU1ge8y9L9qdYI7sHT8xvmZ5Gu+cGnKUBPD7wfM6FL8nTlea6aoIx618Zjx
7wYY1kXT+rN52w3Dit9dGs2pLXJ+wibmNMLWY4wmAa6gORQsX5mv5aDhZDhKCFMP5TiVaDQ91i70
kbSJ8wetIhHmziJbr5/0ndWW5YEDTOGDkqTaGpSvyawsDRPb4X/xu1ogQBtSNmnJZB1z3Tgkc7od
ypfr20LuYzWLgBOIshze26C3lIt6EpISA+ecI4l+9MCebvJnzT7mxlpy7G+4d2EFirvog3elzLty
oTSjUxXgjjCPxlDaT23pDP6YjLoFkr25E741dL/iXpSHOdJnENTa8SYdstvcehioGUGroTCjjV0x
6zH2NNL4pI/MDRJUdeXzycjgBBl9agDH3o68szcinRpIhNK6BdUhchZwFvavSXcSCIT3uDOnKU93
02jbX4UO9R6QgUwQ0AP3aU8r8ozOit6PiagH3+HRowffLTpIjcd7rd0Xjt69JZPIQjKnv4lVx5+T
0ii3aLUrN1yg48gtpuIO7i73h5kPO1Aj9r6HY3HQo6z4eX3xlrbHX4p8NN8BlqbWh2nROS0XuX3M
2lvXu0UO5Pr3lzYHEDOAhEv8xUWWMeuNYSxNvO8jPFbqRtuiaHaT0TX0weIwTszIv5/sQbDo0za1
sAf1atOZQb9G+LI2DMWXz6TO45Lg+xa57/tHi4SdueIt5AY+3+BoAQB7oLzGUNy+KF2ClHIogKc8
FjR2brxOo34ydbtpZpFftO54l45DF9RisLbvXSIYlvwhQDygg9BVvFRhja6Rs9Q6zjqeNcnWATMQ
nO51I5cLdG5EWaC5YCjIFTCS1XvGNrH77qf3+feVBXJTwWgkv6//6etP+Rr74iV6HyAlHWIlyM5j
kS7iP8suKkxgZh2NtN9zyF0MUlavdhCiN+09G+iejCYEzYRkZuzLn9q8VpG6jKhhGVAOpGsdWZhS
3KyhU63LBgmcr8UNxZMBulJo8yrZp6haK15erpYu4bEIjmSlHmWc8+NE9Kkls3DMo23uRPUpslfe
nJdjOf++cvc6HNVq04nMYzLd478WH0qy89LgvXvu3IqysRNzNmkrR8HsTfncrWF5l3wC3lCA1UjO
BLSjnU/SqOvjrFsYxNz6SH+05Sv0e6+PYNEEwCEwA2aRixCSZZ03VNhYx2mOwRxNRoj0ZcjhQuX+
uqHFBQETJhqWJVZITStpAs8YK4YhLxLmMy2sdNcPUfZjjuP4Bbpz5UeWBpA48KOBsBo1r/O54w2w
z2yq4U+jF+uBDt+uD2dx/558Xtm/1II6lDvi84bhG3fk3X0seHZIcjqwTcg0n8r/YM6Txy3I5R4H
0O7Xh+zdXZR/vw9IEGRhgEJSU1/EhnK57uDSnG65Fvt1/PaB6YHs0v++L6fv5LZsyFTq4CbF7PtO
8eDxlcri4q49+bz8+8nnW70lQy3v/P6LO/mWvi/Gle26ZMEBhgO5OEmToXKJIDhronnG0RPujTD2
VOT7TqxpnC5tolMjSsSZRZMVWxRG7PKu2uTjSupqcQxgB0CxF279QnwAJaAIrUTCOlL3ifD7hmwm
c/v+dUYBByhJHYVr2DpfCLSDoAEAhNF4f9wgpuUfGYHUNDdl2RqF8fPPRwaSsJMt7KNeBlP6mvLH
efzAIw0QGrwqAHkmQEqem3AcZk1gH7CPRtYDz9K69RbtXXwl9Fryfgh8wOWFO++SPBFveIaL17OO
4DYFZsVMHsY+2evoNU8A2rq+Jou2oJWA5Biy2xcSPXScTDTaEdjq3XoDrAG7TQ2IZs1F3w5gOUho
eN3g5TaW8GqK6A5fRbZUiRuGNKdFNrf02DY3qXtYu2QvtzE+j2QiAZeTBVeobAIjMROTJdw8jhS9
JQDCgwAdrEtrlRv5GTU6PjGjonJTqHE17iwQMWhF6+wrK2JHOhjlZygpkmOckhw6m0Wb3sxcTH+c
ckxePzCNKMjL/mx0qVFlJzZMS+qMofwfIY9TjpuymVZ2xuJCnVhQ4oleAz0oQn96TF5AYVWQm/82
ACUaitr/DQAUK/4oNkX5bjpECeQ/GYAc4Inf5+gKcfTZBvCHJJui2hkNHtMH84fTr+WJFqcKQRFU
kdE9cFEoFBPPk7LHW8nyfro3ifH9+lQt5BUxEiRhcMsDm3tZyGMoSldegVcreenazxVyG+a+R3rD
jiFnOYEq1Z0hl+z4GUq7vbHr7MR/zN6focWvkCqdcEyQsFMTK2yywOqcoPQ6/ypNBJfP10e5NIkE
tD7gjUFLyQXQPQaPAYu60jqO+lHLvhjvh+SguiAR+oCz4ZJTb598aJysweVxBJUkiIn5yn5eeC+D
8UJHDImGR+SXFb/GK4sWDlQbjykyOwX9OR+072AE9Qtz9qt+Lf+/4OZkgypQy3LKLlpgtRoMmSSv
vGNcRYGI9qUrdgOab9+9JJgq1BfkfSr5M85PkD4JU3MhG3wE9X2FssLw/myggcfE33BAqg06yhGt
EoOKjkPckVWff4Gn9PrPX5gkif/E+9gj6ERViz4tAIY0L6cypBESbEFJv3v9iomFTXtmQrluOGMZ
Ws1gwtppuAHqFRSm3DTKNYMuMwkgxM7F60RZABfoZoGqDgvdFPy3kbMxjWNahEjvb/Q1gqg1W4q/
L0ZId0E9noVasgVTj8Y22g8neWjXCEyWchdng1I8vzEMpma0LQs7/gtHym/SFCz0D+kU39ouO8Qg
SvR7KNMB2eQ3PYjQr++KhSUDHzMODWS2AKC8cGPjNGksbtB9ZD0J3+lWlmx5eCffV+L00cwYFy2w
9nq1s6JX4t5b1YPFD1D38tvkRphbK30w45VHzuKoPIAjZA0VUYGyEfE4ARjMYixMhluxdda4mBc3
hwTPgrVUPjLlUTu5Sz0jpR3JgLXPtIfenlGheMm69ABFjmD8P9KurEdSnNn+IiRWY16B3Golu6q7
uvoF9TYsBoPZ4dffQ+l+05lOlCh7RprRaFpDpO2wHY44cU60ko1ZGgrBIxzIQhBTXZDgV4UmyigD
Lj4fPLWFtHa8Ru+3cDDgFkU+CeEnwPAymrqqAHhNBoqNFA9opnqskDJRbqa1AWk8nsVzeQC9dmgD
OZ+yTK3Ab5QY2RHQ9lTzWOJPa1fa0jhOTcwzebIqZWJVY5pDXKHtMmjWf6b1fYUSxPX9cvlCOB+H
tPRMqDwXOcYRZr6FLgg0rdRbBNfXrSw52OlQ5l9xMhRB84GFI5he+7H1CvarHhyULH4m6Y7Q9+um
Fnfoqa35t5zYUkcQ+CkJbNFJ7CND3SgASYrIdseu/B2347ah7Xc9En7kjIGSRWsKCWtjlU4Iu8xj
x0xJhibixGNI11TNQ1ntIrE30+31sS4uHkgf0UI7H3jycyhLRBbrPRZvQJ8RNZ4qG8TTW2utU31p
y4Iq8X9m5OdQjoKHhgoBHDHWXQfMsI2+UltfdHU086PhGSHoBUwk0ZU4jwXaLMfhW2MwwKx+6OrK
Gbo4WSc2JB80cqdhDQCyRx77ie2lKKm10JVcuSAWRoLOV53i2QYA4wXdlVGLIuryLPtgnLft1OPT
qxPfnAtBCH1iRDoZCGSU1GZgGYRynhgITPS7Yg1Ov1BOPrchHQwcGU0AGRCOlM2OQIjecRFn1do2
BozXuaf2e52uTN3Szv3oGkbki14mlHjPd26VGbxiooSfoRJqtV+L8K6J7jmKlC35Qez3Rt0rqq/G
m+u7aL48pTDszKwUGqWZktphBLM14E8TPBylUJCojm7fbhp9G5pr4f2CJ+Ipgch1fr7iBpHuDmY5
TEOenR31zMcZAdR1OnlkjQNq4clyZkVykoaWSR2OhKHld6ePB9s81P33yin9JFWg3PLj+iQu+v3M
qQq2fQPs59LadTapBAjkGejC/9HUzxpo3tZYe9ZMSOvE+0LLrAImimrbJj/TfKMOP6+PYtEVTkYh
rQywOnUObQLQhOv6XuPfzPSLo5Ru2f2y+FuW3vFw5VBaG5O0SMNIu7QsIESoFvamLL/X9YFDgPr6
qBaNgBwWKJq5tCMjhSFPAQZainbc0brn4a5D6ZDbfzOQExvSQPKsrlnTot+WZx76bZrC5+pKELE0
DDxV8br44G6S4zquQf4XIAx2HOJPGXdL9tLfjj9HQhbJCfRDIRF8Abxt+lEXWg4ubEfx2uSgi33R
PYfD7dApmAEJKHrv5he+HG8rLOqAcQFbs9VB+mSfq59uX/DT70tXHXPKuYFs/v7w1sXvSvGbNitI
28XFOBmCFGUlet5bfQq9UWL7afuUJ75+sw4sqDNORyEFUqRumqzIe3ac6k3kaK7BDk2ydhYvjGNm
l0I6Hkn3y9qgQUYtB5pEHDmtt9qo+iW9F/oaIGHJCsouFDQ8M5mofLPlpCVRaNXiqDV3Qtub4jDG
Kxtw4VJBgPaBrJipKuRGyE4JS00r6wqu2/mGuWdNtqmSX/G4u+5bi3YcVFKBl59hWNLCxxAdHwqO
FgAT9BHN6Lg0aX0ejW6tfL1uaWnS0DkNIAR0rSARJJ33qKvmadiqFfTHmV+m3xPA7huoUVy3shTo
0FMz0pkvBq7TuOkxIK304zT1oK7pDkrnRcaGje0+j6nbCwNCO2/XLa+NTzoyx0rppxEiq8dsYl5P
nnJTd/laIn7RCNpVdR3oXrzupcyBLayIFBOWq+qGuy7pd9PwOaxuj0fxzkZtDjmXmfRGMmI2TUlN
0lTH4ouqIutyDNH5dH2y5smQgrSZRA0VTKQNLukAgBuZySvg3j0bD46V+eh4uz0zcWZCOm8QLRlt
4sCElus/zWj4pQN7d30UC6uBqp+DUjiuMIBOJV+bEr3NaRmL45hm+6rOn/RRbCF3vHIWfKSjpdk6
syO5VgZi5mzCi+qYZWy8A9D8V9XZtm8UufHA7EQ7AKyie0Cx2ZvR6kOXhTZ9bEz7t9Gp1lFEqrUv
YxDFTREr3FThkQtRt3TTE/u3UqYteENGC2IlZXdvTnl2qMzod9oiqTeZyisRwvRqI+VePdAvSdfh
TLXNl0lNjZ0ibGdfOkr4OhWq/kijOPtiahwM6LWju701osFl1BPPaAX3bBGGrlapCRIsreNxZyr2
MeHVVsS89+qImvsxF9OWd9bgITCIQDpbGj6KDIXbOQmIW1NWH6ZcV72418wvjpk1GyUX9itwiDUe
NWr71gneeiEh7SaKKwd/6qjPsVKKe6qVoVdTLXoDOx9Bl+II4lITbVYAV8//GqVmtimSTVzcUdqw
u5lE2gUPevtcFSa/Y5lo3XyW/BvsFEkuMFTvEkZUzx6rxB+5nrhRJkAi3Zp0c93HFg5o7EBQsc27
BYlxKRLXBHRgSxFD47Z479hzPQ2uwKtpLVReMyOdzkOZkJLlUKXD7ZznbsweY4Ddi+31wXzk0WRP
xjMGsRKQitgw0nUzxlGkwEsgEW1O9h4qNb0nULb2uOCpaxmDspusRPF1wQHO7UTiUn2AwlNCtLuG
VM0xbfJkbzRt8pALdfLaWJ3uB9KwzdQJ41OTG6k3lIbpJaMKvKPRVr4eNZlX0Hr4PDSWs+NJP7m6
AJfVIMrvZZP87lqe7vrBaTeKSnM/ElAQrxxLoNt1Ur1yRDUYVSLqZrnOPQ1PJlfT+6MZNqPLeUXd
Ou/ilafzPAvyLJ2eK/O5c5LzIhFPJ4djv4v0N482qQ4KEE14ZX+InbWIaeFdicTq/HZFf9qc5zi3
Fdm1poo0LI86UCRkPArlzUCRF1QPh9R50NKVu2Xh4EdxCr2HEIeZNbYlBygdc0pQ8IPucIVIU0ue
0kas7JhlE4BkOMgbIkSTZi+fMkIim5XHXkwdWltTZdvwlPorrrywRni8zHQbNvamHDilVVIkAIIX
x+qQRg+Yqv/2een2Gus4KgfIaR4r6/uDw39c//rSbkdZBaVIoKrnR8v5oseJprRqW5fHqG4spM8K
KFk3vHKLUHlADnJlqpbcGbQ/aKoHIwoiB2lBINfXJkoPIeioSJGR2bMqgrowoorUU5q1itGyMRvo
rrk95yIbYybcqLMqK49cHLLss4XgP3LQQCGgFEnXuMuWok1c/3+szb54slMVOkRUIbDWox8+huBs
pPgNfafiGJEXkb9Hau12+ffrq7e0ZVE5mt8f8+LJyRkt7sE30ENr0+RBm3aHqgVlk6l4zbBPhl1O
qttf6qdXkBwPjqFuT9oI0eZ6ijbK+DCEQGmsNSfPTiCfeaf3nITqbKKqaZUBRuJavTej9NAr2qMI
p7VmkI/eNNmQjdZgdBYAA2LJx0PJojzSMsg2gx0DPAk5KEDLMem8IiEgHBrCsX/SWEE3olXf047l
nhmSoxqnmd8bHXU1zpUD2sZiP+f0BazUzDfaKPWVfGruu6j9bGfFWg3ikoENgrenv3nezydupul5
bUHFnB+Rw93xVnlzmvg+FNobSCK3ldF5HNx5jjns0Wf1kIbgZ5jWXh5Lp+rpT5AO7tEJWZ2kmDZ1
eleUOyOMVrxszYB04lkdYr54HmP7xbJdwVY+v+RfeHni2Y5H9SWzEJCOeVMiOD0WgvvW9Fjmn1rY
ub4zF8dwYkQ6DqqUAkamwkiaeyPx4jWY19ogpJM0KcqizuZBmNRLJ3/MPX2NInPp/DydJ8nVinak
FJ37UBzvv6XtwdTEphUPZlxs0b+3siYLffpYipP5kpyKOjnEuyoD4xm/1cp9aJUeU77wYQ62PxfO
s2oV29r8p1PtbVJ8TaOVcHTpGjw1L7ncoBdmpoYw3wPMbOyREc6YP/UrD9FFKyCVgYbGLJ0gMyH0
WREKqC/z4wSdBN3ToCTaupa9ue56i64Bfi/c6QSoLzkeISG6y4cW26fONzpQlGJb1H8RuyFi+9eE
NF3TVFCzpQRHtP2Zde+OvfL9pYmiCKYQiJoGuFakUDRmZQ2QUV0creTZHHaGNw27Kl2hTl3yb4C+
AAtG0xAy6FLo48RZBGUgDKKkz910H+oRnjlfsuh1AAfz9SVZuqeRfAayEU9y9GFL3m22usFNhnva
nuvjReQP6mvU39Xjz6LZ59YK8PDjl8sXG4IRXGkgC0YCVDInpoSBIgnenIVN55K+1IFl4Fa1x28r
3WxAb2NstcybOI+3g0FrH++Bfpf3A3FDRcn2jkJBiZ3iSqF9Ht8Ro822zKKZhyafzFPiEqWzVhXl
a11a/YtGEA1Axct+qsG8/EmtxauVCrYBRdMPa8za1zxL7FdOSOojJTccBg1l2sSquXBFQQu/jZz+
Z5WkjcdVEe5GEtbu0HSFW5UTf831flXo/vJ0xssCajagfp0lTC77FZsxGqtWDfjwJczfc7TFXF/w
yz14bkA6/otEA1dyAgN03PWk80G7pDbM/xsjuMhAfISsLZFe6jpNoancOGowmtwXU+NNyiezXjFy
uRURVuooMYHIGDAiuaYJDDppdKUVR6yKZ5DHkX+unc+hWaxskcslwRMELdsWmnPByiz3Dql6E3cK
nOBYUA+dVuMaseTlipx/fx7nSeCEPjSo8nF8X7fciW6dYePwm19qMAEIGQ4uJNANS1r0wUo5Uxyo
MMWN7ddgFY5v75XAmQ6sGBRHsbfB5XI+iJyUamwKyJsIeg+MDec+y29GbJybkI72LlIYoGqQteha
KAhDDXkT3Q4fPTchne6jzdXGiDEKUm+bHNSEKy675Eons0SlB0SRII9UkCw5mtk/EVJYTnS4deOd
DUC+xwd7JJUTYQBj8gZN9a6qPHUNnL7kr6eDkDY3FSW63jLYaIWnjrvMuDPXYsgPzrLze2IeB7ac
gQ2uX/TrjekIEWwBhQe76JBXAnaT7QV5TPmhDT/nSCQ3xkF3vrXx75b8UpzfPNnH7ZZV9fZv5vPP
75D2pmN09SydGR8n3W/1LbplyFoBeGk6ofuBd56GDOqFpKASdv1YNimEgXrfILsufKnWpKnXTEjb
3666zmYsTvCu8NTo0DZ7IAyuT9TCYQzwzp9RzD/h5BALY7OuwJ0BqTr7q5ZvFL63hUduZ41BhHJi
RVqOWSM4AtYWcxVu6n4v1L9YbgQliE1xaYGj1DgfBTrsR2iXGvGxUA8i3ZR8t6qTtnQEnJqQ1sJI
adPVGaQa7MZFxYHy/fWFWPw+1GVn5AVF0kcaQq1oTIAfMkZyx1VUr157oy4u9Mn3pd/vzPj6Lsb3
W+cJNNwpfwJZ7Jj8zUKcWJHciaOiklRo1j9a2VZP7xlOfHq8PlFrA5n//MRj+xHJ+iqHZpX9lVoe
pZ4DsE2/YmS+MORzzD4Zh3Qt9hRdSA3HbPUx34pGdVmpuNT63pqb1j4SNciKT9eHtbb+0i1pDbEG
qkzM3DBuQ3uDbur/9n3piuwMcMmQWSttMDxqgC5u5ZZf+f1y57SScIcmNr5fQRn+d7bWw7X2eelp
ZTSpXVUpFgSoO/GV/PhPk2NJV6POGoPirIWQXHNniW23ln9a9Fm06aBFx0FHvhxlNT3UOkdjjI9s
8iyxy5OnpHW58fYXozixIrnQ0Md2r1c4BRn1rHwfOisutHgdnXxfcqEaap5FZKuQb5oOXZDmh6Hf
XB/ByjzJcVZbgIy27jGCXr2jE+Dfbtf/LsOv160sjGMudiLYncVakHM4P0FEwygejVF0RIFADB4a
tIdmpcq24K466gPIByIXgGehtBRQy0zMMm6VIEZh2rF/CXXYXh/EwlShFQhkWrOQNqxI94VqhirD
4wHp8t4AP++9k77Y/T5v19AU8y+VTsIzO/NIT45bzVBox3MzDDLlG6AVnuIcdafwiZOgyvlNL1Ym
bj5Yr5mTLhCdRoPuRDCnGl/zNAjj3Zi/M/MhNcaV5+GlF1BEqGCWochrXPIxh0Lk08hCNbDIHqxM
Nn9q2pUNc+kFswnktGYWuMukE4nwaugNrgVc9+zI3DTxWoS4YkFmpp1oltb5h4XkHTzL/VpabmmS
ANQBBxOazS/J8rSmShTOBxDZRWTbMutTmY97peh21535ctWpCeY2XYdiBF66cs2wTC11mlijBQXh
+zBvdkpV/tJCCEaO5FnU7creWRwVRREX3ZkLDHhTCXHyscaocqW7s5LQpVx1VfXn9UFd7hxkbFRU
8EBkD6pBOf9gGcImeoxYoYqHe3Bcf6rtKkOGbPrZh0DXTtMLjW9Pc8ImJHvmtZrZDaVTIY47B5Ta
mRqoeRm7E8u/jzh9DNHvK4OtlbuWnA/ELP9miyRjzDAqK4VyR+DUh2Z6RoR0fQJXvi/DU1JOlHYK
sUNr0rnct8s1jNWiAYImZqAFFnidLdJZGkrtWsDMlyT5maHycX0ES44G9ANYFUC1CEYWaYYgKiOM
GjKLQQwpI5eGMdnpFoXMcmfc3nmDlZ+Tz2D6tp2LEAPqwqCcVbAYJqn9JgTtm/E3y3FiQbrTACjV
o0lQ+LNavsRp8WJp2Rrc+UMo6/z8xzBA9QNsBdDbF9hUQ+17pjQ2ZoykYO1LccXE6oMQ9WclNlxb
g5JjVNW/QW5aunGc7DtS7AFndWt0KhBRbq6v3+UlCwJPDfg4dOnMJBVSpKBDulFth04PLMMTXxQt
AKUnYGTXjSx54czcPHO6gLHk4iYfR7troQsRpEac7+lg5b4o7fovVg9wYjRZ41kDNjcphcWcHuzT
tYq2YfSZRa+40/+jAWmuaAkRF5yHWmCnD8lw/zd79fT36+dxSGVaEYNcsRZModvHfnFz7IyVPpke
aacCzQPdahWfV+x9Vx4KdeX7i54EgQkoZ4BGFGqH5z+/LQfO8hZd26XpNWJXO8+O9qDfnmfBKE6s
SJMUCoASdW7gRBYpAIOJ/891V10AC6DdSkc0gIQXgN0XZTTFShHUJGqQ5G+W9sIJ28UQFtCf9KR4
mLtnrSb0u2zwoPjU9Tc/MedeLygrGmCIMkCxcT6HRTOVVSzoFFDK/STi/v766JaiENBqQPNQhfgh
6pzn3weAtSgzbZoCNhRQ0UEHYuVZCmu/DIiAtp2u8oNljN1KxLvkGTiutTkKheyi3JnJgVitIeen
Bj2Hni+Y+adHq0Z5rWgsSDHbpF0pUi7ZQ6VYRYES3EIXHHrJyGKjimrcqhrZ5Q3d1/yQkW0arszm
0rF2akfyRVA451Yxinlc4deJVfuqGL/cvmAgYcI1CoHnS3Y4wUICcZ1xAolnsbPi9NFSwxzi3MNj
plv3qprdnkSbeSj/GJzn9uQxlMVaGlMVBnn91eruCiL8cnztzP4vzlLAoiDACM5k0AvJp5GuhKIH
P12gA7UAQLM6Ff71qVtaHQfQTPS9zzQBxvznJyMxprFERXFEIisBSW25i8Hsft3CQuwDABTqe7g6
QZAl92AlZZJE1jT7dV96UA0qieam7Md/MiLfamBWquw0hpGi1wYXQfimzG0gIPQ1lsvl0SCkxtGA
MEvGGaZkCFk+13edZl8rv8Lmvupfr49lYUlwM6OYAEQ2RMtVKb5i4DpNbIUZQW5+jZzf2e1JqJlQ
l3685kDGLV9BhdZMlaLoExisH6v6ayd2LLbAGvTp+jAWZgrhEjoWQLA/X3eS73ZCaMWoKFOQ1C5r
nsFEbN3cUIaBQK1Th74kmlXkbFpdRdaIZNQUGEO5SfL+sRnCjajY19sHAgIxXHLIFgEhL0VMpVaZ
dKS466BPqE61Z0+pV5UruJSFRQeBJpBjqIEAuyyz0RcDn4xmwp0WFk/q+JT9/osxmJBYmjmpZn6w
821OFIdFMU2xzct4q1RdkJfOZ1BRr5z1S2s+t/ISLAxyBTLQe+xtoFXbHq7V6btR6basbL4mMVsp
hy+FHwRqsVBvAJ7cARzpfDh2RVlFeITz13FCN9SV0TOy5ABYyJbVRuM2abznkXYg5fTAq+JnpTs1
iCqil+uzuhAo4GfAAzGjeDnKV/ZA4hEYoHQKsm7Y9ln8pFj5lzYlb0YYoz4wrjjiQrc7BBg/SJBB
7AnFAmkVOzD4hqDhmwL0UerbCXxmv9rK6fYJwj0/FkO3GR0AwAaiZF+rFsICRWj2QFzbUMC5PvKF
4AEviLlBDMc6yEalBYgqWqnK/EsiEKZUIwjHQwcs48yz05VNvgB/xqANA83vaLdEG9Tscyc31Gih
KanOrCnQSdE+xhF7Y8oQFUhqtPEuI+AzyBSD3KmVWXtNSKjfKvZfPHmx8fGkBm5MB52ndJaRMCvt
vNWmYKjjjUHLY2PYNyP4ZnHNPyaki5j3Kee1YUwBUgIuGR5NR/GriHlptIaIXDpq5ucH+qLBhgfM
7/mExpMDJUctmwLH8KLBzdaarpe+P+shfWyMSyoy1kNjzJ7GMei9Lnqy1ZU4eb7+pMzAzG8NwQAg
+ECCJa2Fk+KN3OnJGGhZCdjZtyRTN0J7yaMI+nOftO54u6fjNJvn6eNkk/acPtmxw8NqDO51+23r
KdHb7d+fu4hxgKDoC6X189VohYkCI2vGoNlHEAiKnyb9KYm3140sLAm8S8cNA13rOSt4bgSPuMEW
3WgFDqRgXtPq8998HntzvuoR7MlzZEYtUVhjBTz/xiHXjZrAdQMLa47f/8fA/OcnZwDaLSBByGEA
R8Gu0iuMovMd+qpb3WaIhNfpkX/d4uKMWajRzbEF6nX6ucWY0X5UEzAsViA/i3b5ynW/cFEigwbq
Rm3e9Xhnnn++6buK11VjBwU067BPjjz9iwGcWpCmjHVlR2qrtgM+/WKoBiXGGhB9bQxSGbBNIr3G
IOygDTeatlErv17ZG8sWAG+dVaqBqZwX6WTZjdCwCpAv2EFc3yE1W7AHPbz9IsNC/DEx/4QTEwrE
dcYamTfgNR03V+bT0GTf+OfbvenUivRetDIK1c8JA0nUvZ3t9DW4xewu0pkIOgId1IzoeAP8Rfq+
QwoOWGtmB1b8naC9dNiVyXfzvZpuB8ChXIJyBRIVcz1D7kbWeAudIF7YwZS918pvp7w9KXH2fWnF
S9FqBOetDRbbzuvVTQ20Zmj+KtfEXpcn7M84pGVv6kFHmzHG0WsgN9lD2tRk2/AHGjSvL/xCnITx
zK0gUFlCT7108OqOpYxI+JBAsX5kCrqDn5nppX/jXSdGpLNKhK3OTRqC57qhb3Gu7+2w/X59HPN8
XDrYn3FIl2466mpi9FDOwTPsXXRsG/FuRCPTsL9uZ+nYxW0IHhV076JmKtkZiiijWHMaKAXYE3zo
yV7//sI4oP2InBdoDRBRyg8UMTmJNowd+LqdnZUf2l92dPsIUG9DIX6uvIEoW15xswZPtkGsoM3u
6p9JsuJQSwPQkTam+FsHZEG6OAi0wHjdWbgJSyDvU+HF1YPRvV6fpctVgNA3SkhzjsBB1CONgfR4
4plDqgf14I2G63SH69+/HATSz6BsI+jXxCtGfj1MxIoKkiA9DQZetDuHm0JnuyheU/G43OQwA/kD
NM9C+wQ3+fnZTtEIUFQa5K3GAQAPZUvsY649NGynq5+vD+hym59bmif05BaJG6KyooIlZXhxxF0O
JLgGtGZ2Owjj3M48sSd2SpIqeZE5eqCR3jON51ZkbtmA2pz7VfXQ3A7DQQMLCvIIs8HcctG3TR2w
NGTM1gPbjuAFsWtFj52tufq0kitacrgTQ3KKpRjLjKqzoZDqm6H9VgFpd32FlnwBfRmzfuUM+ZFd
ugcLBNSNQJRd5sKfTJa6etr/KBu2TTr2Q5/6r9ftLYxo7g3+6EPHaSa7uCKisGu1YQjs3v6VERw1
9pq64KIJ3Ppo0wVU9OJhDC02s04zE0p01qd4a8Yra7KwScGHCsEnPHwQpBqSrzVlXepxhM/bb6x9
qOLH7HYZERySJxakqMWy23zIQ2MIQsbctnkZ14K7pRkisyASlERVgCCkGFiNqZ0YOh+DNBm9siFu
Fxm3H2Wo2PwxIQXBeUTJgG7PMTAQOTaT3yM/mPUrQepC4gepB3D6E+QHVay4tBZRMRp618Kbuvpg
hB43XC52JNpFioftaI2blvhkrcixMHuor6nI3CKgJIiVzg+bqKtyVjUNUt06lBPqFr3Jt08eLCCR
jrI3UjzyJgnNsdZao0CzVPSDxhxAMr9ju+sbcSF/BD5fJG8pognkP6kUHWUZdLfaDrWasnwEY/2W
oQdM5cRVs0PUPkbFXdblh7K4OZCFVdQ7kL5HU82FuigSvSCe05Fkr5njxVP3sxfmRuXmNyh8rGTI
FjYqpg8VHBCF4biWBXP1xMo1tS2QdHX2vPvda09K/OX6JC65wqkJaaemrETzTiuQb20Un/XjI6j7
Vnxh0QRqXMhSgOISibZzbxNKrgmmJMhtpl3kdkXzpKv9io15v59HsVgUywTxOxAlYP6XNis4gIxp
qDEMpXe2oN9+zgX1SN59y0CaD57Xzk3q21UMYBPFA6RF0A9zsXWZkuKZz7E6RhO5FjKUv64vzcLq
w5mQODIQneMpIZ1xBaEdaHXCMSiSR1UwdwD/RZfcXHFHtAzcC96wkLPFU/x8cfpwoKyOkNLLJsVP
q8nL1x5KC8t/ZkFamrGelLTTYAErQt/btTbZ+X+XVn4WKUZjyCyEhhzY+QBK9KTolaU0QWyJuyJP
TDfVCpc345NI9ScaCeIyzXShgruS6FkaF9obkQtFKxTB4/zcsBjiqohb3iKEAgFVHHrQhr/uAPNP
vxgaHhRA5870sHIqyQjJaLZj3AYK9Hms+mFUdkMPuq0VM0t30ExcjiMUwQawflI0XagKQBEK7Bjg
CGqLrVqTR1XZVw1I+qe91sQ+43wX0QkdkCttx4tDRNyGi3ZWiZKDN9SrJiUyWBvw5LMC5rusvRtb
INuy28FRwJScGJLuitEAoZljZ20AlZjUm4nMMrFWOlnyCFCq4C8gwi+hMygPJXZaZn2QZ28KA5Rt
Za8uTRao2MCqh5AHKFrpIM30dohKhhKfyOm2wVmqteRgRNSfspUIcSGmBuIcRSATEtro45b2bATO
tz7PeRf09acp6jes/B4pKF6E0TYp3697+dIxh0cIALR4/V4KbZlmTkzewPv02N5DnK/w8rT4pajq
SriwcEWgdPHHjuQBU91pfWumbZD8Q6L6sfppfGv64lH8XAnplrwAiTpwpNtg5UbB9PxcaIo0z4xy
aALW+Y1rrvFTLU0X+oXBQIPbDhJ0Uo2nZ0ne8bpug3bMggENd6GoPtl0DTu/NAqgOuBmMzU18jbn
oyAAKug9qEqDicX+70hb60NfOraR1IRqM5wZBVbJl80iybQ+CVsouAVF+o/ZvSGA19qHEg1f6Teb
b6872dLWgSujTo70JkirpOFQxag46A/bIKxTl8fvVfkzn1A4XksXLHCSOHhT/zE0z+vJO97pUdvW
69lQ/mTUqW/y4QF6gXuDlJ+F0bpq1DybrNjmIMPxzOxXCj5BLPKKDy6U0fEzIJc+Z8PmPnzpcqrV
kk6NisuJ61AkaZrHPuGo4qpeZRGwCjR+k+dvqsoe6o47LmCj+4Qar38x5zirUAxBCHPxMC97zamK
FhtOb003z/a0O9o2eNzXuNQ+Lgn5ngRZJ3AJgG4hHyv5UkcgJKyEOEGs3oZGCb8vxuG17Du0WEIH
Wx2Jn6emn/A32kQ/BghNF1ZuI9XBvUqlP0GU6uvF8NRSlDQ1tiuN7NnOtU2trtEVLG1d4H7Qj2BC
6QcviHPfaHmEknuCCcnIvhAPDG3mlN0OLIMCCVSc5uITAgcZOoMsrmMBtDkGpvrItZ32/fqiLpwL
SBuhbANQGaQR5XixiPWoNUt9CJKidss3a7wdZIwHI443XKKAaBJ7nsSTDTT1sR5aHL+/YIknkA8D
ZPL6EBaOHtOYa74zj/AlawT0/KJSFf0AvQ/Ds8HqNopjM/40rNdY/RGO91S8XDe4OGcnBufD6WRI
UVk4jIZ44wvlQal1l+Zf/8YAkro4eLDu8umGGie0jyJ1CCxzUzn+8BeOi1coUM2IdIFgsqUBCLOy
xsEhXRDZjvtE9c+xthJMLwQcsADPBaES3tWqtDUivaGFLdQuMKr0qzI522ZqEtcBMJIVNTSirHh/
fcoWLoRTgx+5hZM1Mc2ENUmldYGdQbht2IIt1CuTF/V2avT5df3vwD5i7xM7Q8HAU5zBDqPOozrS
uypuX2On2v634UjBTaX1Ouf9hBUCHW2rP5HqlXfvwxpN1JIng3gViCgwOwMhJG1OnYBhqa0RgXaJ
O1kPYb1yZSyckOihISjLz/BFUHCe75Ri6lOw1bZDYI6dW+uAsAD6Ub9fn6ulQQDGNiuSIo6Ctvq5
EWKO/78dOegBa/apWNOmWDKAlB7y0Yhv0BwkjcKJy0rN+qoP2hjhZb2mmL32eSnArKjRpsVU94EY
/Mn22FqEubQXT3++tBfVBDi7qcf3qbntGzfkO027K8tNv1ZyXjEkSwlBTZdoKbqBA6P2q8zN6NEZ
vcxCBnTllblsCL03Dh63lyUCThtLoXHRB8TqXMdMvIiMLrM/qVPmDu2Key35sD0rKc5MWs7F26kv
FPz3ZMDqT++QpaDqA7Rjr3vwvAJSwIP3xb8m5IlD1wI0s2jXB1Od7MClNjToPPSq4j4rHwhJwFC/
uW5w6bQ8NShFWBU3tZpNMEi673l23ycPhXjP1i6B5ZkD4BJkQSCpl8FGymibwMqqfaCAcnVE+5IZ
z+I0a/oLi/sHZ/L/zEj7BzXuMAMWGG5X+FNt7hxlLRu5uD7o80A+Cs3nFyyyOYD3QxXhABCV2t+z
rhOPTtNnXqhX/N4eIOmYt2q3t+vR2cdstFbutqV5RPCP1CTQ2ZccpdbIkN8f0FVZhC+aemcMfrfW
uLlmQooI6mIWTHFgQiveRxb5mvPioFXiutctLdQHmhGARv0SZ04GwUle6ygiQGDKb9WVUHapfjBL
AkIfcO4TvoBw0LAfw3Jq0bwNhJ4l3Lr5wtuHMfs5WqlbkO8m5a6drIGrZveSNy9qvZD3RcXyEg8u
THNoqTFoQau9Q4h7U2r9ttTvHe6HlebNFHbXZ3FpqaAIp0JiHP+8yFMWRjySTJ/UoAFlnofbL3sa
iNk9T6WirCzYhwrHxdiQYsH1Dei0LfdvgeIGVaEBZR/ajdu6fk7UI8oLW6SyPavyG23yQK7sGn3t
VkhmK+rWVu+Isp/6Dc9D19R+lP1Dw3+qLbqV2EGIbnN9LrSlnYmmG8wH6Hvnssr53U9LZ+SVgdao
ydyFje0VofZstMTDMx0suA9mskNvLSJhUBp+t8wDE0ccFp45IAwxjl13QADkl9lailyfzV7MG8GR
hyQleD7lR1tt85DRDN1AyBqY+YOTUBf6ZqrSH/Pih8LTIzQJBJQMcvthgHxq8WOKc0CJO7ecql1o
OHdtW7pKFW1o+ty36ZHWmhfV/8fcl23JbWPL/oqX3+HDeTjrdD9wyKnmQVWleuGSVCoAJAiCBEEQ
/PobKfe5bavV1u23+9BebWdlkgQx7B17R4T9SZD+49eL4Tu3XYAq+z1aqzvZLNLH6x3bpzxjhduu
vfl+G2G4jWRaZYDumjpf3/t4F8nLPjwpectWhuRfVoE/1ZNIyjhdIZnZFKgK3CXt3V+/3x/M9TPF
4lwHOAt4f+Me/yHabqbMrk0PrsWitbt3Q0AvqQzHOpHuZx0UP1jGwFdAMzqHwujd/y7Ia+lC4knj
lSmi1WWne7db28WdYrfoEn7x+jHrjLqfSE6Of/2QP7zyN01QkK4QzZzn+B8eMg662G9R07m1GaTP
Eq/y3bV213KiOwv1jm36yar+l20YuDzQRjRXgReAXes86H+4Hqy2Woiw9/Mtzy4Cd/H+10/zL6EF
fh2Oe+d5jwoUltaff91tJLJe56N+M8Tw9TAdK9APbMp4a/gBAqg/s0P5lyny3fW+P7nsSLTN7Xxr
oa+5Qq6+kB46IIAG/mTY/iXoPF/oXJkC+oUuhe9FMM+Nod1sV3Prj0tS6oRmF6gmhkVG+IdggRUT
xvtnfVE/HMyzMB8oNKgYfV+TGnJh+jCJ5lt/vdSRX5D2Yhs+6P84wTk/2h8uc56hf5gRiGDmJVhx
mVDGlRd1BVs//vWs+MFbQtEQq+sMA2FyfDfHdRIKOFht0226sSezjeJeqs0vw7zxX/76Sj8YMlDA
AnQiI+UEXP/dOs76BL2VXOJKTfIJAlo3sH05NlbUizA/E7H8wVNFoFChuw/hEZrev3sqyTc/pWM8
gv93Nxj48Ry99PGvH+cnl/ge1wB/NYUpNS7hk5OmtBj9a/szfvEPrxGgQJRg4Z7xpj+//h71VMbH
Rt1qnlpgM/2CIEaI677Z0p8soh+8HWwJcBdBbRJE5u/nAZx5XT4PakLxuN6yY7wd9HJYxee/HrQf
LFU0J4AtfW5FR+D83RzoGwVAMGmn23zp474YZn89GDIGMBxCkjPMTBwSs/GfNJL8K0j/7Yw6a+Si
cg1c9rtgpHG94SHFw4nlBJqIai5UepP6WK83Eeo780vHb5rx2P/MFfkHGzoI1YjRMJ6Y89+jLJsR
1pFgmG5hfdMdW5JuJdzk/pEi/NeX9b/p1+H29/BF//1/8O9fBgWnIsrm7/71769f5cTl/5y/83//
5s/f+PsV/zINenifv/+rP30JP/yPC1ef5k9/+pdaznx2d+br5O6/aiPmbxfALZ7/8v/1w1++fvuV
R6e+/u3XL4OR8/nXKB/kr//46Pj2t19x2J6L8P/1xyv84+PrTz2+eaPnaVh+Oc5mMuqX//qlnodp
mM0vRy0+ybcf/NTXT3rG70bZb0hE0L0IbQcf4BeWgf36+yfJb2jNOJMCkQKd+zV//UUO08z+9msU
/wZAFh0vMVqDIAhzVmrQg/n2UfTbeT5jRqHugugEG83/3vKf3ts/3+Mv0vToI5Gz/tuvvxeW/xme
4mfgt4MbAB39bMYLcuCfF7xyPaiWRCQfpth/k4uAEIs36XJqYfQ0bHlQB0n7zkbZHLssvd78fts1
rL+cvSEsuL9cGeaiNxuNUAXmWw4a4xzc2SYY77QW43XvoO+drtN837SB3EehiG88eJ3fiIXmBTzF
UKRCVJCKVVebcRT+j7m7gG7QF+GFd6lqz2Ya40vP/G4XpHNUpR59cz5HzE7gvJRn6qF39Kjb7KO/
hHdKRRzmYBqAloRoe59uWRH34R0V7WdoM7w2fbPCc5q3pWezx2mATovvE1nEYh6LRmxeARURUeSu
fc277SkY6YeA9a8DzdciVdkx6Mkn7MLHyIh30wxj0XrRNd8oHBDC6RgO81SEgX52E+Sbgkn5L/3Y
fQZT/1G76KAQLhZegIuvOrmGLcvJMympQ6lCCHqyC2b0UBEUgCqUfRH5tRDI5Ai+9968qJ1huLvW
T9diXb2nhuI2Rd88mkQkhU+gTyRDDNYoxXsTKK+CDPiT109uj5BVl77z5zql+IeN2reU6BGUGTy3
N3J1A6H7pGxSm1VTLG/1tnqFmz0YS/UDe6Pox4fLljSHCKK8r1bFzQttU7YDyIFi1yLY7SJUVNGB
VMpX2GBXYavcKF2C6R2dctDWj/kIXE6PnarR8RfDkRvXTzdPfU7iwX8xCjOAp3Qro02o3bhNuko8
/kZEdJen5ORbPHTKeF+Sgb1Lwt6xs75zZYNyCeUlCoJZ1SkMEU3hjs4n0xy91ZEDX8haY5rwcs6p
d6BW3adodim08uOD26awMFObY9ZG48mteHysBVYA0bmaBXcFkzKqhmAZYWDvnpaMRftlIFmx+AuM
nWbXnaA71u2k5uGzcIEu4F722tBG7zfPPjVEuDLVC6vgVH6noyYuYAwa7mExcE1ABbjmKhq/SDCZ
CpVNbUFVdIeOI1XDuOquG9o3265PLQz6Dp0a4EliyfoB8oBtMc+YRdS4qQwhhp8kS1AbQfgBvsxt
ofhwixz4ruPjCs18i7cYhbOu8mgRhaTNYzO2n8mmHuAUI4uhxRh0SufltzGXSp9Vn+M74sulGLO5
LdqRXdhO3Xp2uUIp9tLnPnC1TUISosVKSoc0LjuJya5nzM54jfdRMLCiHTB1kciwihBLL0E+OubS
w+Qe5O0Ypvxua5PrAG8TJGT1QmAZVJAlWYtwiA/DPDx4Eq9v3YbXUW9PNHWicF7w1MyYJ85KU5A+
mys+y0sB9HLHqeFgTklMu6hNCqU7rAie6UeN5vQaSEHzqGbsL+3YhwWg3VqQqeYRnn3y0EqaictN
4X5Tlz/qQN0OC+YTQsrrccMzeRZXZ6xXpbYeGqbobKs0mCHwErfvRJmrUQy6CgPal+N6tlXwGlLM
E+EQrR+b12/736D7pIikgAcj5QkK05hFotmeSOICFOyboY7xkkrgD6r0fbzjUax5CQp7XEK1/LMO
ojuPxGuBzHi4kb2MkIOma+XxGHtuFpLaI54uwlGosid4I6BPrJhRSwdzh6zBkAw+PqfDLI7bDNyr
B928SMfpRfrTC+m1V6QGW77Lx6xanXxIJzUW4Rrpe7gdQWMiTnaxtwY14X1WYU996hLMHqmzx2bB
KeDhZopUTi+G4aRQzacoYYAJ7HQcBDoyUrXM9bfflmHQVd4WHxeTPjawpKgn43VVt3Wf3SK8Sg+9
rjSF9rgVo9oxK1kBVs5eMvfU8PY9QExaQv7AP+VQJxp9MpSWYskKyBaXAxOXo+suxx7fx7F3nWt7
FTbNWm8TjqUsal9lNIFg3wenOWN+4ZHtSekEpcEFExHCblAjsGZkJYwpUMOTOWnHXZsS6UrdbtNV
bjrMNc95hQWRuVyX7DpUAI4s1p1H1UPey9eRtB9aMLuwF2AudGNOq9Tg1UbNGBa+xVYUb11UdSK5
9ikVB7HJ+SHsVFoHc6vKgOBdBjgOVqNfxGi7k4VYAOLvsBjNHJTWQDLBolniJOKFH2gQwbUgy/zH
sz9AudgQnapbdGfDDjwpQfIjwNGaoqUI0pIK77ZJHgfhwTVRKIwxwXzRM3vfFvmwRcPtGnevK26r
dBR/3Mb8M3X4Kg3kZTu6JzIn18swjvs2WFK0lKDvFm3BXQV/rhc46+UlbzEScwZ+IcV/FjQ9yly8
Yh68yBWTGsjTY97nXxrC3tC+vtbos8buza1XhG5r7ptV3sLE9IkK9dKcGYRqbaerUI4L+iNDHMoJ
+YqTBrIkA38nHpl3Y4+WetH3rz5pTk4lorSMvsHtBkM/JNiBFBsKLgNS2FW/rFa1Bae4Rx/DDKP0
/EhS97QOtjl12TLUw9q3d7DsxlHq04vEY+TROtfVUzThFuLuTaz03a10N88U5FzsMgpNohB1F8PB
qSYuQ8ixF5nFWWc5ywuw+1YAAVsAeC8lWJ94sTiwGGaLjap+sBgk0r7nHKttInh3vsUZyBOsGYh/
fV5CcuqhMVTmPXk0MbZyY/IMpdnzgCTYnE2Lue8r3qH5xxbUYjeQsGgqvGQaCzudR5AtQ7XMNMH8
9oZhKqO4cVfTAo9Un2E06IxNN7YKblRo2vochzh5ZyJulQyjCilbOYV49LzNZRGS9anjYCTHHa6v
JOq3Qdc8ssi7m8HYKvJtUjWat3m5jWm4n8SmrunsAwwWjN2IXK6n805ZGr0+cZk1n6YlwcMI/XKO
7zTvdck7K/ft5ne1h9gKGu0IalSALSfgY75L+eBVg8Y+23iNLAgCwToQ4lL3/qfBdXHVLsNrP3Cz
Q9y8n+0c1Iukb7zTmH7YriDQg62KpLQGyScrIKg9HGKXTFfekIY7N05BzaJc70mIHbJd8I9AYWqm
0SoKWMCmNVmm5dqOakZW7N15bboLaeBf8hSrZsZgJhKyjcaq28Xi/pwnWMESaCBvfMFhoLFHcobh
9kL+eeqx7YgeBy+cR0kxOHwzm7GdUT/RhUjZw0ICs4NxNKm7aF3K4Hy+JCF9G1T3Si1Kqcs5xGai
T67mkKsSW1ZXMZnzsll7W7Eme8xYiHA6kfC43vwjnRTk0Jb99rmZgqWAIC/5TD0cZhGoVbD0xkIX
TbQev22GPGJZTZvg1LP4fZaLrdshgunrjDhINfPBroHe503Y1aBh4diNRb5bZszgIPLdBZU4384b
C7V4/+MKy/DcpY+bRry8bgwmPzxBy1awDtU44SRq2xXD2CXhyWNs3n/L0f6jTPXfpqF/Sl3/7V/9
/5isnqWy/n2qeuEm6jY9f/pzhnv+0u9Jaeb9hkzvzOGEAxWqJRFghN+T0iT/Ddklykk58BKgJecq
y/8mpSE+QuUTKlqgk//+0T+S0jD/DUcMMEnUDdAD6YX+f5KUhvhBZJ3/zEpRWk+B1qCgdTZjPHfa
ftfH4YjslEoidtDTJBFd8G2reSPIHqzp4BAqjc0uERG5XufNHLpwssc05THm6UgO1kl1YadFvAkV
kBtBNb/1m+4hYUAdSxWRsZ7b0T/OIrDYkhMzX7VtN72PWCii6Ca/qWIpoq/LInRfxEtPdsb00WMn
XQpPFM2gMN+v47Tv1/BpzJxC2qgafpuuUopCx3CuKvJGQgcsypsv/piTEzaUSYGnEnXYQRfSIIzz
IXuaxBsaoLyp6Ad68Hyd7QywtnRgzgKpioNnxdvoqw8ttr0+exnAiGc4Bmu+Hsf1LEecMK+tN50m
dz1LQfnlwVbDXUE/Mw7OWcy97CVL7PuSq8kUHInaAdXYaK66kHqyMsZjj3EqxQnJvDcg1kJHS98n
1ZSKBgEgu3EMTSh5BKfuim7yAP/3z3wKcHAItaG+DvbAFLZ8lyIKjHTS7kCXvPRCCAshOqiRsWGj
ocnzTL7osb/JspUUYyzMKxGQyWkNTtpM9TM2TQqPvw450XblRwc6JV8tGGzl2Pr3qOK+qrR9UXOT
liTAiYeycZGwYEMSxEFqlSAjr1lSb3KkhYzXtdjS6bPNVclMUox5igSrHcRHznVabFNG9hnjV7EK
pzre4Gck+4spGeaHtEOME83m2OVxLQNXIMU+JH2IUbR15LmDSDq/9DJ+YgnyWomzxdq5WlrsuR3E
bcp+fPXbtmau22uRkcuxnWlJnIXS7YAKmsi+Dmio5OF0ZwI9HOazH4XKS3+MsiLReYx8u4/KMGzy
wkCmu7PsBSTPJxYnXIAHjWlYsD47NF5YJ6zxQSPv7RFywRCGRleXOXhMExi3u7RYJwj5lN3WBl8U
SuOsIE3uCoDhmAJ3CONI2SGqbgNtjnnOAfIjeY3MzKtBTKbqHap5MJbGhIh6x/ZN3AO/8ASHk3aQ
FknU3W8ARXa+XjBgo22/COYl5zBiLuEXTS7yCWcXiRuwj5uJhxc2Nvcchxe6dcOsDrN82bVkVkHR
9WypZRhf2Sl6SGzgXiDeuIIHs0KMBqCMG/SuiZPxGDd8Rmsiltim++bJ0LB/nuP7mLlmn05zu6ci
yR8WsZkiQdusq/qMT7cKn9Sqs+MxjLowOmeNHd7IMn3YcA63i+mryJNw7u59sZsTZU5T6/vvabPQ
I9K40nipOcAfnN54zFsrQMVIz2audTF37R1QZXUKogH4qs3DTyRtZUXUerEiJgjgtnhA2fDewk+2
HNPcHRsNI6XcA8kibtRBSGwhgMWuYvDCadHO3gc5GVK0/ag/xRSJt4hL0QGUgktmFYSm3GD8Mnlu
PsQIvknTVMgtrjtHKFaJHOqsUznC+hsh+3dNEPaGdNww+2PsNhl8jj37oXUrTMtHOJwyd8Sdrlcw
Cn7ms6hWjtKyaMePNMTj9NNy0pY/+AYDSZegaqFZIBC/MZcdYRFTI+ja0uZute21cOtJm7QOKXty
YoiLsbfNtfNXJAPsla80R0ieobYt1BNvFzgtidOcyK+EjWjDYBw+Jvm6bQfhxj0X2JzzpcNdex+T
ZKQXMIdu70NeRov1sdzTmZT+1FazR67gEO1fLrkMLggQ6GqOslp0w77ZTFj1HuT+sFox45HqLLS/
gvRsPRBeuYCoMk1YvyeRX9msS5GOCovEWh56Ecty9hTS2ZUdPO+RzJofoOy6YTfgp3DaXpRHxkrO
ndmP/QQcycUvHjfPiez2LhWqAo21xwsT2P08QB9Rxy+ITLaiN/pjN+qPjsxjqbG3VCKm120WgPDl
lrUMeaQP1tL7sHfuYKJpvNlSejF0Xc3YhN5+5HiPiuvnHpTOyzSe7lbvhQznDbExez0jmfMyd1q9
dN8MSw3OzxWBzWw4ERwzeXLTLmBedF0gC8gwwxrWuZ1KTHsdLWY+9SOWUN69BgI0giIe60ktruoa
Nb+6oAd+lPnvoXDh60p80G+HGH0ScVd6ennJ/UaWbRe/Zj2rM9J4xWyk96KSiynS5GZNeocJzNR9
7O9tLk/J/K7zVT9hdWAjhKny9ZoGQwXJe7nvWn1MdUz3sbYAyfIGZ9t4jXb1W5hDVbJXDVxfww9p
3rVHmEyuVRB3gHSWMH1u0Ie16c4B9KHPzJKLZJV1E4UoX7lxAZhqlhPK9Xan1RiUeuDxh35aI1A7
o/52m/w9sIFzU0ij62h2O+uCrpy6+WX0mi4ocOZFe9akxyVJkCGI+fzyrmiTduWQW1cGfLNQNd8m
XgwdqBZj6h94hzhW6Kzs4KtTMd50kCNuTelDa6/QQ7rPlHqGIIS9lK24Dy1vAYSFF0mg5712w+dO
ja8mtxXEv0CqZQr8UNZtO0ana5mixyYIbxwJ24p2wu1muGy0qY6ASPnvMEcBDO2QeijH6jRZIlwL
yXxiRDE3vV81nX83jkNfSp8A5GvHD9AjPMNacLTRY3o1qDR4SCYosA4gIEGnRJhqmBbv0sduWyat
X5JVBvfUG+VlY1eOHHJuK93A+QHAsXoaw3HbM2bqBHr/Mz33mIL6FfTQM9wCV6sFbd9Kt7vQRjUd
Ml4nhkeVghLwTZfQaujtTqp8OSVRX+eeHoqcdNth8Ps9wJGkFjbebQweW5MZCmEZwoHRtwBtI7fX
tNmvk9x1dLDF2qHoH83es4oNxLSDcR8MWdG50N+tCU6mIFPXaBR/bMwWFQjhrki+YAgp3PVQHM1K
byG08oZZ1UsCfBR7dak3pD5yg5s6GvRKlJbvOBN+MSs54BQX0CKaMnhRiB2LGlEP/k2T0a42LeKH
NG+OouNNCT+BuRBjDuVFMCIj7T1MZL1M4i4tiO9fB/CChY/4mF8q2iDM6rznwUcCKlekj5PviYMN
nawp4pErmiBqMuk156zIeH4AC4EeU4tgwcKpuVDp8thIHFm97V8XRPtHTZa46Bd2j8aIOt1MdEFj
jnSMpHNfQDTCOyrWACNA73YlhfafKR2nch2mJ6yZA6jM1dKLoPIn235Fj8q844ynhzhqmypxBlOO
B59NOgz3yPHuIE8NCLOzaa0RYUE2Fy1hAFHB4kSTxAMCUltOjdHFFvIi6pK9pOx9IMa/I32Ak2yR
AOHHIwxpCxtBzbtR+lvYA8fZmbid14tp56/ZsrNyPRLWf002M9eG5YdgM6/9HGSwjG6mGpqJAQCB
lX2yEIndmSXxd1IMU4PsPlkOSTB4tFDe9qoDsItjtjZ7TsP5gs+euyQbArbZYlptmfQ/5GPyJWyQ
+Y4xhE42mNYigpS8bCcPcO1I6PzgTU3IwOKV7mZcpo/x2K+2Up3wXyNoohUwK6FFFgFQR01oPbTJ
tkcAdpz98SFN3SXnjtTR0o4PoDovdQoy/Jtp2YDu31heki7fIM3ot1UHIc1aK4pMWugNKAaKRMU8
Bl/nFuXuwuWTPsUQFHOL/66z8Iu/DQamBPRCw8S6acbXmA/NLdTSVR0POt33eTgcRPweWpwaLAqh
0O6eZ+plwHL66BAPw1N/zk0SWKoVnZZzgcFediIKPjPdH3K6QvS8z/YpYuq0hWscdTDIarrkQhIP
ZKs47+tRAAJEs9BSLvw6OYP4sg+/silB0D7rwxrx6ehlJLolJi6YuF3ykF0R1at6TkV713ZzVAao
1dvY3Wc8fDQY7itwdfE/9Zp5n3IOPmZqYDuj/Fth0E83AkvcWv15ytp7TcNr/1yiJKkP4ZJ0lIAT
AxxeauJVkkoEHZGVZeOopIXtAhgg+LE9hYhibrfMbDcQztpqf6bsIqZ5eGhTxPYqHcZqynrv2lh/
N9rxvclpKXx51W+Q5c6YqmF6gEgN5zk1G6AW8EPO1whrKthwZU1jX8ImI6VgZHlE3hjhfOV5iUTW
vPPUoFwzUP8+XqR9A8gjSrCe7DWqe4HBZpCIz3RqgkvWhEbVMoGenxu5QeS1qBfmDIDaJgi/8HiZ
LkS4pmf/Zih1KHKnxBwc4Qm9GyYAN9QASgzVewIHGB2d8dUYr6ALxBPzyLkFHbqQ/aI+RujwNKTZ
qrjxcdZNKwoJrYJfQG6AYYl2O9OV946FW+EjNal65XgpVbtDqQwEQRMsl12rjmZp2xKrzlwvQM13
kU1URcF2aFrsnhISp4eU6y9ztIHL6ZsK8iBbYRLUfMb2w8Z9W85hCMDUoBxztS3+tRj40XVW7xXp
k1NMqSqChpaQDkZoki81Tce5iiemr1RurgKxwcI6KPPQOgCB20e5aeCtMUnGm7zp8lOU2FrZMHrO
bPsA1foetd4uRN5n/aPt3eeeYR0WVMu3rpke4nHdpWOIw7pNC4qvAvrmBSEdqsLo1LT5sQVAHDh4
oR0h73vFpTo6+DN8glZXXMfMf2ZTdgjZco0UdSs3MX2d+ny3auyUM7DUzgAIkJuPmm9a0dx3tUWX
0WWHfqaLYaBBhRR0rAxKfqXsdM0Gw0o2bvFF1LO11J5EFRDt+LsY0gzCqZthljuB0XxQCQCUPkgO
Josk7B76I9qxL7wYUYzd4vXUMBKXE/GaZ7RNkGKxK7DbdAR1cghj+LrNc3i7uiws/YVmp3BGnwIC
5/yqNcg0uyEc9zCxudNpaN+0bJNqTOOhWlXuP+QS/IzZnnOEhBpYWFp0q9RUQQDet33zkOdKemUj
UlEDvVrQExuox34286XnJoaqJ7V818FB8j5oxqTuNmZ3yCaHvc07ecxEZA/dsDWVWfwM1lCtNWDp
bLWaomDvqe6TIGPcoMoUYe36qV0KWKI/qGnLLgC+TsfYmxGkhPC/ZGyoqYnFBWoAz2G83M5qBIXF
OP+qRwn4YUzV5RIyBL1Yw0U++Ug4Vq/LapLa/CJextNiqC2VF29HWFKoPXEDyoZmbnfemqGqbH3+
1MB1HAzVgezR7Lm8RS1imhqyWkW6hq80xKk6Cow3ggBkrj4LnhMhEG6OSafQq5x/K82/rg0FGhsV
MlMrglBzQi0YqiWW+0jZjVcmmgw745umHCNCT/265hWNRLAnW589udE9sxWBmoAs88EiEqviEIs7
N+R1VThpehU8Dm6+mINO7s0EYMZNUZG4ZrgKNqxM9JGd0KFOKrm2LVJ+gvW0pGSHigz/oLGpZdMY
4FiV4srQtwXm8dWIolQ9mEwePdS4K5UCJfG74INn0EqAeS0Kmp0Lnnnsjp6fX1mNg4CFa1ASFQj8
bYJ8fm7zvd/oDuFbhEKSP7xoRpedY62HrMMAu/fHcA+rhMsAx03Q5rChivoAu0l+PSReX6Lq8HlF
PWwn0XlUexSBVJt2J6JztLYYI1Fr4efK+xfayLuG6K9GdDswTB/PfSlPUx53lT8Sv4wT1F+ajQd3
3kpvBSRlnrIlwXFvhT2jYCC8kCCuhpWRt8En7R7aph/SdPWLoU/DevDSHW2zi7BPdpvzc/g/oSDj
ou6iF3lf5qir7VCWe/CX4KYf1iuOikpttH+POJUVaGbwLlSSPY0aOOXKkRaH9LJpedXTiFdcZRAx
SV5Gvd63qzvi5L9GRbJGC8ouHodKBdFBo6WxDNxQwAsLPRgdegnsYyPQAlSkIGrs/MC7T8f4PKWA
gCWy1cWCgwJLnCGfDRGi0RVV/pGyTyghADqcUbrbccHpR8qMg7oWc2hd8elOhxox2dwjskhiXojt
3teUfGpEy642JyuG/3MaLVjbrCFPPvDRr2rAuTOb/hTP+AYaa2Q5hiHbNd1bv8oj0kC/otohA1t2
SWtj1JQF1NzBwIE099eIzbi9BmLD6HGiO4F2AYghyUc+0aVc2yw9B5+85rnBKRKE8/Uar2k5QuVw
36cgmvfnaiBIkc94xOE4hNELMF7cHejeqITHoiR2kPsGHVy7YMrYV/Si30uAEGW34gBLF7I7j0gF
t8IJnEcACvO2PFoQUwpvQjrQmXSpBgPlF74A2gS3iO6Ykzch3jcQKncfQEKmALK37ENoX3ZyegMS
w2pfuLQK43mp0ck/lrH0AQPbbnkdsR0W2G0e4yk6Jlret6m6E4tTh82l413Q4S3nLnruHSjSDbCa
hRtSMRs2+2n1bGVs1N+bngf33J63T8n3kW0+DopeGczfQoTk3jQsuEj1Bg/fbT7NaZyjF9kd7SYh
/tqQMneoNLYUjVaaE2BevazhT3Ka0AYQY1l/IJSlIIOgaBhSFAaRzjrAj/n/oe68luO2sr3/Kt8D
DKaQwy1CZ7LZDJLIG5RISsBGztjA059f2xNkfiOrxlXn4rhcminZbkJoYO21/mmdbHXuzqyb6cBy
O9RSzSs6sKCqx61Wj85mjTk/de8wF+vqN6V4AT9+qgz5nRJPIIsXt7d1NYWuk/tzY3Yn2A8H8U0j
L5VeIPNJYmI3Z4ewJXqgNhDgKBH6H7mz8utqbrBg4XUDE+aCt6usj1OfDSQOzCWTxDzsvbKp9/N8
KHNxsFK8hmatLP7owctqzkpXRLFH4gPYlMen1DXy0LEyFhD1azhp7YvSVm1UWhBsZaOgB6jMA3/C
6TZmerZ60OpOj6+j0OwifkBQNk71fYFRGhFPpdCht/OTEjfj0avXQzLF+bF2y+SWRrEHXs6f0hkY
MbV08rU96Tz2HY+NkiunPB+6Tb+6iKG8l3UukjuMv9u4tW5bNEGB0q7HJde/ps5wpy/Ld48uVyLj
i7DsHFoYGlRQwBg28PP3KtYufacdByBNT23SgGVRUPCJ4Rv9d3N0vDBWuK/M6+hhevV+MPUzpl91
g8pXbFRbK6KMJdnhpA++2nfx0VRb0hgspQj71qjeSxcWQ1/uBxQItj0voZdpdOzL0BBGYKV5KFTz
xp5jdbskehutbIvg5a3cqG67U+c05tbKBwrcrFAh+toK2ljfJYkaODHrrFApkbonDbGpMVIMzvPg
1M2paucYx8oMayo3hQN2btOHPtiu0rAjQTGiFrVJVJbpeC46cVTN5gp0Mclk1RX10mM/KceHQndu
Y1pNWQOS00eNcDDFbmQh1baJ+0PlyJLzHOQupzKp48Wxz6lmJ5HWq8mmctrW9+pM+mZi3CltVx6x
xq8bW4CAtJUTCfpiXenRS8z6ejA1GjFYDXuj8Pnh0PUb0xhvepwozKigLNbyDSXgN6ODXi/0/MJ5
WezLJtk2dReKwmnJ6hiC2fjkprr6HVwtZ2xw84jhT3xzR+U5pg3yu1Yz911qq0Efa2PQT3QMudjO
hXJRrKTZGlm7H3JtwaQ0FdupcfYyO2eOszPG+uTavR1aYOzDoOJTSBwGCE1U2ybNEoxi4gbWtzpT
xRPYNjXd6dYUnyzAv51WJULdegs6hBrZSKYnhxEQh8dQGk8NE7yfGtnRrm3MZmzyy9wWHmIY2hPj
xZtdGA+JgFDjtj6gLghp0rSKgKskaxDkDMN9qiHcgkwTEbqzMHa7LkjTtA9nGhssxLRUYxZ/LYfF
jpZmklHr8aDpmj7sNE9Q5WbZfRplUYCLzWb7oC7j+AhPemqy8awPwvnGeHnPYlrtZhxmUd5a7dDT
yrHb6qvQrX1N68QyMt9Z6uRUJXZ8vzS1HdFp9uBB1kqRkihaVrFg/LpSBW1ZKPdT0t45vfpmFksR
yawsAfunHUxB7U+t+dDE3RF4cqV8jlvLGyioqPK+KqZ668TIy7QTMsXQLF1lL9uC6aRjMWcw5arH
nCRf0X6sUSzXL4hxlu3QlfeAs9SCEQxXTGBhaXuv6Ua/acryzkPpYuRgpbPhIFhwVcKjjJ2XP4ms
CUHG7qmJxGW3SE/wJzxWOu+OzGQR5No0Rbo7vAs3Hpj1jPyTZZsMrFO2mUZEYYOecD6WF8a+AKuk
hOJNYBOU7C7PrDFslOlhyk1UaWMSNXG5kVON8EZjt5Y3nRdmIEZfPaiLfA7WDK2llaxvLm3bISne
WIObbKiDLOMq5Ax5oja3S58rW0UpldtlsDbTKm5aouR35gyZYCo1i0oAy0Y/Gyd3nyPOCe14vRXq
1G1rafL76RD7IvY8v6CJ8kuqXGm1t7HbE7wDcKctlhUoCORGki/8xbTR25FmehE9K/dEGc9+73XW
IV1l0Gmm90k12iRKOdCC3Jg2BJw3Y3eYav0ywPj6HDl61APv+do6ucEykh7aaeVNHnu3jaufyXjU
g3TKwpWBqJmS0OzHmNxPD/POVbM4G0PoNlrlT13cB6sORLWmK0iCYqBVJHfnISaROZSDd0gT1G6T
UwZAjCLMTQ3Zm+V3cc2WZWYY6s04+m6yaCejMr5j4AWykHQoRQUnYnubeGR5DTse1nRv6FZBCzS2
/WaaWfpS0ySS1efM+oZFQObO66S2r2IaHeinmF00NPWYjcsiv0MLp4QuGX9PELDHJNc3ttQCYqfv
ODJ3PYYGHpJSnuoxWVheI5y6IASw5/VfFHXLLMIf16yislKbZ90a9QcrKb9MzTrfoWMUTViabh8R
/ZwlwZBo1lagJ/TbqXGzyF202M/ITrsomTinuMAYGvQhzKRJzvHcLC+dzfzeN7F6dJXyE4htE9Ki
KkGqOOJoiDSFe2LF5bSm92h3slDa8VddMW8R1YZz9YVvNvBY4olcK42yGZU6qJKviPEp42ib9QwF
8AIiU1o7Os3T2l4pgfGgoGdLvLL2455QJyjScxMX96xBbu7bUQXQKBmXBrmtc0CIwkJwsCJOz55t
ziW1mIiAlGdvyfM8GAfZBsucvI3G19FuoZVFTt6c4RHqPbxZ5q2knZosZ9Mu68VtQAeyzDiUnbfu
PK0XftpONy5BBI04iNzZpEZ/Y2XNUY5lVC4OulwQrntR6++u1s43iszy8LdLzpd3dKfhZPZh0TGf
rnVHRRrnuzguUko5crW18VmC+9bM9efE3lXLtNXQU/sNk2up6c+xd3XoevN+XWqEVY5GHmjBbYB+
qJjzNBBAb4KgQBsY5Kay9/K63VYGZYwYQtjZwnsulfm+Y9Gs0pq3hZQvpWmCY6Ok6Zr8gKI4mtf6
Pptj92DG49WgYByshvuBm9w4dgYkR92emxWq8TeotUQ47KeedWe2FnQTiryoUi0ldLBKh57aUlo9
YfilcMdPSzV7oT2TkOSXcfVpVsUQxJaSBniGj8IabuRY7Vy7eJst46Kg/YKwcRFAGuo+USaUCtLW
ggKBvG20QDc1ldwpmxDL4afBIRbT0af8pu2NA8pehg1bab5blQN7OXkKehQHyatRK18GvcH5nrNp
sV0YBmqjQKNaCSA8pVjfqzxlIQj5BhsD6cIjiU0lQpuu9vZ9WxuZ76GT34uuNT6bukRfsdgTecaa
rtxMv3EUhVXY7FlzFr7K0c3K5wzfzWc5rgkncG3fdibSj63QWh6vUvlkFsK5LLFT3WQ9QOOGlMWb
RhoGz3KtD7eVNaSnZLSVO2/S++cic6xzV0vvPZ6yBvWgnNktstrqJl5diIylHfPKb9B+8n/Tcg8l
GUeWkxrHXsQu6csyNh/R3tdbbSI+p1acPHKWBjGPVaxQJ4u9XVR0nqa9zoERO2A7LctStnVmuAyr
XjpvRzHNt6NRyK3Kw7jRDGGfC+SSXxL9yuaqc3OLF5F+x+msNynFSRra9AaUmwdLnG4KSKNSbXat
1G6tus1O3K0GV3xtvKjagnN9GsbNQEZ4VIuJZoeInCxRkDyyKgd9ZL5ul2VgTWu7WPeGO2rvpW2p
kVZhuG8QEdIC9lvXLuEAGHlPcWF/9qzhEzoCHXI13phibjetOZmvjVnvHfVG9eTNYvIs8ARlLxmR
1HDid5YsHypFfp5KXfellTpb2TAKeGZzpV3t+7gAiMz4K/dZX6J+r5I5OVfonvNgkvHJ66b8dlHd
yCk8llVBjjjthjRn2m31qW/cZA57qQiBDjALkHKhTlbwVS9ZS1a9kcJFtFqG9sRmPilKlq+jKVR1
NwngizxW7/ShVXOgGQo7fur5+rL1MMEout5NvS0CEAFUMzryA46HMIPBfBE6Q+4k0TEWcz9Eep4Z
F3cBhRDdWgZiyHasxZnA7JTmSiXae0B8N0IAoTEQuI72mNaonXH1cNFUaTgCXfQZHJ0rvrHbaDiT
iK0hi8SpAXvXZcA5vzfbVtgXqfk8WXJCK9LAKFjm21Q6gYMXcedeARhSphMWxSpVCOXGlKy6xWEe
oMecDqS3HNL5gGBN2U/54n5uu2mMKquFvHYW5ZDnTnkhB34dArNUlttOegOCcJgMkOTFX3v66GS1
l0AsTD6EtXfV4tvsHXlL8qaMsEFOR2fuVzIqRLEtUP0etWYSEcs81M/rar1zWL04hrdvxWydwCQ4
/FtDsb8uAsczu50qjrmlugHys2E9C3Fix5t1M06tZO2PE/P1egr4g6k9KbNOWjOQ7XSaxqZ+z5al
32kktBlMCfbAWd0dk3Wk2lQKGy4bwyn9KY7H92xI8wfLHscvUm8tNr4047IGQJ6g+Pq8slEqaWLn
Uer2vBNjhxHG1bPQSYb7ipymC+ZT7djy4u+lttT7gWJ9rJy5I4fBRIJkWXG+MfpS3uRqpbynPQqu
Lh+TV1W46k78JgFeVWlwKA8ix30Sy/sq1dtwzlassUUv43NqVvqmVFhOUBH04KtDz+GGiITxqzhr
gm9+aG50WuqIkdv5NGnJtTd0xH7OgW1KO24uXcPG58FGBWM6rfawaGW6t4ZygLhi6vGlvTbnCjhl
NxbLiloMqb+vG8lXjNQgGVqFhi6fm72FUPkzqrw2MIfO45qt914R6H6btrlRNa07aoqRPpnFSJii
myiC9iw9I9dSrx3hUsOAOsm0rzC5vDqYkR41xJc3db3MQVLfIGXj+9ZUJYhXo7hjKcv03A1L8W2o
PSf2O9eAgzOQ8wA9qOn0RfRutQbXJZa4WlJA5mr8nlrLeHs12kXAujLKOiR0Vmln97pp4CcoSmQj
csouU2ExXA55me2yUQMBIPssvuhs1WW647VWs0o78W7hGnRVx89XULCFKIe9MQ5GE4ik4NvqpcvV
e8kzK+mXm8pzEIqBmvid3Ym9mnbrRgxGF6yyGjeEfY1Hd+4UWsQ0DdMp5s+MfSVsFUdeGhFPn5RW
lBc+KT8y69mvlj13eJ4UYWZ+0ZXaE7qBDByyNK1z6tp3qdN/NrOhCFL0t2Fhp8Sq1S6hQKPm3qvg
Z91WUfX8zGa/6abMlvVlKEdI4Hwtn70pyyEPDe/WzlFWONo6hH2P8KezM3VjkAF029S1DTjWJcGk
2iCCzlCfSiYNTvQyiQQxHGjn8vTOcEnd0rwm3a2x7gArjOUljhW5xTqTbTKtglNYa+dWK3pxLKzB
i+Y2HqKsNwLJ0RCMpFSfes3lmZIThiSoNAoX+Y1Vb+pfvNxMzpgI55fEkmCFS4s7oOsH73WKZcx6
P717YnV9EWIc8d4SYVnf86KYLtJY4nNvyXaO4MOKHTyD1/g87d4ORuDaIrlucem4bBG6VVO8l+sk
PinQdlGqXDWGXpcTmN9/ylgSFih54XzNRrIRr2NOFHetm5AMX8uTobUlQPgKbmoVzXkx6jzoy47f
Uxt7MyvUeo9dM48rfhrslZ0wO3+k0dJpoNBfMek27o1Ya3NX68YcJsY0fCcwy9ws+Cn2Qw1yRwnk
Epw0aXZlJcR5nKQdVhgawlgvgE015HwFUtwzI20qdgrYVOcj2HTuE43q1Zf6sMkGLORRtXSWL2pw
ximtq+Yw2QP12uwNkiXWengf3AkbkY3I/tiYMKET2Ph+Vewx9BJEe6uXXwV0LX6acXQOjWM1m4Gs
qj3rRceTOV2dYO3I7r0a5VOkzI36JSYzJ4JLg5DrL0aXAO8z2Co8QWEi5KV1H7TFSM5Wnq2Pi01M
eZ+yMDUYLPOqzqvKy1KYqDkJjjlm8A/R0KDRMxUQe6EVyqZO5v6oTXNKBLhhhDgGpD+RDgbKVrW7
vOgwU2jSSo4l6wN2kMxKiEQuCauxnj8LXeL/mD31SvmhgxJq9W5ktnth71v5Jhv04SztuJZaE3il
L9X3zJp1YLzSXbZuV3cbpaq+L/OIxbLPqmGinfLqN32yldCCtA1N20C5Yk0F9pO2ulussX0FEkA/
g8gwafS9Kt7q2Q5qA6XUIvPsuzbUZVgr03KztHbb+7XttRcHweD1mSKckV0E9m0Wk52QzKC0Bqaw
JEaICGesPmVQzatvDIqHaRc/ntmoZbTMSGtsO7ZUMuti8a3EPtz5hWatDwIdZ5AvpXxv2IYSkP2g
voIIp/cQQsDFa12hvaqVz2Kk4BbxkiI5KSb0pz29pmvYt3mZQBLoS/dNnXX9CZPQuEnawj2RTUBT
Ydfr0UJzsFP7Hl6t7tD3qFA9/lxRRiDHBTBLVucXrDbrwV6X4VVT3PU+UVx7MxpSvWq/yIr0OqYQ
XUmsMCG9MCqWmSYIn3U0I2HDiZkOPLMsweVEUTqGouwipREqhtreL4L+F91Qxp8WrV24itaghTTs
5TinGWNXO69Jjbd4AR3lmUh9IMHxQRdgo34999bFVSDQ+m4ZnxR9sJ9MwZ6oaW2uUYPpAKYgm2Il
bk6yvw8k1my66m3EyBzYy1AyO/bjtiLKhcOg9Z66crTflZi+N26XLe5ULSr4wDAZZX+ko0Pmr/Ra
4tsK8BBzQXqv5pYSJSXATOoInRF64dktXesLGqbkxPhR37OxtQQCza4tpixXX3Gld0ncXLnUHWvG
ZgeZXlLUxb06tC9uj+R2WWnknEQpIl53jxSrWkKpDOKENcp5qM0rxYlxFUK/b2zkWmjhmZ4ya2MU
c/Yl6W0M0zVzo7Czk9Uo9vPUNBkbWgbxDaGXNFGGJcN+kc7ykHWagqJ40HQYeJDQu6xC+4RgQDkV
RczmO4eY650QQ30Lhr9+bctUPFlDo52pkdXK829rr4T/e2/sSuxfEdMs+3Vy7O0Io/Rmsf7zSz4w
QOVjFT/Yw7qmx7hLn/u6sDZQCPqNM9kLTcgwjHcl5/znMreGe1n1OcpQhWKWV9YZ1c8aNE2q7U0l
UymC2qs0xhKv7jzixR0qaqTkzgXNdbMb2tvUOnveOB1nx0Q7Lfg9r3Ptx9Xs7PsyziUefVZ7yEhj
/wbAiwZ7YPGI+KvHbpEsLnqY9A5OxQXHfrRzCls4Amkyr+hXQZiUnTLcVHnXq2ylGZKj5iCnRMGo
xDfkA2TBzICQ7pZO9sptlVLOpsVUN3VWOzdqmo/jxmRD8BfFjPNTjKL4UrajcydFgTzOUxgrfaUu
tUfbW/vZZ7UQiuQmXn2VcToyRid5UOPRjQa9Mw/TZPdPMQKdI/6YkTz6YvgCtpwj9hrRHRtINsOK
BdNBj33lwRC55rsuml05dhI1hyO27Vw+uPpw1i0lPo6zMCLpxuuRoPXyc7NacZAONb844IZ9pjvh
nDBvMqXmqNqq5uuYtWMdDIt7pfT1bNepVh9pUmSbukKslQMDPRaWmQajZa1hbKdNKJXYOmuDIvYV
GuLjIvjoJV30zbgizk57Jw5Y3stQuKJpLUGZFPlIhHBzbLBt+mVv6E+m15j4KZTyLnHb+DQ2Xv2w
tFb5Xk+Yk/xSZZOKaWkwvz2Cosh0K/vKSJlIoNZEfTFQLJ3LjjToROOoYDeudck0cwRcEepL1s/T
icUFnH7LqJ7dxEpIMlDKs+ENuNc7mX02smTY9GhtTl5VivNMU3GAzQeE1jvyMwxGNQ4NSPbEVUUE
MuBGVW45Z48gg5CljMljS1f1mbAKMAvDjk9T0iybrLXd90JY2bOJBPnbXLmTnyDICeyVRXF6bJYb
r8CCRG5uad8aS++82F3Bs2/mOV6ZRXgZcpea7ox4hieRlKsCcAtMrMwIdherrwJICAOHXxI/q15W
XIgsZ+Vol4kvq52XIQtC19ekNVgSkpvDMVNmZ9dXV+2VuSYLSPOk+qMCrqgKLlyxlOytRL36aLnF
eJoarTsstdEcRLVy/Bscg4pUsNw4mhli65Ao58kNYO4bvs2pzI6zOWZv81Qkkcw7NEGmRUYYnYqg
tPdemkerkTFpj1SV17IzLP4NXcMm4AEgNhxmX7XCE++dyO/p/OSun60BZ3tRv6FR74/5SMhgLBwb
a6rN+8fx6qqtP7AP76vb1tM29UgI9nq33oDYDQcXHCmgqkJY81Le9LhggmpA5Zjb0tjPmFZe6OPT
bx4ixycdMWy6JUzKOqhu4uBvbCEerhYlD31fmTwm2QydP2iKtzMcaYaLw080WJUATzjLLdN5fSN1
vDeyIxY5dEYbn43t1MxC1l5Z8k7n0FqHiCnEeSARAEoP51lizNrXntyfT41mDzs5aqwCt0X6qIma
uV/2FqhlDirT1ikCtCaZuKHjdRdc7djv0myXLqx4ZLezJDJPc+IDRV6HS9fjs0AA+V1x2eMjBi0t
YBxnzEZtK3igNbkOS1C6U/pO5IC5M+rJ3ejIoeFkvGqnZUkTWLw3tNaejc+Xt5KeZyzzfXedqoBR
loPVtdNb7OnxU5JalQVSC2snHbd978zV2VgpKjVddtwBddHu1wJzaKpfMeFOdue/GQTALImpe1sT
23yUWfZyqk3Ej9BY+qtqt+oz6U7LbqrlfF5HPfvcJLP8Ug85fpJORcVxkvrY7PFzZ9E8CBnZXmng
KDC90GkRKeO1WcgmnmsfKTx5DJyTIuhIZnk16KpOFXaIfQbalPh/g8Rm94GaJrsx9rpd2RjD92xF
joPQmVJZ1ibKukZBe8JOkkhXNZRbY7xGYyvJURw7hTyDpN/36LbDptdrYK31Wwfff2t7FfrNuZzh
d8bKphF0NQOe1SyLxxFitIhy6AlsgxWUcTmYZKy08EA6Mc6ZflKtsdgtuWKeuvk6Ruf5fChw8O8y
HMJM2mTg+NjuxefVaSAzeQ6hsOiPLrQUN+4gxldtmfV7i9yoT2JAoBw1Dqy7NJA2ZkY7nsoW4b2L
oCycKt6OfkjEQymVL3ZB/zh0hX5gYUR6qEXXP+Hzlbg3yEJLsA0dqs6sie4Z5CbLlvTyN2OYmMZN
R+x6/N6B0SreprEcd2PY4FSiQe+baU8cTjDzw9XyMMQCQVdnrcwYSju8JUkswkLLcU4YTbkuflLx
pDmO3r1QGqqIgWXdkGxlhONS6o3/N4G0RtbqbG8zeppthtMY9IYh929Dn9p4pYt0JxHc3WUx6mKS
OfJIM7N5KxhItiO+od+TW/8XfMnn5lv1MHTfvg03X5v/C0Fa7FW0netGs58blE9fmyH9WvwhNOtf
/9m/LcqWrtvEprJEhu+eJLrfLcqO93fvuhKMdKx/+ZD/YVE21L+zuNkk/5noOt02rmlvHMTX3Cz+
EYFatuYRtsX8TgLhf2NR/n2z3b8dyoqukdJtW6b6YUdPD6SdT22rbDkE8Ir0V3OOmx+qnIammWe/
kelzxVxhLtqz1E0LJm8+tRJwbuobRPFlG7A88Rk13BHY8dmuE1q2yBmJE9Jf0qU3t9l40Tto40kr
v8fl+qhgjISufRy0rAomD+Ot2mPlGph/cTbTmBnpbR0ne6kUPpxmukEEgCQdFNJz8i3sBJMvEnfi
jXoQj+WrmTJzcdiHHLtE33RXnXUDYvzdwwaV1OIUT8tLMWi7xkxXfA6Peo+Xw8BBHdiAovZAykg2
3VfdBILRfUl7+00O5vOiim+jlx4XnZQIoeufoSB3I0FW4+C+Fq1CvM+SxX4snS25V+fMvep+EMQ2
6YNsuYretf2etCXg2zmsU/G1LrTHJJm1cLG6b70x3xck+t5wsyrC6nzFu+gAd6G70v3UJfAkAX9E
LAyEr1SOP+upvVna6VbFgOa7JQZChB/v+GFVn0yOMDW1bdvAzSnKCnzIgry4VXy9AMHkM6DX7y3Z
xCwrY+gEh7m4a+35uX2LvEnb27kBdkeXdbVkoAx57pCIRbGukd2ARQvbdSSb3AtXjvJooePZ1ZzX
cNUykOrwiGxuxpSio8MB9zK2rbP2W8F8eEqtQezaPt+qUzmGC1PMeU066x29MHpA4y2VrbtDTcnU
KQ1l58WxEcJIBUWj3nl0qUEDNFnSIXaBu7RVlDlFfqiJitiZQNN0JLn9Pc3raMoW7/fEw/+FgvZY
l/z9f6GSEWPwJ0Xs9prV9/+Odfft6x8K2fW/+kf2H0XHZicQ5Yi92QZLc/9ZwzTdvCYmsEHAYVUF
dDD/5B81zDT+rhIvhQ9ap4Sw95yP+2cNc/5uU8JconT5RIdf/5sa9seoyN8rGBOxfv39HxJe50mA
1yLGuPcc4PU2SbRt6q7qLxIwf/bpH4IvHTtW1Z536VJl1nPJ4eoveC5+uM//SDH8MbXwZ5/9IRWC
tbMkRQBO3tPwnBFkumFPQM5f/HBu+4+3xQC7bEt9ii9Vkb00rN2BB8FN+9eu/MOpYUw9EHDMlfcE
O1911kfctMbvPcUfQjl/vC1/zG791xd6jez48co9azXBXYvkHuQ1jsZZqb8WlYpiDwJ3/5euX7vm
dfz4zPATlHXlR2jLKI9EF23YrRP/YgfiT77Wj3HbbuPhaMvc+LIWWEBj0/wkh18tBPjZveE9+/HC
e5QC6yKEd3GmmiGw47CwNJEGbqr+4rn5Y2TJv+/+9Sf/cGuGWsq1shEMJU6z3hRz0+w6i4x2aYmB
Lvzqy9DGV46LX+1I/tntuv7+Dz+wcNFHDKDcl2wcb1ck1KC/5vKLZ+lnH/7h9aUbq6rKsp2Lmtjk
dExFUHfW5z9/iH57ID/2TlQe7cP7m5OBMjr9OF36Vov0FvhzrUmo2+vDJ3d9qjsSC0AI8nPeZhHO
efThu2J8i+O9M2z4tSY8TI1/8QfVr0/Af7qYD+97W2u9uUKlXsaYuCzs4WtyVIhsyG5sEDTLeKWt
8yXdwaTvJ/eLA75f8coWbXuI1VNJ3tI//qedrOu/UyJaSCcHJniJlPr7NcfjF7ftZ1f6oXiobheX
Mp2mC5KHvWG8LpBxNnfEkEfsztpMtge+cqVjWWi7UejldHO4RqoGauWhEWiDP78OTpn/eMc+Rlxj
RsmUTl+QHJRXC5eHsYJ2rRy2ms0dwpyqA5TAKV2QrkK++dyfmhBMjRQYlLaxGftyQEpr7/N8gzXR
Z6L78ytzfvKW/xYn9MMrge6MbDKlEZe2nLCZds5+JiLBbU30lFnjD2x5ZyORjiu+edCUYvQLdiNe
Yisj17M79WpLnKh3Ek35xTPEvb4oN6Mnvsg+eVJ6wolJCsGvdpiZc7uUJXKacuOMSNhk2u+H2HiC
CX7NSzWcQTgx1ssXVHVRWrShl6bHa2afiONd52YIPtdbe5AP9AUHhKJbeLqjkiZoB9XD9Y4JoocA
Q2/7adyupnbJlP5FVO1N1WiwerRxHgrUVBQXYXtIMRScfQWxFkXxaVbmTSEJq7My+DlkPnohD5Zo
DiQsbGmrjyTy3BpadX9VkBENWSEjje+gsf5aFfy4z1ibywRbdN7e6RMHXCrJ4bmawrdjoZc3zCsm
PLfR+zFm0z//zn9SqK6t1Y9VsJcrRz8DxR2ynI0uOvDTMvprH/2homczXnAP1ODOnHkg1sHGLP6r
zbg/u+wPxdusy9y1G6O9a/E1+qkd37I28v7Pr/tnb8GH2j0pPYZc55oPr7qk1CxIty4ZNq4z0LL3
3+1y/Ndx9zGZC9nv4pjJ0t8ts3cZzeKQqfndn1//z+7Nh4rsdL3mkUHR4oJQRrIB6/sRJW745x/+
s5vzoYiSn+oqmZH0OMvdOVCsHFyzz9VtjsT6Lz03pvehD5OW6zWtrXV3RBTcrQoTr25X3V963s2P
G+NHD8fuhJDhbnY4bzwr6XZzl/93++f++a2yA/SPbxNCmax3zaK/K2Tx7ICM23by7c9v/H/+VtmW
8cePLr10EWo6dnca7iLg8fXOVJHo/LUPv37bPxR+ku2LYZopO0WsmYHHlQdV6Tz/tQ//8K5mhlLV
V5z6Lpfe21oAmtZC/UUv9LO78uFdLfRuycjcHO7K3t1WHd6THqnKL4rxzz5c/+NdMZCKtbnLh+te
vAFjXvHl9Uv41+7Kh7c0tmSHI96lyrRIgbDzEr0Zk0X3559+fVf+/67M9D68puUEBTwjyL6DuBh9
Etr+h7MzW44TWdfoExHBPNzWXKWShGbZN4Rsy8wJJCTT059FnxvvCsuK0NWOVvemqoCc/2+tXV/k
D02eXXGS/hu26kl0lLM7HA3d/vsTP7hZlz701nWnWc+Xm1Xnv3mf1pag5vxr175YNgWVF+cDtXih
KWt6+wD6SWXbh39f/IP5GE6u/33MAAL8OK2JqvWdJ95E6WjfZraSVkUfYdRoRs6nec1gdzXmje8F
QE8aQttrFEP3TBmaW9E70W72KJ4YZ9e6KbCorUQNFEtzDfYtqeQ4U1nxK3c5EXd7w/3aC+RfdAgU
9XnjqOldyIH9ezwSEVN998m1/74YA+b9v7ckUmUkAwonQ9PLtUPpSA+2hfesg1Nxh0KeFVG+Lbtl
7ZfWxba/vFR/9D9s5JWB4EAiJEe+MqRODVAHlOjfD/ijN/Oij/BMYqJSaQy1kxutNel1bJLSN//7
6sst+UtL8y86CcMi/AnNoAtJkaeUCTvllT105aZVhvGlAR1S2P/eHZU5Lfv4uQwTrWLFgJoOJBU1
of/+AR/dnouuAqR2zUme34ZeN5kclbe/3Img978vbizf8S+3x7sYzGFVTmVK0iFczFZHvatIvg7p
T2QvzMSbet5mY0/m0k/y64kzWcojcJEVCSfA//4CH/w676LrqLyCXtaVMpzL9r6q5ZUSwe+vXfqi
36i0zJay7Lqw8uyftW7/ohDj178v7S5vz99u20Xjpj7aUtFCX8yqUR2NZnLZtxYB61WN7GFM7H5T
k6Xa5Jn34iaJvRkao1nldFYnDZQr1DeiZMFMKhWKhnrwSqFdE5+JdgPhJ1Y3kwb0LqLepuwYjqNc
7mfTLbai1oM9lT+PTR+VG2Memg24RxDQ2tysEj9xVvTqlMoaXXnoOPfbEGSxdj7MQXhXTUMawKmP
CQnLVQeQ7EYLOMSlMqPdlObsv+YBbGaZEOCwSEs/UI7WvUb5MJ2Mxqk3nFJO28nXf6qpXcQiXraZ
cs565sFAAu+5pLrc4NXrS0riyEACIe1BwY79jzElL92U6RdHG++iQbQQ3adprJqQMq98A7aEcrOu
/KSn+2BgXow0f/Z0lO74dp/3dQgWrlxTbeItFZnvhOzZc4B6xvlEHcEjz1h5zFUS7//9Qn3QS/23
4v+jg+0lTHWcGXVIV54cCXqRzAzK5jia/Sef8FFDW/7+xyeYEHdzzrXqMJLRWSsNf1WZ0vikk11e
+781h4suPDeHKuqp4Qqp/VBUgkuqdnGasHOgTUdj0vJPns5HP+KiMx/nvKwxh7QhjMNbJaPvuqge
v/YELjrxMc0pqG2GJiQLZn3zpVXeC30GQObm+ubfH/HBt3cv+rppbnLhpVMdAlo9k7H8leX+y78v
/cH7sxwI//l0ZT1xnBgzR5JFal51iszHRPntNa6Sz4bpjz7iostTWC08yKxuaKY64D4wexT9yHpd
4z760g45587/+yuUprxJTqYbulT+UPE1PWXBcP73Hfro5i9//+P9nz23Sfuaa2sFkGiVyeu6/drO
PgXV/3vtnOrr2OX0K8yKtXT2yRcXw/+NPn98Zy/3tcmxcxcBUXcsg+EttoKvzVnci9fdHEe3obTT
Db00oAA2ivNVNgAZ+trNvuiiZaDN0YSxOGwSg4QoYfL1ZCSnL13cueiirWHswWuXbuhoVYZ1vbuJ
Ju0z5fDSYP7SkzkXbVSOTWcqKo7DRu/rmyHiICUOiFupwADKFdgEqD3CeP/+JR80qUtbuG75EneS
5YT+2FD9nBF29X2p3VBHLnb//ogPXvtFy/bna68FQU7mx3DCocbX4TbPmhm8f+3SF601TqnfrOXE
Q260HPZyC3PUoTz0a1e/aK++SyAOeDVffIr6leGLh57a6K9d+7K9JmSWKRyXociohDMIhiS1/frv
a5vLO/63N+hijHKp8Ukyh2TUmJ1FRxWInwNk2JniMUogstXXY4px1NiP5btp/SisF92eryyX5CoB
Gv6pOaVzDgbok37vv7PLv32fi5ZuJyPekKz0QmThK3cc1z6kJoPSxSkg+xGdOaiw1a3XZMe8vxFC
UopP/9jYe5BYWbMcYjTuZxbRj97Gi35hyLJqdt2iCpkc7CiPt0ibZuprnY590S8Iu0trlpJVGPnO
NdDK02Bqn/XEHxyj2fZFv5CA+STK7pehD/PkJ6gTtdBm3ticT3f1vCS5GyBuUBd+JFH/aBv1M3w/
/36cZmtdOwDuKM6EOZkDZeldzq2q3kg3Vm0Ot2hq4ruq5b9rO987VFX9LW31Hsqe+Z3DhmuraYov
3qGLWcLI4b+jIilCgou/TZMseeBT6PzvF/+DOaB90dPMZeU2hC/LsBmLa0B6VESwsAPDVb6Z8fC1
lmtf9DkDJ0gUAg1F6MXjmyLA6g7P//76H7yaiyrkz46SMnxwjlpfhtEYbMsgo0Ky/uy+/2eC/ksb
tC86nLRL5gYKShEqziyPCQKOh9qqsmtTA31VQ5CDu9XWBCP8Bsd8rI03JFSKewhr8JiHutgN5Fo2
sDrdH0la9WffEvouTtk67FgJUgthPDrmaO6ibngfpQUoZiDStcGr1OzK9Gsn8rZ90bPFBWRohTuT
nQjILGayZ0Wx+drdv+ikyHUIqyAvEtKK9pBqn52u+KRD/ujBXvQ5lFeyci26PMx98R7UwavhftK1
fnBl66LD0YfR8HRVZSG1a/HWbl1JarPdf+mOLNbUP99Hx5O+7c1DGpJiK7dG3FAgqJrPGutSZfW3
Ucq66AosoTnYqEcu7+16QEbMatgcuxPqyJF7ueT0Mogq1Zu1DO0peQBIgTahWQgLbM3lBqWFhbMh
ts/+wbNvJztqyVdxkBAlTdaV8UA7Xc/J4wLg8OsXChuYI69yy3yI+mbbsjvJJ3X+68BfQWz//8ca
sbf+2s276IsGXTOJuhRFOM76DzitMGKpGv3atS+6IE6jjczKqzyUfcVZ+birUvOLz/yiD0oDrGxa
LvIwauJzZba3tfpav3lpcidaiuh2Lpd+ky0fH8R8PBZPX7shF91CQQeTkG4uQ8c9RnbYfHE8X+oN
/2wBVVkIY3DHPLR6eOwBZWVHcgXe7mvf+qJbyCOUOCw4uXrV4DlQr+zLvXzp0peuYVE1ZV5KrAv6
nIMzUjlQXCJNX+sqzYuOIXEq3x17M4dMQI6krfIbEiLBFy9+0S3UlenCiFZZOBXxi+EmlF0vnKSv
3ZeLVhnNg28NYAjCqRb5Lib3YXnV1x7nfyPvH0vlnGLnCd5OHhpZ0G77AWRsGUBG/No3v2iYM7tO
sWukJQAkGz2J+AHw+7OjQOO//Z+/zA7Mi9lBFNd5rlyRhrqpUSU9nGn2jvtMX+s0/lEv5Cotjy0y
LPpoMkrbpHsBHLk10apO8QxClyV2qd3FUC0thZQQEu/Q/rLyR65QsDFsFc7Z5Cou4XDLVQf2flc4
j44WPrq4xJLFS1q9VKw+Xfp2K4f1jOFZziEdeC1w1apjr++Wrrr1qPzXsz1/mXkttEE/Mn40VgJX
+/tYVd5adtf8SzO3mSDAPPGnH370S/efjMhY2fYti90zg4E1+78kxmwXb3DHvipqBzAPTZYsw0JF
Yb2BhphPb7wOqBk+PX5IWt9n5THn92jJezTVPN+frYLaxudwSYO9YDKXqz675j/zdRvw8tEBt+2X
bOGW/38bW7gl0tp3NvMXGKXEL8seQPsui94VZmVuCKNZr9enqLA3KtWB30akZJtTp++CKOYfd8sY
N5FcKvvitjLgB47NSxRQaVm/mM4xxwOsWNYY5ZKIdF/4DjH7K3FRHkzjVbYwAYTzjVz3VSSgwTQC
wUaynWPSTt216Z49DpASWHEuO6iqLdYxXM5xNhcRyGG5hQZyIxZlSt8p6RJk33XdNyCdi7/3iqDp
pkgoH6zxRBOnwhqmXv3cxfkRQC3XsWZ/sbFd9PjJwHFvAPc1bLMYLVfkfCeP/cnQvfQ0f2sMF71+
DAQYaAXLCK8bHqHDI2UccV5YsMGRXicdkB/4HF9r1hdjgF+BSOmpCQnzJD4DzHqyY/fqS5e+LFZu
8obksGrz0FWJffSxGK3s0Ru+9sUv65RrNQYu2EfW0Vr1Wg5gfbrykz1YY+l1/vIALsuUGw6tHWew
0lDw7idjssaEcqKBJcqBobFbZjxtfgcKsuuTQzIbN0b3/O979sGjNy7Gh2LsRDFmURb6Fnp3eJRh
FLT1Y+n6+W8rdYIbn5TbJ2PRhz/zYhonp8h269lNQ98OmquBPNWdaCPoaUTwVkpp47Xws3QdE/2G
YwyqljZpBMcatQ08GkMdUbkbnwwvH/3wi+HFc62ikEUpQh38wjV5iOIGomrxmuo2cD57itHrFO0X
353luf8xUsJkAPw2ZQL+2fAGJ+O1nOK3fz/AZQryt1fnol8oOmsuJUUsoRGDTy0Dj2wWvDuMqhYk
olwGBy0opg2o2eprS7D/jrX/+DHE0afIH/MiNEXWrylw4bSx+OJBo3HZPXiOCTJvKsJ8qL4JOACl
bn7/951anuxf7tRljbGVyFbzbVWEi77FcPvv7Hd+8jJ9dOnl4fxxSyal5V1mm1nYefpz1GbQ1JzP
tsE+uvbF9LDKWtnplVEAKtRf8Ijsiqb7ZEz5b7bzt1ty0fqNyK9UEdhpKD2zPI2TDhHCQUfaAsLZ
JpmZxitN+JwuV1pjLvzyO8AXwAACp8w2CZLMfVUlJoYWrdxoROK2yDxA3sdBs2FTwThIRAEru4/d
Xc6P2AymQVgwiZrokx/w0ZKa5OX/3HiJzHsw6iAJFVqJ3Ml3xJxXIEtwlvirUdwxn5koqOB/dHyr
ec95AlOtwX1xgLtkTrjMqGaCRIzq7RyaOVj+U4ZLtMiAvUDWMB46t9zmXolRDKGKvV2mDr0frZfZ
Vmp9L/N71fYbC5TG3NqHrv+lq9defTIufPTol7//8Vq5pafXTsavY+KbTnuUx/9uCSZS9g8aw0WP
JINKDuyOZmFhkJKc0lrt2Dydn2x38A898Jwttl65zY0SCCRw973QAPEswDFrb/g64Wl41sxwcAgG
0NrNNWUW5XNuJuxXaK2Neqk1yk3aDvJmkCmb3gBdVr2XwSpQRD85WOtvxsrJwWj5BtkMB/9Zb1ZQ
OdzO2AEpzK+GDnO0jEvzpMuamQikpX6XUHPIE7K1J78K7vVC3zijcZt02GWsEfowcB5n1c1TAcCJ
5KeX1Av2WXjVSogeknSaWmctCSxm8hM0CkVU3x7seTeZAlB5oeF/V0P25sMXeu+rvn5HZt7eznA4
YNkG+TZARbCjhBuCNNqTFyyk8ZYW4q2w5go2l9FcpNmonyOK+HduPRZHK9P8TWWBhTScH1liTdsI
3MgaNJkkP5+MJ+rsvGYtzAxLVxDv86Z5S32JCX3o7WvfLt9ty4yfkzn5FiDWesGb5VzZZhvtB9tu
d45el2u9xMy0EtbQ3wq96PZDN6rD5Cp3U1Cgsl6EYiebSPqG2gpmqgNMYXzmz0Uq65tMg+GjFVHz
zJrIQ87i1+6bDaT9NuvkHcP1utMS+zA1drzl2mJl6KgM80kZ/AecSsO1HrBdVfm28Lz4Nsrb9DbF
c8MivNNWeDa/DyNEyCmnG5lKUL99OZkbqRn9OocP9aBlHu20tn9TOIRS0IzFLZel0kNqT6qgoDqP
R6oE+1hxq3owQNOcRuBCMlf7AdzM3FhC4Xlq0+5gGQRt49lSu7T0zE0bJ/0hzoVxzGyDpwMDArxm
N8VHXRTe3rUISesgcTdBY6NTEqO+7wJqsFBSQohEl7XVkR2Emq/Ej0XLAZiAgqBdpersFLlZvKK+
m1mZN02PhSigw+tawv4+rCYgJoXrY6inb6V8jDi16gIqkKDXAawxgHKsCHsPBSHgbD4HjKF3srPj
986NSNBGhfXDjm1Zsi6MUDYC/90FGk4JlKH6nsytT35Xw0nhjzBQZ916KZ3WApGhRd1bVljeUQx1
vG2nArF6ouM2MVXf/tZthze00omDk7d7A/7fr+2J1aVaqDKToeV7YETmrnfjDMoKlCh2cMEyODXe
0V6N3WGGC3WUaDPeIgfGeD14UFSqoh5pEZ19GjzwcrJnwatYUlkNAkPz1YG7FZjJUUrI1eUISrNJ
vZmoTBCAeEvESQSz9a3VU+vamNViOZ2C9KRomEw9Cwhz2tTdJW0dbGNGk70++G2zzTqvfDZ6YZ0d
zQacDtGWEzPMJeTSC+vdyf3SXWeWrnYUmLRXUrFdw8ZpatwkSZBHh95YVFG1PuZXs+VAsyHLYxwh
/Ytbv9HzYGsGJrWjjlM+D8LJ9iWJmqeuXQDTjtUQ1w4Sf0SQUubJqmpSEjRzRYBqTkzWZngW5gfA
eO56BDL2q3VmEit+UU/upnNGfVp4TYQQfJLjFL/6GsOPaVdA8tw6VtSBj93PTIPYxoUc9ayCnE2t
XA6/a2DxwHHVImzqTUsRHG/dbW+a5bwtggKUlN0MoJ0bQP8jFlv8uDPRwUjVN41Z9vu5q6ytUyvS
VbbXlps5NsUpw+vNmQW/RiQYymVroUBCX7uV6NbOJSLuq6Y1tG1ZSTYxKx+H1QyKH7PdGG8DMag7
nQ3CzZi5+rbtqGrL+yFYp8JCTBoj1QKOU71nXTe/tdTGrZxpjmDap2vVNOuogsgxi3ONp6tCDkZR
meCFH9Hkad4ha5W58TSQvpMbgDJJncFeRT1uPZBwevIDhBlJpkF3Qis23HlFV2FvyBaQpas7zIwO
sDqQo4gNTOSBylGACV3UaIWRzGvcYsxfW0CvddJh1U0D4NR21nbujdFW5sKc6b53Q6deBvR655hS
3EPjqRFnYOTnD9DTorukS3t2TSSxfwev1kaZQQJGKiKVtbKFPuKw48wGIQzQ0oD0v5G6xps1Od2P
CS7iGqdGc9NBmWKqHpcne0Q5ZCUjOwiGwBNU0Y5ap6kBCVnuLSyzdgQSUDG9mTiXFxH+ikT2ANDM
3t7qQSmeEHyIQ2I76U0N5fV3lrjE9Mbx1m8j5i1pa93yqywwMuPwHkXTdNfbfrDuUKL+KDPb381T
r73YkIWOg6qtbwp3NW8XRFQAv/RtAbTYONO/G2n2Uy+92yTDKZ61hnVXVPa8sqceW5ChBuxM0cNg
MgCUNmhjvxVoagIn27i+X/PmjQo7vPM225O9MoFurX1zLNAncYbhJ9oMuQGwFGVy3W1bDu2qnZlW
9r0FidXCp5oaWCoKy4SFRXRiVScJWiaLuV2Ta/C5Cko0ESg4a+WhMGbWuppK/h5bb7XIgOWUa6zX
5RpJZH3HfOanLlzYnM6C9S4D7ZrkvDyWVMduitrxmbSO1LqYu6ApjlMi030pl18Ud/FOJgZ23xh5
oa77As9v591ILep3QV7r94NbGFsO7vJtbkcWVb06WIcUXiSfL2F/CvQBj8hoLWtXtUbBPEtp4IUt
z0w2OIX1YzTrgkLOSe6Ucoc1hjGQE5b/DUjzzwpBJbBuM9oWkJD3LnP3rVWm2qaA283LP5Yn2EW0
CNpotDXNsdt5uUIEElV2t61MJ9j1In5HlApS1ksLG4id6NN1WsLEJjmZykd38hEysBLYJAa+ZICm
+b4NqmlPZ8QeHnLZvQTSus6WbGZqaPPJMnrUCfVAarSWcXDsi8Y6U7t2b6co5+zUaVazrUUriwAz
lQ7N+zKzvSGoq1a4RAY0LHgvQezZrCQqM4ZJm0i8rjrKz9Spnb1mwVmuRQK8uqJNlyoDhcRIcior
E3MB4pGrQguAmWTuUaS2di7r4SnWezQlVPse+8awvrkBkpjMzn/LCdN53lXPXo073mYix9ZpTn2I
nB3tCRag9sYOqL6WtSN2gukcUivAc44MgH5Pu8Tx1beWL7hubUPcpJpjHPyqiZ5cBf15ZvjcLPlO
VK0PdCbDptPG/qmZ9eSnD2gdS+M4H80mbnYAdFtwIRhFwVWNNI42SPdW0QZ7AXV0Tchew98wWuZZ
DH21a4QH0czqSQoHskM0aTzA5mOiGJCNrVvPPSN9i6/qzM3ZfxTWKWNugr5VCh+mmhzfAyS73npo
JyzukQAasNJsUE0GHcSqtovBY0YTsIbS/GmtBqe4aRCLnd1mZPYbG71CWDr6j5WUwLpj8Ic/8fwY
O7eX8RVkzFvmjOZj1vfP+K2i9UDZP8TJWN+gqCvvs7xipkG9CGYKK7iVkVTvOhbfUxykv92g1rdW
nZpPswsEdUW0HV9gbBqHBD41lf2Zd11UQHGQJrHzDh9vOkcNS4q1KJJmGbObVaX6aUVfGXFjQJ7r
Q6Nr8Os98S0XqNHWLoaKjW6nOX0hQO0kC/ydStubqYm9K7QP6Xe4pdmekLO7msuy2HhpMh1Gv/zN
Hj7rG9UmVzn97pUiYbIbOzQMUSTeC8fr1pRhjBtuWHIzWZhpIoMZX232kqpTY9rJzJnxKloBAYhc
rmz8qgfDsugW7cTm1HbAoK3U/DOJ5gm8n5+N60lLg3QLspJuNAlMuQukbnfrxEahxYE3OLqkfi31
yD9Dq2Z2yCSGaG7+s2p6kOtThVsIVzVvlA7GfNXbM8lyoTO7kIEJADUuV5mP9zBesr2VN41bLc3f
bRhWd5Ylp61ig3Y34o/qsKFq5SNUxJIIRMnOOt/7l6rL/ohwWFtlZubtRlm7e0gR5bEpvID5rhIw
OBf9WjfU3xoXBUGdIr62vBn9JrvjwAPT8UC2rt1o/aD2qKLa8wBG6wDYR1yr0agOsuuBe0cTQkBq
4teZqyAP9Zb9JDFnn51Ogp6kFGAVdLxSMYEKrLh0b7BOCxYDaAyriuEmw3ZBL1XFNzlqBcb5yF9z
6uAdXasWzz66POYNrn7W+QpAu1KX8nNmxO4kE3xKhbwxkrhjBcvZWWPD97fHKtmAHEOeCVfpIZv4
Buyce0ciNEnKs9MCKOlQNld4pr+VbWdbW7+K/eem87psNU4IB3xH765lNMy3BZMPADue/XtmX2HG
lA0UnXVs1D72E+YVXx/dXzFedRDRnlznIDupJPNAcsfJuEsd97VSg7/udfgTdqD9ti1d3wGEseDd
RYAJSYVBzyQ1/RjEjHo4H8qr2Fbu1VTpxqauAlCJBeYRft68A9q9HBJ17kkXBmUttTB/VCAppSDy
JVkxsLzJjNthRgi2cmwB3TVtFwjym5M7fQXAvki2zRz8GqIk3ZYLG6kwDXVoW0bsrq65UarVb1gJ
Q3eFgbXOZePsppweylftdNsDIMWNBWl7yOLpnqVUcD+ZGkKsLBm3ShvSjdB5QKQegGCDK+YUakb4
E3kkMGy/uhbLmsQxVbCVo9CPmu67WwtG/anyvXmF4dZ5KHyW9PRCLPImrRdrn7fvvm6rZBsRcKDi
p/doCa71IGDz6SuWnCCiZUViDfzq2qcob9cZILp75Kpr/MHNczaO1G3Qka/6JP0dx1O37jvAXcng
GxtSSsUOiK3YZ0L1+6p3je2QkQwW5oiCvR/rm96UcLaGtv6dVFH6isk9vmKg9J6qpsuPmmMuy/XG
hv+MqHGOowgGtmT1OKvqCMVwuqmCAvd7Mdt7C6XpTcRV96MOH4u5QbMxfMogo4WxWCuULESNhjvO
aLn5VaId2t6cf02N5W6Aw3J4WwdzmE4c//Si/FkWqXbnFr22rWXlPvlzGR1qpt9XDbu/K6BVAF1L
MLf+ODPrsPx0Z2dkpAjLOo9lDZ58LuzorpdCbnqH/EPJ9IRZfpGk+B4N6x73GdoQ6puOcTMDyp2c
/olMM6sKVhrH3u7l1m2G18F2idVBW+UU0fM5qPTaQ8cAhYMwVVcRRwqrdPI8xN+csKpG+NetrsS5
G7HmdG4woWct4/4wGZQciNJueS+E2BvorZEE9+mrWXKbBJS4kN0PG7aB+h6l8FwZBspvuIzbncBc
Jnv71uynYD9OSbEBaZjdtMTxVl41mKGbNCHORN0F2T/aJ71KVAu0Vge0Bms42XWN/+xWngF3Nn31
odqaetYhJpvfWYG9Fkn0LW+L8jf+AMCQytuk3gjabFTIK114m0ifxu96VDlHnxj4NofHurZMFCMd
49wjp9GY79jI2bVpnW+rZOwJBfXpeXI0YkgaTTl2u2ZLY3+bzCRfsWfh0KaC9wimIVtliGSNjnWs
str0xEbXXU4V3kIPFVskTGj/zA7fXsGsaKsSUBaFKpxHaUrzVAl6K1sMh2ls1L0xj9quSH/AHp/p
87AS5/YUsjzyDiy8+7W34IlUUb1kSXxrlz1vsmwHVmfu+NK1uvcL/btJq1C1f59z8nxlZpp5n9gp
+UpLlc+Ineww6iTyXasB9g5ddpvEkir33HBPbJwYOCtZIFc6nN9WD15bNd9YiX0V2Zzj+1FRYbc3
0bVVMMCjJE83A5iWp5LthmudqemvTKGaQ4mTHfpuClYdXu+8yp64Z/Ag7foX3LqG7aRAbYcSW/1U
dc9T5z8wIQthCbBsNsy3NCgeu1JkR4p5vTVKKAh5kYPiZ44YasaBXYjJumGt0q1oLNdYndfRkAkM
q3NxRG5QGStP97JrlWrtWSPTw36DGMOu8Kfv3mgtkwxpwMhLJ7ySctNUDoqp4ByozF7lQvOQc0WK
/w9I21lNmFNcfBi4AdjsDlTybAQJfgv/3BWmtUWO8uo6zpNtO+Ozxet6SI1Knt0ycR/Z6k+B3Cfd
3u3Aj8sy8nmcziZSal+1fvlLxQpVu/QGGM2WXp0St0B6IDr9YFeWu2YxgIZ6cuGXD4Lyk5VTUpI9
1OinEMPpwve3lkjRVABIOWmoew8D6/lNVaaYdAHSbvQksA+lrOGSyNLZAVrGWw4kfFswD9q4muYB
/bWntdGM5UuTBO5JmZz3qgQvTiaym9lsp5UHCPRIGclJrxfrY5swjhrDDn70dAbiq93h9sierIy7
zpMOrnwTk6oKOmYBmnnr+QYrRcehefklPDDBCpLZwE+nA9WfVna7ZoZ/S7+Fg5zB87qZ7SsVVWfP
SA0EPg3FFaKXyOdApkbW9NZPebIuayYpjqdDJxzLYq/Zec8MYP7pLrtQVPs9eFIF67qDjOr5cPM5
V0rBbcifhmxetWQpS9TTm36k1I/jDhiK0rgbi/LKtCL4BLH1PJce2JY6ACnunZuBsJDZqrOUEncW
r8kKIv+5rRCLYLDHVNcbPy2GNiiSqBdK3Eh6r7E2UN97dlMs5qDGGN3ZTsCifS6ng17K9AWlkEZF
hEhuaxYUkG8r8wqoHOxGz3fXbhAs/ojk5M3myW050zXhIaKGNdj19IzmKWlMP0QnhSEMHvypCTow
tibrvBG9N6cMPcOyr29y11U73Q2OaQJRPUG7hFtssbs4CCUoMM1+GgotW60/8UYwBGppivSs81aG
qR+GDkoWzBrmegcXyu6sx2+thXi2qG6wCWarUhshm9+1sws8dtynSQoV0xuo9nC0eOM7rtxRjHuA
y16uPS1YzY1Y5n2vlAdDOxfBBvL6SZ/K+36OTr6vYbZO0Iw0TDPvinzeNlZw1THAdZ2/m6gNjsXc
g50WSO5KeZvV1llqAqxtqZ44PA1h61wZ0XjXtjx9YSOeM3LHXpfFPBz6fghjSqFWVZZCbnRSEeZ5
UO2Gce4f/NhlRzydX2Nh1rtUe5N19jZb7Ovb0A4Wpwr7iDkgaE700p3vSewy5Xyqpr4/JAk+yTTj
VUmYpiGbDIr6WansseDMS3beU2GLTdMiGRk18c3Lm/e4LaikZrCIRGEsqcxzykCPndC41kR8zxHL
ei7nOxMu8tE0caF0Jodpc4Njwy+T51FTv7PeOmBhAL8cjCyA5D3bBfk+cwcf3qZIVvHYn1nTnYtB
7xB/GoeROth1nkfJ2muD/DoZde3GS/j6xjBv7Uy/aqhkpuspc2TVSfAwd3pCHRH3DBQ8G6FwO+bO
LtZN44BmVg+OmsRapRHYqKDcBMjwrCGpD2keUx1rlki5c1GsRKG6lwZb1dZOIugGbXLOG/2Ar+KV
VJW+HQymSczxFGjfNlj3RcTu0zRe1zXFu8b4Q9rdgYkk3E8W8nOR/XRlgEelSxT7YPLgj2Iv6vRb
1qRn1udXzsTYH3VJ/RgZ1lXj/QI1+1Lp8mTp8UaOt0wNNnnKZogb5OlVlnVUBbM1z7pm0AdMSKJN
X4Qrfraodpnq5jtppa9D1HlX9uj3J79jz8+MG+sau989e7nOipL1x5wd9pUc5lPbyY4KVWLQmjFo
a9MbvqUmvUtjddd5zXGo04X2VJ3aKv7G3meFEvMtEBUbYHD1KZtvVsCiz3rDklqmhnFMpLmIgNGI
ShwFKeGWXpm3oI4hjUtDLn1TdmwUWY1gfikDHWXJUO8nClsEXKu14ixt7dl1w3tm2qcZaTWSeqAm
SKZCY2BdO/rf6e6vI+t9aIsaVbDBbE/N3fXowa23i/E9tgOFeZcuYrK13zlIU8N0myMZlSNLHnGk
0ivjqEUVP4aoKrRTb0y+sycek7GRPcee3FAXVnCiXTg5E3lLrVimP9VaMDGu+FZMl+mNAbVsnvze
/h91Z9IkKZKm6b8yMndSQAFVEJnpg2GYme+7h7tfEF/Z90WBXz+PZWZ1V3jnZEwe51QVGQtuGKh+
+q5Cf/QG1BQsp32TiOkhOr6qksh4SATF8c1qHIYVY0LZ0/gAtBOFLDkGdqMdL5eOI3rZMkFw3M/v
wfc/jcJoDgau0pYKjm2RNzdU3V2O1J5u8hSbZmKabmhP8hloXG5FY331hX8rkQ9aFeFwcVIMAaBm
G9pRXe7b6C2dZk48Y7015q4Hfsx/LFbqBU5RUl51jn7cDEx6dPOed5bGvHijqAE0oLimovkcmf9M
QcaZiqyWSbZCI7eYMD+mszOQrNOBRbumK8+KkbzcmMMV5Y4FFp3ybOIWTcsYKDMlN9+kEo4/iruX
luHCvDtuZ6Kdz0azq65mOd9ilQkTe9grZ/yh/FRtKjX4HyR97k3JhhdxEIITf49Li74IvXxmeb8x
afh5Nz3al7oew9pCFJpRXHtdfGu2HLkbu1KQknT9yWg3eXUWLlF2IEWd/veySi7cVGR7XwyPuu9U
sMjqAo6zYBmCJrEngk0iBmrQmbe6QAw3sreux767mOrs1MqegbrAxmSSk4wH0TaO7bY3aKWppyqU
MllYe8o7Y87vTdfm/vSXtotAImpeBp7PoG+He4+ClTCpxhW36frSWv4bBWMvwu/f4BjX0PBEE1jV
XG3ZYGRAg93duIpz6kosp1PApG52cFBVn486LzZrTISyUfnOw8ywHtp9cmqRjretPEiNzLDbW9os
3G0z1IcyHTg6JVSYVgJcPKKgZWNYbfGRzp0bNIX5o5mMYUsxikMFRFkG7oo4rbXZoJSomtsx4eAU
U0zAWXLpfnAKvI1IkdrT24zEU81EOtP2c/AiowtSNTWB6Vj5QY7To1sb/aUZpVG4ehZSVLeiKHXO
57vCafNH2oYBhp2kv/MUUFySxPoC5k+GxuzJOzVO6qapx+c2cRbmD88i8CCp1+u5HihJYdO8K43U
vGcnsG9VTKO5T8kardAziT8dRQBiZESRiXoy16ndq7KvuNes5ZGp7du2qTQJ/Yyq1C7E9hanz3je
sAWeUzKOmrBf6nt7qZ3QdbPb2qM81iCQdsOppNqu1ujfaLl6Z6KtWElIotqkTvqKlbXalwzJtG1o
ogwsaCwUCGIPs0ATfUs3+dqW97RMU6Vq2dNN0bkt02GVb/yRvL6kBvymztwYjP5iYjQ4k41KKSaj
x7Y2onybWyOFbEMzH1Zd71aLp3dJMiOUnR0/sWJTwDv2L3ole3NT08aFPcygDMGtRWjKuD2z8sY5
MWYhQgrcloAghrOiFH1A8r9/WcS+AAmMRkwnWOfuE8upzoVYU/JJSKVU+XJD3xgqgNzEcGdbGSmN
bsZGGZGZV2T2FcKE+SZpjaP6xvyyB74vqnfse8euiq1rDBCP3bhu59L40c5wA3ooOk4TkPTaj+6U
dIDtJhbOJuD1oJ42HbNlC75gPJCaAbA043HmAcqYDnu3OIxibA/WBGYAuijdbep569mccBMnsr5P
4kjzJCOTicWWrsJj9Z2T3ld5v5zWrtFsC+3qa62OkIOjFQ31RcUgRQ+uHknGXJfepymQvPQZt04H
je6wnkfjgQY5/3JevfhcDLQ/RXOBnkDrbj+lLU3HgoZKBjdysho7jS7mYc5O5Jzar23qkLlOd8V5
SiF9txkcmKzGOW4KbpLsh5SjSA7HRnA7za1btymds9SJUmDYyKPCSpYfUe8QDTSVFgMiOhKBQnw1
ozea9vIT6bviZGj79USL0TknTpo+r0Rm5bvmtbriDzdOkLTm+iingfSmYiDrXPbmraqH4sXJhX06
64rTaRI1PxxP22+QZBINDDXpGUxegLyLvQLE1Nmm65JcgHzGwRzH4rLyOn/j2mYJgiwBU1McsOei
mikHHGmnblKFfS7v+5NuLIDzlsnbw0LbP7rStK4nvpQTMVTDWcd0c58zyd/6bdZ9xJNYaDilR2Fr
luZwJNvQ41tIXNIB6YylW4Nk9DG5ngHNvhwjKffWCtxKqWetp2AiI3+TFZFfbessL4iLaQ2Q/IFK
85RCuQvk1fQWjsgSNhb16qfrlGeXFNSuH/ZaDbwjHWmeUzO+dmbL+aKu/EO+mKyMtBHt6Y1wPnnq
KayJKdRBv+jdrtPQBx4N0bSSkA+1gEe77nMskuSi67xql08rR3yrJm53A0PrYNOqhznZLyrhZ9CJ
7LdUc3bn2p6T66GKrXPVx8a2TFUdZtRLU8MNZQcY6u1bPifaHFuhf2tn73V0ZHmweoDrdByPcQPl
ahkA1EK8SDnTjudV9fIZFWhDYQshS+Mqfp0MpU9M01b3qi2ynogZR2+F6Gf4GhZeCGkwPtAAaVLN
5/jAgLXXfmU8uRQI9JeZ4stEFud4ry5c6w2kaPUqUqm/an/yNlkWAbAJz70eOsVC387x1yyd/DYd
SrVVow3tF0X6lDZkFdBjA5Nj2dmudBhzY7b788LpceAs+qyQdndSSAfpxJzL9sdas/n4xVsSq7g/
IjfFwRCtDnTbEc/qO9Ehp5BZo3IPo3mpQZUMfAO19nC6e8klvNhj3rBz0jnJU2JGd4WfNQ9rt9Cn
GoNq1GHZl/LdiTXQksG/TgVMceoL1uEsH7qdsHLrnEppM6BHdEB6hownAu1+NQ0/vmzUBM2U05YK
7auuRtsh4qTt6A7t2o7W3zVlTUxW95M2lgl7GzhLllFY7HtUWGuLGS3W8ZBvGliT6xpZ3m7sRXLX
9w0SgdRALED1EAhdxVJ/FG7veurgdvbEj2OMcX3S4FfdJp4rQiNvOaqr2j6rvCh5zXJISDMpfsR1
ZWwoFKOAlVAwN922VtW+qFjWPzT3JFTuzO6Av5hgNSRAy4SsZpMaVb5vk/5V51SF9k73knpq3uOd
7q/zVvcBI7g4CJIrLwtH2o8qH/qDky4lLJwNNDU3TPq9u3C+6aydWVMNqqYCpQfNCEG5NqjVaI7j
R2GYbevlRbi/t2jraAeL43F09lSoMnpYqszKUePDF69Uz+x8z4Av1v5w0a+5hDCBG4ojIpgtbQ+b
FuLmo4nQ1+mCDrwR4c8mLfC0rHQw7e1oBugy4/wiVi6lD4Ntx3thOzyUaeVuZe8/uqnHm8D+XDwn
dtdd1bP3LgezOxc6ZlHoK5OdRRQPrPlTmEgwz+HeJATqzlkaoIKutk+ikd4ZJ1H52QJGdl4JWPOh
mowAoOerLGVJENVQnmudtYy3VGf4Wg93Gn0mvLqrH905yiA4TfgNIsIxJOcANXZV9xeryJetFVHD
TJ5RvpMFMXyCZKor1+noMTLVCQ2G85YTW3mYy958zr1oOl0SDZ2s0C7RvGM+ZJ2BkjNvbhnHmoDm
npL7lxhX2u1p6Vae2qJQszj4FTk0I2LYNBrSDYGWnKvjno+fIemke+lljPWKIEjavBZdFaqkrsPB
6zivNY1/ieg/2w2KadqA3Q4iWXwkXuPtJx/QKknM8mBTt3ZgM+7PJNtQDdOmxdlUa/qxZ0fcpmJx
TuZ6jva2ET1F0SD2c5Ib53Myiteo7fhlOyznuZrckwSb9t4x0+Qkp79z39RTfJvTLcJwoV3jMm2p
unAme3of6Mut+WzOnU8rNHnD04q+JkmbvYpWaPxuevfsERExp/1rio+WBmbZs87dWGXB4sJItbbl
nDqIfZpt2Y/da15HM1/hyDmC1vL3fLSqM5oA5TU5nQjzc+NpjJfifGihJYUjyrCNAJwMNQ1UgNl6
D+q3XK6ZMW7jsqqCYR3WJztO1DYplR3YztLflZ3f3be67Ha6s50TIjnFVrM3PKe62qF420xdPQGd
JIGTorIwzPEWIB0YvLedDd2Z7VU0W3mYCiniDYQ2/3Zdd8FQJiyHlriCAPqI4etCZ0qnXUPzIDKi
E4jwrfaWhBK3vjptVgKQEm1O91OxtKExLel9uiIaU7EY3z0wKkC3tTttl8YN1ULvIKAGDAQzRL1x
Z+eRv9qfuuy5VFGL9wQVJfdzmPYySovXlVy8B+3kw46FITrvxik5q5B/Ejhh+6FcsT0sVj68Wugq
Xgzn2Philn20LSfzceRT0ciinNsorrs7X3ptsmm6MQ3bem230UyV+Wy04ULL1pk1ETUmBrHcYZRc
yJBz7K1aiuqmsxqkUHmDJl60XnYV+557IA6N2buzxlOEC/Pteqxdz+Zl2E6i9S96SKkfHJU5YSY0
Vr0bc4LlLmo4BzWZAtoexXCeWdNyxQn6QdnlsidM1SU+OB7b89jSD83KuVa0axtMtvc6pa4468jD
Pla4bxaIxxwqElUkbsNbMnRe3Kx+96I4AwpIwVcJawC2kI3+MsUK9ZPTAs2iWg1bzqrUoSecMUjr
M9+Eiux9WbvZidP4DdY2KMNoI+LYpgO8F/RaliX/uShq47C4cX7w6EeiJLl6MfSCBnQlo+4g/ZSe
6HRBF+XhdFQNBZ9d1VTwr+6Nncv02opqGC6VdjdLv873qSKkroGtw3IHY56Uud7nmfFSzF4WoMRy
D24DdZIfsyP3pCbGZ4VHTTukqL21YxYHQken9hL98sNiuPW+c5ripCI3M5goxL2iZPLZRbpylpaT
/eR6yFGyZKLDaI4eZTG/pYT3bfOydEIEEZgBax6pLrKj2zr3DqZ7qVcEFzJtXgxZppet11W3bifZ
KL1ui3jFWlMD32CyklGP6j2Gu9jIwrhaiyYFybffGhbkgN39K6PVdnD3cXtj2v1wKeh2vpS4E9dR
xmFE61/oxYl/YRbLW29Z1dZqJsDePvPYu8aK3RbcrigVR5yqtL13vyWJbTMo1FTJSp3uYpv9bk5b
cvnAKcLBRQTa+6jxcFo9TTSiBkz/hO6YkTK2iH7lnWQJvKLMN7luUUA80z63fomlru6FiRBDDaN1
i7AjZyEaK/B2Q22MeMp+uEaP7RPdHy28iBy3iO5RaRriEI1Gc2r4nADDyhXFzVDMaInAbFtov0i1
b77AH4tcpwkbRFgHCwoWnXZKWDYNcciDCytAB8v2oWtnv+BNheIymusEaO5k9kV6WOiqhdyx+nNy
wRkpKSSIel2eFYUW1KuOEbQ7hU53I8K7PWIvdixdRKGPKvG+Netiy1S/HJooiwMLrP08Sc04QDYB
4jNxwJHwKZvfQ2ojA1gi9nMfiNZ+84YIoE1ZBjBivhr+lZ4ZxHWc+Xsfsd1HC8fKcXxF6CSmPOyn
tHpspVOjP+zAQoKRMsytK1uxx0VgemeJl0PfFZwtLvKlpwACw2WK2ka6N6ka2CvJeBg4TXz1wPiX
o5Ol1EXLyftSlYdEbUS3E8GI7unukpcmThzmqbS606WgqW/0QSWHbHnzUaae1gZ2wiYHPpxc7DhR
NmUPE8IpAKlJnw1dgxAi8mu5o+1VbyzKgfggKICNxe8uepSrQPEZcoO4ULfKLJGUGJPYZDNqPiYV
c9+I9gnwkXLJmtruNUZCvibTB5ki5ZtvzsMlZ/DooQTX2vvtWp/Waz6zn6UcShoe0C6Vy4ETkQgs
u+xO/bFKtyMHo8c1Xalv6KeBfcgiTDOR8Sl96f3p1GnMACpDyzELd9p7lFBfVlHlv04TqF4n+yhU
5dwdkpxppp7qmfIKGI7TVU/igGVjYniVzDM+RzR6ruL9nMdrBjzstc+d66zhzFq4kRllWSrFqMhE
JJODy/hAYQLspm3RqkzF5PA5CGNOA6ev6yfg6vJ27pF91Ck9ty3xR6Gy4XpXiw7DoRr1+TwipiRU
FM9MyZnkWFAIB1bIW2Uld4nZRnuzyuDjSusZIc2YBTmboWd30QHFbL2vdGSdDI1CweXEdrapY+nc
2RRhni8o5nj2uzxoeY/Admg51ZSN4rCSIPnGLDeaCOEfvOTZZeQgPuWQXD4OPokDG6HlAn7j9Uno
j7a+Em0Uv8T8fpB5E6fijM2zbiJiPJZ0PLVKKoJ7IoLDxo/p5Nac8wsXVCMmmY1EK9Zc8Po7F2n7
lvxMeMQ4bd96KjM4D2T6ECPcDixjGc8mi07ONtX5SeV7/S5d/flLuRHvgs8Oumf7aYKarRxyVdOm
YfQTnpQ+W+MQOw7rcp8WQDXx8oN+VRWAD7+v5jiGk42y0rTjJQnIbTcOjmxfEtFCWyIwChHuUImA
KEXjEaF/A5wUi4dq5w/trs0mzqE/RzUl20ynyb7lDbw0sxW30WgOT1DGRVjnOEJXDqsn5uLJ06Lx
MpQEUfWS58XzZJkAnQlriKMwdUT18mwY9Yo1xnHRhveUp6Hnvc1xMGChL3iVF1e5OeoRympkPPI6
ONSj/m7u+ketafd/2YdG69N73SxYk5LhP/af9eVr+dn//1CaZv5e/4gL7v9e/3j2OqYU8/7Umvaf
f+2P6jTl/cYZRbmmcBzLMdH8/6s6jd9xXER0ynQ9y3SdYxLtv+ofxW+CQyrlk66gBpcCtf+qTrN+
8xRQmkc4EB4aj/6E//hfPzVr9d9+/e9NW5Z9NF1+N2NK1/keMhKxtOm6X6J9XGhGR1KqTJ7+IJkK
LEDFPhZyPzliAyQdpKk6Sa0KaK08rcmwByBGoHuj4wVJ5kQmEmVGr7GoLcrpBbo5L0fx6loV9cA9
b34pzuYCQoD/A0VQPeUSjbt/M0w4lhIPAUO3z1uDWvPxwcoR3bfF9TqgubE8GmBUfqWNagmTo2Af
BYbt3Qo3+ZhlhMpDjfy3/iHPqve2tMlhsNBCJ1l9zm29lGzfQ8YxvfS6dpuVRygpaXexrc6ykUqL
1RfmNoslZ9uVi/mLh2SxCP2hRbYQ959G19z6hd5Hg0fAEeVDdZOecTL+wVZ7FS3y0CYfsEbwH/Ru
mKa6WzlkDNlTlHyNfblfK7KPElcEx6ba1LpCk9CEzji9uhFqAbN+6Bzx4WZ6Dlxb3FjmGi643XwG
sXtyasVF5+bm6ewuV0vcGWEfA1X4VeNsvGXAFIFonzJ7K0Q+98isfLkqW59K6TZP+MMoZ8Shtx/K
rnuZcLhPYgZ2G7oOBCOteygxV1ZBxMoO1062NK0HyV6oljwJa+29a/Ke28tR4gbhHt4zJ/enTubs
0la3Z+Na159LlDYPOB3SB1mvDFi1eV7oQm1rcqZCWKw//Lb/aG25SN+7uq+/hu8rx0/Ly1+vQMcL
/ecSxNvx54W3r8PrT78IKyDu5YYepOX2sx+L4V8v0vFP/r/+5v/4/P1fuV+az//9P3FHVMPxX4vT
uvpplTjGcf3durK+5kk/vP73v/Rnqaz6zbZcKTzT/aNTlgXij1JZR/7m+Mi+lSM9IS11zKX4c1Vx
3d9QkZj8JdYdXvljOcqfhYwOpbLSkyCsmE4k8f/OP1lVfk45UJbre8JlsfOgNmzHFN9M5FUCRUjl
OMXFmLIQDsxR/mk1aMtgGwzCiykHv3RSnf6zBoA/r3v84ZW0LaW+VymlCTyEjsx110tIbpOsyB3A
UHMQupC/iKb9edn841KoyoVwWIg9Ug9/NkuXa5Kt44C9bsKXeFrY46MPVLIT6zptKmFc/9u3f/3H
cvzvy/TPcQt/Xs2S+Gg8m8Zf/1vsgm4ximbDvOzAaTAKKQudgwmTgZqJcEqtdcAAZAWlrO/+/sJ/
8TFZNSwTFN4XvuV+c7ynGiII/yDfpIepmYZc84tdYAnTbLVCPHb1LyIN/up6vqT70jNtyIHvoSpd
sUiCOMd1VybFMW4uw6+7jbt1upGcJf0dmPXwq4CQn/3ux5vr87w6ruCB5cX5HubVy0FmHkrH3YT8
DW0Qqimvtrz939/J71eRiCTY6wVos8W78XumwL+5643OgXzolN653tHu3gzJoc2yX2XqHL+P/9rN
FY+IqbBUIVJyJKOF9c1oT8a8UVUSWBqghn4Ku2DzyRoY3A22c/MXUXN/dTHbVw7zpuW7/+2pHBIL
cEzG886MmnQvk/khFozbdiqe//G9U47JjCIAenDof3sKGzurqpTT1s7w1VXeuB1EgD//4tH7iy9I
IT49rlvsuCxbP7/RPNHK83qa3SPbebcdNBzxGnm/WDb+6pYRLcvdYlU0pf3tInYS0QxKxMXO8uS0
b9YVWNmvz4s4/VV/Hcv8vz8J4vjC8jg4PAfMiSyJP38cKRYNM1EUZ2ZYbX7VT/jtH7dd87izHOdW
B12q/z3WWgNTIzQt811CTY+zWVMz6m5tmVnDDaF+fXqYB9FwXloj6IQJ+Lt5RPUUzbd//1x822eO
P4agjpgYeZtPaJnfFmEDhMhbgZJ3g6nz9YkMptbbJKnoa+SdudccVJXYLzPyUPnPHv3fr8yyD9rL
jUAV8G1BdtfFLrp1LHZR6hX7BbZmt2T42Doervt//iFZNvAEoGfFqXL8Lv5t4XASjOeVb2IJSjBq
GHHfvbOmjSdT5Kx0hpTjbd564y9Kj//qzh5fafoibFuww/180SgTJiqajvgBBv8qHNXA3Av/TQrc
gBJ8BmRHfjrV9uc//LCsv9I3UZ17fJ8MEd+uK8y6ys2mJIQtHu4MqUhCS6rquS90u9f9WF9XonB+
/P1Fv735tiss2xSmK7HBWSYTy88XdbRwVOVb5a5dLO9GD54utrZO7Wnz99f59vL/cR2mLEl3nG0y
av18nSSNfN1jcCMIJI4u3Hxyrhuh3JskJhzk7y/1/fvzXVu62CE9h3vJE3rcZ396aHBxIDFFGzkE
w0v6i4YxYX/LPle4exysXWwzfF/EWfjflmR7dDCY28LZT0PiqtBc1up0SnIz3eriaOzNEPagMOpK
0EBVZyLfFpWnyRdEQlNttIWIje5Sg5HQdnDBqoYils2cxf6TM7iOEUxJT1Ih4fnoLSfPjUnmc7Fk
kHzQqucaMc1pgRAs5jw4z4Djdo//yZ5SMrntQQWNUZWHTONgDfq8s0/Htevdi0KsBhEFooQHcFIb
DYgh9Q8F95pu0kYkt1Xuy6e8p34M3t65tLLBfUeaqD7MyaxuCiMbYWf6QT2nuRsPQLg2nC6wHulL
3YrCOEj6GJFO0/KTbOVQL4chqXt8DLFj4iJm+77jJY4ux75b+23vesO0SxEA33RytY88wuTQv2RP
8Yk79C6aS2tI+61jISg8QA3AHRu5r+6LibCCcPbaWeKBj7n9nBFm51D9LlBRvrG82WCdT0lh06m8
VFZZbPwyx8XhxKI9zVjaj7EwgzsEchzrButFDKWqdFw9xWnUl/jTzOKmVbIhjA8v81ns4jkgpshd
o0M0yNjetN6RsOhIawC5NaZiPORuCzfDnFNjwdKqv49yYuCr1LOIPFlIxN4U1IrZyFdkNh8wBHsm
xMFA25GNIo35pCxOVGwAIbd0LOU7XXjNR1S665WbriYRC0tno4rJm+KiAfy0r9EBaFJMMSsHxBXW
w/mYrtXMyq/h1/XSVdWBrhrrY01l3UNYQ6HPi7BfhJVqBCmJB4wY8wyq7TBV5KDGA0f+LcAkRgw0
VQghcheHCNzHpLGXeDamaJkM9u2U5x3+M4wmX/6UNR611R5UacL8+BxxwiZBuY6b7LrLzPmsdQrf
2NtIkGUg3Ll8Zuiz7H1NsEG/K2v2sEMROyC1C7U01caRPT/hbOsOpgXj8ZHFjNS+tAdvPYGnQz8+
rKQQ1LmklrerW8PEQ0g0eJCV7fgONW2hQYGpqgKsQuKskSJRu8YacyuoxtG84cfJsMSaPfXKUTTa
BnbA1kLmJFektF3bNDEilKY5usSlvlori4pdIe3lBRUb+IOI1dyHpPAP/XkeLQPJt2mLptTAp7w3
EUxRNWW5fR3GWVOWO7tAtHmCwGgYNgJ0Ib5BFxw5RMo4JCtJa8nCnCn1DH/RMXajHrFdEyJUECfq
u6CrVW9Wp5G18Mito4/rY62zwQD09jVLip0oSEwk+fB5eJqmjTH6nbVJhr71j16gOOIM4dhuSXY3
6RzB4jRoyFdziN+6Dip+W7aFC7KB4ATPdYE0f09ozFDd+049etupyQcvdNYpMjHQeZbeJh2SsU1S
KKyC1aJWwJtk/GFhKXQftNuoxzSNTVxfdr58GP7gCnIIzME56deFPsPGm2uihuy0P51b5boEWtTy
OYLVHU5iUmDjoFay+0HCRZFvJ6PXH2nkVjZivkKSGpPmcmTlWvDDqHYkBUONTaR3XrGuPxwm//Oq
NbFTu5VIPJDzKq7hys3Y2WmzrIegkm2x75bFSEIctAsEqzSceOc3yfilp9mwAiiH/DISbtns3L5Y
P5u24o85YnQfyeu0QNvqIwTV9DZSXaWG5HXyk/p2UilaFAulW7chJAIheS6rmvwWzEHLpnJkh1y+
QTuyb2SCOiKOfGMK5xymdFNh9fXBmTDob9ZGEYjWw+cfSm+2otDgNF3AGwmzCHIqaE8G/fuj1pft
jhSQoT6J83ESW4HUC2oHidxIPmoZiVAkTnSNYqt4n/IZpeCi+GOtmaF6adecpMXUcAabXWpwP0dT
Guo8dl2efEBs3w8JUZGU0QMdTCHfBb3W6VKlAJDdhNus0KOEmkHk7uLfiQd5sFo/d/cL8y9CjVqT
sEAwKFaPdWE9KgdUDrqHwcxLQsyEml0SZ4uqemo6UpaKrOQ5d0mv2hKAWV0Y05C+Qeh+cFbQSJkj
84r4TxLOUjwL9locM4CYMADy21u7ZvnZ1gWttPR6e83z7yALKQURbK3iUMudzXuUAYwK/EwYJ8+K
BUnhni6CEWKrnE4jFEnnI+MYC0Mdjq7/SvTaVe+WfliV5UdlYCnEXomq1xg+3LFf77TIv4Sndokp
Dnbq3RXtWBPQZT4tuC8SM39C03JwGnHrxnUdmO2xwNnLsgv8+DTYrTgAvYIYPLEQWWO0523SLWfL
0TFRp7xaC7tcoFyjwikynDq4a/gIau9LUQfFVHbnHRaIR3sYkq1DVJF7DAYixTPaYCaog2ZKR2Qc
gM2dwl6GyrA/zaiP3oxVvDOalaqyrkyukLJM55qovp6gehY+Og+PxmHT5Z1Hu95+2q3VfMi+HOcw
Q0N135lTe1qqxdv0Jae74HgS2/fSQpHi+u57v9bkGiUmz9oGRYi4IzNsuHVKmzk29Zf7FAMwLFAD
4JXxQfbjpM295VfZldPG66PTWy/kRKlzm461KzQEaRyAr6RPcRPDbFuVV1y1CC0M5ildUvIzDM5H
K0sAEqscI/O+8/vEybgh0n/Q00JeFqqvxb2VI771fBoeVgOtM6a2u8EzUd72s7ilH9XFYhAt7Ymc
bFjXVNtfBHfJbQyvFZowdVCQ5nad2ZUqJKdjYFt4DcOuM7u3iFE2I6Csj5bAy2c0r+vUmaGb004Y
VPyPsbUjLV7s3jbJuaeocSOh5Uk16nkbat1fe9IicAmz2qXB8POWwcnpx6FctB2mdJ8iVRjrIkOw
0S6f2Cvn02VeP2sg/7DWxnARgQBsp7p0gePN9KNIF/ezn7wBk2rOYDEm9eNsSedm9oBDjq8Ij1tm
Sn1KsltTbdrOFs+NOY0nvnbML+pnX2YyTG4Eprm7ZVgOjEdFaBmW8WWgYzmv/ag9Wn+fEvo7fjju
0VE5DtQmmrHe5DrG2RTRaX2p8+okw5gUKJqLb1r49pW8AaRqOvZLdCze1zQTn0B9Ldz6nIkwH9Qa
9irrt81oQA6OWiz3ue9gxK/sOLQdJFkpzpLAtBIcKBBC116DedMyUYvl2qpuZaoPvrleeQbGrw3i
MHXaujWShTiS8rNPlopttDbo726MYnzViHCnY8yADplKzY2Eht4tciJJUZvFNhX2Tkcu7gORwgzo
ssDB0qHRJNUANpJhjqgKdyY/ey15ZS3S2FqktNtplP42H0lqC5reFG+OE8nAT+bHaJT5XVP3hFfF
jb+ctiaOBD8yyZbRUfVsI1C7H3wkbV6GDXrJZ3mdjZV9TzZxemtmAtsoR3lUUulgkdHBdHuVrjC0
ENA8VKWn83OHPW2jumY8bVCq7tGk6a1cETnPROsRlzXwyi2Z5R4MOPMcqXDoTdMS8JmT3UxuAIrM
vmdeGaCBe3UMTaoWzDXlWJ2acd9fMQR2gVuWPWIqV/LFleT/MFwbfbBgT7/O8Jc/Ok0/28REpceo
MVmgVGja+Tlda9ijZVqasCzY0Hfr+n+YO4/tuJU0Wz9R1II3UyTSkEkrkqKZYEmUFDABIOAC5unv
l1U9OEfVt3Rvj3pS67hSOgDxm72/7ch7prkbTiUXMlcSlwZ/nNOuPDWo8a5nfiVEdHYudhSBmvto
DQ+jYTib9I1ijzxvTg7KLxDZhgJhzulDYNc8lj4F+QkjmP9Z260pzjUuavfKhVPX3cI+G0fsVegO
b9w6CjZkY1NLxWI3QNq4loZ91LXUH1HFkVe0wn72coGRJKKwBT4CsHxXecU279hkbvVhKzqPP6/2
nfUiCgAbwGeAkViO90iAW2rXOgCKMcfddNUFA7rYOOrzZ8gA7fTYESMJJkz8hNLh4xRlK+0OsbUb
Jl8cXLeteRtyfImpcX5Cv5uwlAES+sJ6edi3BCfdz175PiF7RMpb3Rdi6nZBkdsc0pRlu1ASubab
kYFPeCY0CmEs7xMS51xiVZsouJJVxsv7Vk1Yu63BbY7LvFaHhUNW7da+b+g3wYfUHf1rUwiRgqfg
QRsw8EC4Be0wt2+brXyVQnrXuczwXbvlPqD4uVa5Dm9Di2gPI5rpKRA5sC4PahLW2jpHlgCBy1R9
g68kIKxtVEUxPGi16pti8qo9N4/z0Nc9JJFAB5136C2J+TUO+PfeENz5CyJP4fcnIyjttlJaaH4K
KR/oqJAVYDlPGM90J9w1K2jdWZX3JUaXHuTI0Q1X+xOl0vrVd6ucrsShO/IFLiC0duvZ5fkUpsyB
9IFv4Cu7BqtD9WZHmOLYcGD0gcXlJcQ7gL6XyotpIMFVXVEahke379gktn4rj0GZ3/Rl9OlsULlG
J771mrV2kkWZCykPcuIpLMRrs+rxBZCXuYuyyHrIsUVhRaggTW3L92Dp6ntt+/V937XLD66sr0za
cHHivGiTUIf5DdC/4Lru3GNk5eYL25GrcC5gt6yt5LtFB2xd2Y1cAQO27xi6LucmrmtbRS47DNve
HrOQ8VLiuJt1LmUUn1yJT8vjobhrmtp5pXgonkc1ob7rA6bpCQwkqfdln7EPjodFPkN8jIEqrkbi
Wcoqrlgq+w9ORrwnzajTiGcplVRNgYEZLVG2vF+sJruK+qB7m3Vn5bsSGPqLUNgakxkF6I5NYvaE
q8PcICeFghaHdRjstY1AKHdxKgamEi92s4L6q0Axsdat6z6dJ+vN4++fVBv0y25W5ts62C9MmLyD
rNhIE5TOMt71TVo0vV0lM3Ukzmx1Uxi8ZC1kDGrLNly6xKLhvuz4rWcxdvNP6KfFSdb6dfAnXLqR
yDDMWxo+EpRFFAANNcdPHfc82N0cfRm2uUUvL1bfo6z2dXZgDty8Y231XkcZu2ShwQjfd6z8v4fL
mmHEuljGkm20bBKyCEQ+SGNhCw+b2oJgwDM5jYr2J+TTItG2FLeAAKL6OjBSPHbq0juAC1zfWfVf
khgoIu4yWDPmyFytqff1vPovBWFNtBVUdx9WJD1EAKv66QxddQtVZv06+8Z6cm19wa8IrHitP8Ie
hXqo8OQ7rTlawsZhspVNBHihxC6uRxeYB8HQhzzfsByFjYNeaIowo+lyE6luBC69eMtDik++DnRy
w7j2UNVI1t7XOb/+ri6Q5pXu6MAx9TfXQbJucOwQ5jp+nSJJqb+0OrgehjB49fIK00c+dYHhiR1N
/X6YLJ/fUy5Nk5ot7G7DpQcQyAWi5jRWNTBDDK8i0Ria8Ki2U/FtAicMbw+uzgORnWAaXUhJFsWT
jVyiBgJm0tnerM9i4KGexosOSHyYGaMkCovecxlbiiJUW86UQjpCYx/M6Nn2PD2kvQ9xrX+Zl1JB
KBpgkexCbZx6F0Wh/UtEF0PWNow2Mu8h7AKwxVmOOb9SVpk0iykH6jvqr7TrvPbISKG6mEgvcE8V
hvpXxp54TjNTK4zczJtuW5axNyUh8tOuLEOe6hGCg4fY3So7hd1lPwgTl1gvgY9guOh6WglquWW8
iReJVA8jIDsxZr10hU5Jc0KQn4d+HGMYzv2OfL7elDz3Vm/a3hjYGAx78zACCHAnPFyZvxjYhrnP
92p8DG0c4NuxhbGKYBmxNZV7T5h0Wc5bzupjauyLnFGxTfTWjIiBYeUy4dbCpt97q2yu5nqyh/2G
7nGierT9mxZNfcwcKpweJUcVqSJ8szr1eNQumJNDVVGDqlCcO+Cz5T7sAV0hamn7Z6UGbNPBIphU
hfgBvxub0W0yeQWNB6M/w0TbVcRSosHU91ZpcWi2uuSJBCgONXRXMK1IK5+cL0osU38U7tTxAF1M
bXaLmfxfrpb+Wxd7eEMHHWP4tJWPMyUQ7eTvXNdabz2cFETADG53H24hJAusovI7f2LwC2w7pWaG
1fvdd8bo1+Au20Uy3ywHV2BG35UB4tnjGlc5jd86BF7SsHUk4rhwOr1vg5mZrbQYvmGSxH5yiKfQ
fVuhKJC9GAjLPwVd01MjrgI9Twx3b+UhOa2Q2zp7vAzBmG7AxJFmz2TL3EtEMtFORPECWyUWILM7
1CfMq8k4i9KeqojbvhEdrdpgx91VM3USLAy14mOOtNy9CqDqbTC18uboZ/jidtvS6SmxW1GFDxj7
SPUTDLcU7OCWnVTcFRexp5PD/1TwKD7CsPBf+MzxUxGtFSWW40oIvkXc99fAu/hYEe+RgzPUlXfG
a1EtV6oavTery+nqR9rYNzNSZey3LHAw5S9T8BSVDnizTiKt2GUkxK/3ksyEbqdiZ/paWD2wyyAe
G+/7isIM4LGI5/WWqhefa1kX+udiQ9lBPIgHI5mtOPJuRs2IHEcAiVSQ4hh9eSlsCmtAhou1a7WN
y0u0tnNVl9viub+oUgXpGVZR+gOciGyBwPIgq0Cq4hwPOIM4M8Mwnts97guMFvj4WSPCrqj4WoPd
5oetkKe29RW+JqNVu+5m2GHtQ8RhPCcYriXdtK5o2R2rgb2nWOqgSY+3ygKojLsINhi1Pew2V2+p
7i0XfnoLE+7VcpueUM6LY+Moq86EuyleVJayMhzsXcBcT+PRsiKTVlU3UXHzsOaTj7YVJX2pYH8O
hvZ3Z6qL8Q2Qdlhm57qifN1nnZLLm9GdDWlzrKKSySOtZpovIRNqR5DMtmeMa6YaFKEG6+l5Jjjm
7uy2r6NXztQfYCwKLv+yca5yAEc5EmF4ymfLsye177St22+cI5N7dqq2/WFsiUhtjQr6tHUmiC9l
JIyAwR2wNuwWTVV7rIIhgqnVV658ZXbQZzAJo5pit11jXNCuhXnVp+8BWlKxx2dMYGT3s/IGLY4k
Ezb+Xi+1G7+XamCRWnX2QH0FiA8TA58ovw6acnotS8YjO+GhxqV8mrIiFaIc67NY4RZcmzrzQKuH
l27rfstr7udIZtHI7Mr3ntHDqcuXDT1jNL71RXt90CYg16ELZCpbXp21H73zbGDEHjN7gRzhlQxu
eKjl4bXw3SXcF8aEkBlNHAQPU9XKL8x9Cx7H+TIIcbB0Bq3Vl5GMuaamuUFP3cZOYtCEz29ZIyx5
4/nGmx48ZgrVMQgzgcJQeIhlNcjub1CdcYRwKVkBIzMUAntPluGvcp5sJs7MNmLrQCFBSOcymcBL
DdeJdU1qfRc+dkFY4dUfKkrs2Q7YhltjicKvdZtI7JlnF81OZXKpT5pbcsTFXevmNKMS/kXZXXic
MWjsH4sZDtdH0UiIkVLb1pKi62jafSWWkQCCrqKdB8gfuuqHIzO1UuisWJSYZYoLrCKHUioMm7Ad
+/P8Kdoon9LIXreVRmLu+13udjr/ib7oYoxr3eEpznJQyZDawb16VQsYqm3F0yZB2h3bJjAL5CYZ
DkdQRXhPu3AZSyzFFtge7EhlcRXMY5UCUiFyZ7CxrCeDtbkPtae9Jyy0IZRNq55+xBIR03ljcwZv
Cl/0g3bNzPmLHfHJoxn+5js56alrvslfroUFIPErqcUXrJjBF5yg0MDWcYjj99XFRPnAOHUGgu50
wTWq+247x16o5cms9JA3E4EC1UERaxIfXRzLoEVWSEeI+FUZ+fddVainRYbGPgzuao2UlX3+Nb6M
hGimR7x0ZTb9YEZGB771QM6PS8+A5JDxtGzusnyStPJcaQa8/oYVO28239sNXN3325D1d9RhNa3y
gKMHWxji2GNhrcF8A9efEx6tEGlhbiEAjkla2b2ddXSfEa0s92RXZp+ULtO5bjlcky1ScsXU2efm
sEgvf5JdzMkcNxb1oxhrpuSd8IgM3KhO900nq5duKNGYL87WU6RMFsL3BSAZ0xybgIQKbdsPTeAB
aOYcRMbORwJWtKkXZKI580ytnDu6YrYiFqPakRvddg/+uNS/LLgrOWTC2FdcltgwDr1jmTod2P3a
V9VaKnXwJ11jVwT4oEkJsvLanPSmeKuQ50ED3LhNSdFfjiZc7ithQatZWgLiDmFRdO1TM9mwAnus
Yew/1syddm0895BtnUa+1U10AVbULKnhS4S2ObdNTZsNuhfMSOX4FQQmZvAEmQx++REvm7bTvmvi
jxqWs9hb1Qg+FEO0xfUX5W6tuOmyYr6TdoCdjrsht85jNTJjw6oR/PQ3y8cowN+XaWb1E5yiEWxQ
4sKIgBGWh/X1uLIzTV3LXb579VaeWeRV7NCGyjrDO9fc8vPSvVuQGWmgDXNrysI5f7Etbs67OGdv
zX6gWnGzeWxv8Djlwd5mchimsRi2UzGqgFU+XMYVhsIWi/1Ug1++6fkgVNeuR7Y4xXDfMZTJwaFB
t3ARIeMZKJNytYPxuBhJeA5zZab+s6XpoAfORCjJUBQ+UGmzAWb3wZidaQ9zFFacwgKkpLaXNled
dR1DbZ+vvYwG9GqLQqpDCRu330vM99F+iIguub7svxF9loxHwRsz7VusEDgoaTgKkPBoaVZP3jzY
iWkKsGlqbn5ag4OaMUfOiSejy0uT4MlYiLzpSqDMvqRC7jER32T0z8Af1olfzETR2gKEXTxGqT5F
9qFldwtqhNFrCMXJW4kHwf0qdjzkrDcSgNqNB0izyeuaVff3NZbQ2trYbxloDeOl/mIKU+8LbQf2
bcHhqA8oWDdqUc7eLw5+4IgcASq3lNyhJjhGoZvHYKl4mHP6a3d+UIbEy8QyZWe/k2fkPPcTx5Fr
Ya49BZsP44V8ECU4sTa/Tceyqkcwnxormp3V4ucGCsg7VbylK9V0zleKkspPSfnARriUfvbitc5a
pXzXl4Z0q3g4gFTyJnCImbfuo8pZsxOeX29NVbHYNQEYVsuwMLKLfDhVXG+vIdt3kBADQ6Q9og4Q
TSMBKwEOETuvnoowxFFOdqED+baAD9gftjnw1bd5DLLx0e+s4gZSaaZvJjdi1ra56GmSDg34cmaA
5H801WKP6aWYzK467bFC6KghzYGwCT948ss+vocoZea9crzhS1SVsFJDrTQcP6Vt4OYKqy2b62B+
rmxrnY+5Nfr+dS+8KDsJ1IHxaepm3iLlDSZgqiccMxMNNN5Pe5v1fdUVJW9a0snfGYVfOo2rGVwB
CxKXhJFsgkCN7t9m5Lr6UYuJrAlvwHP04TGcsqH70F1lOcGuBitp70vYy8MbkoDhY8kNRgO+Rxb2
ZXjhXG1Th6UuK71P2cnyeePXW2BlwQ/2bvyAe3ZvD0BiSVjdwNwFa8tEN5pKxDJ+Vk/HwjAJvMJl
FgY4hnwmQHt3nWFbUmCH37vIwz4xYh8Kk2WpCaAgtqX9JrEZt6cGxU+8W5WeyiM+oLq7dpRgLL7h
nfevN5l71kdm54NN7JA/+SsTu8wNd55eu+FruDkMiW8QGC9L6mmsvF/DvKYSwfEvF4Ip8GKB2Z/D
mv7Ldop6PucbSQWJgfk4HaYw6IYrvbSOuV4q2rx9OG35fAo400yN0MZzfmY+D8p0zt0KvphRdnmF
x38GVBFF5aerZhakEPh8pMpL0AfnmWLtB+RA1adFp1g1qq73w8cJW57/FA7zDFwIc3GesBaofhok
Ei7rCPqw6+ryaiMZJYBcY2Yw/dzN3QmVyoR1ful62HWU6AE4f3++7pfemb7MjlneWf3lah95oMqS
wZiOEb6Ve7+GqhLijltKvQyLsV5yP5g/wrEAHkLvRVlrJv0dMVOpktkNe1gfvl8/Gpd6IA28bmY/
EG46T0PNeCLJMlZnSeHYy6+gLzN55DcOh6tS+qCfmoW9+G1Jv85/2KqMM2q0vQ/KMOYNrc/W9YZR
J4UTcpuuSLiZ6zdnFfyloOtDet1H+KTXolhyVhF9BwWtUk4JO5MvPLhZQ1FGUNYtG2OlG5GJglas
dzC4hMxG3aUwF/dNPICUqyeylKKu2nDF4NmdjqL1PbUHcxW9deQAIFEikGvcgeIhoycQjttQU19S
eFaAPuHJkhIyAS0YB10BXyW+QbUd2CkhSMo+UTRnbwwaBqqCStjbPkBQ+CPwa8G+dMYySOBTBoe/
qofiECDr+jbUdrc+5OtK4Syw1fQOuFq/W08K6/p2hk1VAe2IRsoJgamYJSloEHmzOk59AZKE4Bo2
lXlM7GfdniUj9gv8w3hfYujcwPO8uDnz65fxTuSSc7vK5vFHAQi4J8+cmjZZumbTO1XEukY6isVy
1xSMB3eFoQqHq9iBLOTJTf8HPLKuzwQ9Ufc2TpEhxZ/4f1/lmynBgTQsM3fKmfQ9rA6ieUL0hyTE
dZWyU7ucL47FuerA4PQR+/zYwl4554QspVakyG0IQapQTk/VazisVPm9GrAcDyVbzR2OJudWgrj6
lHxpL2gj/C3JvEr9sj3UMhf8M4O6efH5ycCdrGQQNbFzjwSXOTRvqzgWI3iaBEXAQFSTL4KHxVAB
piAv5o+JcQQkeCqnL6SiKT9pQetKBusuXDifdatKXBqeByOb4G5kd/mVyxhdzFzOEByEXDoJ8wTe
WMIoy332vL695FhxSfJoh88PH6BtHtx4JH+ih4VPSaMQDSYdjJ+3jO6/Jb1GSxjlMh7uczONC/qw
igvMGVV3KAJv/bR8x38M3cp973zFuqYUZCAmMTPW+2pbQB9K2XxjohleVfO0rK8GGM23OSDwKmQG
im2sHT0S06zJSrVSzhcLimN+3+hOMDqcuLlSkNT+p/BqklnAbhW0nLIOPv16bcVDH7sjAF8bNdTJ
K7MAkHZ5Qai49XBQKKQQQW2mpQxbneIW7BaD+oFHAxbuWtjZ9VRMVfcRDC7GNAsKHtZxXa1zUrZA
x3d1lQ3Yo7txZXm8CSu8X6qMY1wOvEfQzjBEEZigIbhhcRJuYFsHYVJyaHvuVc90FXW89m8jwHSA
mIuQ8g5VMUVGv43FL4db2AA+CF1yQGoYbgd0XZG46nHo8hsPBeMZ+BgmAimzWqeS9htwas1k69Zf
2AEZRHsx6TChc5OXZTwf1jh3Htratn4BAR1jHqgrzn9HDu2t73kbT4Jt2X75dVW9CETMJimZ6v/g
OJtQUwgsDMnozXBVRx+OHHID7HrPE4aDNk8GX7o/ek+V3c12mUD/KorSKj67qCNSo67zCl6I14L9
U3VcfGc9iuV/mqd2uWolFXASKoP4Ko+XFe/72o1pPc3lbYf4Cc9babXFizPB5QMJlPvbMdS5dD5R
F5hpXzCf2175EwFak6tEm5O1IVNPFiNG7ba5QZbTAmBHrzJBX2uKLfJJtFPjiuO5HoAQ8jmYBRpw
Ei2URbid8JwyRvq1L2k1EngCnevsUDijURs8KAF70cMnSpjvsX9ja5NPO99ido9MIQtedZDVsCUs
TLs3olGsYi2Q3vtiQYSROE5PGEdtr3V1RZhdPjxHrBFvFzIK8UaDYwDoPvAghLirIioo0zuHUcq4
TSPsp/WpYtLT3nl2q6Bh+YU7UrhvDD2g7RIvBaIaRRYo+qIjj9LJ0EDNK+NpzcSXSVqWKJgd2QdB
HBtJe7G0+q/G0q1zT4GDDavkIKs/y43Mmeu6t3lfAlZDXtyuqsBNubOrdtEZjVkbbakvDV5vUSnt
7CNa9uim7tpSntDptc2NkBHmPdYIsBlSkwnYcfY0ohqkUorw0ujAEkR+xpElIxC7IpxwXhKjxxmJ
zZ3H3oE1XentzAhr3KeIEE2LxiLgF/vMva4cr7W7wbhKhmWuZsLEluaTUsT0h37xy/dugfp0mPTG
GmHh+niuDUqRdGQDxcAeVNs3a2ukgjmSxeF+RqtTn2ORFzWCuHlm+B94i3xc27mf3woS3KbbtXHa
6YTcTxX7Zt4yhKZL0VrOca0s/60EhvJr4CKudxhHsyWVraMuO0nIeWg8UEXCNec47HlWiU590dyJ
5c5BVDsTIO/6/g3u9PKVq3fpj8AmvZ9Qlgt4M8NokGauQ8PkV9HvXWUlwLwDnzEA8e+hqNmVs+dV
gApoMr/Vi4y8dHPxxuxy9M+5dQH+sfMXteb4KMAcyjvPDUE7S5ONr+jYLojjsmIb7iG0laeM7ACm
siA90JBFZT1996cauIgNcytASpEHRKl2hG1eNyy9I8LmWDcNp83RFxLIAuMifESUUjOV2Dz3M2Ps
W+6t0vMsxjsNXzCTDFnss7yBHLOzmspHQaoQdem0tJB4HbzQhG8w6VEolDVagENH0BY+2jDQ5tpX
UNUPgWzD9gD7PK+vpc1a5AT8AIqZrivFWS+qEmzeAo6R+dxUFiBYlzUe9iRgiOkYjvgFzqgKtbXL
t9FvseGtoKlbZ2JzOcp+jo9ZjLrqXdgLBQztz9qfnLW28jPa7MZJ87WDU+sNBdgB1ktgDxA7Ao9z
VwaeUCXo0+8nawRspZgNQbzidx9uPcdHFslPbZXnxZlHuKkoZHnKYPOcn7gbKvvZcpbLflIJwHSi
38Rj5mgd3Ngis7x7028dNtSIs+yqE/1kJwEHOhlQW4QRyj8j2TDcNzkYmOYtC3rZnVuaU+Y3XS2q
R+1ka0Ej5zICah0t6tdh2BjTI3+XwzdRsiR8qHTWDl/7Fn3oTeyUK97FWC9a7ezWK6IfRQ/GFEhp
zjzcphyrmVI7swceAQxe0zwOc2tPr5MkqazB/eEJZDmoocdtb3tVNbwHTBWp8djZR8Q+uo4ipmuj
xuHqn207fJsRnQTUgLolKtBxMj09c/2D+dpllopHkp+gbtV3HuYFBbFToQcS+bRKNENMH00aF6Lv
r8pK1/J6VSFijlXrnhEFa/zoR1tEbfEa2soSV5BghHnc8AKjXgGGmdv320w8HQKRYZve27GynVtt
wQdNAfCF3XZRiyOSp4SVrIBVVW7jega2IavqDIFwaJx7EyuzRQjjRdbDJmdFctQeqWl3DNn69oaN
pX+h46OiORdtTqbNPLQI9po6JjKSk88hUNGqoKwNA1j7gJAZkoZih2d7XJburog0sYcqY29YUMQh
BOnRKmJqQCyYWDRFn2rUyAZNRWOcxIx+zzGMGCpMw784TyArQoITqQwlmTiOjzIgO4KTlN5yzGaK
Vf0Ul+Cjx6uS+DS/ObEHcer+W2QVLXdkpRAtrudI2zgDNt/006OxrMlhlOTXKhy/GkYtFxprXZV6
/ayJNsvdA4+2wBqvvcXkXXSYl5Ep2SLQcMvUBZHkqYNRTm6jeijWgUDBeg3QgWqdxReIWOcjB4Ar
Ijueng7rQA5j2QcCEW5er4Q2LFvOGjIfDTFh+xl+UvAly7K87BM2nJE7XKEP85cHEgEtjgrDe4uf
3KDI5lPPXmWDT9JJxqKqqftknofoOLZu+RVMP1tgGEDW40x++q8CU8yU4P33f3KsGY+KtItew63J
PuJLuEmiURU/l1MUHxfL3vpT7Yjqw+47/7URPrFzQ5Mb/DD1ULZEAwJuTMzoLwrm92pjYilaaEwN
y+3/AePj/82Hf69/Nk9j//PnePtN/+7Y/99oxw/wfP3f7fj39W9G/Mt//i8jvh//A/qY4+CCJWrC
sSOccv8y4vt4Av/LeO8E/3Dx7sUARLlOEFNja/sv470d/COgdPOsi1kzwH/q/v8Y74OLL+8v/l83
RJgeRbFlRzEdvuf+ZssqxrCAdEFBaguo8cyeUHsdhCwsPDg0ag+m2MR4ZQzxJ2QoIHlNqgldCfEy
bdSkQvcuTeLi6l8Qy2fmmUJndyVSGFDc9XQBcucDjcs42THiOJ35n4xPZ9J3pdEE1MXIB88+Y2wG
DbhGnxCPm6/W2l2IubotQdn3TuOlXqwR5wVWZz2Oo8jf8AD4LIbBVUHesIghS8wmNWD9VjvVybZ7
X53L7RL9vgz98l7Xsd2z8UbnyQOcQXSC5hKmp08vq/bjaLfTwWlL0rnyqMyOdceWYDdTu23Xvdvb
zg6GIfjBGJAWfjIf/vmBLV3hPsdtZc4L6USoX2Ef8ddLGdH9y5Xn4ig73yZfdNpOW93arMiQTovr
kIBkoNg8m55YD+sWmlBF6Kwd9n9wDtsXS+nfftqLoS+GEuNa+PDj8DdLpso4aJBYeumcxWwKzSRI
uQSFVDOBw1X8WKo2poRnyT9i+bmzBiqGXaAKktDtOYxO/MHNH7AEv7n1GfQG8Gd8/H+27/lwbP7u
MrSVljVyhIjmqnLvbBEsaduR6E6E2ngN4in6g6vxv3m9mM0dCvsIkKtzYWj81dUI2oGn+9bxesuw
HSg1i/csauntYNx92k7ZH/9ylz/868v9K3bhd8NmRKQf+32aBiz1DkbYv7/epIcqAs8TpUry0SrS
ga/ZFJPwXmTqDx/tdw/qP1+Kx4jjebHHl/mb8XVoY+wEMBFYMJTRvhFL+4lQjyngf/5E//YyPH6w
bvK/DrER8b8RMuaxBW5VwFQQnLTgBLtDLrfwD6/iOBcr618uVmpPxwf+gZfW4eW4Qv7+zVXz4iF9
nz02Vhnr+X2w+GJJbTm767Vxx6J7mRxWge8Efdni2IQOaXYQ4PU+K2kGsRAg+/QWhnq+4SmUw+S+
XwhzY6o6zl72XgL8QvHqtBVhT2VAKZqsTj1nSTlbssGK2Iqf2Ny6+jaWrjBsRjbEdPgG1v02TlxA
WHHIbMCb5DuIZnsmjztK94kFBDqz+h3ufCfmXR4z/j7gb5A87hwS/0rkSq56ml3BM2I0fdWkpXIY
7hQDqaaPKIbYYtYQ3aFF0tq4xF77RvbnIAN6lu3YlAnlXObOWFrhs8GcwyFT5/56XWVigf5cBSEw
6cZf5QHbJhI1osNNfYfcoLHTMaCQYswxVGF2ZtRB6HaGCZ9JDxLK8oANS6smCcy8kn9nLExKPgGd
6i5j3Re8BHVmCDsCXu9/7xl6oitxBt0d82gYmjO+6+ytdnoBBG9jsvEGCDH63Ep8oH5VFdRouASL
8WFrKlF+rWNqokd37SbzjFBVlyeyZtvidqsaDSWa+kdN6K3moGCYBkDTPng4RabTiKOKgU61lNVX
WdDefOmcscN3xSC9uEMyBx1mK5dp/e6rrOGtkFgd3+MtyNa0g+OUH3hFcv0gqBVRSr3nf0cQp25n
IZmh5Ub7JulFOWAcldTUDJxGGU0nH8wg/sHAhtGfRHUvxIuYVBy+VNxxsAKKKbo43bfY23u9W48v
Qz613pPZbAwMqoRhuh8kRuPjDDKbOO9IrOZedXT8IkFFq7I3z4RucA2UB41RgC6y+eC3yKU65eMc
st/E7Wecb46cQjEeKXnr7lNedvyAW+QwV7smokNk6OmidED7erHGGA7QkaRhpjBiriSBPJ4B5QuK
v0PPPA0rlHGSvq/7uAuPQz67Ae0BDrhEL5PKOQQG6MaDmXDDjEK44X7kfRPL1Wx5c+iQVDsnHVft
O1sr5aTbhIslmca4WVJrBsiPO5v8R0L5Jp9bDLMUoPG5z0bSfTwj9yzutnjvWaIgvxQNzEu0ZvLG
ajwV7RdSR3D78lFjAMwDCTL+7PVXWxlqIp77ZYhTwZK2303CJoK6dtylOi4NKbSsVNn1goplCYBM
gDiiG9cD3H6wIri1p5yhwLkkIo44o6qLPwoGc/qAJzOUqXCcUh86QpqDq6Du8jEJIZ5a146NVT6B
X0rQL7yihtQOBlX3Zpx6/znPFwcXizuxsLYrq7kb2JRqnke6rVJi6OQz01A6axoGDpeIc4bcJ5t8
nnq7Xb2eXAi0FrGLP6AhiHlCLI81lNeZaqxuRb01d4u4AEwBRcL5OC2cGzyBvE323lEiGSIk6ZpZ
YAfFIZ0apYiji4pLTi0T49ojw7vJ2LX+5yPgt0PNw69PecjZbXPWANf/DUHSNBkJfX2Zp/ncePfx
YqEKnDICNzZb/OFQ+ycF6W/HAK9Fc85JwBFKefvbMUCdprnlQmIACY/HC4xqignVnCLx8b+uflx8
0a7O+GeOvMsirMztQgB4X+X6D7yO3yqHy4cGJ3Epz8nXveAe/n4exR2SuDGE+umgbApOPMTld48n
zcUBZ4XxTdRn3p9YPL+dtXB+OGBtFp4USbC4rN9wD2XWsJHx8CLZ3Qy+FmNhojD37f/zz/nvr0L5
5QakHGDyp/r/rUYxi1vk2thr2s6G1YeWLIaxF/3hRP9vXsWJQr45TnOqvX9SBP/Ck+haKgoFbTkl
pNF67AePID4xhP+HuzPZjRxJs/UTMUHSjNPmLnye5ZJr3hCKUATn0Yzj09/PMyuBzkJ1A728d1NA
VkaGXO50s3845zs//+ffxfoPP8bzGFmhM6bSFbAN/1HgcbsBpmcth3Qy7WhOfJds7kvbioZwvdoL
6leSWwZUli5xZsjzI/tTc4IHp5Ioan1qModY9aYcTX9paYYdlxhFSP/yP7/Kf2NrAHvhLaBVs3yH
rxDvyj9fpFA2Sp48T1cdc+81uFu5ROxlbRi7cEP40biKDZn89a39F4ruX7XoX+TGn3/TMv/tH//P
/6e9t+BT/u9779NXpf5JzuOP/9V7W6b3h0tHDRUKqbQQDmicv3pvgGV/mLiVvHsTTGNtcR783Yvb
fzjQzOiRacfxOQQ8g3/34uKPAFk8BBjvL67e/w6t6dr/fJwNYD13Cp/8d3pOFkfl0FLq7SkRyqUr
4oh1C9Ljz1IC8AZTD3CShYCxTwajOwtkIyCjy7np9zPiOoiQI26bBXzN9LdDOA3U+qJtzv0UYOIk
w7igxqR4fBzpm0nMiuWemELJEChq9Xs95daLmyQVCvgSgziWxIZo36gY83LZRlV+Ge3WezPrdjiY
WeoSu5n3lyZtyHcKGceiH+vuvJA6wHMVVtDrl1YwW681MVqb3KEQXYxyTH+G0D4A2Uw18STWYP82
0fll8BQGRKwz+jGUtvqcGwWxNCPH1rIJ0uEM5gjVblwO5aMBP1Kxb63lLciysjgWhE3cI941i3gz
K9XJSuN2j/Aeg1mC3Xflp8z83QKZgSlG/23yh5E5p+8agIfZglyx33e3nFzhV2wmzScbdqJbwJcf
e+br7Orn7m30GwuNsShYpPsNwHqEBJHeNzHr8WVvVKQN5b1NkDJ8vzOW5+oHJHk7XA9uq7cSPVMO
ZkO5G0QJEgQHsubet4onshrY7zqoxvIZBypGY3qPXUYVeSHeDK81viRWkhEzkEVSpFh8TJwLT8QJ
abY1I6/fS4510iOysNCVMak1j2gIOpB0fV/fUHcF/sICKvHZdHNx7qLc2MZh4n6yw0o3ALhT5tqK
vNi0NEjZyz8Z0w9LkzkBMLaoPLHYBfSeBy0bOzfBdMotay/xztUr+qvkiQwihLm+ttyMyfd4Z55Q
PmyoisatGjqigzr57HvB2Y65QikFMzy5U3AtiGFaRUHsEDhKHrY7+MpcRm6jn0U1YwzPh+CET5XZ
QzjK14RgTmzfavxK4fWcA2b7V3voYrWArn/QLIFOvmqBT/v+0SUj/twgtXhl3pT+bOj7kU7XVrgS
qilOyGaMbw/Pxfp+wVIqVgUaKyEwD0emERxAqUJXbhL/Rw4OVi26tkwe6rhItphrGFKwruyxENUh
0IgO/51HoK5LX7iZZqK/yCnk47IDIwAe22L2mhsn3msSY3+ngRt8O2qs9p0niZbvnbvKcxiJ70Qp
3ARvsTqBzANxhEJrfkyD3uJpRjCfbzGxYL0PHBSXBZfHBJD+k5iK6N2E4nECnGA+MIowbugEBBpr
eOpR7pCp2NXZGzGdzfOceSwMYpoVc1dGpBKMVVA+tbHUjzPE9psx1eaXz5OsscqYapW3DbLnOg8O
IZroU1EQ3TAUwG2KynQf7tVEdyQjVe+KYBxIlEAkDv01fqmG2l1lU43AA67MfZENIQbBVg6NBkxu
7OOiKIdVQmdztic1nImcEMtS4/u5k9YeJz/H9JwMQf1lFd7dDFbJiuWEHfCIqQynNfKWPT9dXnQu
7S+rr9xXctZCrJVyfgozy6BxDaIVeb13l1BFNrgfxNEO/zc+xMhqr03o9Qzw6vFu1XQ+0BkOvL9+
i4SNVvlAamm/GWhTVj2Re8ckMv0bY6xmg8qVWUTS+K+qVnJNy40OPnF8ojEJwzzOdjr8msY0LG4o
2L29KMT8TDHvv2AffGk8bx2k+jgj0GJAeZ7N1qupokeDaTs/RY/otzp0qos8piJe+Bx2V62R4Ey9
j9HRNb5jT1/DYopvYEwYryq7in8NCi/hCoszKpLQxmOQeYP15GmFVbEUbNsGeax7Qs7sTsuVxzh1
00epekgtQz2WtuoPqva8LZbv5BcA1P4KLKY+I1Kyd6NlT++pxgKWuL1dP2OHCQDSFHGyTokJI964
uYchTfb8Z3BYjLQYK021qIcGIgX6smypCV7e50lb7pOW+xZfRFPD25o/5tHznruy1hIXbtnvU8sn
YTEP8UKhFTefIa23+94jcZEMsWodh2ay63LyclqSJ64StAudMvA+QjAjchbKYXw28zAhZiXqvqB+
1ZuSG+uSRUm0thvFl3wAvHwqLct8Eg2mU4gOh7wnL8VOqkuCue2GNM1aALdvH4TdBVvGXHjUvWqY
f5e13Z/g83Hy6lDUTD7uOCJpNOeGIWoiWF8uAxrd3Wym1hfG1WBfEoaytetefsQsBl8A2KtDlPOg
IZ41/ec4y4ZrzDh8zzpJY8jrjC0nr7lpdWZeajcjHw7LCTwQFHQCe6GKjhby3m1P7t2uq51pd2d/
4NYa203Q+smbxSht3Tdtc0N84/yU5E/0fN8S+7kgG48mwkBIdt8MnsTcy7PZFPOvXiovIBEvqC6I
JfSqcwndMIew/6hGYWyBSdifXq5nQF1DIhfaLuQ7f6RAlVqixVl0GYDpyoQdlmUAbXGA5Ir0Cyk3
ZD7kBy2dZTVjOjfbvFszOMx2AzlaV6KO81+6YvaOANFDzQbXh3kYh1SzHJhgE74Gb+yJmNTgODgO
rzglcHSY5vZqxZZ58IfW3gujZZJWj+JMhIU80LB6QBYmqNOSjPRtFujJIhErtra1GROr7LK+ezLB
Mv1QfTs9icHjSZ3SrsIa3hvWI34Ix1kwF4pfUyTUB8i1qDL68K7ugT2zHGXBcY/gtF5h243uSrpW
pKu8Ce2DERvNJWVIc+xSH7FFESKnHHPB+6Lc9uqlU9MvPKcKH5xSx4dUtfpHJZJ5n3cUMewY81+l
pJHG4mO8MdCReCZleGm6rGUCSJsLlDL7jWU8BUoADXlaMmnrDp1NPhRRIPN3PhK9cYQfTomwbCZP
IhQPQoYLUDSsWBqvUZF6P+MGxcyiNYPiq8VXvvaMCQovobv7FrvEw+SZxkHrzH0cwRsh4S+gkcjI
r08NNI4d8nM8JB3OLGtd0SYfra4J9jnVG1QKXcNhifst+ASx7jPh743Wjn+o+j6VQWiMGdsvzGNd
TOlHzP2GVLwoxGuM4n+L2aNaV9EUnfPcC4HAo0JHjSfOoxWovY57Rf7YPbAqQO1FwJCbo48L3Zrv
LzubFbhOdGpFnE7PXVg2hwlc74lFzfhU51QaNZcxJmAoQU4b2w9CTSOhpWgtJ26cR3RCnK0hKOoJ
TRuMrTTrrINyZqwUjJiGbd363s0iwJ2hZZ5tMk1KwhLIhiLLyTeS9ZiP3Nylk+arsJZkp5PMnC6Y
KaF0zNRnnIf9Ss9ZdBg76jWmwD3XiKr8vUwsAwp4533G9IvPc6X1TbGx3gm31D/lCNEVNe24r6fU
4Cuei6/ZafKN73jDovGH9YzCitQaznSjEWzIUgJBblKrYWfidjvEcAnvcysxbnTALNpDG7THTjKc
R+LdmiWkGkLJef/XEtbpGjqDdpZjbKbfOb7Mx8wIw4+JVdmqooc948AgzTibs/BUcRs+GIa20JGE
8pq4LWbsJE162AhVjU3Is/3wltmA+KwZStCSElFso0kipWpmj2lgbyQkiNhN520xdLEIL3t4eGg8
TBwUPaW1brpwH6fxcEHBWV1rxt33tsJcjW5jMZLHu801NI49/xtO9A+ufekJ7to0JuUY5nEhgMVB
k2GoQUIJqSLlDrW+c6Lvw6VUlgIEU5RFa9JCkneD7dtGdJN7hRMXEgiS97t56ogadu/jFhfhM3pz
IabXnniVoxFwRLByzwectlOwctM8AkaQVkeRRjmmMJvTPu+naVkjqnuda5sdCRuFNWwN7hMGmvD4
48yyHotgcB4w5ctlWRX2Diet92i2rCaWdYJXzfIj0HWCnKecJKlPkBrVUs5Jug4CNz1j1Q82yiJ6
tCtsckBZZD0gDMj3VWnyNyRzUu16z+Gb3nRkvycYYzlhjfHbydwQFTLa7QXemnRtE7h58nNlbn0o
FQdiuQO5rKR7RlpF5NHsjD+ctg4xhNr6uQ7NXRUP/bXXDpFayC7xPyGoX0eZ425aKIH1KjGK7GAO
yv0hUF3g0rDJ4XL4cj1rnQ7fo48O744IehQQHpd5KoNfXpeore4693XEQ3gSzOdXRO+VP1nmZk8h
hqgHiBR83qbMT26LARWHCbsKjyt/UzDjfMmNSP/qoyp65B7ApzfM6jz2pfohHUMe+FY4v/ORTSsx
LPNjY/nNzxxvEQgHaJYr02MDykJZeq+BMlDnR6irAaChjLzLhhWCNN5i0nbLSz+H9/QKY5ZHg73H
A9YFupvB4PuHD6pcMs6NNh3VGW6iAZQgYk33Z09+2YcjohbAleuse4VNZCp84zxZur+kEYm9gEoR
rQPiIUNBwpjpXNukBev4AprAAVG13UsFetVr41f85WU72kdmU8AnGU1jDHR8snjTan4xuEAJxyuz
YccCPP72HR7wBR9assAxF6ATqXG1CqPSm7zSxQvq52HfBWHwElY2Ed1Wqif0VdiK4Q1O7lLhrKPt
Y7v1m7Z1JJMSWv2DzJLymz/bYjXElbfAnxAeQ89i+m5F5DnYs3PvGIEbYanHKc/qBBwEkZvQ/Av9
Kgp6q6hjKs6SnADUpTONR4KxMw6ZOhWYPEj6WBhNNDxhHUGg0iIlWAelx2ghIv4KGEhsX9i9Wszj
6a0r0/B+T7Jzz5gHxgMecf+oGyM71DFxV3RDwzVH4f/VRD5cGuycUe23R9tN5RpAWMO56YKwHDll
V86syH+qZf+gk6LZdbbbfNlO523AInUOigFO+6wM1vNcOZ/8bNEtYlCOSP3t8CWooubsztI7Y4uj
jkN/s1HMMx4QymuNKS6QD3A5UUu3cEPnyrReZr9st+ziECKhm7+5qWGeMNGOWLurtFkayRicB7st
D7aH11f2Czun9Acmy8qJpyVP9w6N7cJpR75HmAY/geExJ5/VHG1auxfPYaDU3oyK7AaxFAO+EwCQ
cKx+M6MAfRVg7X7DnuX7F3nxZRoAXIJN5itKBN3nIHED4pHj8DBUXRxdq0hXPhK0JSiU/ISSNAUv
eH+2gjlwjmZfzABtA+9rNGe/X3b1n9IHK8qONi9lK0ez2wRJIF5p/YnhTSJjN5rjM1q/+eaXjYQO
26lN2ZfNucxwLrjO0G3aNkWdfe+W9j0bVfT5oKsoQ/plhMvogl+6G/jXE7CItP3wHOiL7OHs7iNG
/YS4wzDf7VxBUSm1oxcjMXUrJjrle6fCW9Xd66DGms5FUqFRJT+Q2xuH9I4vG9gao/QU2fCa0FEy
a4z5h+dlL8rMSKwSoxVvtNsZj9BRjXNFMspbLyz1KzVK+R1n9xfd9AqwSWWGG7McpvUEJ2ZpAglA
Ukbaw1RP7HbK4DBaKsZsWYBfSP/8vSGC1ce7DpTc0yDfgSwxzg5yfLmIGAZxEeOznOzK/UQBGSLy
B78zxCpbFH1bbCv0xJtoNKqLbtx8m6ZddybcKr/06MaIUx1MQEghfTGDiUYqRkoDenLfbOqrQmiM
OajwFSe2ax16R1QVQYFxcdMiiz7irNIHckr7Fd+I8invveDbA6GAdhjX6AlCBTLdto6TH16SiRET
es7awm1syoKw9x7Q4drbrKDB5Cpt1mZtvUV3Ox55X/kP3x52gDZI5mHmwtJunPoQallsilM9cR7s
zJK6nxhgzDHj/ZjbUKH6e915OH3tUTTfXVyQBgrAaUCZJ9HsrBgypLt5VCz4LDLOMDa1BiCu0Ax2
BQ0hBiNjfGJlNjN1SwQfdWiAgkhJrVi0WTqCYqsgFMiU2hG7mgWtmAkJN20bte8e74vFOKvLV2bY
xYIJoChcwn4SwO6iHIk7gn5o/a6TLH8bCDRcVilbgXUSZYYmUy5Uv1wPgTQL77o5D4TVXUWnEgul
SNIdgzoT9jujQSxNrk8SyZTaA79F5nqLhvEtL3CMxSW1GgWbqUkwHJOesJ8InELFyvlK/dKE/XVS
Lg9C21vPgoZ2o8refYlChMEW8sujY2XFAeB0vBki5E6LmjvlUjdwSYJEsvLUc+L0mxLnuI2eqhre
YH1jAsfMPuUYmr1kWzYhwibSitPnfCxD/GxM3Pp15yrYZZltn+zIYs+ZgG5YFzhPH7MeoXXnDuob
ZTCDrNSf8RVj4vyNyc9d96XlPoPFNJewnrqH3gm46Ik59UnFc62TywQKdbnuu+dBKHdr9218KYYg
/4LikPDWZEG8DKZifqwt2T+OcdPzSVdNucTXVG7SXoH4bPpRP+podnMSi5IZl1fgiUWQtOMWcau5
qoxOzQeU1APYQGaXisBOZnlo0Kn8fG5gKAoV1KSQZyOyvPkW10qj9E9ijGSlYfxWbRU8mLozf5sh
fzC3Tf1dZMyfQ2FMUHg6vum8HCYzZu1fgP2IPSS+Co+kQpRNkPf86Y9xfS1wzy7Y7hrfA/PdtSK0
EgmLqEcO/SF/wl7pfpDsCXijCuMP2Hcx2+gs+U6hv54Fn9FHw+hyWnDAExxNTnOwtAgRP0Z1zfSw
ya1rhwcNDFNXiMOcx91r6mmx5TPoV2GM/d6E44Q5Ch4xun4yVBZs2BiIkiVzvwprZyfiFi1qXE8/
aPoYx8R1XlxhymQ/c1FKDgPcDp+z8GhuQzDbi7lP5IYcK4WhPRtfXMkAJUqs4SFyPFgAkqlMJpLf
wEM2s6ufu5NPyjfKNGtyt6K3DpFBg1Okn7ZOku8ghBgBDN8/p24YMRcw6UWyrikIZQw9zA00uHeI
UvqmoORALKbpArtDumbGg5I5r03rOsx4dF2+KLsfyc32QEaNRlOAzC7kXeavmv0UNbwVVju6Hy0O
B86AMDcfuCpTAF3Q+k+UadjukAwPi9JXYjVH6bAfgfGcOsuP93RwdoYA3e4mPtsG6E7K34CpA9iX
4wmYTYYJshfFwZgDepy0fzSinCoPzKXe1NLO39PYST7RKcw3LyqjWzcBX4PiZp2mxjWgxkBhnzoT
Un1ql+PCDEZou5mdYPWZQBF38RjnTBC97hnrgweSOi+OqgV3Y3UtMZpeNk8H2281qDwf0J6jNXw+
cohxfdprF/36NQtr44pZvtwFSRZ8p4j3LiLBfEU5V+2HSIoNFh3gq2HfHRgcVJcKO+mr5WeBtUyl
DnaOIqXSK/v8tUaB8RLj9X0Y65kbEeJdsHFRJDFpR9Px5WPs3kkRhJseYtg7OdXpWtupgrvwJzyn
tMA8WbFr4/BLby63wsrxpLoVddpdaAnwE0Yd/nRbAj0cCodGiHzYGGbwGSJj8ZU7JjmmM+Oshd2S
TMZCpzj0blM9UhHDFYiz6OT6CR2s8iqoHbC9nmoTlMAytqsKCi3+dKDaNRzihsC+SySg7axmGBTD
yg9U+UW9AF9ODwYHX271/nNuQvXY+W7N/BT5EFbclLg7cDKuyZrDSZql0IF6nTxvOLFfZFlhKJmz
jHEwhL2rcsBV3w6yyrcZTTgBzRYH7r7mfKXSqwXC12I0ucRd1HIbbcXADNpUWF8ArbrXkdHASoye
OMZdWf3EXojAFeP6XYhbNFTneKdxZ8qe8sITCG6WU5x6/kb7Rn5nYrWaLlcVwxL/N2VQjDupW+EB
z26BbiPc4ZYO+T2rEgBroozwyxldk7dGzyaNWiOHYJViw6aKaTl78RdHl0rQKy59RqGwhDI56H3f
qkosDafOnivZhtZSGsSP63Dq0R/h3ibtmHRgZ4cbCzilKDnA7nEEMJECmGTFcnTvm7NwEv5bnwJv
WueKRf6OPWq4rfIsiI7QLULnPdAxh3I9+yjvUxNSr7oPAfCQGMjWYJA2ASmGCeySGHUfLMu1xeNn
rMvUL35lbRynT+w8qgfdFvnwU+Lbhx2GZpAlUJ6Ov8yxavNVF2hVr/OsHVqqClwe7GVbXnVcWd7P
0TQGKC8jo/aVTvxCLJsKW3dmVGUOh2nwngyjM0GnUtWuNQq/Bl2WRzJ560etta1YMrBZI75jidFa
7nh7WV2aLNLKQNXRfiQgAo+S29mnuUnin4OelFyVQ2/vAbi3h7aZikd6JmboLs6qJWV69VZ6fjof
2W7UT4iS0u8Z+sQWRlV79WfAB6Qf76gR2nExtXSHSJdJUhhAhW6YSXCd+WzzgCxOY3cRtczfpTmn
eqd8MRQrwOTsfSAVKVA+flFjQ2WPNm+MAifPAuQOHWTm9gzRgZMvWGYyU8Nxkp4QpClUkBhej0R/
p0/09Q2M7Nbdly2w640MbQAqQoovBhVi1eXjtBYNLyECEHD0zLR7m2Fe0T24DMKb0egPss6C32VH
JJiOxuSs6ztc3PMJPAea6r1FjCc4ETI//92ZRfFBQJUHej3t+H9zOYp1lwWKLGv0Vmez8umf8wpD
Px4NRKYiy7koGVXYRwyH4olVsXe777+uCPhKqFDkvMJ3m8Y3v0jkZXT9mS9eVD4yfksPA1L1bRjb
3SHJY3vn+EbN/s0aXybGsXjyp/ZgZx5bW680N9Jl6jFGGVWX8DP6msjOH4KonFaBmgXq91F7/rpx
puA2Qf1kh9swkCmJ6Q5qqnuswzVtvoBkGBkPgZEJ+Gnl8Eq762sseU26d7Wyl0bj6BffBdxHbEij
98yIEKkwLXCXIG/ugUJ2MBwg78BHz82827DpGta4ByempMJ9CWdnqlaZqYtLDkbipSsk4x5eEIsE
Y0x7PMg58NLECu2VBieB/3SQZ7u2DDxIGek5TAv0NdajmFbeCJcYnzsw5XCgXLQi5R+sJo74ghVd
Dm63GMv6ofNH6axti9AJ1uV5b/wllvpfqWj+c0bkf42I/H8qpdZBdPLfq2fOFSkPefL1DwXN/T/5
l4LGCv7gNoIRAH8RbZdAoPeXgsb3/vCkYNQmbAutvemiK/s7RtL+w5IBDgTL9RC2eQgM/yWgkdYf
jo+03HeECJBxETr2d4TmPxRO0a/qP6jvbcvir/qvMnJ+uoktQbqOi9QKCd2/Cf5DbTAiMb3iHMsY
x7QntW8uUVRAumrMjNWzQsidiJVbN8XARWkH9ogsOIurkcPKNuqXFGqU+cuNUQY+4C8F+9250/DD
blhNf2VBWJk7Gn3pfmW1GqxFRXQPvmVMe/MBj2zdXaFwZCW2RdmuFGAwIst1ToZ2k5pDDAdDw/bC
E2hZV8Y2bN6Z3biK7Y+RPOfKEcvUAd74rBQ0haur7bI4GYHMn3rduyaxKDPu36jM1CPwLvkKNyM1
2H84afWGOlEUsNrGTt255Y4kKMUoqCmpVT3BnnNQRXK2opb7y83+BMgFIHWafHTZQLdjl0Y3stk8
Op4BJsS3Wxv+yU4tAG6AjDoBjbPrj3kYD8T99Bbh1wTm6PKsmNdVx7F3uOKpgMwp282DIK+9YHM3
r5mTF/q9GDLbu5CVkcR7u3UqxQy/ttV3FnDa7GM0rxRA3ZB/RnN9t1kmxvBgsTCjWKpiL3kBXEsL
ZjpAtWwfd58LFGrboavYWiSXo0NIbfk8mNprNn4RsdJktYpKJ3J89v9OjUAlHrPSXqbhYAAkdKho
fiXsHrioSomCuczuk6KoUCCcsCHYEP/dxHfo1MkCDjZ3fvwl0h145IK0TXFCM5/iCh0xGJjrGmzG
mIDzobwPSf5wSe0w5hYreFUC1MJVzyt9LIRbhweJGRKIYYOK2MMstBZD5T3xJJOYiXUYIYztjZls
1hh9je5WFD5rqc73kiBjrz9V7dXx64j23ink/WHRKNiBYYmCrm5BOvoM51v5atCX3C+s7K0RsnRQ
LoXAWn1JPCw54G4c0JbKzve/4Qplcj/AwJ2cjY9xc1pgBhD5xkqtsNu4Bo6DVR9MengqtK9Ps0XJ
+GHxJIi3oTazmOa9LTqbsv1eWGLiSpxyjSLTFi9MY8zsACS1cFdB6JEn4vRlWOyZUw3x1bOQSvD0
Z60BR7kvHNa4ZWSNn1LEbFvmmlCmG9WqWe2m0qd5DNwojFjrSbDdAwHM3i4IE8rgcpRQU0fHTmhS
zRIEddgpSsWeC4fuU1B9W++t35U0V7SVEeo0fvNpNUI5wKTBTSrTs+m1DG6Qd0T+VKxs1wKI5gJa
Qymm65RAlxWWlbHFBVOCbSZYhG0KQgKqQY4CqjzlBG9Bbwas76EBJNMvLx4r54f25MBKADxpZlqL
lPlShFO26R1NHmpVO6+1P6NpXeI28LN5QRxH6J1j6h7Dh8EKi3KDqJsgpEPS3TGeh87wMOVjzx4L
5+bOiT9ux2loxWctJjgDIlCaIAmUy+5zCBqHgYqlIZ/qIujzlx61A2zCEr0bYvyQnDd/1uFTaMK7
JLyBQmaX+KwesBPIojoGsFOJqJqcJENxbnjBNaogfiyHlJQtCID+mlpaGnfRmlEw900NGIaYjhu4
x1I+F0bp8+0pk7TcJInpUEl6KhHvrl9NHIwOSIttN6F4eQfNblA19KZkpBnW07sLoT/ZNmNiNs9N
NU0ezE9BG0JsjHwvaDJXzWiNe5nFQXsMM8I21KhAPzLMI9Pe4UNt0wYQVIkSxNm6FWDbbCEt08AG
QRD2E3yW6r2JovkiKiZn4HqDo5Mz/ldB1QImohV4kFSs+H/RbYFnT4hN6yzhLeK6BmwP5ucjmg39
kbG93QNnQCNT5a0ndsOAy9sEyteyflF05WyGVxBNy4M7WP3eryGa+FYdPsDj850FI9ro1Z/wImQq
t9wdROoGSsecPQ7WQPPB2P09tAArswuVU71hwzA6e6LpiLAJeYjFg2rsGvlZDNtxMU0DKuYCl8JZ
pnH1I2Ou+Z6NDA6XnWqiM+C1bLrZpFmcXaqphambqd5PJQ0QGwZpTudQddBBl2ihfIo/ZEblAT++
4Z5Jd6MDcnXS3SorsFk5Dsrkr3LE0ySaeBPajLo7ECvj2of/geud9SbQBdhzV3POn7Os4y2ZDO+Z
8YblLzDumzx+ccTkIsUYhvgTHxFhsEgImB0nqX6bmgHHj4PLe83vYC7DAKIu3hdZn5vamj6Kkhya
AWLqA9tpzoVocBjXWfETWDLjAIc8OtFlcf5AqDg2smzDm5S9cZwIXYFbwKLpHMESHZYNc/L9EFq2
2iojZQvI2AiO7iSMD4YPzHM6GbAn7lxyprR/HoZ4OrQZE0qWWKxC4BK8+9ojnQUlSntEzzjzGyj1
0k8MJNx2Ms4+iISlPTj20ZVs/FlU8JBhKlkVk880GVxuResMbDbpWpNnmRJ3AFH/7Rr1LkkZXs8q
yh5JNkxv2ZCyjq1TvZeCtTQyxVQtWDb474w/8g+b2dAamTPPDs7+QzjV0Yc5AylddPNwscd8OoYD
wlUk8fle5lwgCBmTg4/Ah3bMIiBsIjmL7WjeVSvmysPCT3rvySWQAliES/+KhsZdqLYDY+t1nBsZ
yt4vmfoSEQ4sTgCyrcFMoO54QnMzuLFzSB/MsU7px4R/HNKZBVs50X8hkXhJjJ4ItyJ0SahOg4s7
5DyWnW19MeXjMKBXvBFmYRKY02fBu40MAD9xZF08O832TUb1JPWMUbkSwQXBr/8VudMv7F3xug61
x7xXyi2E6g4Vim3tYs8MHtHCsF9OSNACMmNCC7AN8dAzR73kCZLhusyvTSIRiFJqEpEFoDikmFrU
Vl8eutILdj3E8SOHMTkr0RRv+0qam2mK4MDAwT2mmIfYZhSNfwyqONmNXu89KyuCbW4q94SkyHs0
kAu+2VlYHpBno1gI2yVvU3aVJaDFmvzCjYug6i2aNShOE10eQSfopPBaPFfVfJlGRCJgOUW+qqCa
nt2AklR38za1aniijfxwdP8zBru5jVwRbrw8TXfKQs3R3JEdmRn91D0CYL9lI5hwre7SIs05byd7
rRA+QYRqDrlOzFOt202HWek6gcPZK08RWpCkFw/D267BILaa/bDeKm+oTrIr74u3+K79aZooufJM
iGoDHyjIt15oueJapVl7kV0Y/ZJekH4KxNJPJFY0BHlolAtuPJ3ScKwB93JbjBx2PgKgoorJFJut
9rWRebM1HRnw5ptXhBgRv/Gobr59p65x0mCYkRua7Bg5DF7PrMhLwgoGDz5jUHyKWQwuY35mLODz
ZHqNiAjCH64Rw9bUhCeCqZ1jNXfThss62qQtQFzkN2zijTju/WUdt8FR5PG8L8GRL4bSfaHuTa9a
gdDIehx0OzGGlIGqkROESwI3bd1XZ1gh5JIiJ8gYCbjU4WHTC0hoY0jbTgwZJJkS+UH82zBgrs5A
KSL+ccLKlyqkxU5vGF8dBq1jmKvu0grAM3Bb6m7D/TovPVB6P+OJ0Zr0zQLcS9u88Fj7y3ZEo8qQ
Btf9ZAWrQsch7ZCakR579kW5zFbnEaqOHqPqXDnUbg7l0JZ9VfTLjukBmPmmDPNtkkUEXcs2rinL
6IeoCmHeL2CT8m/jjjVSnPhHVWf/l7oz240by7btF7HAZu9N8jWC0UohKdTLL4QsW+z7nl9/B7MO
cC3Zx0I+HlQis4xMmwrGbteac8zoqYe/yAmbKm6hrPw0MucQLSBBzUVzQDHnb11AQhQ6LZpROjoT
DxYAiICUi8VKM5X8FvSVvyUvrrugta9vx743X2hE9Qe9ydk7VJ55AQEa73iKroAzAeJhYzllOSyq
0EbwZYoO+23VjBfGXF23wjBuS9mRLpcm9iFzZ+dZhc1DHiLcptrmzgQzhiP4Gt33Ki2/LDh6HQIr
T7eYovMdCGXMGJov7oA4hzuX8tQdPt/nLsnkioas73WIzSlsdSw4Yx4zH+vca0Jinbhr1bdBEKd7
SV7dOocXsB7TuLmqcKXykgb8qbUL+gdLAqE4MEo2ZuAuytxMQ3Gajc/d0H6r3DAFjxApqDCZYpLn
Ly0tJ06Fs75zCXBJVw7Cl2Gp9epea83lNla9c4knxLgIo+i2JdUBZXnhq4ORMIjN2LxLXKe8zyPq
iwHl5GeW328opWDcRxhJhOJsoxnEG1SoYlTrWFv6eq8MsGkPaAEm4ySK26kobSLSeNe15efbUfnJ
jeHiMulIUjkhRMW1mcAK18byTtiSZDFLTEfZEg2h18v9l0bLe2qBzZmNMURDj0xdnyipZj2oXxoC
4a09as8952EQUCxgK1gK8QV+R23fxta8n2Zqf81UQpS1sHGvkzLzr4aBVsMavYK/deBDHA2st/RM
cRCvULjRRO3sGt1JG7yisy5PTjkkh7xRw8bC9HHHLZ/OEceMZVgPGVcjsn/GcDpbcRmcg8LR7qj7
id1Mlfqi1VGwgCzDPKuxlsJlrx8aLXRf3W4ozxG+GOw6A1dkF/TD2pkICG4RSW3jlPoinIUQ6bGf
rEdcz3fQnd4a4QakFZRJTymhQkJVRGCIJFAjXhYY3mv4PcmZ/2i8hXoLhcex4gOA/PyBy27/MjmT
fuOD97lIRGkBAwiy6yZU8XEqOISkS9waq0O2a3KqpfaQL8q18UlwL3hyiyj85pg0NozRsDdMTXtN
Yg/GQNWkRzhe4lwU3X1htGejppAHinK8cPWxeqWGOx/ZZrq9oZfiJeqI/V5ImNdBX4yPJZPlqeyJ
hcZ7zKkuDLvugsPBY0WKzCaSTXrKYpbdmnv0qwo5EDgTitYUhXVvi35XoPK+QO4NwVbnop07YXK0
bBtFBT6mbKSHM7otIVyZSQyQn8ptYxXqmRvKiArMIBcA2H69a1mHjyWE+1Mb1ijMWzjE0mTtDPCd
UIYt1nQHLihBk1xBhOABxSbVDiTDHoECnVcGlu+5uXGFKcPfEF3/UFp5tWkxU7BKUU6I6vaaBXv4
OdeEwFKkLPNdFKCFtZAErEtBOpAA3XAAen8j0s7YgXPoHyOcvhujXDYV5Y4A2cgpi5yu2vk0me8L
FzQHyMh1iOj4QEAHaVI1GRmWQzpkVKL5LhMfUaQBursYuNdrut7d1LYNdCmOZcQVbXKzdWjUitJ1
UNXkXKREzrvWlV3IZcrSKwEd8VrpfrAPaGKufL6JlRn3ah/XUb2fbTiWaSXA/4VjfmA/7y5o1U3n
2bWjs08F+gJtOXdPw6o5aITyyIfPj1lDsrG0yoqDp3kvy8bauDr1bSOxV02hd/dEiaRrh+Ct+7lp
sltdR5cDztQncaES34Zkmtd5SUhxlPvahSbMBu0YUIJ95QTBdYOudoci6AcCmPACGt8Ev5YkJsBK
1k/ypSzPN4oE3RoFwmOa1SQ2RxzasO6EwYaipUtyH9daMZOpl9ideDaduXxN58p2tw6VRo+6TUPq
n6pu6rqMr1h2ezB0NvQCUt1EsLeDhHY1hc/vOjD6dTpqcgOlSnG8QR1DqCKkhWqq+6POIXpNjnfs
ge1311xd82OqN91TFtcLB3FQNw3C7F1qoAPTbek/siWTXWup5DW2/Gbjz/QfCqyKnOWL+EKny77v
dYQWWkS9vnKsvOCYjPKAEzAXRpmnl2Gk9xdiUPqOahZoim7WjoMRn8pJ9JscTcG1W6NtgDybE/QW
ENULhFdHNerzfpt5RCXWBS/UUoJtMyPmSA0qdqRXudlNNEZGTEO5kxtk7JOnLPlahyX5iwO5OhVg
BYxWs+VsDJd5G8VV/kx24nTSyy7Zm8j41jDO2xs55tFpmnJm6pjTWcynfCvKkB6RL/tviIXpJRrA
Y+G2OtP1CHr6ifivYUs2cXEvyIcxVxhB6lNqu5AiSCa6riZr2rGB0Bzo+uyHArLlr1pE5h7qnuSF
1IzxtomdH75tzpfZOA8HM6QssyrRhezsLHC2EUl6G5NUlNVyvT+pGtAHYvJ+Sxr8sFGB5tTUc4aK
lG0/d7DAaNqZmil1MFMNZxlP0V3YU/Oh6ix3eivmqzbMVYTlTydLRmH3QocEw6ue2wsNE8ht2M3j
pZvQFk/Raa8GRGkoNXo0fhr5Fts2ZzfE9oggj3v7dix7IMSq8OHUxyi/Fr9QE9v11qQlDKa8stj5
TAssiaL/wf0UAiHV+W6XOO3wYNDjQbhqWRqaBQdpdN2F/hmN27TR2nBOViSbUOZMiHBgT7I0+HQa
699S26U2QUFHHRA5iRB8EFXXqSu6em3pFjE70pDwWdi6KMOP1b5xxmj0mL5gssF/7MyAa+1sZkRU
k6HI5SisNyhaaAESqtx8Vxm+No6hnfGqNW14r6aEMEB2muFhIaZTiiqcnZpGEImGzslPLiZIUY+c
oitF8ccfJU0kQghjKAvT6xCk5lU3cN40J8GJUnPGO6fT002G5uFngU3rhx4Zgh/DNr4FET05Zk1/
FnTmL3smscHFnS6ro0L5GBTc1LHHWtd6Zfcn2ujBQSmN8ngnKBgbOvkbRORZu7gLEdzh9CAJrzlj
X6M7yejkniqJPVLgaJVvfssU2vMy4tBB5Gz+1PQLPaDp4D1WhEm11XyJQIj7CdF1lBkBk5MEBv9D
/+lE3eUCJVlTNXpzakyhfOH0Su3auJlpuEKwMSr6lsO8DeOEeHHqbsjS8aUQdFRvFeMRxXLfrWDm
qwVdSGnBeRQjC/rI5sqZpaQLWRzLaNkoUu1sltCCObze9yr3iH3+HgTaC+15Tk5Yhl+yuPoRYGCi
WOEYnEDgZpjCzK4ncnFWg+CNc4yoyA63qElMVnunNQhaV27hpOvBT0xwKzFxykXLlVcl3KtUVr63
qZE+zXG0NyWLprIoi4cdRZ0etxn5sxGcEPzINYFF0nidKpYLLuZyx7J9NwrqERayM49i2mluK86B
4Ku0xe5wjnpMqQmSGkay/lznwfhYhVbr1TqBURTMw7WqqXTU2hzd1ENYLkHe/kk5ltpUhrilhv5Q
BZhZS6AvcpISzkR1kqCVCNgNIhCPo3MDnvoCJcd4RdnGYaRxFx27/pQg6n5rBQtiZ5fjxo6pKCCg
4RpEV/tQBtxIAbPrKzEO/aaFkX/rxInzzTDAiw6my8kNTekBcWfzzerNtFz5pslVm/icA2rIOyuB
gD9PCeLeuhq2gsve3p8LjRLKZG5pmbg3CundhbIzgGIkAV7n0l1Q231zq8sOUEwZD7eFYFIOs0Pq
vQjaRz9OkhVXIQSLybLIigTHTWYMVNdkRs8YzixIyEhjElem2ez1CT4iEN5hF5cNatYOjRwwd/HN
MSiwkhLPA3Fprioj1743lATOytaInYSMymMooxV62dwEKPx3DX71E/Th4T4wXMxnaByuGmA2VNEm
ZW21ufpnPScHFS/4zeCE3QbBQr0HLiPvaUQVu5KC3bG17Gjfuor4wUbKQ2ZQDPaL5HJQWI1Gh4q0
KAiXM/TMv6zTYT52PYfJnI/1c3bsd5o3SEFT3ybw2iY5gLAKF0SkFt+ORci6FndqC7TGf0CsS6U2
xh8+T2Haro25Hu5tc7IrpCvSvWhSq+Uu0TMT+skY180/7mNfyBNG9Ulnoxs6MN9zTLD7aOhrTsjK
Wom4VJzttBp/jCVONMEouhBXc5Um0gw2ZdQoclOaF7u1ijMbCUlvo0Omh8OushEjVSRM15S5m86+
0S2HxQHAQE48oBvDOS1PsKqoxendlTCTOx9H2o1sfOOCgoRPUgx+AJx8RXRFXZcgv6qL7ttyQtkI
oJlFTIOdbTkVgumO6joinOg+6tu7zk+z6yJy2ys+COejxvA5a6djjxRcUt1EKl6w60/Fjnh1wpvb
tDj1JdpB1Evc4OlTnZw+y2+gNYlXM9SoeFLyGG9jEoNXPQgncjKHfk80pn1J1wX9ldMBI0Xo+V2b
uldQPskSxhrWjxSm4gCSqwqvWxUhUl7srWXJVoj0QdKTK1BUJzN0Te5NrjdjPPZqE0hpSvGXlNUh
PiOKKwD0chLaO5V5Rlo/vFUZmSBT72pUz+pn1+QystJlRXJb13wnrHM4cL2bKEZySLLdlOwu+r6l
LE6m5LSP75qQSQivpE5a8zRuTFQ+w7nnQRRv6hpuKoLAYUZklS+kTjY/vyzPNJWz27gKOP+7ibDu
udgrcZlnhXqaYtuvo3UV9Hmxbtg2jXUVjTJamzhx27es7aioaOZAD8aRsY3S33Zb+ZxXHQAINDGi
Iug5LblgiZp8HNlF5huqWpcmbWsiGRa9wbkw9M1bPLtm7XWZPQTbsTCIfh1lP2ZrN5KtvqKVAQ/Z
TJExBoNp3TZtlRbbRmuLh6Jmh6dSWVTeOE75DZ24fFuMKjhqtMGCQ1TlUbsmZ01NHmkQzrdOoAha
0Vvn13mH1Z29h6Acvuinrg3kCfqwc6Q61p1ZMqkvGI6J6zozK6DNVYp5vQnfbOme+3K2vwMWKzZm
OACuz50bJH7UIWFbpx6QvOA2ypQ1MAn86dIoZrwTudFY9wCgiD+YyZc7lGktuksQYsXPIhfDWe8l
s77nxjYcNN+W5zoJxHMEM0s/dHEZE57dpDgNgdxjI0odAphmt+ivxNCHM8qbsHLvE+EQcG/ixZSv
ltCSFqSkT2y4cFH/EjZCW4H1l+trOlq8RFz7VHZUK5LyqglbjYoUQpc7yL/4rGJb6P1D6Da1dkhb
EYRvrSY6Lmkao4eUhYkrSlO8m30g4r0SvNfZMvvrfgqiHXQcijdG3+QvE5vXViVJzC26lSkpI5h6
EQZ0EYS0iKxl0of6+0hpcssLMy9aTa+9JMSRoVLzhxhY0JclUdag/Ln3VXsHydCV5KpwGNuh+86R
l2QZq166zE3qAdRoMVuHgkt3UmOLoVpczAMwgkqQzRpBV69Nka313preXTaCu8x0yfBAVqAesD2K
M1oi8aZjr7mfh8F50sll2rgaxK4VgDNi08GjXOLXQdBOv/qtkCUWC8jgrFydNeymilYtrXcJ0h23
1aUiopKqV0XlF0EvJSC7H6wffVNl+76iOZUMzZPoOxZTqzqC2EX322RNdU/2RLlCqEvQXpjqXtMs
xyuc0i9FMb4GZVNcRMogvTaW7SFMHBT4PmbMVRRw2mWFJm4l5LBpxi0l4XpQR93vHaBDTNmh59Sb
MYrWoLOLMyGj5j7UVHHC5c0Q1iCwIjxvc08ZyBZMTganiFl5yGzjKR1D8xtqVON7jD92i5wwvB/7
SV25NdFHpUsvpcrJGekJk93bc5zc20k/H+jN3HHsNslkASe3Q5PAV0wkwQn5JV2srkcsbkWWs2f0
23cd2UYPKqAl6RSdekLxyTYbgYnxOg1eHQx3NAwRBMY1S5R+hWrGWtX0aJ+csknuA1IKTro59h6y
h+JkKeuBFcm8XxgBxw4KO7aoljurSbQJPUNriWiLl7xFs0V1upSnZyWLh8Ttjvpg23daSnTs1IN8
qPQf4xQAoGsjig4G1dZjrs9YzmH+0F6MjI0ssHaCCyAjMAlyVCEU4iq6bivd0AkaBG+SQHfbN7oK
Dwn6YG7cVqW2M4vXemTRfUwGf962NvLZAInasjhCdofAdkv6TrEmtKm4n2zLxnfTz91ytFkmXZJe
VQViAKUgkukwYSNuYBz2A8SN9F/C8FQblbmhsPSdLGvFMRRZ8Dp16pEU357m7gTZp8hks2d6mXta
1RLjFYf4lIFIHtbs3E6O726wH+BfV9Y5sbruMUzT6L0tRsNZI0eqf7j9aC5ix+L7WM3W3cASsNJw
cNz3edu/o1MY3yu3sPeZhp6dFt+tsLoKZ4I/XkL5fNKJKrnFmHgT2x2Z2K6/YVcA/WBa6SHx3e9B
EZJfblYloAyhMIRgE7+mFVV5mkR/YmlWAmd2Nm/jeKpv8Eu/TUn42tsWRTfMskAT0uRekfe27a2m
uqFu2Q/bEtvCvU8OVeAgRt0IQiwu3HHsMKOJwtouVdiVZtNijdg/97WZ493q7YZu8EgvYBwxPOsC
h1hiFeFFEsTPThiGxhqJSPuYFCmVZ5HIe4YGoMBKJNA2lNoTEdluYUPwI/WzfdmhH6PoJ82tk8/Q
PjLpbnR9BhjQZxZclsrFQgziwT25wrVuqizeASipvcnSh1dGvebNnNDu4qJPNq2L4iQk5AZOMbhv
LHtYGrpWvI70DPbKWgxIPbwN5Kh5eRdoSXhHq2i4l9ToDxHwy9u67TkhVAkJKRJn4EDUaW4+FbQS
oLC7z3rjq6Ptu+KiLkCCa0kQ/qT6QT02hLZvQERl+q+qYpDhj0JkKQ6wBTB46QAa2LVJfSgM5iya
YZFcj1owN5eocNQ2iBD4bpsIhStg8BhRaELsBVGtq76ZqztGi//StrCdVmEbWtd1p1rKecKkca9Z
IT5Wmsd7dwaGYiy4igTb1p6s9XhdWnF7qVTURY8Z7rqjPgepZzu13CXk92wa15Qnq23rE1YU6e9q
2i0TNic9N47ED4UA0pD1BCQPJwK6NA3TmPxUEzfXca5QbmzpkOR7pez5knArPVhhfa6Rxs/Kil5i
nWp2yJo1RsOuJaOpfc+cThEnYaBuWg1TWsVnkk7N9qSaSt7bBao8D/ZWh/+r51KjPwoUrc7ZsKfA
utRQp3NTp7nbRxs3g800U7YCxX4sglFq+JRAxJy6BNXRhcgsgACogcHnwinM2u/tZArtGi1ZGpxp
5Q6Ivish2rdJuH2CDCzStOx51io/xjDp4GXH1EFdXscURXiRHb66pW4k7yFuRXzdxE15zKd5LznB
HjtZzdlqKilriL4C1EgU5FVujvNadzC3RRSX76jHADMykBZekIY0XenM+X3oNHV4mHxI815roJ4Z
3TLYGFVGbmknE6+PdNfrdOHftaa5z9WS8ocOBzfZZUyr/J1aUv3NVpP1KjUJ5U4FxMp7eTyNP6lQ
TD/mcjCOre6q194ArHgcsqJMb4qJy9Y2J3BWHMeiYsxNjTR/lFGorcvC1Tc2yihaNn6LmNNPNFTy
cpjeVch1aRQC0NI4ERuFWwz46WakfSRXoyONbetwJ8qCrtxL9pJxkxW1ZCvsaDfctrpvvjuj6g81
Xrh9MoJ3Q7VfTz4lCoSYBZABymxnSXhLSyqYSeremqYE5BMJsDvw2iyOsbmh6I/M564ygNSsRyMZ
sSeJOqSahs247vp7LVFFep31BnYBApQnu6tusL9MQFXjFGYUFxCYYvYVoCg7OQJHTlxsykPEEdtx
2u5WmCVJhMgLdZlOpPJgB4AS2qHP58WEUbGbgjF9ApHeOF5bdmPj2bY/XFHSHkhptnNiFm9Dq24x
iRDYScTIS16QQo1XZgn5tOAdQ4E0iGJpwk0xiSx4YnFMk6em4fKl66JJ9zDg68VOXfhka/auQV0h
10ANrfQULAR3DssK2g2E3bq/jknlS+7REFktEaKl32v/pYf/KzH2KXojWL14bz+HBHzQY//fixNA
yPwXUfZr+iPqf37EGip+y39F2bZFJICNrlqnbWNRfQVe+F9Rtm3+h5ABhcJ68W1Rjv3/omz7P+hU
LQFxmzQCcKc2v+l/VNma/h9bB7/K75SC3wgj1P03uuwFwvkr1BXzPbBFKD6QnckaEIto+xcWaDSN
U6SaVvc4abjqtuA8RrZ1hRUzTa21XdfRheFe/vKC/qAF/0hStAWRCRYKcMrdDrd/U3xibvrAqHLU
nnTFqzzxDAIB1wQotZu/P8X+42OEhBJqc9JWhvXxoxl+iWtwCHVvQYKZtrWx/D3G87HZdLhmopci
eUrSfYk0Mj1W86ZyyTVY6wk9u9UUHKoHzVhr9lGlV6VGatgaYgBZcfylc8AStGvWpBJx4W0I6KNs
jPCUw6KxQSPgXBpXIwSDYjP0F4tst14pY2WFa6RG8Wvyw3p1ix04C43sYlxtSNQzb3qb3qoBjbZH
NVaE/UqZXjRfQLPFYDjj+B8Hzl2kw23snqKJ5/8XScrM+7M+/7dxwHfCYqljAVAsl+bC3P1lHAw1
u7nRMw4qk16UnpDwO2DTwjx8m5DxtpZzMK6nWZ3//iX96TsStuGiTLSVEp9RtGleYksJeCwu+HHL
LYH7v9uUV39/igU79OMo59PZJrkeErroYj74+On6xiSKRdClC228bV5leyLfhc1pcItV0eMcW5WQ
BlT9muWPTXplyOusWAgeW4fhP6FgX4+rWhwMNK/4q25q9wmu2zrXr23QVDbH3uuICF6Cvw7jQIo5
eHbKZP1L0F2Nyfc+/2L+/PHjOLqjBK9u4SAvH/eXL6ueQnvMbKzRAWhcdY3aY40QA/j/5TDp6yIC
TRi3O6nStd2PC1lwJYebWPJLRjIiRWfXldeZvg2ri3R+ldG7Fh76SnipDSSg4U55mdbNphwOSbUJ
O8+Or1zhSfB1qEhpJp1VhziNXaz7Auz8Gca7LAyOsnXWQgah4XxaGDBq+Ei01eyR98ddpZq3FPTJ
anB8zFxdz2wBz/v3oWEs1OoPCyDPdOmauZJFGg/qp3dpAUGlmS+J+xHmyY1eSRDxr0IpUCuX7KEV
Giuw6fsCGglKaivcObPt/f1nWObWpx9BwJZVSkr4RcSuf/w6CyqMdp0TSgHFgXqMeWk19QYL1Rvx
fPoXKRh/ehaUY4uZvkx399PHFZrd6SieZs+JkDkBhAS2ZSO4KpBJDXq//fsnW/60z5/Mpe3ORoV7
1NCX6f/LQJ1K0KGm5EFma10CUEF7jTJslZn4zKe0fgSCuY6BSDqx88WU/8PCwv5pC9dQkk1WftrX
xpF81qqFCEmlIqcP1sa7qVfBF3vMH57Cxu4q5qEBHfzzgEUHRwQOn9ELiYZbdXlFOV/gkPv7WzSW
cf/pNUrddl32Mlxc+j873S+vMYmsIgdrP3t4BTYOTSZ0Q+HG6gyXVaZ1wM5c51qCGnKk36y1wxeL
9B/2BokxSwgWTsFxZfn3vzx+dgfqmiiKPO6oSxv5tWqRxuhTj6ScePRjICOPEfzFU/+wGEhYYSwD
Quepn08m1MiQpxG6jXKPRIHQNKhguwjXo1dFG5wirV9+wUX/4xNZVUGj0/DX9WWp+OVzJkaVBCAR
Zy8u6IwI+mzc6Hwy6GcSRUqNVhvppcEXX+4fJiQGO1vJxR3H/5Yf6peHEtyNDacfJy8zrmUNBTFQ
k8TXU7xPwPv+PpD++CwUvMu8ZzKq5d//8ixfDKGWJDyLlsaW6ExtU4xEUBKuXeIAML6Ygn96Gk8i
ooYzLqvNp9fpt1EapAwQL+ke+skc6EEXdEUmepKzIb54jX+aibxDTnqKv1hIP340wiVGun3cmcwI
oauJj2ktUxQs//YFQv63DQszJFkIdH0/PqUL5iHQoa14fgKfX6bf+j75PgHwE6b1P5D4//VE9tva
6aLWEaDzHSmUYHf6+Kyocq1uaNCOuqTKrrD2DHsY12S2Jvrj1Lgwloz50CQo0FX4L+OpliFiKeqG
pg0viIX70+pJYEdJkd5cDhjR21zD44hxaY7IJj2i+9DLVxgkTGwlmOf7gCpbPTcPSAC+mhy/zUh+
DleXNvlDJKFxQvz4DvwRWXEz1GTBzu0Pk9mxKXWxm/xkl5hI6iKNbs3fv+HPyVz/fHSOoxwEwNDj
ev30FceVM2djD97QAlm4WrQ5Q+WewWBjcnIF4O/IPEddMZDEXjmUlsV7TiRSW+G8/+InWZ70YdVn
X+HVc/sDpQO45NNpSIfTZtg2CnYUJiQZZ1BuceEc9bhCqenI66XCQJXCcrZEKt9TZdU2ve4cpRte
aaIPvzh0/rYJcOHkkkiT1NIF6/GnTUBHrhLNRjwjwiLiJwnDZTVeV/jcq6FWmFPCY1aG739/B+K3
aU3ynXCBWtpcDrjtfhqIZqAgQBJj7umg3rvsveeCEATPRfmTOQPUT65wUfj5Rgs3kNzd+TFTVyIh
L+1b2j923cHUvoXuVbRwaMvVObqWx3TYBzAwoCHb+Q5teyJ/IoMfmcLOwU7v/BBnyaY0SZ5+jKeX
PqQYeR6S09hc//2jGf+sfx+/X066y8EPzzaHZ8ICP6zGs6aMGPcN2029F/pR4/Zpyx+Tc5PR362b
lypH7quu/em+SC98h1vrvZNc0PXNQq4w8qoeHsngomd2FmgXovZZdbvWfnbKfc61tthh253cbVXt
0F04q5po8XSNHRA6crCpYKsPm7o9FM1WDls/PqTWJSM7785a8MNMT715YZWvRX4Sw/ZlTPYWZS3l
depsGd4Yetbz+JKaW0jpfXiXpldIYWR3CWKdTKbiuwyfx+iZcCWl0Za7m8XBircUid3FLYeRcDPd
LoLueaUPSIhbVEQ3LQBAADjVQwGbhm5Qfj+8xXhMotuc3KJgB5zSjz3zwaYnqt+E8xXHcbxEdIWa
GXi4h1KUa7a0LhCEOxK34zZHYWcMD7Z/V3Vrx760+x3HFw1EGUdRBAaVfYGEEPx6/4K1b8SRgSqq
JZvZ69+MS+mvVXetm1uiuCexKnGwaUd8UDH+ZuMm9JNt1B7m/nsWfh/zzURYUHnS572ot3ZWov2N
V0RM4gB41dWpOiRIJ3F/9ht/vKjavSE9XxzGRTr9xQ7/+4LJmCIMzqG0RDal+emi67A7ZTlgIi8s
LHpvBmnCdRBvAgJ9e8LN1g7r+hd74p+mqOL8Kx1KOsIxPt0o0DsXNRhkdl7+zzrr6Xc4KX6XL6bL
P1Whz9OFk5kOOYCdyficT7hoKkh8hww89NfIr/BTKhNqKWCY1fwG0NLRv5X1/dTdjuKHJX42ON76
Zu9gbzP1Q9h4mC1yms9Y9nqvczYY+Foy1dzdsCi/w7XReMp5jvFL592m75/D89Ipu9UusmZFqhHQ
8zOXFmGuOo6BF+1lcLRPGdp5tQ0v2lMrPYysBX94tXZ3CCSuqjuIKMgL1QSM0oNEV5wpKRRkZxi7
4KpPL8tun1lbN1tBpl/l+Sp969t7J7rLSTeb3udtoG/o2pmdhwOXSU/JfTVVtKWjdK3Lp3J+w5kl
/YtGrsGDOdNVhI+nwcXzXNdXZbg3DZTV3tjfURFw7BXs5XbcdbPXDyc4bzNwVGyS1VY4x6Z5oXPb
nv35qUgfMpL6BLOsN745+KfbbDi2YLr6KqKJ9IruXJRgmymHoUasq5s+Oy7J5zQ7px9//8Z/Oz5y
Z6SQTY2DJXL558flsSW2zK7wa3mDiitPRv2brMGDaVJczD7943//NIOMVRc8hsOd4/NGo3LRN+iG
gPNg3RdU8YbKhMWFHsvLcQr//Wm/3+go+VKLIvdSRyuOjPfjh6uTZqnOTxM2PVLS4VPl+HBQD6Ml
xaPDyFOJPeKWAoHYGHeoBuQX28/y9j7NJo7JnGWl4fB+/ymL/HIVIL2tCEmJ434MI3edpBGKNNNt
vpi1f/gOTQAWpkIqv7zUT1ucCWLfEkgJvcyWxKnU9uJCwvlg+HDeIA1+8Vp/P6Msz6KOgz1UUnP4
dGIibdLNur7CvlUQ2QJ9w9WpcHERWbUAcP0crbTthOUXa+7nDwkYS1DMpiJPQR4Rxec1t/SJFMEO
51n58FIWA5ZR52TO36sm0r74gJ/vBDyKx5gciS1OxBh0Pg6bGAJbgEKbirPhdid2vjJB1KEq92Fp
75r+sY9qz7aiafv38fp5W6FGZjh8NMr2Fke/fw7Nv4wWUKuWia60wQ/DIkh6MIgz2Jf0sfCH2wNU
ZM3+4pG/TRHHYCNzJRcRTsDcyj9NESvUgUH0hHKUsqR5qtUnzEaePUDt67RkQ0rHKqHVt+u66gDg
1viXQ5fHu9x+HEouHDy5g3181REM60JL3MJzcb2QGYDsvuBEU0+UAdrZvf37C/59DEm6Peyf1JE4
5n7et01LKrTeoKDgVncbHZEo4UZIX8HlbGjnfpUA99v3yR/IHIEfR/2YZtKnD4dVtJ05XuYe/pUa
6U3FdER/6lW4D9Z12b0nWRF9MXb/Kdj8uuQ4ZPxSWDFRj1AvIwD50xuVjWYQqZJ5hXMzR1s6qhvd
J6zvwa6s664mxb3kHIduqEYS5EJsR6WTXfILmpXz8C1JtrO2D+vVrH8L+wea67SEtxFqAlledsWJ
v09FvBlcLqLkOwDC5L91y5vOeODPwMzBHyAx03PiJTqA36qBBDb8y7l4+JffJZ+TzDGL4xD1Mhp0
Hz8nCDchJ4c02ams7/yh1tYgCnGcjUW/kqq0vhiov60JVFYYNEtzgzxl2KgfHzcO5aRGKG5IA7ic
odxiW3cRY5bmJk3T99mC4d/o0U2fi5u/f9A/Ptng8Rw5raWI9fHJs4G0ri0qQqTi5Gc4GsPGJiAE
nmuo7Vyds00zAzJGYet+8eDfZsvykSnTUcdmyxbmp6WhM6Oksao4oneo7yY9wKoW2VyBJoiqZfZV
kfe3FoHDu+W9GmKpiFAJ/TRbUjmgH25noqbSZkEjelDs1D5r4L4OaroCj7zN3T6/on0VeCptyIcL
vqqE/FOw/jh7aJzSpaQGzM9Ci+Tjy7ZKW45ZPUKMRsSQAVDSNRR+D0bPGdHUMMFEGx294l43gvte
o6dJ3zM6iLDZ5emBAT/DmfT1BN3oZkoQRIGuMjH3YThBMMYEye9C+kVw9HR141YHrtvcDrHFdoaP
3APhSbz1q1daImSkMJn4O5OQtKc1AQo9nKg5fRyibYtBi3PIyip52KXPHw1UC9DHF2P+T1+JXL59
1hFah1T4P76NPjYccl1kT3H4KjJIAoKP3l6kXA9w6xjrIddXMAykB33wXLRwAoFlhl8saJ9PG8t9
hzMUrX0dqhnMsY8/g+7LCJ8QB3SjT7XVDGyKpL9V2T/aox1gPyUcNvgqhPX3kc8mLB1p/tOtZR39
+MzUQQzVEiLhze3s/T/2zmM5ciRZ168yNnu0AQG9OHeRCsykLLIUawNjKWit8fT3A3ummwkyidO5
PmZjbdZVPQAyhIeH+y+apgEPg6Px2tMoVmjy6v39TWuBxx0tOpUCFCVcgAuTI+Nk7viyYNylDcxE
qas38gf1R3ZPbJE/o0xiDNvI+wBHwR22/Kv0I4XCQZOxxDLrqqUUU616rGHwxNJW8qfxEiHMdKMk
mwR1Hf0n/2z6L419C3AmLBxL2UkCg18ELWv1aSJBs4SktdApfO5zxA4QNCy3qbjPhsceDx8ELCGB
ZHQqpXUir7mu8E9AoDCIINWGzQpVxSrZ4IkLXKrQqQlsdbFGrtJKN2ZzMfH0bEBzF1Lg4LKX+DuI
64XuuOEaGsOUC7swJVbpnXo73tWQIcNV/NH8otQrcAE+atHShZJeaKFja47m/UwtqIAOFeHxBpFs
JDzpSlBqEg+Gt8mMC0ilsX2T67sS7ctwXaOQKO/zalcrTipDlb/JkYAC9GhDuHH4Q2QTEDcYhTPU
e5TqdG9tdLvwWxXeqt5BecwD/NPX/pW46b92v3EA+CYc6Sr9hQxaG+lbT79F96UbrjK1Bi28i9RP
7vAD2Yk8+hEkHxLontpKuQM85ikHMGNSsEHy1v7pX48LEfrV0TAtnEnNz5bJWOmNHS8cKVbALLkj
C6dC3bmyczjSJqUWFfcgpVf9w4hE3jowhbdB+8nYLyzcN9ctPQcW71TDnpdOAz3rIZIq9UaX022G
ti4s/E03tI4E6ZTZ0umwtJDzAN/Stm+T5J9eCfj5Bg16KjGmZlFCP/75Cj84NEqPpYY1UeL7NVhR
7CzBc67GtF942as4REpO+UXnbJKncDSLCUgjm7VZwaILtdK7qAb3mrr5Loeat1KH+MmrWQzPnlfv
D7KYLm+z4MB7gfDgzUqXeO7vm0RBUQKZrzdJCCZUafEr0VKwpugeag5RO7kMdHVCJihruvr9bR1j
tyK1gbKmczniLoqGehb7lyNmCZu0Eb9AwFoH8jaRQEposXMIJKp+Qe2uaxePwvc///WokUKwOKfk
XpOBPh1PEWwj0Up2V2xaqbgs9QaqFRjMjpyxqeKJWpx96cKFS/c0E8cjxjsFolkTwEG3rdmpBbPS
qtCBK0jTitFBZMUxjObQFuKS9opEWE2WQFCvzgsVZAMVZlsopuCCOvuVLRrzFDYAKlGOqA+x9D1G
s8rqGummG4qP/3REpw4NGI5pGSq2PFuHQZa1lRmUGS62g+YUMjUylEKIM9IWsPom9Wz7QFqc7t5/
7etBZe3JCiewQP+WbtnxRNrBRC9MM+iboi2gu1VbQDCyE7tigCqPzFqIZvL7r3ydfqgsmKkSSYOa
hqA1bY0X9+FUrxS0Y6Jso/StuqIzExFFqDQaI15ZqQAVXBtYUiF9gvB4g+dUanX+ulWifxxmUWad
sFNcU21NzO9x8JIQJihU5PwjgV4SFFEMShArDHCfLDoUuVjCveFven388P4QvF5Yx2+ejToMucZE
gYY3mxuzxy2yxUkG2qRubr1wYbhfHybH75ptm5yqsEk4SzZVIX0bLK76fqMCTvRWan0z1leaCIud
otOce/83Tnn98XblvYRVQgHtXnCYx7OcBFB088anNIcg6roZKjiDUuot5LJvjSRpPVcMDgqwirMt
6o06nlO+SDdQetN1IBtQFjp03PANs3R/CQLwxtK1NbA/LFzVfFbiPf5RISBuXEFhO4d9/CMwot/Q
BeDtKO51x8mRucU2I6f2Y9Pc0w/Ep1VfOp3F69N5+gSdAKgiPQze8PgTvJIWIocj+h/tt9yfityp
6dNND9MrWNDoZ5RtcJmhg7eqNeVJGyTY0ZTn0ffCbAcA/BV6jtaaV5TbptHRug3JOa3JIMOXAE+j
jfiPT1g+GPkXFhpXL4bt+IMbVQ9VBbDqxg+l27xFptTT8p1RRpvYGHZUqroVopnKwgn1amFodH2p
BgGRpRCuG7McCtdweFFVGG0m9uwOZcFvUtdju2h+UXHaOedlSESgHc1NnhrN8U/MXAsaWOVHcOjL
yWkiotMQKY9Njogc3dT3N9brXwZqEdFpLm9IQb8CAIMmkrvSpw2BnuL3ssBMKLdsB2LrJlVQSfzn
L5twYOSiGMXTPDr+ZW7VwNiEBrqhdInpg+HoLjILCFIkK2wdf7//sleHEWQak9o++RjnrTZP/Aap
B2oGu3WDdCVFp9BAd8a2nibao5KY7T7xO2MhSilL75wdRhKCXWaL5yNWYCASUFhwstyoEWhoZFy1
lC2VC5rLhbKLFKPHgLTE6kLYh4jUfZ0i8zByOTOwcLo0XQulCdVcQJO8yrQYE1r41Glo4xjyHD7W
D1DFKUciz5BbEtYAanwr6u9F5qL/2iCTH/l3mIvn+/dnYprWo+AN5AYPIo2Ei1UGe/R42pPegMQn
8OZGHczdx5iFwaJfKv0/Nzf/fotFNUg10C+aIP7TQp5jnCwQQZ4QKFFGsZ/v5CADbutTmZaT7gOs
pvw7dNkPMNOUi0FCQ6uxlZ9V1HwdtPHS99FUkroxn6Rvngi8+b7DsWKVK+pDhZntwjY4PkT//FJY
2CQJlOtY5rNogj5v2bmSj8VTblyrdoIdGd5eTeWF+5w7rq0++oF3FRiDtjD9yvFM8GZB9Zxi+iQk
D21zXkn3U09r6ASxJ4L6IoR1voJ0cFEWcbxDNFs4MljlSgfni3VksB16fxsg0pjtU70sv3nd+Pn9
hTFrLDx/j2FTP5mOdRCN+uzA7UOpM2X0njdIlhgbtcB7wdpInllu7Ypqu5dlzljbX8HD4GSA3uTC
fj3erv95PUUjDc4FWfIc1xi4jdy2Ia9vK7AG0Io/Yq8LxF++gyoHq7mV+oU3Hm/A/76RW5pOK1V9
dVHLe/TzaCmE8C2Et85Tu78N1PWYWcjY+YN6UbRomMCk/3PF/R8l6N/Ptb7TlKC7p/Lpx6/4X/sq
fsJ388iuYaoS/teuQfwBNBr+DrcIhfXI3/zJDFIU5Q8QaED+pmRjcnL4y65BMf8Aj0d6Q+5ERks6
8hczSNHhE9GtegY9T7QX65/wgmaniiSor2sGfT9xHDclF5Jp5LbVQS/DmzBK1sJNDtGk6ZlpcLbh
T6jS18hMb3oyL1FiC2lTxAlUMkXXaFadmv9Ie3ct5erF+/tWP17Gf3/RLHL1ei2yzhyqQ5jjNo46
NOCWHHY5SJdLdGd2TYYTmlsiEa8O9RUaGxYk4oq9OzY/i1CAlYOh2GvjQWnJJk16XQr6tRuzEvo6
SMxkp6RU+Oza3MX1kK176PhrIwvvhell94rGtQ5J7EPcBI+aOh5wGv04JuENp8TnAfXnlehLUExx
5V0goahvRyurt2HBBzYaSm6Wu/eSbIPd+p2cZR99kHq0T2/MBOE9HznSFaa3X9UOZcBCUn4Adfys
NL1BzV5+GPTMg53CP5rauB3HavP+gD6Ta/4+vP4e0Ck/f3F7VerckOqibw92SOG6Lax1o/CbsRyE
MdspqJ5hwjFRcgNs6lzaann4mKUmkDhEJrXeI3JVTqZ3gkt2dpF4xq8SOZek/daY0Hek/q4OcQK3
8EyAq90l+JHlJLFiwPw5FO22HKgjd2PbbFCojtdjMQBj1IyPOPMoq9ZsPxSFuZAMCP0oG/jrp8KV
O/qpRl/LbSQh3jq4k+ksvlUpZOJSvWaQL+qWNkGrIUzq6675xVVZv4PZPWpBHG7b0atXel1cAD9B
2tF7gELp6Lb40Vi164wVigOY2nxVM2BrLPb0gz94d41XLLVqZ2W2vz992g4vZinK7BarOrk4lEhB
wj6HXnsI4IvZnJTAIBz4vvcWiBGE3Cadm0c8SD4bKJmg9brB7ApEPjqoMQa+k+pzDIIWbajEVq5s
tVrbZnbv9d3D+wtKOc7r//7U6ch78al+mvt6ZPrlgY7EWgmQKaNCH6F4N7QN2s+996PUWT5W9jFW
w4exxNSL1pB8obXGuszyKxwykOMrlxLPU5M+feaLzzFCNrquIzthIc/fBKiwNOyspVP1uSf/xvZ5
XmsvHp/6OH57clke0P2/KtAuqeoBcLBBtVtvhQ0dOUVMR0bprNQo8z93ZH3UpGORPOBiktAC8G9d
r75sqgpxpThyVN0PV2YcPMpx9KAg5JWF5q/35+Y46/h7ama3HxMTj37IsvLQY2iGfrSN3FIUpiud
1gJ3/IWQMsut/n7N7A6CzGUVJEFTHJQMKUckXo0iYXw8pxUYWCjZxizzm0arQU0P6/d/2XO39615
mJ1ULkKxaR+nxaGzR/QZrEv02pCW0rD1qTrjN57Y6CoOvfQp8hqcX8KL0NB3PW4uG6ms6Y8EUKH7
FmuZ2JO/hgWYlqpsv9sZ/skI3pZrcv4lFKM4NQ2zM8zQMd52Bys/1F1LF2cQeJHbk3xGM64sbRTo
s8eO4dmfhKh2vj72UEyTL6XwldXkkQPB3NsOcv0V81H8FLwbqiCbxAabrulgsY3Lrg9+FIG474Yc
eWNuwRucu7ZVIl8vDPY0kW8N9uzMGK2q6BBfLA5jUOHqqaGlnYI4Uo2PMmqgOi3CAuXORIvQU0R0
Izd2kNlWjU69xK6uhzhYc4v6QKaLOHdz32UyuErzB4H2wk1wAFK9Yql7qZ741DkgNUVwfkhcuziE
FZpbUiOsq7HOu9WIauyN3Y3G1hvIUPweGnAL3wcr6eg+M3L5Vlc8g966NUKrQoAVXamVnYh8pbs1
BoRuom7rqKouYrzFpS78rLrKJ5RxvtkKfdguih38gp/kSvHJREiwA/z4oPAPl1ZC+Rs698dJk/r9
+XjmBr4xH/NLtYvKmpVpSn4QIaKJaXBpGO4hMexfKIBeZGlzE5Vfma5LfVR3WllfyqmxS3HDXdjw
z9fGt94/C/mpVZeNYGUe0G9BOWYcknWbkPQYmGff5aQUNmKFYG5hTklyhx2t9iOXinodNGbGcYX+
M5wXQLyDt4kHnW3b/OwTjLNRrWhWdYVwnJYoWLPnJThev0cuA4/uD3keaRe9tzbxLVLz8jKJUdal
JLvSUr/bpL6lb22LZijdpCsLDXHHlrwLOgFPo5CQAQOasy4ShIgBtFUb1GM+YaW8R40anfmSziTS
RffcSLtd65ffdDdUV4WOJt8Aj0jNpBsUej5FsfnFV6PHliC+0uLsKvHUixwZ474zyl3ha4/vT/Cs
WPpXRH0+a1+cMjgFdZbR4kEo9yS0lVd8rFqt2OQt3eVGlRG98kW9UzEdwJyrVldxl2IOS1DccBJH
2P+hwVVH2hNFD9LzXMPl0vX8rYtjUdn1+PD0JMLvf6t2IkOf04XaDCnrVm3ag6v5N2WLdhfWk+md
psb42nrBSmv0g96ZYtObyrYkL7Amz1i7bGEENOvKi50ek+DMH3+HaXkb9Y/Iz1ybEkJcebvOreIi
h07fBbibmNpFicZrrHn8Vvfg2iUpjrEBEbGNsm+uZYOpFlimmuV9ZJiXqKQ6RpusB1fZSuJDbFwR
e1eSdJW0P3uBPpSBTrgf/3nxPcncOjlns8MWd/AYHbq2POj4wjl1E2Cvk0YmyKwy2CsW8FfXCixM
YdB8yQx8pFwCtTRS+lT08SmQaN9quLDgAZ/G2wqdW6oTFnLkok1WquZrNHf7celjp2PyrR08O7Il
DG5kz0vqQ5igZrnObEQPAiPEaij1XXJl69aLi26TTRtQVhucZbOwXns2hiKTbh/2USDjfd0P7qwg
bB66BG/ocdTKa6BQEA3SrF6no4xWTI6mnVEt5DPGqeg+O/UHPDECFD2zQ6XL9WbUgONHdYRcFF7t
u9ZGP13183pLAa3b4IfQbRCztNCc0yM8iIqrcAzuzcK9zZvhQsdKbJ3r5MzYrPpbyiTaGi1vfRUA
B1urSViDoDPjnWEKeSVEiEqAmcirAmj2ulKCx8b27uos8dbCE9oFDFxoMtiRrgqpFZBT+ItCgSIQ
yMha5XWdrHCNv9ddkr4pa3SrOMOKobpoMQa3Sv8ugImAYWtyzS7aF653Y0npFiVQxJXNhtKlp8pY
lxr4dbhDFLGPpqxeTnsHrdIvdVSTVJuZh+AL0yTieELjYRHx/hY/lfQ+t5VehCOosUbD5TU/uBJC
GHnOZQIpmpxzL3H7dVvDQ/Q84Opm1vzqNYGypQS0Remx3rVRkNxmaqVv8Rf4olT6IRrVD/gCX6mj
X3A7UfXbXrRXWpqiAwK/6P1PPnUrec5VX3xy1uWpZoZ5fIgi64vf1t/Q6E5WutyBzBG43NnGFyqE
XxLh32I4VztxVhIpDSkFowH2thDBXZUgbxwG9+d9kTy7jaqEXISpUioZhRLcKkNIBT5AUO8Bt4pJ
W7D7rAtAS4Jm59ZXNHTvw7S7iAvpUGqZbzoEGB2KCTWja88dAwc7ZW9hX52q+1A9Oro0iXZAOqiW
84PnTwIgKhhSXQWUpD6jNhrRg0fCFF0ybmuPazN+DTKQKx1aWKK0+Kf02q3fZPJO6hpBPUHOCNxh
vXDCnLpfzLEFyohgaN4o7SHVor0YFadD6wmG5LVpZXuDrW41407X8VhT/A9nztbsGpmIRFZEPHQH
JAsRZcMnNNGBo+Go47uYUGiyU9n2psCFMerxRg7dT1XlOiIYCioonrFBNv3O8uvLhc85ccjO+U9M
ut4VyFEfzLb9pIYxysQ1HplZ1N+5eIojo0kdBXvTX4lkXk6uPgB/HzRu/dBZRn2r1hLSoor3Iws0
nFHK8MmwpAXGt5gOuDfOklc9tnGQcwTcmkPjG4iyma33zSVn/q0Min1APbO6EF6hrBA8xHCwvYyo
hsVV9U3Ws6syoBqA7hjgMKvNd1QMggPZZYdDmBEAdo3v9Vbdjkb4aJpc6FJ5gBZVLwBzTp3Y8uwQ
dGMJnkVtYUhTtJ/02ra2VYhPZC1Zq7xMHpWo/tZ5HBAabRFNq59M4jPePIiU6o1/kxjSdRUgq6g1
prrz8NlGFpTl7xfBLy8lq12Y+ik+vDW8szPPyKURRTlscwTegytbDq+VAoBlIKc/VbwhSE69W9jM
PoY6xZWlZSjpctyZOFSsUA7DwU7VP44WB1bhIklGctZ0GykXtfP8ff+o4P8xS/jfuwJgJ2XCphf9
yHKM5z2/rv7f80NQL9o81U9H/4IpRlAPH5pf5XD/q2ri+r++xNN/+b/9y3/9en7KxyH/9T///pE1
aT09jeJ2elSvn8AJpyv910/xE8aaT6/+L/8t8dt/AFVXAQ5QzbeticP2Z4nftv+gt4/UDRQTOojP
DYX/ODKbfzyzsgAu4hJp0wtgTf5H/Ev+w9JBVU6qYRg5T80B8U9q/Ce2Kx3B41iftqYfj5Gr7hGH
DvBwRSZ9hZVecm8OTXeJWCLl3FQT0hejb/NNUqIFD8miiPajZykf+lHK8PupS3wQsNOJO/yfMEpI
cE3z61pcu7liPeVN1e19GUX1rWslHOzKJOyvdUEdYA3p9wuH/DP9/PXWoJdy/FPspLIRUWhACscg
W1YDDqi/KhMX3JWrS1oP9HdSZjA41ik3k4NceWVeCPJwNPhp1Tb5L9wMrM9jAkBz1RTTXSsMa+hp
KV6a1xh0isdOsqwbxPasb8x17PiBmhJ78z55srCPq+BYJsXj0NUWJQ9Z+tK0lnY1ovC/0Ed9e/Nj
3338C7uuxrdSD/U9nqqxudJwhv0htBTQM0qH0vdQzeIv+jhyrS4920JcBzWhbiHy6G8GHhbk8bt7
Pa2LzsrGvaqO0h0gGeWxsCv3a9sXhbTwjreLx2Kuc+FKea8bVTeyuNT+h6kO6feglOQHc9B9jBoD
WgQvtujdn4viX5RV73CIrav/+feJgiFoweNfk4Yw48JWwxeW0fttYmZ8X7ql/KkuhTVhoMzhIg8b
MG2G3Ekf4t42byO7d5F4LT35k2UXMoSHxvqOkHiLHn0EON2qNVQQylyAMZTkathq+NT9VPAkuHL7
OMoWxujt85V++vGXZ7Lvax7q/s4Y6E5qjwcscxfyilOPnv78RZbclF0p3GGsnQG8oOenF0qUL6zc
U4+eHa5RXaLX3jW144riVpH9e5mz6v25PPVocfzVtl+ooa8WfHUVIUVSbNSMIP1XIH9jlZx68iw2
mhStsWfjyXBid/6I7Wpabs979DxWGTEs5ySrHSHBilIRjpabzVmPnoMII9GL0bQ6RN8ieRcNITJN
S3X2EwNizmJAkiZBAk6ycuxC/eCL8FfpaucNiDkrIuJJVo9phoFlZtnfM7A6nlEsFKxPRK5JQfPl
sk77ztIweGCBYOCNB9No4ksk4upjX6Te7/MGfbYryfRkxU14R+23KEbrWmE/qXaXnDmn04S82Jlx
iFdeZ7MSk8E2qNeVLZx05M3P+/jZ5kxtK9aUKKrxacF4z0LoGNfv8x4925xVrCUVliKgenoUhDyc
3keteDjv2bPtiSVkqcQ9iCFTVA9Jrm/CRdG6Uwt9tj2pWGFsghGGg2PnJkPls5LKhcGeFvQbWcpc
ZHCUApgvdUJQgXL/xU0i5cItI/tz3OLTaHp6eE9drV1Q7DnxO4zZhi3xdon8kV3VJeV6VKhpDEv8
u1OPnm1YDc8NT3geQySTIXXQPPxFmvCJIZptWCTeNZHbZeX4EeRng151vjlrycw1hJLc1URQAlkA
yf8ZPMBXFMQW7o/Tx701r9M4vdiiNAZc06rzyjH9UN+pGreuOnPTfWAHxdrEn/DivJ8w26ygJgJ0
nF1iMCLQSEbjmtGYUr+wOk/N6my/+mlnJPiXci4VWL65v7r0P+rQJyvip548262ujWHAgKyEU4gS
K0u3/5LgvX5eDmDM9mueBnFS1AxKLIx1HuZ0BZZECE589xwi6NtB6it5UTmlLpdYpms2+siYP581
m89ApxerRml8dUAEoHKM0brE1dSJ8WU/79GzDdpnyEpjlcNC0U20xY3sUGYol5338NkW9bsmBkpQ
s5Hsdm0ZzWbAfPS8R8+O0srzva5tm8rRleSzXWjfcyx4z3v0bI8WlS5SnEMqR6ApG1nWmgbf5rxH
z7YlvkYZ5pNMZISUc44d9mDsznvybEtmsZ76fkXMslJ1D9NwWw33C0+ejoE3YpY+25NSYql9mrG2
W9VUQUe7JEbkueuu8+MP8qDaVwgKTmLYbQHDJvJD7VZBTOnCrD26jtXQRg0eTZ7+tbF669FPDHkV
4+G0iWzFvMuwt/PXUZCbT9gPS/cBPlYXUm+En2Ss5HGqmty9cH3rFbvdj9QkNx5SJ7uymLrnbeHT
Sg06mZaJkvyc/Id2VTQMF51A9qmXMIqTAJJbK7XLMM2uwuZXEOvYBnVWBXojzIX5sTfSbItTtHwv
DUZW02GW6nuBB1eNz63RnZfh6LPQA6ZsKG2UABzMsDA8BQxRGuct1zljj44DpglYmTm5bd27mXyP
I8KZj54lBrh40mKYlqsb7CMRb3BAOG8jzGnpRuy5dS7z5DFHSlQPmu++uaRcfCIWa7Ooo+RZghhS
XDlhlGJDW0XVynabh4Xd8PZmmIOxTVxdRywcKkfN3MtMCw6ZcM87s+f6VWOOo1iSpqyRBtpOpSEi
FSl41Jz34bPQ40OVTRufXYwZ7zY0hsuxWpKEPzXgs9hTcSrZ1P2YzAaqPyr4wuvPC2tzTR+AEz14
EVE5jWdt+97YdPHS4XSiRfSKVCS1dluoslw5vT34Tzi44PBO2X4Da8z+GBMLEDMDAXKjxCGc7JDb
lCq7xXlb61mx/cWRPvkGjU0bEq99pbuU1RGBuQH4w1mTPZdhwG2WTib1TdJue6P3V11+5sadS7hw
5vpDVitMCIYiGapwtrfUMj6xjJ7Rxy+GJGi6SMfmpHIULfiIU1BM66w7c0Bm6QJ47KiJsWLl2dJt
EGA9g+jKeWM9/ZwXnx0NRtmHboZsiijv4qzdSiVny3nPnm1aFGNKRZ8+u4epXCDoUPw678GzLWuZ
yjjWesd4IMxdi4Qe8dK+OjWNs3Qhb9MUCh2Pxrm18LCZLqqFEDYF8DcSEXV2iCqKJE0t+nrinmC5
Sztyow8VOCVT7W9zNfbOuw+/woDLyqj7BTOK8aGK5EP7wQphPL0/8s/Mvjd+xVwXV0hp3sSFx94c
QRYCDRm31FZc6ntBgqJVDYEiH+RDmQJv7tseA1ldi1E8NeTfml0Y5x02z7jTF6s271UtGdTkeUNc
+3IKli1Y/I0nlsCcBx2oeQ5gk5NsjI27PqnvcsVfuECfwJUgRna83byoKaFRco7VXYSnI0XA+CYD
2rbGx8vdBXTPwBoYebGF0kjnqMO9DVt7aW8Flf1QGG35iH9NeihAmW4mts2dKQ06uSxDgU9jsZbx
79yOmieuMknvLhOzdBdm/u1RUeYSRGMKBDRt2tJRcugh+qi4G92ulhDVp54+G5dyMCqg203hYPi5
dttorXfywiE8PeL1ioVodDzkCgANewBV58hSZj1ofVUf/NRQn3CwXYKHvv31ECOPXzFYoSjMhFlF
Q3NDqr9qzl6MsxgaZyHeB5gDOCou4oP9jTbAWRMq5hp8Q+BHtaFzYCU1gFDIFz7GcfVCPfrUiMzC
qOJJDIMZcVWsDISC0wfNwpTy/Rh06tmzQIpad4wgMPuzHOKQllTqGJXx86xnz8HUsVcIHDvYTRwB
h9btahST+n8mtPBfjOsrYwlN93WUM3PM3gq4UXUPbC6g97YQE5+x0K8XOgoox6uwGOwkpB/X7Au7
0bZWHIH3bqTHAZnzXSXAmSg9NTRM1uXLJhEVpEiUp2Ws7daNSIdL+kvNvg4D60LpZeWyRRB/g2lr
eDGgBnBe3jhH+XJP7qxCH5o9WoGqI7ME1wMU6oWFMf3QtwZgFkRcGL+GkU9qUqPZH9pST/ahVOe3
tW4FMF5FNq5sBefb95fKqbfNNj1AeSBIQNqc0q6am84WxpXdB9r1oFjVtW+oU4u0M/sFzNGJRT83
zRn8IAfERP9CMzPrIBr8OBuXGXr/t7wdIwFbHC8dl4arAZJe3cd2nE9aNvLeazFcHlq/+/7+K079
gFlE8OVSqtLWUpxyRFO1TiJs5tLzos0c+ogsYRNLPtda+L2/vSD/6mbReU3dOYZRwmE1x+u0cqR4
Z8m/xHDecMzxh7o9YISaWazVNPlGBhjdWEFunTcec/hgPdZ9inyL6gAvXdd12mHsAmfrrImUZwWK
IOl0GnTczrDNvKTkvZo0xs579GwDh2Na5i0iMHsprYW/kin6P7SBfmajbg7bs0XvGjUkVkf3xE3H
pWpTICa6sIVm/P+/ovscW1fGtZtLcqgCIbXDvWlw2bagJWybTGAbG2sFdcc6+BGSFT8UxeRVXFrS
pZ3m0g7jVdhLneniRJvifnLeaIrjTa1Wcor1Q6w6dQBUyGghMgFE27//8BMRY6545yWCk0OE1d4v
s9Jf+V7bfDCbUf5sQSf99P47TkRYeXbQqzCJ216ySySm5Ngp9CK+n/JbLKIH3AEneystE+XD+y97
Oz4BOjseLV0Bi23XnuoMpfcphH/q1tHCo9+++SlzbY601wsauYZw2OG2kxuhthJyeKOMgbdNLSL5
eb9gGsYXlyJVjHqJixQ0ZVX7LevJBa3Fs6KgMjcCckU9DkXtl44Np2gvY+W97RQzWliopyhscwnh
CKOdUURj4WQ92iNXYWtIn5IsRp/Vl8Aj+aEoP9tuoN5x5QuupHa0vFWI5sVq9DT1rhzNGIYnpKxr
jKWq34rbpLvB9cqbxk/kW87gdEftMNlbZEOhb/u7xMpRvUQSbh2Hte/tGvhUuxHH4KsmNIfr1MDD
WUv67EsFGWodgnz4IkeKvDPtCM3N82Zrdh7meiIVQ+iVTpFWgSPs6NL1xXlIE2Q3jpdCCkF99KGR
OcBNMFPy4RIJ11xq758Cz88xek1n+zBG/WxPL9g4RCBCt6FWRJdDGftOjNMdKgm+ko4I7o4ujM/R
FfispOO2Sovq0s08SKmC1DK9Ag7qroSvKpC0R7TyQgPE81nJpjIvdodaEPQqrBlHks32yvYn7GI1
jAtn1dsBELHk4yHWurHqJDnqnEKRFKcp23QbpyLbZS3S3mctkTkccexiRATGoHAKXrWtYnTS9Cov
z3z6LFzUQZh3+KYLZ5KWvvclu7lUcG5fqEK9HbuVOfjQt5SqlhJPOGZg97uxytU7vyKUG4VrfwBP
aX5S+yr98v5AnZiLOV5Qow5ut9Ci9zGL6ktrq91lPBT9Hb7u6sJ0T02j13cLxZpNt5wFfh7EWJCF
2Mhf1p2pfU5EH36sZC3e513P5bwV5RrL7XBh+Z4aQfV4gZlhIto6UOR9VWIwDw2rQ30j6XN1O2FS
D0OSjR9RoC8Wb6dTcHjrJ4rjF4ZNJdtNa4x7XcdnfuWmJdY2nRzsC+y2EZYycDJSYuEdApUWYNPK
5jpvWuSycVqGCj2iqBXV2Taw3XiTdXHKYIS/uiL3/VUctMlWjpLk0etQvciksb7B66Dodlh7V1d9
4PefNbczbkVb4TRbJXF5ZyMEcVtn4GFLN7Z2JFfR9QAZB0p16bprbzC6tVFLCPriDLb1g+Bb3eAd
o3aNfh3Grr1QPjpxrcYX4nhYMsl3ZQ3g0j622H3rEXmr36U0opakJb70jV3k7dNSwbQtQNRVU6Pg
2sC/7cHP7eiz1Bn5nU+9aWW4Wr3u+m7Y4htnS2sXT7HfdZMs6TScyF/m3pxhnnG9MrhaG9Pll+bn
NWRkbyHbO5HBzPGWMOEyrm5ts28Kb7hWe0u99lSt/pZr2FUJEennpTBz8GU5tLIUun2z7/oy3kBc
7CE1akuVwBNDNMdf6nWYVU0fN3tP0YZy5apjAIUIluJ5MWIOwuxEJOysqZp9pkhiwHlbk2/qvIzQ
SkHhIM7UbIv9zEBJSUCaej/0TenpG5vWnELii6Qv72q18FKs31LJjL6rEI1R486saN1nHrZvSWz/
iKpOjtZSkbiXQ5p7Szaip0Zz+vMXb3aBl7oZp/U+l+1vfWFcS00xLPyqZ57lWz9rFvzsJCn63vMb
nKwSt1nDAWova7eIf2h5k+y8xGuwD5ZRhECpWXaixNCvJ9GDp7p2AVm8P7SnfuAsHtqkpZoF6chh
p35tCVEb2nqLFL/pKW/9wllYsV2rRQXCrPddoVLYVaPL0PRKsckthU5KWWnxhVEG5aXbhuWGXheC
qWoG6CtNswgRI6Ta3/+Vp5K5uYsQGa/vN7GSOkmCWQL8A+XCKouBtBssCdIWRXSRZmG+lemRX/W6
765adch2lZ8JB3pAvMG/D5KYxGfS9Eceu/K7VWwO3kLz88ThPgeTqoAO0zzoUsezsPv11DrapNJQ
rToRL7mqnpKXmGNIYYLmYkiDdt+55PqWW4l6E6c6g6CnBSJXWmsd1AGcR4iyer/t2pArht/64zar
fCaladWHsgchtMSAOLUB5qKxCBl1euXTLcSJbPxVGrb/GR6VEv5/zs5rOW5cXaNPhCqCBNMtQyep
W1mydcOyLZlEIEGACeTTn6/31WzX1rjq3E55lJoE/rhWNlm3gGyjHxtUjsBhxNvR+QIoimBpQ5uR
int/2yD5Iub5U0cKbzaqMbZZj3b8RpdhJ6s1Z/1aJPFPf4z3y/g30/sXoc6fI6vDXA1uhSzoIDey
97Zp2qleekfaRHWut4aXsYYT8d+f968epz+OrXqLmwhccnrw5TruoD9dTgo0wgKLG/NfDo4vbsv/
7PL/42Tcthb1N2a9g/MZvI8VfHKjn7y2ISYx0CGtyn//Tb44n6I/zqctRuVl3HS7Fyvo0A7Knfpv
5+9XX/qPwylW1kVkxpee4fRK6dEl/8+k7M8p1mSaVjg2mNqzRNujGZyE/Hn7myToiwfpz0FWTAoD
RMtXtQe+FAgcGV1XyLi17IKC/HqoFfTNZRv3H//+CXx1bvw52tow24ObAJYRus/RfpBz/FG5xb6C
TgMyqsASdeoBS8YXjnkQ/Et7VC4QAMGGQzFDYgTAc2r+dmZ88WT/KUYAiwLspMgue8KAUIAwhdWq
cNXf+h1fTBwBhP3fF/4yrO3WAOOw97yA7JrlGnYHiZ3TzLW15TA+8X7vTV11T5DFy10/2vl3Y8Ll
b92jLxY5ATX7759ArRiiQMF02atFw9+naDatMygpWM2HmiWN7mDgLq3p7oJlPWJIskTrCuKtDYMW
VQG+4W+UQ3MryM2IPX7I61WH9c9qOAMNWYB3cQqN/EsF/qsH8fpi/eMIgN+sVhHVag80m1fIEH4h
gBXCDn1tDqSBt62XJKr/2pz/6rq4IjT/+f24F8yy36yCpgUO8gKYcO+XvwT6FwHXDxkklg1yyBHC
XwDXbh90obTK+ka4AZTIwf4l5/8K+4V13f/6KVTCmlZ44bxfI2ByszCpxUkpkFirORQ/kfbU+0gK
esS8XbGlcCTE235J0X0GFb0+xHLqu2JUg8sIGPelWRYLkglfwTuqgbzvgj54icP0ugGHVFS6CXvp
Ju3N60hc9SRWD7VAz9HPUI/OFP/+in9xB7I//rAWz3PiqgZlnnpo70Tbx7tgMpjrHbZtu50BZD+B
TNjmKlqWv7T6vniP2R9/RUKGoB+BrNwvWwJmWg3GVAYWk7mpO24e//3X+uJ7/DkV3WvY/rCaPu0N
Q2oSI+ArhRasoOsw/qUf/cUt+OfQsCGQxdnRm/aRgciwCf3puIVK3sau8S4k6flfDuHrK/U/Auk/
J4jVDOmNrJppL+vwx7iy+jt3Jnn597/TF7/EfxBQ/3iP5TaKPrBwKXttwE+A+ANXFAL6ssfilLpn
wzr+5UP/6re4HiT/+EaurYagQfd1n8bDDprGYgBG6N9/h6++9B/ndtq1dqtE3e6vsgU54xYM/5I7
fPXX+SNMwCncOUkqsGS2uDpsSoVnuIhqL/NcSA6yjaO/tfa/unz+o0v+x99noHVVDxNWgu08aD8P
yLSVY8fdDUNeUq6VjYup0wf0KE5J/9Zs5v9Zkvhz1LUC1r9KY9tiWsF5R752wwE+lL9hqb74bP4c
da3YMhjUazp87OayGfVDeOuP/9fH/uesa0dCHkXd3O2XegBCbHHeaRL2bx/IVz/4Hw9VbXod6ZQg
OQZWKreKMww3N2///qN/cToF1//+jw9bC69aQBbr9rye4/PGuJfXAwufjAzo+79/i+g/ud3/ODeC
62/2j28Sw/PWVhHyXkFb9Ee2QExNrjldd5BZyWOT0vq1UiBPeQvrLj3txQ3ImiabMP/VFnQZlzeQ
I6aMvwQnEaMoGZA7LcHn0lWj371EjrtYgqeYdQB2ZQEnyU4t3vgpNujc22pBVB1PACj2V2t95EGC
PNB0+8SyBVpeXOCBKAOk4V3GsF7vZYECC9OEZP4Qq3A7FoTzm2wC9+DXhKCM6otiaMRwGG0F8nCt
jcka0gT7evLl0zTEuEoGtR0GVO4G8wajtAca6NLcwYg6odbbAdolx5AfDDMzzVC23C7dBh+J8J5n
8G7gMWt9tKa9JLVvPJ34BJnoKm8gMrX9lerseUhyahhLUf69IHXo8mqK5IvSurqQTbmnzutIxmcG
2evkraxsMLgLwd4ye0/+4NoiwUzjC1rWzT7VguB3BYz+PvL9CDSthom7tqnFOQQA41ABPBRkZEi7
/JoSJ+hFAncBqsfg32w2tEMWahIcwL6sjkjK4yLtJD8AHOwgJ6+H9VPJxj9xKNl0njZkAphR8CXJ
57VNo4fQQFIOZGCLlsvWmXu1ruxXBWT0TetdY8kWqw5neC803Hlwf76EQavEDoedg2G89iNcqVCX
gShNiIBtsk37PKGAhYjBpN9IrKKbSbAm79x0tf6FS59JYPv9bGjjsUxDGRTT0ugDSk2ySEywPAvQ
yLqdC3uU31vsR8ENjj1prOl15oZZFfT7dFFuRg+x77sMGNgtgEBmhEklnCbe7kSj9fI8jZQtGUkY
joCBOsxMwxOm86AZ1udrg/DRR50wvlmGia4PMX6Rz6qfkx9tPSJg7WISHpETzhcVew2+K9gie9LM
ipYh5kugno+R6U6OgMJYN6GluYklpUWCYta7krWCWjxW/QsxJDwndAM+bo36580NXj5DWQByGliV
fTKDMolCdrTDKD3GY6ELG9l+QcL4g/rVYLJZrNAHttCwFXqDoQaqxBgaz3jrvDAPecKywQ6wBs54
J1q0DNrwkDgzANhJ6M24BRb6Kr+vQ6jPRtveLtiTynXvkCXYHpWvgrs0iX/3fts1qEP0UxY56ZpD
s62yqAY2HfoxqJZc1J3dpYTWM/rOsxM8MxOcNasCsW4QV3t9lLiLmBQ/RKlpil5O6a6NHNzyU7Am
RyjKkqQA6IxGWTILOMqoSvgdh8L4nDITZH0aDVmQkgGydM2vO0bprA4uTNXN1LgNtlFJB55bK/kv
7o2VvXQ9NqrvIHuYf/Labd0+FkM3lksifyks656UiXx+1uvc2RsYRIz3Oozpb68VTVt0uCXAxZkr
1xRQ50Z3TgMfTJbV/zQA3dxZFom7EETAfAkjAJX1Wm9tNvtkpRBQcoO2JDbJX8Uo7R3KYeYBP779
mOtkhIEQLfunhaTqOVwVYB5Rsuh8bIFsgL8XTpoUzKyjFhEMr8tsTuHkLOylS2AyGKTwlTdOodqc
ETTe1gT0Ht+s9Bnt++RO9/NQ1u3qHmeGdAdVSRk/YMTS5jWvfVKoVDaF1lF6B3YVOrSD6WHUcvak
KLd5DHoz4rfYnLEqrYrOufkJTqMmX9jmPaCQGZcctS/ILQkotmQmUUFWfAYg5asDdg/MXUpc8+kZ
RXZJYqNPxcL4F2ZGEGbVTfuT6hhngMcZfJp+1OVzEyDfpO18ZzrNdlVU67bgqsbZH0uAq2S9zWVH
enuyVEPiyDd3ky69fPDY0pVRYvudhfIHakeY510mW3sJUO6JQ3Odaoxlf7tgrCRSXQnVxzERSL2w
sd4FZbfB/ZdNwJPfWpbMHylgr8WkFQ5tE9bFUldeYQSL22wMRL1A6qobnK1hlNeem+8Gz04HX/fd
kxagPYIDxqcRhFoW7LTQrct7rNTsvWhU8I6Om3xL9DQ+Q32CDgew614e6KQJs3pruheAKju0DHEi
ZryumvtRYT0qwyy2KPFCrQWAMrbcho1fnLviWlH0i18AUrW/Zwi8C3R5MSpKtoodx6gPMz/kuOQw
UE+emFHIMapQxT/8aQi6bB2IPGrZbfkWkfQMKVFwq8eev45J63BpwYKYT1DLv3i26k/JmoR94fkb
aOXb1DKXa+0blU0TJo9wWipIWae6ae5DX0a6mDicKnnYAP3PmgUtKqgNAeGWa7uL4QzIu8UfLnar
47Nn8RNDFd36ea1Yd95kjwtdhANoPluA/YmKpveOkvnYABLVZ1DZCEQAPCgJnGHnAXWEDIjUyWV2
7sGL7Iwn9yQSyTumVzAxEof215oweQanwH3jtZhOZJL1j7Sqgn2aCvpstnUul7BeEqwRCuwyxGas
YdFd/E/PxvVp9Rv/s2FOHxjiisdxAYWOKcPggfc1yvhzsHdR3I87lejuBS00kIyrMThUkpgd0zTZ
d51IbmyK2nwSD7i2HVjQI4I31BeUlwEpqJeLNp1JHtIUnsuCaYZnI2pkquCnCiVwVTJZyEeEAbrC
pbUb9+I695Wx0CZAQkbywdWpfAmSqv/hMOt5U4Nu+WRQQ3nBkQqXbkVp54o+TVuT4VzE8au4vG/0
pwwDc2hn3D6zNwDGPvriVsAPWgSkFtDjAlt4K51bAmyuVO4pko2FHWfA4a4sMydAypeH1XdqB+p0
XZVd7ZLPicqgnLyoSk6LWNqbTiMmy3BIGXiluZ7Q7LYs6OEc8IeHka9UonUfeXdSePon6QfybRxM
/DgOsd5R50dHOxAsCHfEv5kq7MlnC1/RrsPoo31l4HslqLGlCLEC6tZ3kJjQk9hSF8vcht38LvwU
LGYQkGGyksJEEDoEvcnBkQLWtWPmvlbrWJV6nsK97dMVW9DW3HhLtR64lfLOoWLa7WrGCCy8xC7Z
gnY2xHK6cvspjuQpsvPrpJOguHZLQSd2sb7twhisaD524U+PYhYPm4WafQCKXAe5qAaIWMMQ+m2o
ubHaTJfkTBDNv7QMK1WT53cvhpF22llWk34nDYBSdRXzjE8ruACmwUpz5qqeww3UY34j65Me69bD
AMYYtCZc+0UzVSI5uSgMxMeEaHuH+ApFJq00uVki0oYZOAYCrEgsdqsMOMi9HxAN5zDeLp37gRDt
fiQB/I2M0baEpUpsmATjzTlOrdsLtF3wgIqmA6c7mMMTBvi6XySE3LgCm/AnDxxpilo1iGQJqeYz
sE+kIE0s5xyBJ+dZQKjJWyBPijZM1FAqjKwNcIsoJDJYiDMLbrdwgPmQNXOJXV9MZo6Noi/1xsKP
ugeUDZBG4Prrxiz3EY3SF2FWvy1GpxHbOITqm2YeVrxRXYV2AGf5NjKMRDoM/cUKno5ynKPu1ic0
ePPWcSpinHWYRh+9MzxkLsm8sUlBfpOB6nO0ObEc2mF2KZ9mKUGJ9lfM1wVJWx/SdqF3nWrkftqS
XZ0M8lPZxewXEOUviD/xJlkxlaFcP0H9c+kjBrAjdgh6GL0OfT1EP9Zq6qd87R3196NgXgt6GAEv
fdsExZ/P4/IieN9jOxVN6gWvJDzou6bDVr1G6n1IHVbIoDmsMWHC+2HOkAduPqK1hpKLm8a2vtQQ
7nYhKFblivhpKdPUhJjmw3bzuBum8cZvY2P32LnbfkFUu5ndvyeQNPhPcfV/ZZB/1AYTN/oGL0lz
WA3BL7bCM3nToXt74ZZPOw4WfjmNQJqHfpO8T4sYgtzoaT6iFQGUecOR8wx47eN4c15uzNDD13zd
7KfhhB4BiMpAWQqKOGGN3YxsY60FnlYJ2veObkSd8QdZvINPqqjNg6pGDxC6yPkWC3ojgV9Dteg5
BIAp+BUwFjsMyIt7LnX/U5KgOqf9wkhGtEag0AyMSOStPuaMgnGbnn3dydcGXmUoH0kCzzlugPd+
cOmECbRtOXbStJiQTNi3qmXeA1686bYbkBtkPMEI0EjdgpcQMoxbiGfkBhwiykR5iFMUDLk1WsWp
WTaCw53Cw6MilIKlCNQDBgjSF2Wj5ZnghHleoqo5xCTeltIkDOOgMfAqoqBViIcrjsyx9W1zRsP/
GoH2rYnyZWvwN5bXf6tRzP9mIqhqcg3U/m+rwvQ3SI9LlWGvL7r1OYvjc4Wdihu90OEdCzL+mvNU
s+Ma+uvj1Pg4fGqDgDZL09BVZbDp+UcgNv+gNPe+W/R0vqUhJqotWO/Nrueye3F2oO/+7CNn5THf
BWFl7hgOOl7MEitQ15NhkRiONDzDUNPJmiSsMzNsAkDbaFxeu0SnD2MYrK9IkV+rBXvKRQ2rya/U
zOERaqfgpU0mdhGg3xYbD1Z8hEqrATE5g4aksX31vKwRbCcJzuOzU8JDFySsKFYAtGcR7C7saOo0
ULmP2Q2V6a1HNbb1xptEU/fkRYEFtr41Z4Uc5Qo8pyLMR4M0v9AsuFY3Zs/BGCLryNstYJ/fYEQM
DRYEBd/DsRFva9IKmnlVFL9XKhiDfEUl5ANFAY1smKNYd0QxH5MwMPeS15iMocrwocWY2O29a8rH
EiZufDZDE4PC61pMkwf9xOgjRgK4b7rMaJ4t2WpShkALzBCky9qjK85C0U4YCAvct8oL1YPhkt5o
BS2Ok/hnmUtDc0ewpXMzJRS5u8+HuAXNeWLvJqaw1/h4yP0srkl9gUFT4rMXroJQwnTHioTsPmBO
hrmV84JhPHA97zDEY59GRejBUt/d1jSI78Dr4i+YEk4mXCgaL1hP6HpcBIl3A4v5g+WIDYsZ2e13
gNnUJY7A8oTBwKFwMSQ/40XoJ08sVQ5AtXqPu2CyGZBf3TNWLvoSdFV71aMGkMBi8g3QKPQGIBrs
B1Fl7aJZXVBS9w8JphB/YZ2nukEjmovCVt1wmyJ6Ps2raRGa9upgh3jN0QNPfqVVWj2Hph9RDei3
tJwgyTtKnlCaw+hMn93EpruR8u0VR6rNAGgfvgE6EH/D7Ty8Qku5meLaT7hPO1IN6NUs/oWkokMq
33g95JA+VEFznLIDQTbnl+DOsxSrr13zs/Ums1tpaHY4yeF4oS3zSdbWnf87qIf5FTOGYVAYQ5NX
xzDAlA89Fo6hcpt/hkKFBATgrS3bQaxtpmOzvrmYkBoDVijRkIalb+lm3GdiKBL8GUFbvq01vYz+
6H84bx6ydWywOa6iBPbSEd3FABc2Uv3YVekLZzz8lU6jugGyJeKAuZjuWfuSvehgUoiZnL3E/ZQ+
sX5e8JMsPP0ZDqEurE34yW4QrGG5DyGwgNumzmynqs/Qk2YDoGwZdxoT5eo4C9ypZR92zGXoRkaP
2MNEqAAUnvvtgEg/9HSYkCtIVhqUwM9EWvUiHI9t4a8jf2WotIsSx+B6SwDLqhBrBiiOVEJh5X4M
uEFOQaaBZEb7Dreg18OFsZjWw2a4RH9th3n35Cwaj/N9j9RrKGdUCl5s6vyDaK4xiLRwTyd+h1Qr
rNaAI4zg4tav6fY5Gha+ysGEKPR0Kc9SKYYnNrQ44ZqNrvintHIvTUvq82DG7exYdZV3ObXCqtcC
J4r+yYqlU8QeBf5E/R0KNvzWX6IQpqJIxH0RzZGKSjBQgudWOVxwS8sdbqpwbGkhAEUH9AJdVnwl
jICd/Wjedlw31QnrSd3PeJJRTr3Oszc4DFewzMcIuP0K5Yv9KjutcznAZpJ0ZHzqjNQ6w4RGAgFa
Cl8FpNHBvWRs22Giht11XdweVT+gPqU1ZFeZt1r6TfuYgclAPUE9S6ZrtmINLcdeQnWIsSQPInng
P869lLcd1wP4el57lO3aob/T8NttXaLD2lQwK3dSYW7ck8d1Zt6Nnbz+zs4ePTQjbBIoZrL4hzJo
e+MdUGuJKsCKgYMRg7RjYpDcu01tiB+0xnGTYASdT4gZap7Gp435Sb4QZgu7dKiGmG57olHbvzi6
4dKU8PVla8SbdxFNPkdyjwd5mvxa3wEcjfJCM7UelsojyncD3Bz8CFBKd8GlhuVGivgGBTh0ZkUZ
Ng4uz8oq/0eUju3JeAk7gac0neIJe1CwEdYqRwk9+NYl+AK6IhvSGESyRWjikOX40BzEhARlX9IG
S1HPW3vpWkQOMY39Fw50CQqkvU/7Ao9iejR4Nr+1YYooQ6PffSHSEJbN2sidxIjtp6ps9MhH5Ebe
RreHofHjI5IyjseZQpGVp+G2HjEN6q5z1TNmM+TCIChMsN6HtM1cbE+7clq2emfIQD9ms/B7QZLl
tEYKpep+rOe7q174O+R+ab7VGOyJMX6124KpO7JWTStOKuw6Om8D6MkmyN+xWXz0WhVkwKF5hxGA
ZSS73liOZgwR4c5Y1AvCZTethu+BTEjfJvxMT1Ynw1Pqd1UWQ/D6rUPf5QDoiykjh3MjkfZHAg3Y
izKeBo5a9abANASrcuh6vMfBGu+i06tAvk/sCTc2brUh9RF8GMUmXbDeX35sISX3lvcrLxW2e0qd
1lWBzggcjY3j6fc5xjRLvnk1SxDisqqMUARsi3hejP8Ig8o4Pa+zhfOCVd4Wl+sKlXoVinUFcz1s
/KzxxpplkC3PCBk1M2KfhI7GWdxN7jjZzgflqNU0OLFltD90zEj/FLuY75vJtr/a/3z07dLBMOCU
Ubjnugb+gYZRJCnzOpOnqfbGIUfbUbOXlATBBLUJWs5loBjSLW/khyEcpzKhFXvSDapfFB6OLfNY
ym9lkna7OUE/I4sgAIc5hYWoJWwYC4O7TervgabzrvJnckYkQJ9cl4T5ihJbOSTGlQjPpiJBLeDc
xo0HcyRnOZLD9NsU13FG8eMdoI1BtmeFOzAUI1Ei4O0vLFnHedN17aOaTHKnktHs6dbKtxV54oB4
zfYv6ySHe0jdxrfYR72HgAexb/3IviVp+EQQx+/8oQmPPeWYLaG4S07MmfmHMYijYyMuTZP67/6I
IwfVKpILOjfvk9Po6phl3ZFtXr/ZCI1t1qPKmNU4Ne9inkDNNg7QClXT7B+Z9esX9GbSFzg0u92A
Bak9Fsyw/BX3Kzuja4AxpggEWCiP5nZ9kKFlH/XIzLcwiSxETWOz4fYGGLlsfcFftgUbfAJGm08U
3nFXQZUd6jKY0Cjgdgrvou76XFgUQUgWrdzoAoaC6q5D5+M8wCkUlnpM+4fVjkmC6h8xp7jxPVRw
MHSCQ7CGLGIjvn9CWj1dsBnY3KYDBmMwnuTg8vBSYsFEWeQ95V7yiDZBddNilQlZU02TR+2W9MhC
AOAVlc1b53x4mbZqKIdgsyjP0Wk3Cz9oczDj3Av2N4cMVYfmVRNrThOhc4krCBP+/cBOLUo8H/hv
Q4E6SHuvojY9R6YZCmYbUwBGLz7qOqxQHIlEEdcJFu2nuj5C0Wb2YyCxRoLmqswi3oenYJ6aG+O1
UG/0VQx1qOPbuW9xgOTNmvaXGAXpLcM1J1FbxUdS9miptaUDEwFr/pBy5GRGYWLw+vYHrxrv1NvR
HTqbRrfd2tNbYTnWNWwyHxNgsZ94yEFTiSHHdrgvrfze9zXMdkxW/XEaIuz8od2woDmBgOIBvTaQ
ObuYAx5rF5ZBkzMgkUEjYYdSQvwjtGQqt0XH95DP2RQjW1JgLKg38HUime0++EBi9INwrDdN1X1f
0CQ9EAzeFg0qZ1u2UQPMyApVJKB3YiYUC39++o76S3Su460vxtmhHV85dGrEYjTmwAZv3aM0It90
mkK6xRJjiyWOBOiwbbyHsyj4BpIeHopNCcy84BGmOzyLHNNqLcogDIObKkf47F5Nfe0hNvVGTmnj
IXhiyzo8JPjr3fU94aUh67pf2NT8QNItXqagkd8SN/FfNKxwNKFQflW0ocWIIrfrzkz4Bg+P2uYi
XavwHPmdKOF58QHJHaundXZYC+4Rdmc1KpD7ce1ZydYVLxhmHQpcSPyQShL9xiPYHdutw+TUlGJx
EM/DTY2yaLkEiSH5ImGjYtW6PpvUH2+Hhg4aFzN6BjnfUrtHGPqOrHO+wnq2BpFj7J02n8fI2FDO
qhO9ItgjIh9QjDxDCYVXc6TQ3ja0lRI5Kk0udlyoyXQ70TNSLgV7eJvuMNxIT6DUrO/rwNL32Hcj
3qSo5aBRm6ansBGs7nuQbmlUEvxydzwGPwiJU1cGPFgudvGxiBkMvjpK3BdJ2dbt+JDUCEI8Ok1l
U4fpo8CK5HFhAe4KeBDODGiUG5Az7XlxgzuhU9e+mNAht5DYKkSPN9r59HpjgFKU2aahueca4Osl
1zjDDRr9/rbu/XWp936ivNca1y76+SHFmgGgPGk20qsCGK2F5T1F9eUDklqE830v0AKMu/qQrNQd
W1S1DTzACMqmRNAdSvH0fm46niF46gqK6+mE1eLm4PDL3Keq6xEozpLv16kKbqAkvsqXFFKk1qn0
BA21l6EZXx9XFMDuCcbf/IyYrX/vpPQe6rGiJ/CO6VF5dDxXQejfhaGwH6rTi7gd+nXGVEI0ssMY
2OhVTu34nVHq/1ysGHZjWGOHNhnXt06ghXsz0RQWsXYdPPilRT+fcbijcsIYLmaBgQSHz+O788FW
2A9VSPF54Ke1uxDD8p/zOgAuN/EO03wGb45Kwyu2W6XLc9umLXyZLu0OBKhNlHna+XFr4gRKnBD3
b8NmEBmjMLkZ5USPkD2RsgL1+4Qu1PI9iCu16wlWcEdPONQJGNlVIyYVK3DgfkGTgOa5pakt0Q7T
RdT71W8XVmkJvAT/1FuCIjITBJqkYE52s5YUNuxhnnZrMLNfLJi7QzCq6cy6uUZs3UNoqUXolx3a
rPd0iTosaFnrXzoUag5e7JPbZprdBVlBD2gXQ7W7sel4h9FJWDOSlZjXCRQdPOVrQg6Wkwh2u3q5
9epZqGyhHczzMIzfYeWtnkqeRAEeK8hTepTS0SDO2lZryA29cYYHklu0xto+0G84/rC5jCvs2EZq
s3nVo4QBlqB+wtQFLcLN7+Fx4AQps0mCHPd89IKxCRZlNfCRqGitaEes+OmfqpS1jyHqsRfT9l4p
ty18CFIh0HdQ9QkBID+hJdeU+PTkSwSE4Lijof+4MjngAVDt+ojDb4DNeEhRnqTyY5vGPmOYs8gn
9B6x5rQp+kiwafQoQ80/6q5lNwZLC7/kdK16h24Ln8YOfFuNEuUugbk2Q0mv+gCk4mcd27E03oy4
t53QwEMYUY7NUKG63gbXl3fae9gpRgsO/X3LZwkDJK5MKtqh4LT3d8iRkbcJ0a0I5br6FWu4aZK7
ZEQvvxLLM5jJ7h7gWqweqxAjL3ZS3gEELr/wExA9CF4iTG2ge7+XMaSuqWzVxZKovhVxIh8d6KSo
wkdMoG/o5pu5GekTBxAcOtUWKlpDUb/nIuHPvG2Xi/Ki6+htj3q8w/HxGPkONZuu3srGyTY5WA8F
XKhjehycYGl/0iiBX552xJZkA4/pZk0h69Q4/zcsnfdD0UmUvYpFov5C6QqIDdhb4wGHXeMhbfNa
IDwrMp/bLgLAdlii2sOalx+/ROgWvmC0pLogL/Dn3DTkDSK7ZRdUHTmg2LccgqoJgmzejDgJlCNx
cejUvbp0kW8NBhOOuqf2rICuuKU2Di9Jh8WyXPmjKuuorkiGHjsmCjtoCGXWR1y+41CNhkd/gt+2
gEM83Xs+LuMCqNwu+NlZWHKVp9EgvYoSx80fUBCbQXHKW9UvXmFH/TMRZmaZRLthHwZb9RwtGI26
GwmWM+i88OE5ABcg3TUI30SO5S/R7Weo4/D/0MCP6id8D/c7Rt2/CJAczxhrwG9XjEla48bd+JuP
U7jeIVQef8ErVt1REqHqovF6AvgQLx1HXodv/gr32XwGQFNAaE3m/P/IO48d2bE1O7/Khea7RLPJ
TQ56EmS4jMgwaU6aCZGW3ns+vb7oumqhL9QDARoI0KAKVacOTmVm0Px7rW+tvyD3uCKsqlYlL1cP
iLreT9CaBxuXjE9at9hGasjxXjRW5HWqtdn8Z9huvluCNEgPDKtTOrJw0lBBuL99YGyhD7hhfVwy
TtCcaSgjSGsH7V3q4T0b1oLiQTfj8jmoK/bSqyZyC5+QB/GbqEyajO2xUf3NrNVrTBjN3OyNHqEA
vzJFYh5UwOHVzJXJb29GhqA5smeWVTLT92wCIsVlJHnwPBZzPMLp2Na4tbWpGO9YaMj2rJA2OfFe
os/sGgNLm/fw8A3HI9VbkeAOrCK3Eox9eWwlvPHCvvP4OUm5xYJQX/WsOdqaftwUecEos2WrG2Du
SxP10o+Xxjgv2EKoKGmkzSu7CuW6k7I5TFZqfxhWiylUCKcwVubCIosAouiazoH91OYlhEkE1GRa
Ohvhx36+yx0CxtK9sR8l6qHn8Ahj2pcte+sa1LuCgyXtYOy71reaY2eYTFFS5IjawbDRkpCIAhE8
OJtifOMDczZN35h3+S1rVINdf45zR57NRDI7BWqUwY5xd9LWuRzqN9TT7gedt3iLQ9t6tDSzMVYJ
XNUBSwcsLm15alfCWvymDxnQ4cOt7JTF0/Rby8ndlYgyaOP0XXzG2sKw3xphtG1aQ7sn+9T6LSId
L2UndLcJF/a7S+Nl7Q2ukH4SVP07kbX0zNLE8ZFLOTq1Waq9GUPprEpzmu6NwJrPujnZrBcY58Zn
JxVnkXq2Hx3RCo83h/2bdeGykUlZ8+4ttaelXPoN9//Ezs3EOErG2x/Z3ZQl5Wj5S+XMPRcVrjU/
WtRVFRbOHUu9hi+RxpjRbdThMiMRqC7FUQ7KqtwBzdQfAxjOQbRJd5BO9IsHFRxnmh/0FTZn+Eo+
hz1uaZ44mdfFKbsQtERZH5V1kelOFDQHGBabRjBPm1U02jnfhF4d0Ajcu8ZwiILmw8jwEjllAiVk
heGB6MfyPTrRjAupE1NBUn9sWdp1zEHQv61e5G8Sq5Fi7rhiI+8ABr/ScWgODZfIhiE6Xg9CuFdu
QPehrLLgXPey9XoGvM0064WfNTPyNb3cmQvzEXL6ppNBPblJlVwqURYfo8hQQJegxP8JuvKacT6R
3ki+zPwbrf+/vYFu+1OePvKf9l/X1P2/uIDuFvn+j71FtwV3/1xcd/sG/u2/nX6qj+w/bZ+7/f6/
t885zl9IYKZSJv00puXeWOq/t8852l/4VqbpGre/OfL2X/65fc7U/pIS6QzWUQJOabdGun9unzPs
v0zp4I9atmmYhqQg8X8u3rv87f6ys++/XAnBl/K/zQJZ8l+LoRKRz2E3Jg3WvNVc27zuz5x2833j
6svacoS4ajwokc+7IddXt22/7taACtkmoeofylS4Hq9xbtMmD3ZxhE7nmkb/m0Mtkyya08/R7FnQ
lbKtDc8qGX4yTrVrrcsZ5cfeQGAox02uXANMS0aPdZC0p6gc0pUkdpN6UjeBIijtvnfyIHxcMnpa
wkXXflJGAp82xKZZNVqqdmYZp1dXy2kN56Z7WqqkhP+LA+eB4UbfI/w6r4NmGfskz7JPmKjkrU3J
2/u1qOuNXZr0X3e5cxAwu9oq1FLn3qiDzrPaAtK1EcXdOKEdYpNROZFH6iHIw/lkRmP9UhslPTLd
SPeCB7NRKF/vINAmRO8flsZO19q4nbT7PhJvamzRoge4rlPNctJ7WxusdRLn1qVDdXPYdHNgaMEF
yq1pVwfj/DCwNfc1N6zwOU5rG7Asccdd7Wpw1DIyl/eh7LpDnt8Oapjq8WugUrQ/TdoOW7Nkd8Q5
rt45guNC02P6a/a1OCUy77+Jj2jHpHWn1otDi7mX6AtUGYozCvbivOCN637TLubdjLkRr4w+CinL
VYkhfXarNy+BhLmAEnb0r6qe868SMnW/dG31nVoVVbHgnpQg3RzJAjfXb3XbRKiXzboZ2ke9cHJq
Q58q7F5cC0RYTI6XW77bniOYQvJYqzhFngd0ZSOPVlwr6e5166kAgPcTwDvE3DHfKoStlaBNwE7T
DSt9JWJAdzJvWeQFEz9UBg9KQKcdA7fpi/I3NE19G5tx5vW396tAkS2S5RNTZqe7+VboaeNDrkEN
p6VvjNBZvWTBNqnFOgdRBy1bR0j3GGofY5Kw+M+5GHjabEsXOobARGBMN6T2PTJt+oWj/8KPjH80
22nXcALcLVmIksNfzqR/mNOIckI0YQRmObdmkx4a4Nup/bSNZuVK3gGdcLdqVOzunm5u5TtpPd9I
02UdRGIfp8lWkTp8N+bJ2jj5gy7Z28r26+eU5GOmPfUm6FEe3Ve9Y+8zBvg0Vl5bOKi+xXDVNQd3
Kh8voxmkuLb9NqR63IiKr5odvyudfee5Hrwgfe5N+AgvihfbK2Y58O7X9o1Wn3kTx3eRiv2wtN6c
OPxWenLum8Ye0EB/YmWjEgcj9m9V+brqEl+CViNkRQ5WLZt7x0wcRBceCW9ykEp1vunxoiJ3zavR
k6DqK71hIpV5fDujX3N6op5rV0BR80Jm53KybXG0TtYQexOvv9yuGKoXGC3ljn7GEXY0NWvVKSfB
rORKxN0lxRfnLxpMTGvm9QbmJVhllSX3ucwejbr47bPn0Vk0D/oMK5v1MCuT+9NAL0J01OWaY1mJ
b094glr5PaWdnNy4654USMllZM06J6ofmzPTnaNudEBWXIDP+dZxWqpYOcDZ0FI8Y1M1bKK8n6HL
TEw+4ZVNeHVUV21iMWlIyaH6LboF72QO1v2QT76FMHJScvlQQcU5A0vS+ZBzxSrtqHRJuSaRhb86
yfxqN03/MUk+NITg5jxKK9xSN5qcNKPCDQ2rpTtUutT8odKDu7S8IWliWfRnrD4ETx6xB05eZ2mN
1dc8LuaHKMf4a2HY/zExaC9h08o9iOu4CdzS8klXVvTqjH+sTrTbkqzzzhL6n6yEcXPZ3rNSibBW
Dh7eCk2+uYM1hT2cp7IGsJT2rzOZhyYsJbNaKFmBppVr8Kj3DLynoxfElwLkWDfz8K6oNLVmw3Xn
6V17ckyAwC4f5FPlVv3VkNMBN7S6xNPw0QPwXArTKT0FYYm3WwbnQNn5V1AG6ivLUXVWWGLy5Cbc
qmlggLoT0XIKT4/pUXBEUl6nuUApCRMWJQXtkxiH2ZtC/QoP8LXIpdtEFhqVFdnG00Abp49VxMCH
jjrxOEunY2Y4EdVpi3ol9PmIsz3qoABd8AE6gMiSAPoOCdZpCPpZRtA/vD54pIa4de3i8M5x9WyX
pxNCRj5uncA1fR3IbCQLAMnoz5EChQ4iu/ms7ELtLHDWQzfIZV9kzoj6Lkg/8HKXXHzLqFdrHmOZ
L+Oe5R3p2Jsl27K1a9Pc63HX8QcNe2lkGvL47VSa1KxwLXoPNuho5p196rvXjEXMnyW5ci9Jpb7W
asijSSssxCfERJUDX3dZuuGjyHkZFyiRZEqY4wWLbYm82+lMXMYQ52biG2WxeY85oLA5HbN4D/R0
KXxNagso5ei+JFFqOtSzKV4NbjyuCgfYy6PPFn2/aEpPdpQTLlWzDq3oEiIecsQKwR0DrwuzYhu1
KNNDZylvSgqvttvN4jSvTdr54yR/HW1CVa4nfR3ZKDpyGZ7HEvi/X2p1HwsTQIFbiVCUzXEYTKcy
YdBihrGDA4+xmvPU8Ox2mQFdeXEstz+V2T0t62BTGt9CdQMasfsBkOpJu7D2pbT5DPvxM0/ZCl0q
hdIiCMBn488wYcusGoFdHHfj2hh5+uG0x5gAg7EzxW1T0gSHrOY7h6O6C2zXK134EqSstY10MwaV
65lmSL+GhV6euX4UZ/uiGsC0xPtk18Vp0ZXlxcwMh3kYSTQv5q8yTE67PekCc7wzhUTAT+5Z67JC
zcxX1TIhG9val0rJVWF3dCsYGS+2+Ad9NOu1MtvfWbOB4c+21bwNuXmZZDhvSxPnCzxgFTjuKlJ1
/tN1SMih4/MsijFC63eGnO7Q4397PZYCrY0I8Is53veDlV7ZYqXNSDhU7HBkjThOzU9BisUMTARB
Vd+3SKev8dDvzOlBR8T2+uArqgMDxMled5NDRptsElQmrHR3KkS0uXWBhdmwabviJSpQBOIi/6Nb
ubcobT8bF5C1+6yb91pra3dJTaKDj8W3ougj1nLnJKXtlRBAmATLlej8cY5LjrTqMnQkbJDadvD/
HL+N7GURqbuBvNxbaXvvxLaOw9qF6o6GrlWNGbMfcCMnJoA7hTnXZkI+Fovza1BoljWPkRPVXtGl
r2BEPKGj4Is4/LLW8mM6Tok3ZcOnvcRXc0TbrQGqPIGM0cv83blBL3VteanGVqgbUxAF1kllqb6C
1mdN+/Q650R4qh7W4vZjsowk29i5Vd/DVstTaj/WWfLHmYq9JcAZ6zh7MHsYHzvQVxjDSBitWPZs
8Wy+RWwdWhi5VR8Uz0OsPVE2R6Q2b49csylDV/7quHHCI4DM2pw5WNlwDzItR155LI2yreWCsgaF
XQIXdllSrFyRsggsz94UC2jagYiMLVt03tFY6TN3Gqa6CLZWHklvTupqnRbJaSzKY14x1PZT8dCH
oEhdhLntPJn9yKSh29EjLPwuGSlGou3Nb+OSOxr/qI+/E8e69KZG9NQm+c0BG01pBcPsHvVq2RLs
8W29v9CRcEjxcSJ4tFUwhPqKRXTDrko7p/RDrrd5gRcKQ1JtoVHzYdgCkthKfHgrubYmWGV3+Eq4
qzaWqpaVgR+7tex+3zhVxLlm/uHBTwnhAWwp2/fzfAe2xEy17HJm05jXSmtgo1q6Vj1acyg8lSKj
g/7daZayjlpVHlwFKZAlDxS5zL5OJ1NGnosFXIdEaE8NI49Rm5/10HBS6Kzz0PIQrQb0+EU/BxY0
7ZCUR95JRy0o/4hpgaUxnDsUtZXjlFu4xV2UZZFHbdJZ08+xY+wx2a9FIlo+ERuYrje4WQ22CeB2
Evcg6aJ17rpto3fR5vfJYq2GMeS50a0sEfOcbqonux3JQWiNW5wGCtHfUB9WxDM5hg3jJxcs72G6
O7dxlpJO7NsNL9BftOLO4/V4TOa444cdnsQEEONorwxTtCw4BNKTuGfwcbVxrZriUcXqVBYG1QRN
mf4ZyHFwn+i3Z1LC5bBkZJFKY18M86YsRL13m+/GDnB9dT7qOFoeFe8WLwj+YJzfEeGTuzx7MqeK
wTUTJdQWbxa7amnJQ7ULUiMiqGQtXuEYzhdhzum9t91TLO5i0U2+SRPwkptHQ+PL6bqhWs2o+5x7
awagTmZ+lDjjRnXU16blM+vZYLyM77QXKc8Civ1MMjuillvK0Z6L9jaGuPXGbbtu75Tseifyd9t4
1j3moxlxi9UOP8/eoKvUvhapmayMuDuXbfylOnFlNc1uUFa+tQ0zWuFp6UAU27rXvBEoNIOe06NN
RJJiMPlB5MPJSPRX9gHUnmmUxzLpfiYAyxNZ2GQljeJz5rd0AWslhiFoNqkwtsLVXwcDZ5GLuX3Q
w3jaTxo2BWG2mEQZq0R5RL7Hrm2syykcLrmTL1cn4pJCOPfsxgLGSRY4zqq4lHX3ENNt6rl5n3gs
vzmald3sh6pvfFGIz7yPvpc6+lC4QZ4YYTpofUZGtZtXVVbNazGqc+5MRIaYef2wc/k2qnRr69kR
FD/hUcQiujyXzoPliqdaZPMO9dLCBnQOo1v9NFE3stK2mQ6mqXIvwG9kbaYebsMM3LCix3DUHvjk
c6AjK15bgAZZSwKUjJlDXAxTiMszv++6G8IFdI2eERI+Qh+wY2OfQasWQ234CBuPrZw2Izb6Vogu
9ZJuONRBvrOT8Elv8mo7gfRuWyPXfMdV14VJIMEubIk5h+45CR0v7J2vELUUmSb5IfIEgdLItW4g
CmhhsaP//5K7o9fPjNSKyWuWJX8U7n9YPg+4KSvsz20YxYc6yaBB2UK6wjLHq4L8GllGyEgqytU4
yw4rVuNGNdS6Yqt10tQI+C4uqrJ6f9EafbdgGBW14thZZ35gkwiKBxibWUgcnSHWjxWcQK+0Q24R
KhRDeCbpu1lYOu8Bsq1nPtVVU780PKX3o04kK7Ix1cIqeONRe5Ju8JiRJSZ7gHaU8sIwmrHjb9GZ
hMBrYUyXvh7TtT2O7TEiBlVV2ifx6Z++pLhumfWbOUP6luH8qhe4rypxGDYshkzeqxsxdP21MOsX
fTCfnYi3rk3iqw6w+MkoaTqzVVelXpflG3eSTznkllGxKGNsO27SaE++5iKN9pMNAs9JWnso2BfU
st4LU3h1gIonCoivjVH/BgHwQAnH4CGwlzxkY0+QC94IqzjWUfqbKrv0QlM8mCK5QENwpecEly3y
j3bPi2fh3Zdy9cgo4L5dxOcoeNaSQFh4Gmdw6/3YfrX6CC1nSVIzEfOo5W60RZKzjdZsj9oEMvpN
gCfHjow5GefnsBnYnskwWiGvrPqS00k113/M2PjMHN4EQ0VVO5VRyZrNEufcstW2qjWN2qjA6EHW
RHTFDybs7jI/cHC6kZKvfMWeOeQPlCauO0hhqh6bcxBVxZ3ZxfXLQFXASm8dRKAufuud5TLPZbtu
TPuxDPkhLgYRxpghwIisP9U0cfCYlZ+NiD59Wj8mUbaOgvi1sJNpmzf2U6Or+4J+0SSmxafK7zPr
WSrL8dO8eIkbY5/iHLQWezVFc466lHyVqjemIxbOF323FkK+5YX0BVwbVvuwtZPWg+LI1hmXosor
fIRyD961cxNT40I317llRsyXIZnVELiXSsIVak/qd0pLXprbw8WWq8CyXuIMFm5Io40S1b4tFnZ7
Lhtw7IcB7NSbgwgigvpvXUs2vUyxqW8IA8iGXl/7sL/nCFue0nA8l87CiQMMv5JhekQX4OdaHBqZ
tdRJKb9eKK7N3Av5dwpErdHDaG9WU5VMK0srT71wzi6LZJif03MgZUxDW7ijY2GTScRa3k+pFj1k
S/Eip0nb2AP8E5E6BBd2185sTfScAtSDM4KZNJ2nxmDc4iwQfx9C7XFqX3q72MX4447ter3FlrIc
7Wd2Jw0++gtBbN0mkKWkntVlJJtFWszaQo9vEyNwNk7DoMKlDoN9dpfkIKRzhKQ4c/AEXLO+cZdW
UQr2P5Bc0whpRCR42SaqGOrnlz4kgw0uoZrq0VYkF1X5gsPzh9x4Qvh+NrGnH/FmEWA5+/dBvIX5
nzeJ1rfvma6/C609iChamyJoblsRADehqemgMH3+5YK7ynr2aH7Kxvk8dN0dt9TRXNLnYYAuGRUJ
mbgiBN3Eq3QuD1bhnEA+traNjR8slX6dyx6EkaIHa+gO3BQsMs49wP4/lIfSIyXEzkyqSzI2r0nF
1Karpt/i/UUE3oLqYBCOTCNkPkuSxjcfNXAkp3fOtYDgNVIq3bIfRZIL991KPR2NLKs52hm3s3Lz
XlX2KutZEJsY4zYPccDnkwXuHQB03eG5Ln5tcIRuDEb70GqoIMtqn40RK2kzfC5jfFImZ7+cbtq8
bb2orr1kTO+cQtLGbN7CAvqXFok/ZleQFyOv4Wum+xNHPZ6cy/WtDTzrhjQjvNT28VqUXfWCtmgm
ZeDDPY5QnljCZujXs/Wmhu4t47CELT+mx4Ad8zwmm/BE2HRnpeOdXS/JJiZ0ODclY9aweKy5N3dl
8yit7k6Ps9+RsOuzrdnNRlqq2S0LH8qQusO1WFjeMcczemdbN2u7c8atm3NYdZL+oAzVkVlKj2ag
7wr1Smo6Xc8tlNqSfcWECRe4XFZlYOTSaSFsJiVoWMcK3rLchXzhDo+1DzcLn7RhOjpDsMmXh8xg
cKTyRxuc35BJnWAyaWTz3ciar0KrNtESryerXaeWeLEatbcNGy6R/PE0/FnSaL8UyffMZztbjCtd
9CiMq+Cc10l10OzsyvqJaUV44IjdfQzoQq1Uu0s0bOxOF8maUBEmIAgB65yG+aDFobyPbcz1BhxT
uAhT85/EqA0PwXrkzesS6EieaGu74I8w3jqYAgHSUcPxDsiUBOA0hk82RQBMEDxTUIx43lmsK2G5
Q18AHGopY2zAPoLM3NimfLbZfYSPol/SSdBWICuq4qN23MQsVlhRelxuZiTNdT3fG7HzNVUPTS8j
mhH5coD4v3h7cyTswoTNZVy6kHinrhPEA9QHrB+8xmhtlJbSs4I4olrmks4zRB5tHWmZMAnaqeXK
au3pkQPcGYKUZJEgY2c55R7cfO3GzK6WNMKjNWTKbybx3jfp/RAjdYv4m5Hyj4MhtU4rrpmU+W1P
tQQk8GRQ82Zod1F+00AbexWbge2H1CSsdAyC2P0xHJ5NbKPfTVF8tae+JzilW34pyEWifiMTN78d
WofgzekPMi4OBZYLHdB+nAOwAn9Q0bHE1cGNGdEQoplweV+SiwT3GgzXazhqe+BHOOkRvTz9YO9a
JyK9Iy5Vr6G2tAH66qTtogDcMKmBIWLj3ey5cRZT+BGtQVZtWd6kxVR96x13H8F65pbZFtr9YFnt
LpcJek6y2E9F7RLCiql9u0xmae1nFB5QSn2+J8FVflgtIhoPt5CCmlYHSO7tnKSyS08sdWETi6LL
5IBEdB3n0dUgkZQ9IfZP9lNWaUPniyCv7kGvb+lILRi6TaHLes9zB/HA6DdGHH/mM3kP12ovbl9G
PnjyFyHBY6mrzZTk+WpKl3tdYMcPdLy3jl2dFuSCT8jk4kLWMOT2TJxrKAeE+35GSsucmpKPIcyS
bdVlfFah0VApRN8ILS4RqKrW5O0m0GPDL1kYcZcT/FQcYCYGkMqut0Moo3Mx99pjFJlya4OXbIql
1CkcTkz3u9ITgXWDcN10tBCUZkiIgYPXOlAEyyag89uYoa+Xrof1d4FXIw3zp8KMRwgGiPDoFm5+
5hgLFOq+W6uerzEteq2Eaxu7HcEv427MwvSkVKw9qGQgeT861rIPloKjH5N9EHtp3xqQdzRj7IfF
7j9Du872sNIcmt168bSwXQcWsXxNMFJW9cJlQ4XhkZ9odysPsYyNYPfR5E18truOOcfwAqMZQM9Y
EgUDoeww9ApKWbeaFednAHTnGAjldF4IpvU7hXWUc57jlnFHlTwvQ5vHnuxJFDF1CvXSJ/VIigok
A6KH4/WSuuY+r93h0DbMVpskELyJLJjVYrW0Uj/W4cjcNOQdM1NI/UHvxO/pkotv0owILVHT25B4
1MsHel5tLP53BZM2pUQmV+xHSHuHj/qxnKwqWjY4tRDkqG6wpLk+XeVSGTRCus2m4xZJV0kQtFuY
1eoQIgTtwPnfnHpcnij7LLemyymD91VAXqqeTg7zzAUN45beITFk6k3ITgKJymBVEuSzjx5GVKxz
1E8Ud6VIUAPFFdaqiEo5njnrYMuxMRCGqm/jZtnrfReiqHP3fzZRok7t3E8XQvzug2NyYPe0whb3
JtrOmnZTukZF4sZvnRs19zJysvOol/Kgj27z5rpBM9+lLcUDLBau8iMaexusNBWL9k2lqvOIOzFV
lnD4vxQfmNsqFHDyYYEPuINzBtAOqmRAFAln7MfikBWErKJsIDucpx2FO8vYV7jlxmRdeIDYaDRA
YyfDruNol+VdFfqqws0eh9I2Ngb6xXaRInjQKvEQ4N+Ttnd4LAKH5XcL8YE/ixjaFwctd11nOnlV
NYR7CPTpvnFKEyL6PXdqi92KegRa0+nuY7yYuT8ZZrVeDE1Va6uLoyult0QD3bKT1apscpoCeMQ/
BGNkXggo2uWWuz0Ij3IYOQqO8YTW7ozUi62mYnD3mRksh9qMqCfo+6bWPZvSoGXjtN3FsLPAKyhl
IyBQ4FpqQszrIa8VWffEzb75tcr8SjSkPDlEJWh7ztKz24uhm0gDZAAO2tg9haahCDvGo/Wn53D1
UttqRNxQ83hHrnU6orJ1+660tGNJqcF7L1oLSQT93CuLha7rSA/uG+Waa6Dy8Q6lmikCduwjl336
wB60arhN384hdDP5WsN4rwaZi5VWFP21VjVlCM5ibVIKhv60dfToaFp0TcIBEDFuUDx5fqo3gIFw
3IzSljiChdpI2hu0i2iWXjzOzahOalRvtLJoPz1a8SpmHcyNirpFPNuK81ojXZbAqtzdp5NdBRc9
K+ynxYyWZxJDG7ulnQZu5Bm/0mWfmqSqbRCowtV8s/lmjVz2xFOBDo1x8dsJGMK1TPkwd6V4iSVV
bWNWAvKS7EfeSQjr56Y9v/DjpkFLugh6tGCkB42Dr5fNyDjgqI03dGl0nNuFeo5eSvNNixz3ZcFm
IN3G0uMEeSocVOgXqGUvvZurK4iGpvYusCKhVRgJuug7YPJktO5Y6WKsqd7hLNNbJDfw7ZMns+xR
tms829jUOTlG/FCTBHuozbsE7IBKbFZIpLkP8cI7nAqgc2YM7WGmNP3aGmP7NNPqQoV6l98H0Uyc
mg0OnGmnainRjkBjbMofOVPBTK/JTzmnKjWAkaeihI2vikUbPNauu9Mq5Hq5b2TTNbsZj5HkjpYP
l2Wmv2AVqIqdkAsk2EoU8+jnmlr0dVFVnDZsk5qvxJgkKZyuW4d1cUXadgn5uKivLs194HwBSmA7
BybPPhwU1dTjZyAYDQmND2di/6x2C+zqbJVD4YnCsjKfJ/NMc45eqaehBMj3XWXHGuxKWH2wmkSR
uZLMRmXeoreKMOtixomaiI3G+8gc4jje0NpDGs1pSEdF8Cr3czMMHxYs/TXJdHwronKS3Goyvib/
brWZlhOuQ/KIZ6akID8bsrfbneE2mm9yiW1pGYCrEW50Uq0wfUTi4m7uxubXxqBakRBaLoaltUc5
meGeyim5pobD+udulP+veTl5q5f/r4m5c9s15fCPQ198tFHc/OO//8c/xv/Yt9lH8f2fcbp//+P+
Bup0af9luRrULIc4ySRPvevfQJ0urb9M19VMw4JaVqakO/OfQJ2Uf1m6Qq1V/HdlGLelAf8E6qT5
F5U8Oht0wPOkdP/PgDpT3upV/lftCryaa7q25ppScxRDnPYv7bN16diG0JPm2RqSh7QT8r7WbYFS
nHyWXV+tIxlHft4zn4LxujyCFdVdkBBEr6rqI9XamfBtQWLcyazTLELsBVFgyYLNYtohz3ME/iPN
yaBSrWDYBt4hz0InVQ6Xth0mM94tpinWFtEp0P2xPJItjtnQkbqUKZXSByO48gSEKtXTD2agec/6
Ov4vC39aDnTmwdIQyu6ww5RIoBA4Y91k2tZHqB7I0dHOI6oUiqHiYL+U0aHsSocF0/ZGzQvUR1i8
121JSxHHmJND/HKvnOxTn82rw7M5bpLvfIk/KQswV7dfcAPtj4xqphjWzjvl8kYmgiJrNL7ezY5C
Qz+l3iTe2tNye0OU72x5C9fQb6TlrKqi7kMJjuc2BQlVx4jqpL+GE9zJYgru8D6WXWyln9Hck0WI
ysdQDfeEGOBSYg4p8cBzEqYAkrZNPhXYFWWZc0wgk6+/arTkqa7oQ4jzmErSDn5/1REuOQRWN2/t
mU3JmiwhTRKKlwx6qjkg0AhEjQk0cqAfpwp2Iq1nxsjpUtXvmGQTdafFezYQW5Ajar028lO4/VJp
Z+8w0Y8FG0qCpavWBMrR7WicpBiBshNzEF+3UK3v6DzgC1JWEScZv4FIROBlmb0T2U99EX8Lm3N7
22TvNXjBRmXzdNdmDYKXMfGwmzs99ct+6tZDIzgcB0xJU0wFC/nRK61dzeukRTbf+sAhM01+Aynu
MOb4Gvvs3b11F7oh6mKulZeaCj8aYSPWYhRt9V4lrrUrdWTqejH1o1nk5Y4jiTzNt0vnfzB3Hr1x
q9ua/iuNnvOAOQy6B8XKLGVblj0hZNlmzpm/vh/6HuBq84hFXI0ae7CBgszw8Ytrrfd50WzdwKsR
2JK1zaV3m+bC8UFlPRxTCbNWI5EfweTnPyVJLB6CsXnJO+0gB40Jkp34ThH8zBGmoNvJnny97m/z
Pv1RueWTqyJeUcL0CTL1n7CoXlIxucfljZB41/v7qhSiXSgnE3aBWMqkLlcRLwSqAotIQZ6XZrG6
V9NcAX/jIYPxhTO4mieLpYXIM+9bp9EvOdO+SIb0AGoiJR+dRfssYP2LoCvY1RAFtxl58G0ma7Gt
JxFbOqo/LyGnvZ4sIXuYcIjJBmjHGuHAVvHSJ9ydcnuw/D/aID1wFug3HVjOgxmkf7ScypPYF9g/
ygmdUMfqJxA4S7iJwH4hxJqCkkHC3P6PUc9FHKQBTMchTdvnBoutT+Xs0aqxInCFwbvoo1bvW1ej
RMIbbzindNte43uKgaHsY7QftEVNbqYP+rtARuKJ1LtCceRCRtAqD919KUMWVdjJSYjMRfgcW00p
ui3KkHE/jsB6Ur8gmMSE0Ay6t81Fzk1F5vm/6sx6UwKIda4Q/HFN9cC5i0C4wU5NBW3stYV2bzAt
KrKonHQEWtsYtO0B/B24BwBlpBK5Y2ERlReF8ZmW1HeqhRIhFNUjZlKUsCFFpVxHptag8n8hiLzp
k4iSsrh9jil838gEB221cM1NEPBoVOAmdhcivmgAE56MmHQKUdKXyPR+lrL4aoptvBUUUAcplY9n
sj/RXmJwozOG8RVh62qbA4EXU2uZadOWVGZAEom9hrhF8oPgWgybY6Sk+Z1pKiNxPLd4IWIR70wC
/ZcEyunPPNMRwwQFMNy2ufnbbwAUwaqOuE9K9eHGKkeZCo9yOJI4JujGfHQUTPbDOEdabFOb/zKD
+B9tP26CNya57E89L8ankvwN4n4JHbT+v4t/9f9hyT5Z9WsbkHsqoYIcj+zf1fudxt9/9e99BpX2
OrQFUZUM1RTVyeHp3/sMSf/XtMzLJqEZgshT6fy/9xmy+C9L0dGImmxBNP7mv7cZ/9IltgVs51VV
lSXFNP4ndftIA95tMv7LzdlQxDmCvKsF8iBaMl56vTupXf8mx4lKRRnxzlHqdhp1N3t3FH++a5p/
qwb+F+f2+wxwQ/V//vdHEoHpbjMWudmFnhe41nBp5PqXqqTfmSReVDH9Iujaayg1K1Za0nS9/946
/fdbTVuqd8xzEZEhdkQFsCognOMOzJH00IMBvY3DsH7QO3F4yGArOlmqGs+phivHBsS1f0PKIzE3
MXZvj/1fSmqsJfGaFdpHtPfp5Wd+F14KQjKYCEapWb5apiZvdcAFZyWnmuB6805Q+o9ee7ZTzEod
FG1ZtRdJcI+F0V3KkRIBmEDfCyUzVmwWlm4y89x1ZXYJopmYJ6MGJZ5nwKyOOvQ9of3cDeSZQ7WK
4M/ADL29CKCNfyFY6QnnhYKtj2byULc4YV5vLfkjI1A+iDyNiXe9xPCS0jSCvLtY0GK/EnHI9hT2
kitHgrrzs6rd5yrFwUVJ/VJORPYVVmGzZ5Bq6TagcgcUVeB/Q9phgr1FnPDY9VYIR7eUgzsieYq8
aWHWntmJFg/XH1laeuSZfQZhUiVR/Lq9hPHgv1q1Lm+13BO/NPHQUr4klJxxe1NPXgY5N7HXmxYk
3FSI4F5/gMU2m3rFuzZzJTw2NCFrLzi34fvu3xdK9ZaJw7FOCPnG0IZZgzv1mynnBwNOYh9PbFtr
p7WYXZJBRqNPaYv6MHrJjpLiQ2CsNM3C6JKn3989GHhmg+wlLdMO96K3F6F95YfrL73Q4//aNL27
tNpWxUAEo734pgoQAUJ/SPi4AX2UrnTFhflKns1XsojmTxa4gwoMN7+hgvVzTz6bcnwUlQLJ1/bi
5c/5lE0BdhS6t1a5NhksPfhsxhk55FC9zQ2KxFHIKzTUxF5/9KUrz6YZnJatTA6mR5ceRBocrvf1
Cy90FGk2veg4s0lm55tOMZDTJLp5UyXaCTFnsPLkSzeYTSuJJbc4euoBQZ6y2sGcZ6OV6OVOrYf7
66+wsIz+tbh81yG1OKjyQskNp6FkRqXyc+MG1i9K9M+j5k2llcnKcF/o+ZNq8P2gEjNTTFGYmU6A
PhdMBUG8hhIRiriM79dfZeEzS7NhC8EtENGBmU7eNMcYg5giS35+7tLTLd+1klgQFyHRbTq4qDb7
MBJ/o13WV1pm6blnI5a8KTSunIu7osws5mNGFg/iimnLUg+aDdu4AK7r54bhSJp0GeroUS/De3co
Hq83zNLlZ4O27ShQEQLXcLzAeKyCYa+o2oOImuhzl5+N3LYnFaGVmj7ROY6h5DqtQGBeUqvt9esv
NL04G8AydRy9kHu6U5AGl6KvRIpXnnxhMyzORm4oFnJH1Ep3/FSnBKN0n021++5F3i1kvaehQkTi
m+XnBrE4W8oFd6jTLnc1ZxAiY5N6GoYK+Vs9ocPSHK4M6aHr7bUwW4izQVyNrVUoETfKssQpxGDf
NtQ5eq57KgtS5FT3rO0Opit+sP8UZ4O5whMkbjruFFKyu4GcB7PeVEdCf9m5DsjMXX+hpQ4w/f5u
YEtBGnUm1CCnVoHqUdoubzgcr8zeSxefDWyivQi3oCI4CajFM2XApT2I1ZoL8VILzUZ22UVVUATT
o5uvafzK0dvLv7fDymS6dPXZwI6pW62CNGDeyB7S+oZlDqF/Twq4315v+YWZQ5wNbctSOjkdmDnw
9vCPbov1QCiAPRc9fcUf7sNXkC1rNrhTIKodcic6K0bFB2/atHBsmuqxK5HqWfkzX5nbzEa6aFGe
qPad4dQ6RZayZ2woeX79RCNx7dnAhkjre2peGE7rmubRy+QdxGTrABxhpf9/+BW4wdR27/q/jMKV
2ItHzZZAojBLXJTnWLjEVXK+/gYfjgFuMBvHfm4JI8gnHUkGRVqxSBxa7/yVp1+6+PT7u6cnwxEO
yNx1R5LJH5MBCDaYuHxmw8uTz0ZvGwLD0DtLdwCAw9sWvmcFjDqjlHIC/eXKGyy1/2wQD4qn5Gpm
0DyB8rVr5O+tV7zKEjzB682/dP3ZMB6ysPMay9SdoL64AIXQ2G/EZjxev/rSCJuNYcpzgyxRdd2p
glMWPBR1fZeoxlZA3nb9BguPb86HMOIsMLc8flIHb6lSWi9Q1MunmJrvldG7dIfZ6IUEa5pqwwdQ
/YogrJK6W5xUMMwo+2zlFgutRHDtH720IZ4eVmDMGMTUown7UkayHVKz637GrhJ0gDkbxSUkBFj2
eX7RkqZ+VjwTJxs9qk7XP8KHTrnT5ae2ezfM8I+vhUbV4svox54dQpL29y4WMT9MXXBvxbo3vrWx
nqYgueIWobEpoK2RjKr94kM/WnmKvwfY/9gR8BSzwV65IjjatMouQleFu9jryp8SXqknGEqIt5ok
BLQdx1C5N8gHrU2uxuwZrESpILAKsnpAIzc4/kSUjxpXs2MMOB1TDvEaG4PBvQ9kVT9jbTSAQRDc
bYCVQ7mRPEO45G2xumhP3eqjl5hNKqnV9qVF/dpF6Utv3AyjQS1VmY+od9vUZ4akyAa8QBDn1AMH
oADWAg9/D3Qf3Xk200QJNZCFlsaX1oCP5rYvfaFDJXHPlmndTNLqyA/PgnJDJgZ9mnEDHhKDAARv
Eni+QL7XxxbnNc0PPjczmbOZiUBOYLZ1EF+8Fj0bCV3thG8CFBALVPNKx51a9aN3ns1PlNxEItKR
+CJp+NffWn7XjpsIIAnbjFIHQO7hjaFyKX9LwpTCN4q2KfrQCMVVvU9FcpIPF0kW618rD7Qw22iz
PpxQDJnJ1LQ41CLtWcy3we7xHjn5pjpR+LaJD+HKnPNx2Jow4qyjgULGiJOqYgdHE+sl/h6dR3dr
3hu76k35o6Ob8GwJKczPlRdb6NfarHdJJeMo87ideWPcebf9Niy2ZKCp7Nq8hbfDVt57tgEnawfT
c+VkO7XZBx937sccWqHRtlk2gHJVnzSv/TLU6peV11n6TrOOI4Gf7GW2p06x48RsJ7vKxkDOTjeK
rdgQBralba500oXVYe7FrOcJ6ZsuGZyw6+7q3LhXYXptdDPfCZ2Yf26wzT2ZLQ5uzQiP1TEL8T4U
BUw1tDPVcO3K9Rdewpit076LrWed5dElVwXcW3XJhznnUn+JDHPXADNZaSx56Uaz5ZqSTfA90Ocu
xCOjH0z2KUS1Kj7DOpcwSJLReZGgKTeVHnnHgflkT/QDy76oLy8ZZqXP4FPIqw9D/qeFMpFsBlHw
kQtgDkm9Q9K29yrFOJRKG6bnmIbe3dc90BHqz6WXNKwx7Ay9sbF9qx4+d0pRZ7sDFF9qW+pm74SI
X/PsR4F6L2nGk+VlK4220JnV2e6gUpn1BtPqnbo8xZR7JlQ+C/LT9aEyfeEPRqE63fTd3qCj2LeC
pzw4kBLr73WE5d4GYJBy53HYuDDd9fvClbRTOFE1YsWSVmachZcyZs3WB0Ay2YpHl9i6k7CL8LP7
wChW4rpLvWzWYo2JTjZQk+jSpZiRBPmQHSnUUym8tDyH0pT87nrjLUxhxqzxPMm0xibMoktb1qqd
GfEuV5q1sOLHCR7ZMmaLTd1gWNaNIAnwOZ1AUzYox506/tEKMJ0I2UxivvrGF56vv8xSo81WnKbK
wsI0kuyi11MFR0mJyBM+zsR3Hz53g9kaYzW5DwA75wZ4YYmXOrj4qHxSRuv16y+tmcZsS5JSal2j
i04vuWyOP8cB/7aSHBkm0WJ6zPBPO5Vhnn5TOm245GHAHhITnDPomPKr7mGTUudteEyLMllZ4ZZa
dL4KqZ7apJpKtU5pHuOhu8sz8S3qNehp1NRef2l5erkPBvBUSfB+AJs5iA6/KbNLZ/fbeF8cwm26
V3fGXtoiAN5SYr/pTu2hPZQ36QF02fb6fZXpJT6672wmJ/vnko5lO19vh522/yltmgNOyLvM/t1u
vl0ut4r9+vUJTdYOkNVG3jz9+tWsbI4W5g59NneADqgVyM9gJjpIXT003LzvHiS53V9/t4VhPdVz
vm9S6BGuIvZ9ePGoWX6VAwmnpKxRVyaN6Sk/arjZpBEiiAzEjsnJE28i74sGtSdXH6Lxjf389edf
6Hf6bOKISwUfyoY7NEKHgaqGklOs1V0jUiQpZ2vz09JXmM0XvRWlllRMkyxa4RZMAYoBsDufm8L1
2WTR4zSQymyBL/KIGET41aagxwNhmwsr59GlRppNFmLlyWI1rRE+wqsajkSKTi0z8Et7vP4VlnrR
bPRjRF6nJlCsixUoD1WanTRDXhl8C5fWZmMellPLrEVapSv1+iJoCM4FV1jZ0Cx8V202sCuOcqGk
w/4R/fw3uqpvtZecXBkXi+vtsnT9+egV6Z+pGIcXkGc3fSD/DuH7Uyf1+/rlP2SPEu3QZqPXGMCP
IxccnHo7bqNdvA929M9Tddve4R94fENYupdA5b2WGyBvv6nX2zQ21LtdbCsrr7j0faZXf7epkiov
FjBgGRyVEqNAxANcLFe67Yezh2SKs3GhGZmJS3lICTKYlkGTMfeKpwJb4zelfLKdpObX6+0oTVf8
j3mKO80GCGT91FLGqnXKfkTGmUyxhGx8Bnn06DVIWXR1/J531kOSKGdvlG9cCcsJbBper9//w27C
7WfDB/oYih4ENOdygi9SCYlWftdhU3b98h9+IonK/X9+olROe2pzlNpB7PeoBOUPKrbX1uSla89G
kIalgAIkpYa6CSJ8yG+krlgLCH84bfHcs9HT6ViiC2lcO1SmHdKKMvYaUROwR73eXm+ZqQX+87sb
85RCJePRpWE45KChMnZjOD5DZrwrfSTlknEK2EHj436fCOnKerj0RrPBovmYrGUMFGegD25baTS+
mJIl77tB+C6JVb27/lof9yewcv/84C3FHiNua5UDnK6TQztMLJtT4Se702wxzEo0i40Oga4wXwJ0
T2Pwdv2xl/rSbLyThU5qCTmBA3Xre+4Pz0W+FlL8eCoxrNkAz4fU9bS2bB3wPpSyabdNzlnMB5CW
QLPYuk13vP4OS194NpS9HGNYitDoUUhXlSDd6t6vQHsci/hzN5inGYRKMHNOF40j46BUhaUdu/ce
ZK6mfLr+Bn/ruz4YFOZsSMtR7PVK49aOcGz3SKgP4s4nrKQc+3zb3YyOvh3tS3fJb+vb+Jg+yN+i
O28fr3Suj0+CkjHPQFBDVGeKNd29wfxvg4lL1O2EfpdhqwgzamP8uv6aC2NknocQBpPqY2xtHdW6
LaCRebtUX5lVFvrxPAcBr1Af1Uqond7De0sVdiE8xetPvXTp6fd3q62gGUrRhjz1KIjPbtjCQi1X
5qaPj5S0/GyMWOzi0JPG7gmnVPXYgY7MN3Enq9kG2FjiJKZCnX3Q6ycoViVc0nLcy0wGLwTo3XYn
mk37LSBf99UdyUldf92FYWvORlOX5pKJ421L8J+Uby3jMYbsnLKO5yrDBSJMNPdw/U5/6+A+6PXz
sGBUNC5gtdI9hRjZA6ce1UeAdYBHTM3sdwA0kwdPKdSXVIv/+B12eYCcm2G8V+Q+PEqojDc0QPuN
fFz6BQ8dccNEIPq2kLjuxtUl9+v151xYseZHYKkIWqD2QX1GRdXd1mno32MCosI2jP1LMmm8FUQW
+qYtemqnkP2tbPMWvoQ+mxS6pohw/xKbM4h3qgYzc2cVqPSV+N7VFYSyZrNyoFu40WQA8L6H05qj
YbjcKNYQBuGyEam3RiCj1vuu+OXKLLN0k+n3d8NoiH1DkWKlPHdG5lDPAYphMOMN9nC7XtHETa36
KzX5S3ea7dAL10r8sc+qcyupIgZRyXc/qR5rq34EOESNMKqilXf6OOkoGfMIndRaPnJiH9mbi67G
9sai8nedFg5/skLOcWnXMRIb1cGtdzCfo3u8saXXofeNuzqUClYrih1go4khUFa10+DZ6tiM5F7S
nsY2JFk6eoK1NUF+vDW6Mb6ZshdhXBOxoirIJVdKGRZmuHnAA9qc3qhgL3CbiyZK7KDtSzj4Kzuj
peVlHu9oPDMBG2kU53oIoVqY5tjcRn0doXI33QIHagRt92HU4hiKWTYuRjDWog0Uh/LP9QG8sEGY
Rzor8HQUVmkNmGFXfKIOVNlGRincmmUnHhMO0isDdmF9M5R/dvEgzHGvMpr2DGpN+KK3OTXqlqSC
nHCFlblo4VMZs/2a4nt6M4oy1rOE5V41HARtL4jdl+sNtXT12XKEdU5CVyiYCEZN39fIOG+xG1BX
ppmlzzBbWZJyQGXhusXZR6R7QGkpP3ViZ5wHGQPqROnb7596C336PO9mmqSMNZ0tW3FWPKG00TV1
NtGY+89dfGq6dxc3tNgHhFGT/enAYbsId4Xf168MDJRrfLAeTjL099f2cl/uKJ/wHOeHsHkhB7xJ
Nr+MLX7Ttra5udn+CDb7YnPz4jjbmz3/3Z1O+9P+Zru9ufly95iQTj09bt4Oh9+Hx98nwqS/693l
/nA6bQ6nL6fN6ffF3Ni7Q7zZ3Z7Pu93u6/HI/76fn+zj+XB7trnOduscbf5mZ5/to3Oz3e9ftg/T
n9n29mW7PW5fjv6mWRkuixPDrDMbhkfNYMe8gxt8/SPQLPXBBSSEAYUSsNCn+p0U5Mh9jFjapGFS
2KWoFF+ut/ZSW8+6ujJ4rh8U0DGAgRx0r7KjIVjpIku7On3W0XEe0Pwq1I3TQC17HwgQo4Wj2P6M
dMV2x+KoCo9d0N7DMwQxcpCN4KuIxhU01Pb6uy3MQ/P4nZKOsGGGujyLg6ieiHVKLxg3JW8Cidi3
67dYaL55FE/kvJX0tWGcxCrYZPKzFq1Non/TKR+MAm22URCAvRWAYMuzqov50cwxwrN6P7YNXxlC
zKwk6XfTq753FAB0b6M2R5OkDvGXzMWCC7ub9oAjnpTaQRhVIgWXbmgnQwGiTBuBY0IclNMOpKKq
PORZGF0KUShfy3aMAsptoJfBoy99eaMarYqZR4PNOafVYNNZVXcYR3CmmaGRqgwqMpk+Tih3eo3z
ujZK6XFs/QiqYWe4hywRrN9WNrp2HKoUNAIPx/c092oh3mCYjedaaRUOVtnWYVBUjO4bEza5PVJl
hI8WFnPEu9Wuc6SijHaB3PAX8F2aO9kF/I+Dx7jTEyphRS9rv5i+pmzdsnY5USWlDeYsfinbLr3D
sLi11d70wVsDQaAuUfS+Jm5IhEKplW3fl1giQLu46AL6qU91DHU2pkMLgidwt/JceXUKcUWMVTx5
o8j83PXn4dcg6H0ZBFx5Dv0yuHexnAOiiTn39adfWKK02dKhtxX6KD7gSVMee/NxHEfbFM4q0ODr
11+IehrzCh8trKTQbHPt1FvFbdOBWvPiU5VZJ0GybA8XDyErMeSYrEqQAMiQ9QYsqq7ffGnMzpcX
3YQ0ERNkIzKDgfFd5T1fv/DChnte3TOIUqcmMrDTKMdHBYrccMxCvbgzjFq+bQsxPteuZu2u32zp
E80mbjSJGFdkUYLRalw6VLDWNxHMJAfSI4iLoi2Hz82i8wC1X8Jcqfy2cMRc/J154aGWQLKL3trx
7uMX0ednfwNDUy8kmHvWsG3OEkXZ6nFwK5XGrV4X+f5zrTVbihTRN3oODsYJu4qi/TlWBjSM2+zn
9at/XPqJ1nwW5u6DCJYJde1nDc9IgMEQQbujBDtPBcPFCmQDYRLQiepKjT1h22DsGQY4D2zkuoEO
H0SNtjKyFvrgvITJq7tWSSs9BjJuZnvAEsHPvmkVyVb0Hor/2CbOKNXd4fqLL6yw86ocDZ5kbYEQ
O4l4NsLZI5mlPAiGtnIg+6t6+2ANnNfktBQmjmleG6c+MyjJAcbaYT4MevMbe6b+onmw2BVdrh+l
pIcRa/a97HiJOpyoeoPF3qUYAyRpj99KJijPvdr2tpcm3srjfdxzjXlRD8rlQPdTNT9bbmHgyUqC
zffb8SYfJ9r8WFnuynS89FGnmezdZtvrwaoouhafyeMlGcJMDpFCHyUnHRTkVvLZJsLn01e60ML8
+JeO9O5uvdgmGrT/kvqvqIfql1WHxsiMldn34yiSYs5m3ywx/KEwpf4sNtjsaWw0XKv/9hdskwbu
awwEJU7GYae345p64+PvpJiztTgYfUnBkaZxMsFtQbF14D+kjP1anGo2i8Dp+mAwlu4zm5IDwY8t
HBt8JyGO4RTSxM4zolG+6J3n7bWxw/uuToJ906gmHol9RBmHV8n4h+OkXJt5/5XokH6WRkvYFtaI
s1sr6N8k+m5md4Xp/4CB2dyPVS8qm0B15VdXzoMnHPdwAvM0AVB3EIFiT816m+NJvy3jNL3HFVna
YS/PdluxKlwgi9r7Vvhue7ZqpdpXYdMC4Ev1k6gDQY7GItuyzxL2QZSrz5GuR79aJUt3JrCKEaNd
0xC2nCKT27iuzXs/Hast0MRuF0thd2yzYkT2iZtYHDIcLV2yYCjH8jY2MJMOWx9MTx8Xe5CF3yuQ
d7aKHcCNYZj9GRa2fwhTRT2VfYkXXJcm20TK+rumKHU4vB2isHgkf9wr7RPs5mAjglne8mHfILdn
+8YK+pWt1ceTGn6f/xxtGdbCk/1uf/bidht6FwvhuYVv4fVestBJ5icGCKE9SJKwcGQjiW4LXzHP
oRDte0SBjumn7Uphx8eDWJmfHgIl6uNc9TJHst4sfx9CJ/3c80/v9W52iLOwBTge5k7fkM4CsdVN
eGBAfBFGL9dvsfQBpt/f3aIC9lPnyN4ckZpTXDmgOUHQwkT9U5efR/Zjk/7LqY0ZyNJerGB4aDXl
W+uV3edaaB7OLzxNicSs9x09LbfsbWwYVdhURxujk3bXX2FhEp1Hqs0M+8sYD1cn97GTo1LhBpjd
HzUyn4shvcnKv47RfrGV4kBeueVCh5pXklaKzrFZjgNH1qrb0Ywehjhb+SBLl551qb6P3NSL6s7R
gbVa2kPjG5+88qwngQTBYdRMAixhOiDeVmL7eletfOelx55+f9dNfQFT7ryqOkcbEF7HnFDylbae
Hu8/tz3KPIBai74sQJf2HU4PDxEgca30LkKVPVzvPUuXl//54KKoRjgA0EGJB//olHjbTA4GRqZ6
Ky0zJUw+ev7ZQlgLvqynAhBospyPWCWc9Q77+EGwLgGH8D5wpX1fW2vfYel1Znt7cahldNCkTWQt
/zZi1J0J8rHw5ZUNy8Jnnqe9ZHwlRK8tfQeDJeiKTZlv9byoVrZ2C8vBPLmFY3Eu4RjJt8A9PBBs
BU59MuICGD1/6mPPkxpBHjVp6TMEsvJN8rFwEW+0vlvpqBhhf/yp50kNP8pqrahU94yDTMIOgE3v
MdKa8pYJUC9ve1Mp/sSd0Iinbmx6D0crTzu7fVGW26BBYYGpeo/NjJgYpxoN7xMuR8HL0Jjdjy5T
RQeINM5Zaqi/hIWXbDFUbUFhFEo6bCQceQ46gImLN9b9fRpm+n1fWDlFz4r+nLMA7qtI8e4VMcz2
letrdttW+k908uZ3EwfUDaRFC0KeAZKhF0XKPpIGDn8oa4TA1CTLbnsfz1vEs+ExKJNsa/m+sFc1
OXICKQi/xxpWD5LnY0Oh9CCrwmGiyWCzfHSzzHWixB2OncRiuUm6Av8zbDEfqbMJz7jW5AeIivLO
qlThT9SSO93gsSu+IdMt7qB/C9g4EQA/9IY28ctxZi5HsdrhNW/87EfLxVHF1Pa5BjwdMwYT3oNU
pyR0utJRso6onYEHweTMmScPhikUezdyva9x3UAM8jytvBvdQNnpYqH9SawMNXaXqg99b/H6egqT
G+IkPnrYbe456mfnoc08G6Re+wb4DvfntnG7nW9q5Q91kJUdsj99uMSNZKa40RXlvZkHt5rqllu1
o/LH7PXsIseqjj21UcJ+x9AUcwFlb+hCcsNv6baz8EnTkenvTGwvQBV6sV0Uco1bDY5KDTYv4H9y
I7V1o8QSFF/rXdRI1bOii9rXOmy04wjlC90BFmVB2QAFVVwxOHTNqNi60GCXoaHiwnzCRMKi6KdB
wIjB0LBs9X3dPbtBOF4yrAa+qN3gHnM4+meTwXgsK+xe0G4EByKIE1sYr04Pz92fpRKV37yBTlRa
gvU04j+416Kxv8t8Rf7Zpa35Bjm1ezYyuofgicGbYHiiPfRAR20OAqadj/Lwi5yM7QrYTwGiwxu9
CFQLJ0b+AhdK2YfDGnXWUzLATx7NHwY+3nbUeinQWE2yS11ztLh4lD013eeZgueuDtqVt1X2ShNU
OwMTsNcaF5mdn8Tt184ozJt2oo+bcVoe+8Y0zvhlhrsiaY2dERQZps9Zd/SNptyoYZNUm8k54xBH
Y3xjup6yx7O623uul39BfIgRJ/aPnc1RV7RLuHAX/IAVjPPIIlqFGt2lEqJARc+VO8WkRsODuL1J
dEto90TCxC0kc+NXo0u67TMqC9Q2wmSzCTtdzofx2Wv5TNjJVveaYqpHqQ1cJzTi0RZU15gcUY1H
deRgWimZeCx1vMYBMvrU52HRvnUlqzlqgdXsoWOLdlrSgrmYU5aaA4fUjaqiG4j6PsoTnFpxeBIB
4VbQ3rFOLPH7o2DxHBAkhKSvePLWivDn0Sr+qV+RsxdMOnUAbtwmbhPvUaTLB6OvKbfSB/UQB0r7
GhioVah0HuMf2G0mjh6l2aNvJkA1xcz/pg9W/pNhndlW6WGKoVYkRwfPKMo9TF5B35ephOJkiEwX
YwcVA6UiDqStJfWYh2adNDphTtvYWPGIo61jWg/0tIhAfAf444EpjirUjDJAlVDX+2fMrxKkq5AI
0bOIw6NZVfohxPL8iTA7KtpBFrG7C3UJ2qamqdX32C/dHxBk+rObk8q3I6UY77rSB3FaSIOF9E7A
/lOlmJCZRo3DU84Z4KiNDR6VPSDK7owAGTA6jE3ttuuYn7JgHI1jbCRBc5eLY7NJXfzCd5WQBq9+
jMiyGE2FvT7GAdKmLifGHRqSJOVYJMlASQtjeBjSVgSt1hvoUv0Wyurn1sdpV/FuF6eAkA+qIuup
klDuXJw28E0Ovvd6nK/sQT8O3ihzmUBi4uNRWXHhjE15sUoybFbzA8OUJ4mdF+M2Wtl0Le1TZoEV
soMNReUEVvo2eFBrY+9F5ZowcmFDN5cJEHsQi9Ac+3OoB+a+CJVLK5DwKnWMilyrOgmjdqe63UqC
fGFDN08OSDWxmqwvcqeInlzX3+E5HWvSSjMtbLjmil9sZKHB5hiwipQS/THZ3qGqlosndYJRJ42w
Vvm89BKzTbYXNuQDkpgDuEc4nuKbJvrRJO2XT/XauaqXKHried6YOoms7YoOQyapLI0N9lhr1dUL
2VtKj/45MGpkw3kd9ZmDHbt7Rr2F/6/q58+dNTGjmX8uXZU6Q01MhkzlJY0V75iPbb1Los67i0gk
3qZNsHZGXPhs8wg7n4mCEkA1jl8IdwVGA5WEd21o1l8FTbi/3qjy3/zWBweXefRcwFWMSL5UOiUL
4NPQdMZNVxduiU8Vwboxabt2IxYE1PwYXoWdyrL1HRt1+UmJDAt7RZiLr7We6ekm0of0tkw5w3lm
lTyqPqeurRQNymsC2CBh4Lsjjl15CWmkHHAaN/NwtBMNt7LUlTmwKqr5NdaHxrVVCw9yT1Srb3ml
DvXWlInsbDC2yF3svGqRzYRmVTtiMg2VEljK3jcCZjiaBObYLxTy7nIseduw6vsXyKemuBPKxPxG
ycGwy1vd3YlKL2wksxReqXcxf0ijRFICimH5bCom9luSUQ9PeaYhQaNEjrCiWADZC41jlQfqTdvG
qROlXn7XxKVmC31SaLYMxgZ1e1OT7xr9DvZ9KVs8Ou5WzRYdnfDNF0chxOtCwBxVyzBNxg8x24JQ
RwCRe6n7IAqaS5Pr9Vd866QvQmF2G1HOOUKY4X2N98VRFgHCx5kp/1JIM3t7gIKY8QpS/tSrIuVj
oVgeEzll5xSM547Ux00yGUVJdVOfCZBaJwoqiWUEQQnHkzpm8HLtPihMynCqERURotPkvkQBss1M
vKNAYAuHxIU4ARBfuKm1stiWYpd9j9rR349DUOKf9P84u67eWJFu+4uQgCIUr4ROtLud0wvyOR6T
iwwFv/4ufF986msayRpppLFGVFfatcPaa4Hzo4NI6yZtpI8Uzf6byCCBbkc9h2ZzPUELIzLVxoG2
SQ9wqxUmtsEZuZUm3OUuJuVrqkD8GeTwsXmrDE0au1XN6bmrVfDDl5EUnkZAx02nUEosHJw4H3m3
6qTCqwcnEWfHJqoY4AEaDLTTN+BsQDl1UJ4mKVf3ehDCvqWjZYafYD/XD40K1UoHSVRkwxOz02am
7uB1HBLJpjl6bTWqVY40QuJZKi0FUQo4+E4y1yyMD6q5DCHCo9pYwy6NICoL+vzmUFuF4qvTqG2g
o9r4UVxkDzLwfxuAzOI9ThUUka2i2UWkypwI1O9nc+AhhM564F+gx2UD2wLRSr00IZWgqtuykKAV
Bfb0MzdowDYj/m+/VaGpoEq6ejOUBH4M49oOHMPQhoFk92vfQ/kWzlPptdDttkkXkjuG/c0HVT1X
YGmv7XZsIJObyaXhh3j/0Z0WpF5t1NrfvOy1m1zuZBTLkEtLm9p4I7qe7KBWmMyVHmW0ac3bk9pE
0skaATDYmEEe/0ki2dym8D2fJXP40oohhcCqhbim7k1H1QZlw9DyeBO3HX9Gn3l2hvYZ6Fmhh1U8
SOFopZ7SNQhQBqTtd3pA+1OcjeDAL0lBda8B/TgI05V2k42kdeWxgiXOsuCpS4IeteZMneXXod7i
gPG6/FQsgGad0tLSHZCUFXE7RGqPBSugH5CgYFzZmpUUj/A8p9prjX6WqFFA5ZrJ0/gaWjL+29I0
xUHrdXySIJ8DUirAUCAvps6k7H0wjMCCNBaDaQyhfePIJl/rWV8w9WR2pH54ZFRP9R4IyeEgzT8T
FRsSaMCCQFquWHEwlkaY//5jhBj6OeiGk/pDNbU6gsxKdsDTDy0g/kRDvlZHWHDIxOIoqjh1A76/
ys/y4V5vJ3DEtfcrL9XSt4UZRFlv6W2H9L5xVx/jXWMbzqax92gneYMAVuWSu+lgHqQt8x6iw26G
M7/wFbD+0tCCw8wqQ4YujMF8o82ARHvKtTUPdsFl+sYD/tiWMakbEK2h8DK2UOVrg7s+IjdZbnxd
X7QFJ1asa+Jeq3NSBupIUrY1uswJFOU+KVuvzgg0A4c3S16D9C2tkeD84Qmy4MJijdoawhljPYWu
lGlrdJ8LEYUmpFfHABppUFwpfRZlByjQupCyuWtVaCEVf6p8rZNrabkE/y8DpkthaTH4pqLtSy1n
NvJsL5D5O1fJcA+FhNswa9bIvxa2ngg1txTBHp72KfIpHs03qLupL2FdZG7V4Gn91faTeZ4/Thcb
jMiSUR7xYbvuKTQoWsl6YWq7zev0QEj1YIRrLV/zLbzgRooU/wDL5GUcZuPBQgQ2mnDQytDj3d+4
XsMwLY0wH7wfk1EafZK1IYAuTE0PPMx3Ec92jZTcQ6DNvb5eC6eMCPGkAhlq0gPD75cpILVq5qrD
IUJFeyIlUKjP1wf5Zh2+tFTCTUmUHGIdYCT261fyWp2mx/QwJKhX290r/2jOB+ttpuJ7vz7aQrKa
CBentkii1mh29JtpBiNadcEkW+sVuhnTkB2UNKy8IRmgh50lvYS2LymuV5oxFizCN7/Djw0rk0TF
W1uZ8CDYAawsUEJO/l6f1cLdEdn7FZD/apE1GIc4eiXWfE1f4H/Zv/u4cGuQkCZD1U3GATRPj/HI
/hs7JbXDKvjda/LdXv5jXSD+FtRqn5qHRjPbrUKJsRsgnbBSBV84w9/8SD++PhAW9lLUxn5qGuWW
1kl6G+kSklIQ0vQ7QuL/8thcS/QsnC6RD5/BMepQETQORh7YRf93LGYucmikx5FD4sbmUuX02S+f
mO8Wyh9TCw0e0WJA4SgGaRPksHn0Bl1i8+P6ti/Yl+9Gnx9fLywIHUaJxg+R9jkqExpS2jnzCOkn
vlLkX7gQkGz7x4KlMR2gLM4R9UDsK9fIh8b7u+s/fmkjhGtOR45cpVyhfFoljjapPvLhd501oXiT
PgLR4po92Fpo9t/14ZbWSngoW5NWiLxkfuiAWDJnQQaUSyw0kKbw+a8PsbBYIoP+MKIdBc77eICe
Hjz8OHZRbFprql6q4SniHac56fSQML/XtM4LplF3mr5u3Cri2mkKZy2pyio2paIaz8Bvy6kLkm7o
T4GlMzoxIHd3Oev1DPFTWL+0PND2QVAwv0ma5LXTB/YpZXSNfWhpJYRXyZAGKpuNkvmTJccAHHEP
miXtyjIvmItvtPKPUy8jzxn1IB70rZDvQlQyAF+36yhyeKHsizJbGWbBs/pGkf4Ypo+CIEEnVufn
kbIxdLZFatXhXXii4JbU5P4ZWsxrpfil9RIOpw5qKRlZncRv9NeK+CMrfvcwiJzwZQ9g9mjOSdo+
2bOieuKqtetp9PmrEy8Sw0+yYvCEg34viDVA4OgjaGS+rn96od+GiDzwVDcbmo8GPahz3SpEu6oT
Qt3Ug2J8s0NuJ96VAVrAeY78pgbybQ/Sxfru+uDGZdfwm3f0x97LJKd9zfHhfJirGRHaS6e0u00U
iIPlybTi6CydsHn0H6PUStGDujAv/QK5B8aL0Vb7fc4kL4vaHaP5IeYr+IUF50NUk0BlAxLrEwLR
qdddktxX2rTJoofri7X08flQ/5gG7ciUk4TiPqZp5wQVCDk7rb6HQuVvHiEVGY1/BxjHlECND5x/
ldkVD+j1ZNB/0zr3+s+fv/I/vi2+LtiqFNVHpnYm9yUIknA4nOUqpPXiyuDTwuvJ0QoL5kiD+6M2
t+/YACG3v4ot8G3h+WyQfhlaVeE+nW7y9DMlJ61+K9daSy7aWHxdMEjTgApo1WeWH+mfI0KJegBA
IkhtSMKDPvz5+sovDCKGk2Hf9pFljRynMvNyFdlMetStfAP2AJtHv3n3oRMnPJtZA9XLMgZbqNnB
MbL+pl17VLW/6L1fmcVFW4EB5tn9OP5owtFHtKRzXwEdF5/03KnK5lin5acs019p52AQwVSMA9A7
EHHiflD+ZdD1tCLuTm26ub4RC+dUjISHPjQ0tdW5n0F/XgKeNgLFbbRye5X5Il24YKK4XR9BgzUs
Ne5r2+DLQnr6prhp3N6zvppHSM09FCvB22UPCYsk3uQuiSiKL9yP9qh5D950NDeGw1zmgrJpa94E
Z/2Qf6IyumHbfGXQBeshitdV6ohEONpWfC3rs01jaKkjM/3p+r4sLp1wyYEzz2UpxIyq2p42xE02
wFvsIWV0rO3RBxRiZY+WZiFc9zwKdBIMOACxorql9mpBDvP6FC6TDqhQcxSux1gQypuB+w3i+lPa
lNatwkDXmZEkAFZdN1KHAwe9iVRk9LPKyFyIeSp7BYLsDxAN7xAPttYx7at4ZwGy8mKl5bDP5YAd
gXFOnXxQGkcZI3IqkyF2wek+c0DFZrvGMfUdGF44vqIaHtQYQzZNWBvdZnt6x1+Du/xkHOi2sCOn
ciJo35zNEySSHdlN31okeTfSoXkEHmJlCb9N+qVfIFiYCUDTFnTn3E/t1sXldNBvne1zu7DPj979
Prb/ZBt25vb2+PYxuoqDwyHbH7czyfPMeJmAdjLeSC711gi5F+yFGLAbeTfQAcGsL2sbuOK21T8p
qGysnJj5cF+a7jzqD4Oap51EGwPTlXaNx13JhtoxusUl57/WNmE5Wg+9hnbqQtkDF0BecZEWV3m+
Gz+GlVk3SpKGuwa41KbzQPB21OdLh39GDwAzZ8Q/yb51URG00Zjm6W5no5HDbmzFzkB+Xjjlrj10
f6335GT8DSxbH23dibxg5ZJe1hjEVRLsW6SFNYeuOPdrnAK4xD7bFI7p1N6ANYmP4bb0DNCLthgz
dEGPe30/ljZbcGKgpFyZMe+wHbhZRVi6IJM2lKfrH18wPN9Erj8WvUePzRjMl6vTNlAQzPo/17/7
fRQvHSLBoiVBp0pTig/3f8NndPba80FCge0U74LtO/TIbSib273TufyLHOadOgxHVLpvmpUQ4ts+
XPgFYjaA1iZLA4pfoGPsYKt66W5myQq9dhccg6PpoC7tWTfyBjS7XuJJbuBRj+zbTefkL2s39Ttp
eulXCO4P8IQMnD9wQYe70Ru25Tk49MfJVWBFMpwe8J15+r26V/fljtkfpQNZ60N7U5zLQ3NWd8zR
b3V3ZUvmY3rppwhmrKp6noDdhPtm5XIYsPDexJM20+S2u3KHZLL1Lr0HnR2dFGe0Lbfxpcdqtzb8
94t8aXjBhap7huiBzSfC1ZzXzh7s2A0cuo0+k9twp/f2eCI+XsCnYEPPzbH/0DYAgGwgeobdUbze
U23JXduXy7gd1RIjMiA0MhpHs6+CHv5z+1gye3oxbs2nEA7SsTlDTvmPcnt95ZfciO8f8eOWSRbQ
yA10nfzpbD6wW+lPfgOeXW/c6Af1iF1e6bRccsC+x/8xDl7wIQNYFIftUB7ZbXUatsXWvMeCPpjb
CXIJkDW3IXey1ffj9vrcFgyImAyy0J9uDTV2dYhAdlBTRwEq+fqnFwyfmAAa0WQXpTJWrewsu222
dIycWlkD6y35Fd95jx+LJZs1k435Ea03SPfg2+qdvq924SnfEb96qlz1b6ZvtHOzsbz2T3qj2QxP
ObuJ/iNv1yf4ncW9cCXE7JDBEEQ285M30/ixfbmn23DXbTM3PYAndps6jQsRexz+bk9hpMrtsOI1
Lx1/MXEkT9akovoKxxa8Sq/l7XCTPqn78ZzuzUP6lh3ih37Nn1g6/WIiqQP7nF4XhPvGFrnIR/km
eTDgQ9NXuivOrLKj3x1FUU+QquAGJgHmFOqjmyTEJU2w4hNdbrFWwTn6r3MCklvwEUb4dnTkG2Or
v6Y7sgsP9Bjv5U217/a6k56tFUu9cPDl+a79OJlN3TEFYpXcRw+DSd8keR9UL9eP3OJEBB+G04aW
ETh0ffkuvwebdfCVvWlP6huA7YGtoVEiBDrcpq0t7dfIrZemIzgwoESnRMoxZFWD4yz2wbjm6vlK
7WrB/oi8CxAVHAZJQw5DMjI7YdtpVRZ96cuCB9Mo0CAIIyR46gb9QNGfvOUrwJqLeUeVinS/FR/Q
jAu+er/v9bm/Bsbnr5w8lfyvBrgVXSumLjwHVBQTHJsxAkmUPHvU2kH1MnDxJ650X/q1VxzzPRp2
NsmNua/g9wTe9fN1edGoyAg88QBTq2DRGtSo2RPUmFYeg8tZHioSASvR1EgkxG4guWMHcu+EINxp
A/DSjGu5+u9Kzv+aYyrKC8pGKLXGbEBqd3qNP8KTeoh3bKP40sn0pJtiH95G9/WJHdYYCxZ3SLjp
kP4bqFnjpgfvcyd4bCuP+kt+VzwFb2HnInz0qs1obAMf7Vt/ux3ZX9+lBe+cinKEpgZxGiPETNFG
Z+vBmW9ad/DqPXFnBxmUEJvBjU7lV7rP9+WHdWD3KlSKZs9hzVhfNgrUEoxCPlHGjAL72bTDa003
Q6TfNGrvXp/gd27r0lYKiRsw301mWmKClVd5gBwjZG+2w02DcLF23x8juN7ZRv9TbNMb6qIIh6gd
Ybpd/5d5ic88/NuzbrObNQ72pdkKtoT2/VQDL4xkscpjdBBB954y2Sl7cyWDuHDvRNLhaUgIlEhh
Y2sztnt+jNL/rq/kQv4IAob/PkZZoRvMTHBEoSvvSWfID/vlhu+tTXLmO8MtEUIphxGng92Mu/xs
7GqYlOtjL6yayDTcNC1k9gZsIgcfTFN+xLpqV9bKii19XAhH0hbwxnqApUL21QsTVJmmnaTr3vWf
vuBgUZFiOB7UMCkm/HZy1l/rR+1Zvskeaj/YtM/xp/k8AmC94kVaF8M6CEz+u0GhNllRmmIk04pd
madOG5V2GbzQ4Y7EXyaEDCdllS9hPrAX7pXIS2LmajCoQML7r6rzrtiJ+/h+k9oI8G/+xIfNn8Le
xPZ95CJTlNncsbYGkr2y/RUhIZbYX/7zXeY8X1/hpRMvGJB+4CkogvC4ZTL50o0K7KjKyqe/sx+X
ZilYDzRuZZBxxLcLr/giGQrbNkrN41P5YN5b7+zU7KtNAuE2/Q4NUZ7uGH7yKx+WiqwLowxyC/R0
ImlRFtCgBcP2MK3YxKXHRmRcQDnd0NG1gMfmaXRkr7uJD8k52AdHyUKesvekrXxUXYbgMEMPw/31
bVq4ZiIHA0vNKZEZ/LNBBlL9MY8+Rmslw3MZFadS0/z35JcQWJQy8IEifJLO/VH347v8iR75obrF
/hzis+lWK2MtnLZvMpsfLnkZhhXo2bB2He+cgoLq2lxJDsw/9sJZM+eF+/Hl3BpkTubrOyVPBaTI
lUh320H39BntsEam+h2OXxpFMBJZAiRCZWIUfibn8VDuLRu0hMi/yefaC/5e3+sFSyQSMqh5I2kW
x17LSnDsgf2vkHqTLTtoo2OhQelw1Hd5nK8s3NKWCAagwdNg5AlG08vHknxUZOW7S7MQLn/ey+Oo
qHOElLSOPp6ScfLGQXfz5iGLGsfoofC3xpqwuC+znf2x+2RA9bIPOByDTLVjdLAXldPM2rMaMtwx
sqIKGo61JzMyjlV126VrdHIL11KkaxhkJTH6DBauC8APfkqK55CuoCrmB/TCURO5GhiahKAfh32p
QTVfBqCPNMHaO+R3jZStbNHC1otsDSMZs5IXIDyzkn5ywTzc3OsKWTtYCzEyFdka0Mod5OgEMvcK
IWgtybUu2vY6iLjMQjHAvdjKGzNj2ZYXWXk7Slq3BQ6gATmmRXfc/K9Sg9YhAPsA1az3nHo9pelK
uLtgLUS24jrorKIuNXNfSIOdVG/W1LvWdGdZpU3icMV5WTocgrFAnzgAoWjA24MXlJyjSTXOJDEA
D0iKNdu9NISQhjAsmrZtp1h7iAbXH0MS99tci8MzIbK28pQuDSHYB8WYmqLkGd1nyIjawRTeFHL9
GU7DSrb1+5m5dNAFQxFQYA16BZSvRA2h9gF0MVqzwYUxGUASKUNMP8GAMW4oOFW3FhqQHtWiHXYZ
5AF2JCyq2EbnMSgbWNLo4DFoQg8EIc15kkBD2EoaaFg1Jd3IkCjdhKOCXGBUNs+5KhePSlSwB5Ub
EV7uJNuha9y6U9V0coEOLr0M+MK9GiqtGzdQgDAbCywECYs9iI1Kj+pkJkcIrwFLwjuI14E1NOb7
nljxZE9ThQqTHB4aXsqHJqbGPo9T+UWpC/5pqGnxx0whQOF0coROJxVay/tKK5q9JiugDexa8piP
Q+3lMvrSNq0hozQXJujCywZkUGo2QPCvquO9qUKRHjWnQd6kdV9B3zFJVXgctO3dJu+Um4blul2B
MLjcTlqOEl4Yohc+qiy3ACuY6iiQ2z6iG7S9k6yxPU/5gNw2l+vX68/YwsERm2gzC5QNelRTdJMa
+6yGdGHPbyqyhlJduMJi92w2GWFVpdTaW5xM1Ob1MN30qYF+ThnaacwAGsgtBhbtr89mwVaKyJVy
jJs8bavWZ+gXA1SzT5wYgNXrH19YKhG4kg+ZaTBdrXxdepTykzI+ZsaKpVv4tEiLDZaZADQqQbBv
JDCAZpN2bKEJYfMm/N02iwR2jTyWMVd1sGZKcY4G2QS8DZkaOnXFZPdXyyOy2JkQmomnLJT2JE8c
jjszxMdEKVdSYgsHSSSvIxZwCTHaHvdd0j3i2CiOFBg7AKTex5JKrm4Uj9ensXCERBZlRnUN0ZZl
7Q2W3ZbAG2QZX3nJl3z47x7zHw5QD7UFTck0dBmTJt8rFaRKwJkYtfZQtHgOAkPapiZY7UljWwwd
AzXLih0S8SFxsgxuua1AkTiyxwbtCz2FNbg+5QUnRiRXYIVK+oZLJqasbMdsqxm13VN0bJsrr8fS
mgoPYNMWSWdlprVP2/IW/d6OUoy/i1VEguXeVPW4UTjdBzraOXhYqnYUZMbK15dWRnj1VHPQ5dCE
CBHS472TRIOBJgGAcuTmjH6XVczNZSdSpFVIw4wFfWyZ+7Qx7kM67uRiWCtILcxA7DhtixBYE6kI
9nh36I0hK/RZp1V/qtVSvjcneS2yW7BgIi0vKdoYCAgKNmVj2tRKYKu82/H2d262SKvbNkQCJVYu
7Su8vM6YG9VjbxCyV0mbvPWytJaRWJrFfIB/XFA5UCeI62K1lFF5YTp9jNP4YMb9168umoj+Bb9D
DhIhme5lDkAIP07gYIAYR8pXnpGlzRa8wDrVkgTA2WBvaQH4YXU01tdhcFOl9WnKy5VBltZIuBOm
FoAwJY6CfTEa+yJTIM9DGRgrqs773SoJYWKSBlMK3ikIO6UPSdiD+ODQoNV00lfM8MJTIiKBS3lQ
IK0F/GytjdShfYVaA2tu2pZHh4Dg5mXmWr/3wob8Dx4YtMygn+KKX+rPPC7tQUfVo8rt5Fe8OCoV
8cDFNIEvl0MyUgmoV8xEbWobnVPev1zfi6WMuIinjQ1raMOKKX5VJFDgg/7ac4ZWsF3bU2tnEjN9
SGsl2xhUGr9GLa/OqjJSuzEnyBkpQxvdBjjxd1ZUGo1TBIweycA69MD1jV2CqfS2MKyxc0Jrdhjk
cMisTZ8o3R5kr/pafxC9bF5FpK6kJFYLVvLRT4NEd8Bi5gaM7WpS9tBWre7IOLwOq32+l3nfsSPC
HZQli2UBSBT8vujMY9gH7BHxXzq40JEC20nUp5Ezdm0JCFYiASWWJQO3W2J2zjCQNTv2nYW6EK6J
ba1tVocg6mCTH5hgU7QbzaioTQNE1K4WxHAtRkrSP+hIg7s5gIHsXR/GfhehDcVuqpJs1TpEkAIa
LlsuwEQ2cVY/MnPqbYNIqZO2HT0N3Ig/mjTP3jOlzc55VbYf/ZSP9hBGwTmoRv7ATaiMGXpJaqdq
lEJFFEbg7ExVDYJUzm4BpilvIc1u1XZST1BVRXuch46L8bmHoNytbDWpa+jomZTlokfLGbo/3HqU
urtkqC1XLUt1G8qh9jICsGubMuO7rm70LVJz1a7mEtjhzUF15VYHTWRF2qcxz9FsCQ2y8WgNaXNA
uXraDJIMQFrIUrSa0gq0HCNDY0Cm3SF0ab2RGCRymlxOU3QM6JHqDFwGhVFeNMhfmmnfHKaeDX5U
l6BhN5gKVioG4pKVLOOC5yT2CHeQuevjvm99g08jGMBV3YUuGl2pzS+YchEuHaJmHsToC/LrPIQE
zszlhWbhFMfAvm4+FuyfCGe2epWWIUJvMJ+/1bCsSn5TBB8hW6NxXzDlYqsw4VozlYZR+SxDEABw
1sZAJO3IMYgMTfI29Pnj9Yks7IMIQm6mUGs0KBrsrRQlhUh+74pgxcQuzWHenB8+R66TNmItGHJA
eIz8HiiUw7zcx1p/HlsEsZ2VbH43B8G5iQuS9aAQBmSIq08JKZ5y0EFf//TSQRIcfD6wAdg4ZHZh
VpATUjJlz2QwUoH9aa3ou3CURBAXj4JWz6xO8TM9v1PrQbJBFvvcVyXEJejH9Wlc3mUiYlXUjpZy
nkJ9KG+OJgNFU6WthK+X3yAiolOMVpMiBTiAQ8akDtqHA9lnqu4rkbWTphEEVmn0xCZ+f30el9eK
iMCUmhazdpgB69+7RT3c9R0/5jzx0b54d32Ey4eWiAiVsVQI3G4++Z2ig7O2sInZOiydnCiLtgXC
pOvDLG2IcDf0TO+isSGTD4E8zwTSjYe/yhQRUZQ65UpU5gpR/GLkjtm2sZ2P1tvvfrVwGxTwZ4PY
uoOIFd4msAm8sJZ9Xv/05YtGRCRJ1vQjZaB09PVUm5wWuP0DqwLdM4Z6xTteGkFw79UyYrolmbgD
6Pb3p9ZKbyJeEYge92sNr0u7Kjj4OpVIUwQDyPzr5K2NslNaRu719Vn4tAgNQV6LG8NoSodSL8B0
98WCNfLDpS/PN/uHmU7UBI2LhFkHiZQe0/2myFdsw8KKi8iPVu94PTWpddDyskNCnUDaQCcs/QzL
PFpJZCyNMVuKH79ejjtTR68+wE1dZeto1+f8XQNp2PVVX7A3Iv4jSSIQ5qhRAIpkPwe2y5heIXyn
oH3z+veXfv28Jz9+fWOEoFubZOugjjddaDhK+lW0bGX5lzZWuK1NZQ59W6tg0AVJz6YFCZgbWSCB
+9VPF8v2U9TmSs9Y5Ucpyh9G3NxRKz/B0Vxx4S4XcIlYq4+QJqyR4gkOLd53W8pBLRZAXIUPwBHJ
n31egrl5gK4oWN+uT+i7Lf1/Qwsi1vAVA09LQUnv96/d5NRv1osOAG1uG0cyAlZbnuRH/v5Q3lFI
9D5cH3MBwkdEmdqhqaZpJGHt80JXXPBNUw3yRpT9UYcp+E8v9HyjG1H3miRSDsBW3eoPY5qmm3IE
LXlfZlVoV9CLVh0prqqvirPx3JpZ/F9WEHCQKwpwDinE7bYppGNR7KlB5U3ihKqbjKpaZ4c5OtDs
acziTylU8jU6pYVrI5Zes2I+GWGO2Lpk6FMdKyxnBlYlqyD6KZWmcOX6LI0zX6sf1yfmtG2Dplb8
FoTbffxHqv0QegJjs3LGF26QSGfcIsAGFyq+b9HAVmBVOogoXd/5hZsv6r6OAUouhiIrfsSifoMy
vuE1SVBtLVDDbK4PseDKiETGRpYBsaN1mt+BTGCrdIGncmtEBbK7qRQwxtfxr+pHQGj9uw1l3ktg
BaWDDynA7FmiVHX6Fr6yLVvdtJKcW9gKEZWiDLXM1b5O/b6ND/2gHRVGVuKUpU+r//78VFKzWksg
+tfG2RFOCKgjlc/rW7BwQL/1Tn8c0AJ83xpjquKb8pdl/QnTvzH650n6y88L/gZlNFLULtB88NKc
1Wq45Uz6BE6L2aCvfP3VFESMSUAH4P5l+JMlLAVVcptpE/oL7qjEfnmLBQcEMqW6Hk9c88FsCl2A
yemHdxrmsHFrjshCfYqIUJOoDXvIypiar0idtlfqKt5EtA7fa0WxPvUqjM6lpmlH0Lm3Dk9r6oH2
F5VEGXzp/tDkBo5FCMhvMEDVSx44/1X5CAoO/548o6o1lk/95EvKkbTcVs01y7hgXsSyaInSv44f
2/uV4Wv6YFdSapPfldWIWBAdwTVMYg15x4x+dEbInBK9IVgc+kqmlHvXz93SDGar9uPqKDoQXBOB
UanjrPe6HtmPVOkz24j4yuO7cO/FgmhjFDpYpM3BR21ascFabbN4WivrLv38+e8/fn6dFQBFxJJ0
YOEI/GfRZhAErozkPo260Vx5RJZmMP/9xyDoFanlzNASP25iqDaMt33b3V9f/iVvSOSOjzMojCCJ
liCWKaYdAYcC+lwhIgEm3ErZStkAXQuN6neTaaC6W1FpepcrMgXQmCgah2UsBNNAWHwkdWndkd5K
7jUNf2stQ/2dZRKrixBdiaR2DtUHC6d75nD2lGpA9aMKIADYBWs9ht+9hBccQ7EUO+gVWn3Afeyj
ujW5RO0i2yybwzgGAGZLr+BGvg3gn5o6EsO0W0sBLiTciS48qz1QVLIFNalD1BpeEKOvpOlDO9QN
SIhPVehOWaXv5LqD1jXEx3fJzKgc1t3Kg7vgf4v4mZhAIzGZrBGJ9u6lt8rPWDPMWdX8NAXQ5yiz
xpZ4fdIMaS2nunBlREgN+rxVKelkeoh7xIncACjgtQ7WtBCWdlEsGGMHsY6RbiKWC50MEkmh1Hi1
rNpq8EzGymuK8YEnra3mKwHFwuMvVo6RG4lrhHfmQVMrT5HeCvA8JMGxS1dej6XvCyZG6dIySORh
gljxacrQeNohMIGKYJOOK8mwpR0R7IuiZKijkAScVOVNOkKBsv8A89OK8Vr6+eRf48USJTUjK6cH
BXUca6oAs0TpQ/tTrPJ5LjjAInFUokMpiiYpGoPa3I7qs6rFe5I+FECbDukvl0i4pGOoQY2txzUx
ob0OtopA+6Sr+ImlCQj+Aa2ZpsemOfoRpIAt07Q7furAjRMQMNt3z9ct/cIgYtW4iUgjlyFVfE0i
u7zOIC1cG4WdQz0AoVpma0q1YlIWdlwsGuvgJEbTJCgH8+SFolcntiK3DNEUpK7RzCwcWLFqjLQq
SzVTr3xQ9n9plcmdCVKtg05G9/piLQ0wT+3Hi4vaXwgyiNE4ZCnjkObhxQ5GOrolkxquDKEsMJRA
cvzfQdgkG42cROYhHyGRS/oAel5VK7tdMLYgDquUGuQ1RlD4dLTIdkAHzSYoQpa4JiC/B2nSLHuE
hIVHp1mQU+7ZrszN6QgCnhBcw6j1nSoTjNokMsujUnSgStDH+oDmNtRDTR4cc+hTOHXTaU9DkHdn
nVrFVu7L9rHrzOB+VJvSTauG3pOwRKMYwLlulaogSm401UW/LVQzpPiP0dcAgho0PMdtVXmAfA5e
0g7xWYUeQWvzAqoVnFG0F/EktzNaxxuIr4zPo9kMrmbVyT7r42ln0IEfCl1KD0Zgoq+d9H/1Igk2
6MCLD/B/oBGRjvlLl1nhHxTDEwuivyH9ioN03BpJW2yrSa6ORQAavSrqqi1TJIi4lEFzaoJC8+Jx
6Da8J5UzlNb0klpTsUmIBJ27KotuoMiXekYLDnU7SCv5pBgF5Oqqkqp2qKr1Lhtq9tIZ1pcBRKZT
JpKBKmts/b/qeE8V4ox9Tf0+tf6PsytrbpRXor+IKoFAglewHdtkTyaZ5EU1yzeA2BH7r7/H85TR
NabKT1OVqRLW0q1W9+lzVOCS2P3JBlbuClLm79yao/eWRvEmdqFT5k3kIYa3BRq8oNt5HtShU/K/
2o3MfRYP+d6pzTK0++hNQdH1WxYNaO50zHwzocoCxl3+o89J/JrPjN+5dpbd1lwVzwnvHJ8Nnbvz
IGUASr75v6vMQOfdmNqCK4F30ZEqdVOaUNTsVPPUjelK8m/JU2gXT8/JnLYnr2rTGPzCCbCBaSs/
RzCyb5JmXHsXLlmzdgX1LXI6fS+b0KiNpzgVj9C+fMsSsWLJS8NriQUGtuqc2O0UQlIDyJHHQkV+
D+7Ly3twWoszUamOhPC6TjYD4CfHRvLH0kxf4Sh+Xje0du8wUJsmpcOdY52D+da4t8h1A+t1eaeq
Y+iteFUYj84bS6b7Dnz7l3/zwmLrFfkk78p+moYJrznIqtVQMTQ3TKw8NZYG1x6jEDu30a7RTyHt
C2hopHhPU7/y1nrWl4bXbpV2Ts1uLmcQi9qF2sSx4wYgckS7A5fGyllcsKi//ClfLq58cgyjqAp2
7AVAMhmL322j3ZjxWG4YQCWX92DhSOo83TUTyegwkCtn1YdVfuva9+vG1ey0qt2kzqGQHvY0Vg9o
ke7Qfj3n8cqpXIiAdGIfmdDRcGzs7pDBTrMxMNvnLHkpG+ZTayVHuvCNv+QxX9Y/YmWMXgcHUuLM
Aguo7WZyUziq3bWnqJS703RvkqrpV5zD0onSwlIDUC1uT459LCxsecN2ZtT49TysxO5Ls9EchNlU
lmigU4SnadIcs86pdzWUlUAtzKqAppkHfSQlXy7v/sJc/nbCflk6UhAbVL50CkcPiE+wi5Enr5pX
Fmqhd4/qhOBJXHWtmDH6nGX2sR74eDCExY89KiyBkLbYjdBPgo5K8s2SUQcxW0hEgIubHoDcKLeX
p7jw2P6bhPkyxdaRbZtDijIUSsgXyIc6W1EOYlc6HmjoGT80IxQ+KYTI9mVVmSvx+IK5/u2c+/JV
Qoyhp2M3hR1zcb8+qGQNmXh+ZFc/7W1JkgKhZAsBUZf/lsBvPmdZvdY+tzS6drir3GDg82zHEFpN
3ynPt6aQK4HH+bPm/g3JvyxJibZH5DtnM5xy74H2yWPEp0fWRysOcmF4/SjnkITNi6lpwkpBtSs9
Vap9vB4uH6LzLt7VT3KLGDRtioaGoriX6qNCxpHwXzL5dd3wJ1/wZWkAU59VMas25HZr+NPUnGLp
EUlNAx1iHvtx+SsLe6ufSfAYD3SagYYaBN9lmbtL7LVWv6X1OW3KlwlQlqLjbsahFLS2Nq3bW9va
o0PgeKm7z+ym2l2ewnnn6OrXSUORqxtmDwicMr6J0g46K3aV+a5CZ9ycQtTPrNfaq5ampF2MjWWm
pp0CNZPRnP6XxgOaFyu0J3pdRm7sXqrN5Skt7Yr179KVhWfzKGlRBLLbOyaq/exab5eHXjIJzZhL
itRxw2FxknblPjVn51Chn+DOE4O3clstrZJ2W5UNFMHNecKZcsnOsOfRh/DZL6XkK2pm1yG6XJ0F
blQxzlbukVA0E7l3MmLvI4iSX7cBOvsaqMymvpNFF1YIsqAfk6ptQqM1TtSF7dU514Z2AO5g6LrQ
c7xjbTu3XbzGgrZgDDrlWpnVElLuwEWPFoDxvNlHBQo5nbUbQJ6PquLlQ7SwwzrXmmzR59w3WRO6
pvyPZAbEF8vxaRQe9QEfMVZihYWjSjRrA2ZZFKAjxTlC/dCMoHzam/O4cZABXDmp7tk3nUs0O6MZ
RSeuQC4OaqOQkH+sxYuV0YOsQGxUccizG1fljl2dcA2poGSGii0Jafsd4TQ6l+9n58OJvJXX2NJE
NJOLgY9F74xDwExgIZkvjXrTtebeidxbZETA8ev1Q+DO1/GHcx3fKlujzNjgNcj7yVvbZD4voqfL
R+v8pnMd4Aqdm2GqAd8P2xEEpt29PcZAIX1cN7h2pzrFoIBjgPOLhlvDTjYeyX3O65XTtPTTT9by
5cIrkDqjSeGY4cznfVsi823RGDrC15EvQfT33/Hx3M7hKIBusFsrsKb6pU3jmw79/5cX57xX4jqS
tYypnEjZtWEr6o/OsZ77EtSDl8c+75a4Tp0WFe0JjghAdOUmeMh/oKtkz+OXQk2BAUnfyx9ZWn/N
mpnN4hySA204Gfy1SJnpQ3b+pcVBXXFISyuk3Z3QrycdMrFTmHT5A/Xym6pyrorDuKcZcC7dKctP
0Ke+zd9GIW+tOLvq2cF1KCuRExKsDq7jDNK7BC3zrFnTcTx/D3Cd5qyC3FDF1dSGSXJS8BoSPNPs
ORv2NchGtq6deisXzsLW6tBWF7rGnsTxDHNWFEEXI6MtTYacUE/W8ntLn9Cslznz6M69qMMUxOmJ
ia7HQPE1ifGFZy/Xka3oqgPAhaL9LW/QpWYUG1dlA4rL3bsY6X6S9h9qVMCP91uznX9yuFWnjZ4v
28Xix0/n+Ytjgnajq5Rr4PapIMlcCPCU+LUgcE4c1Oy+nGyygSZEtvUIqoQ+Y563GdFuhTJH0T96
jlBvl3/JggHpRGhijLxETugyFGXrF9S+Rd/9SsJnaWjN+Htakc5FgB4OjPZgAqrIIxrU1tJJS6Nr
lg99NDR2dVUb2vy7079Z03+XF2Tp0GlmX9kTutkrjMtQG3JNsh9lFeJ3by8Pfz4s4Dp5WZTaTIkJ
Yd/EvlvIhNdobysiuSNWvTG9NOjUzeUPLcxDJyyrJBuqvB5JOFnuY5dT20dKXfp0LNe0ZBZcjY5/
NlPLy2KatyCuYm5gNKTaNVEnN042gHpeNdF1nkbHQbtmH0dsAPOHdOnniEopZLXe0FpweZ2WZnFa
vy+WCOpSXK4d7lglbBIIRxgvJaMgrueJvPHMKLruKtRxzpC6d6A7AkOjcm4IgvLO2MwQczo6c0pW
IrWFO12HiBJoNeNRgbObmSch+OzYdt+oQttm/av0rnuIca6ZNZ9bdaLwaRFpTpMvSfrhtd5a2mxp
BppVe2luZ02naGhP6Q9SySPzICqQjrso4jvoo68EVkvGoRl5j+KaHQvPCkHy+4fNZQNBiunOKKY1
cesFsnCug0bzzBnHWWU07GXd/QfgV7PxijTdCmGKm7qm6pDXNt94kSFeBQgg0TedkR+g3uJvuBry
0PM8urt8whc8pU5kxlK7TGz4HHQhNt9aUIKgxr1GqbKwkDqs1IsbJpy+pyEwxI6fOM3HXIJ6mzXl
Sr5w6cefzPaLeQJKl1EVDfjxM0oe8dy/T6T9c3lhFg6bTkLmpDzLKamcsLM+qoptqwiiduSQO/Mx
y98uf2NpgU7z+vL7nZ6RIs97KzSi5xTa0BZK/R1dWZzTIvx/AZTrEHqCivhkOi2OMXMfeJ4+R4X3
g3nkdWZyZY2Wfr9m7UbZuqR0BA1LAZoU28qTB/CuN76Ih3nFay3NQrP5mKEqBIFGG6n/yW/QOD9V
fdBWY7Aqx7w0Cc3cXc+OO1uYdmhXtbmxrMq66zIRbR0jGa+7pHS4cRxNjorADhDWkYCRRz4feMDa
K0c/RRNfThHU6FAuS/I8jCsCaE8m0UAis7l/dUqWXlcx4zoPU1Kj+Tn20OdlFfejeiXtB/M+L1vB
ghXrQOO5GUFTbMYKCNG0CCbTNY4WRFRWUi0LdqxzLyVOYtR2B28OR36bRP1/JVFvUDT+Xinnd2nO
28uTWDinOpcSSnBotKF4EA6s2NuIPX2U/UCb0NEgqu01Db2lr9B/t9pNDZ5YXjOFUSlfolE+T1N/
T1X7NGVy5TQtfUKzaQTivaMYmpOm9pkgBq3GB8Lekv6/y+u0tB2aPbs2+M5kWZshLp5mO/G8Fj45
Faxbmn8YLDHfFe3kt8sfWzBtHQINfA96iCiMQjHQjExVXu3VKF7rPFMrBbGFs6vDgCNCUwjsIP2V
Dc4+HjnoqNqVg+ud99//h/cdHNlEKXqgTZBx+oaDOpKorbuiKG6R5f50sIy+Bx4kQNYgqHB5wRZ2
RwcBF3NLBOtBH4KpxOhYZOMNxGPM+NC5vP0shMyNjTmnxZ/Ln1t47+gQYAdgAqu1pxm0wH3yw7Eq
bxfJnOzM0TREwJA8A0DREYi8R8XWXiYLh0LnlALnmWG6kdWHsb0VRbrN8oPTrRno0uDajW7M0Ms0
qMCzJyImeK3HwTfi+LVqp5XM9NIHNA9gKNdLvKYXx65XdyMhP2s323WG0aycgKUDrZm/aZsRiPDR
SK0G8lRGYIqQkdndXN7vpR+vGT9HdRcijYN3NI0fY3s/N4DrrbitpaG1WxwqOEkz9bOBZur7AbwE
bEr8kq0EIQuD6xhg8M2cdFImcZy8x3Kqglg9qyZdefstrLgO++1AAYEcUmIcJale8hztC2BOWmuB
sf5iCs6EgTrmF0/9QqBoAsGHCOpkfj705R+W5N5zyiKSBnPjysznMm/3wIdSCNbLd9rL+ZdCqA6k
D3XAfArIqehYe2gQYBxB+e9sZTKVP5SXWyjXztIKuWXOaGtpG3cjlDGIIM/QqTazygMnftyp+1zV
6QbFLevH6XoJRCuHMKuFCqa06x5sYxbIFBTMC/Ju9D67ogKxsGdLD8SVhgFEiSuK3h+TDtgvMN5+
r73RafyCt+OrUhxsqqnKVZCoFp0+oxcb/zEjdSBbD+rFh0YYwBGUlqOSrcfs9tUyGTh8esh7/5JS
CgIPGrO3WfI5GBRwy85IOISap/rdjozuc5CMS79PC7ahSe9D5ik+AEpM/VgK64ieIiipMAIep1Z1
rwAp/cnsqLyLY/gt14zj6SlL0kJsiBdVP2OwdvmZJLXf5rmNT6XusId2afvEkqjZWaIqnsU0zvjv
9qdiowIP0gAWyM5rjymJ4VdkTx5dF3bpmqbzy3aYc1PAK9wnjDk7KzGNbQRutk3spNahBfdUUNGx
Cno21gGfLL6bFbUfgMvv/xADBYm7rIFnLXqgpP28AFApF6Ty7b7oPg3PKt4bgwKYbNqoYHR0DEqb
gUOAxPlmHBIauKJO7qzJisHxNQ4bA0QjwzYVMTBbbtX19h7aPFUeGOiebjbSUuknSaf+uQQA5mOw
EzJubeXwbGdahpcHXSGyW7xF58PcE1ZvJrNk73XizcrnzJL7uY8pmH9hHK6bUFDUO6kDAH5kupvR
LofvxQBVz03k8HILnEqfBZmi5g1TLr1LmHSfmzHhJrio0JvToW64b3ovb/y8Zxnw3Ay4S7ARG5VP
nKycD7QfMnvLTScOa8ii7riUAfil7D0gXcqf4QbwTCD9t8yY6bDhsVXsMqcUT143jQevA4EJIv0G
KBCWNVtQ4RY7kZb9iXXLLUnQVC1YE9KM/UGu3/jwwP77VsoUhhMXJW23ijbVgQqb3pSJwx77spQ1
eriK8k4C4M63cSPn766CmDifm+ENNV073ZhNYjfB0DRFuy2pPW/bwXB2eHMMgAA5xqFQJHsT6eh+
c3sP7ZRmb4P3gFW+W5fTU1Qaat9UTCID0PVhx3mxzSuSvOUlypMuSNy+i04Z+66AeLwr81ckL8zD
VHlK+SBP7T/raMTPIV6xmSqb+NhtciRzLh8T15yzG9PjDlvxmUsOWbtm2QmTCFdQhx7QCtiLdOOi
RhNEc7a96qbSueOYa1cJS9o2jDj/iNz+BEmcHN+u16o8f2FH5/yydtFadgQabYu7x/mBNH78OLxN
P0DKVt8l38Yn49P67n4fXtun9k7c28+XJ7UQ2uuQ6LhmpR0nLlqK6jn3UWIQwCelsyH9hrk1yKfn
tSaN8/vD9HxmWidqciLahWViQpeUA9WTW9nvwlhLxC8Eqjrhs6BTCvIBC3wvHmQqWAsOQbaJ4ueq
A51gNe8uL9j5aXC90yQjaQXqhKENc7TG7fpCqFc59iOUeI01orfzn6C6mmU7ntj6VFOGrKFQpk5/
ocNvTyJxJXb6b43pS3IAgCFmi7ysQxHx20KpXZFL8NcVZCWEPx+9UF2/MmWloI4R4UXq2o+xY78j
drkq1KV/OxW//PTSbKB27rh52JiNzykgYhb4idnj5b1d+OE6IKnv7b60cwtd2sZ0AOn2jcejq6oG
VKcsy53cBmgrmcOo+9ayP4AF+m75wbq1TtCln34yii8LU5ngrqk7mx9j1FnvSgbezKIb10TLzpsW
+lj/HX3ynJmhgSUPrUoieshp2Dne/SDLOxUTkNtX5ConTnXsU9u6AohP7K+ZVMFYmH4PSGaHqOLy
Bp/3dpBU+Hceo2eBRhsk+mFF4o2h4oPoTNBRVsiwXifeSnXEU217iqXd2IdOQobDxDvEenOHuMPj
9Y/Lszj/RKY65Amhu+k4TjyFPat3RVLJjSzYDwRfiLbn7Bkv9F0HRuHLH1s6WNr7LI9S5KNTswiN
tPBFdyBrsNWlvdBeZ1MpwOFnm1Vo5tYvKHNGfmvOJ20P6zaFDsNVb1dLhzkpUYzF0Hv2kQzZa+NO
3+piWvEWC8LOlo5zmrvSmUSegw3BM+lLXtrenuVejHDSM9BfjBwQCE6juhuhnRN3SeANrH1uqiq6
ieqJ3Aw24SeKU2IkN5039L8VmOhA++NlSeYPELwIECImu85h5q1VquRomMbwhK5G883sDTTdeY33
JxYRWsm4lUAhLq+R+ZmdpLwnLeIHopzxZ4LiMbpGk+b18nE4fzdBz+ZfC0qdBLFqlqLNbK6OVlSM
G7cRL3XpfrtufM3TeK3Vj41MylBZVaAG5wfUCm7SSl0V7lg6/ipu8S6pGvBe2iI7xFW0j6pyFxO1
q+ZkxWDOWydEK/5dITeKrLYTYxWCzTje2zN9oRa9iQW6d43WfbE8yI+Cin3lfJ+3IktHZcUEujhg
KinDtM4CZDP9OPuvZm9lt3LIl/bb+nc2gwAFbiJQMaImWHdrl2bvEc2cY1871sqCnb9cINfw7ycy
z4rAbjfiTqkgk0vAzdC/F+O3mPWBWpOEXVomzdmgVjonUQLszsjcezCsgsu4cvZzU99G4H9YuV3+
Nm39f/wOxuB/ZxKlUwrQVN6AgjYYdwlkVO1ABdmGGL4R2H4DJqmNcddvyU74x5doI+7zd7Zd+/x5
T23pSC47noB1yAorHPs6fyuHmO66OjLr606ajt/iHhDPJ+xcmJa/Kwe8CfRhhMiVvUYLsPTzNcs3
TeQUWwucRnHtBp7Lb/m0Jt2wNPTpcH8JjoYxsSSy4hb02ZoX5I6fWM5vLvurhYOli1DKOjGzOcPQ
FusOuQkoloNucT8XJUFqfljDpS7YiI66qurJMSt3RKtmBB5ut03HjyS3o/dREhZUVpJGUExL15h4
lialGX1qia5JcxTp2Yx3Qf2g6k/q9n6VriRml8bXLN6OZIF8BCj8YmM3z7gv0+8AcQdWu+K0/jbH
njNEzdwrqzELZPjskAR24L4Nd6AlzL+1/uN8bKDy2+ytD/Bb2C9kl2+g9/3RvZfv+U/yPEqfb/gB
0dqKS1hwnzp6y+3LdI6iGCXSxruBHta88VTxIpy62V4+fwtHW0dtzaoDcGRiFKza3nyvokqibd6c
VjZqaXTtts8m2yu7LsI6mvTQ19mPkrdP1/1wzdxdoSoTLNd22AyVREKqL17ASIBu0svDLy28ZvI4
wuj2sh0a5qNx4xIka5wxqaHIuEbmubQ0p79/8SmIHagxcOwsAw9x04y3qfBWfMrSb6f/Dp07Ru32
cweYiVnetMXd7IoAna4rR3Lph2vGjTZAY/AEBUAj6343UPoaDbG7btE1u67p4Di9VTrh1HE/U+85
9EKjSV25pZpRJ2CrGu1cWSFLqruW8W1HOr4FK/68su4LK6NDsFgTx4mVcBqOND7UdYWALffWln3B
g+ugKqlMyyHE5OF44q7Oxhi9buLeSvPYh1BRE/CRX1V/tnSIFUoT7gBxQSd0ap4HSTuoTZTZK8Ha
wtnUeUq9Ee0XIK3ow9R6daba72s0SU/Xvc8tHWCFXlIrsomNnq1++OWS+TuL7e9SePfCzK7jTrR0
htLI441nlgOsi0KNBKDdeDuoFJlyNrMAsjn19rIxnH8HmDo3rhRmCa8JGEBs1b84WAuP8zQVYCOz
mwLyBDn5Rlqmeh81SvH78ifP36umrikUgSiamal0j43dbwvobG1cZ5Ib5kEwUdpXQhUtHUWWNTkR
MVBYodGMCHrsLN2pCFw1qo75brQNGwWUuuqP01hVOyerhx2nUu2Ninf7iqTWh5vgnXt5yks2q3kz
NqZzXrgeDVUxeSg8mp35AeAZxOAvj7903jWXVjZxIerTNcVBYUnpD1s6h3Zea1hYcgqaS5szPjUe
lz00CtMbb3qLWbRF+LuT7h8uf12ewflDYelAs14YBbPVKQSpue9UQKPkezTB+gA8rKzRwh7o5JZZ
z0E+5MWQoS4iL4ikALl1VawkTv/2AJ+J5XSU2RjXfIpa+ATgatqgEzx+jtuieWz63rg/KY0pPwe2
8Hb2SHFIaNHsQH4AAc3eqF4Ha6CN30apCKJsrj8ur+jSfLXQhafoioYDscOoz+76wXh25/nKoU/H
8EtUMdkO8vJpY6EOzqO7ou5jJPji5LqbQQekGUJWUlE8VrK4n/Ydqoi7TpTOSkS3YCr/R39pZ9zu
Khzmof0xGw8gskZx/vvlJV8aWzNzK5mEnTlJDz7JZldMsW8Kb1tE75dHXzIRzcizokBeKIOJNG3t
x+RWDvkNDpFvZNf1weKm/3dfR87afERBFg1c7mGA4q8/SvvDLM21POf528bSQWd5XEonbj2Eo1D0
80muPgw724DBHFcpxI9SGkOSXK41pSxsh45Dw3vasgqBr0nPgZJu5GybmMe+Z0QrdZ6FHdFBZxy0
YZJXWK9hSEHSNpRbi1bKN7PxyRvTNWjb0jQ0QxZpJiG2CSCxfQr2Suk+2UUP6vrrgFmWDiurrF4N
kCsEUBlq5knW+gz4vHhaw98u+CH79PcvzmKsRyMa8rYIC1W8o4XvtWjpWj1poeHM0mOJdkBTjlPB
yY1Ov51qSPtxKd5YbMTQvrJB5wLyuRSMo6Vb/xgmeU+S8TOT4spgXyeiNDPE4WDRg0kiqfKd9HF6
NECeuzULe1q5tpbOmGb1Dqc16FjxWhk99sKz05Woqn0CBH6A8tzbZdeytEea4RddVpZ0xt3oDsm+
yVoUzpLHy0Mv/H4dgWYmPMrnBp3QRWT7xXA/ulC7on8E2sQvf2DBp+gotIJPjiyGyAlnq30pZhnU
lN306JstU+gI2eBlra5r2bJ0RBqZC2sSYGcNUxPuC8l4lOdQVdzRtLru7tPRAWMHInZP9ixkiMFz
/o3GKwMvbcPJuXyxQohqFgNQRwRUWBn3G68oXiPwmQaz28idm+ZrTGELzkpXXzR5S72sxgQytOnS
9C7CPzNdibKWtpr+O4lJOYS62cBAp4bgrb8VXuZPM4BtovbN8oXU+ebymVrgFLZ0TcRYqkwkEUrJ
3Sj5jVDUhdBmWr4OAyF7CpLheEtykQOazZ0uSGqVZRs3reO1NPbCDwBK7d+pMmYnqes0qJT3IOEJ
yASNKvAl+qDOBxklNcA6s+Jgzts+YLL/fkmhaJ5IVg/oQwTPeDQ9phW/LjGnw3aYQmnM8aAF2Cjr
xzhmP5pyjYdi6TxrHiu3obZJTByFksibqbkn0TOvn215HXOKpRMaGn029mLA+BxQ07yoQAy4Ejwv
WIjOZ9hZ1CVJmlmhWUDYHGQd2Q4aMVZQthCCuXx8F+xEFxlEVrkbo0mgW94tNpQ+Cqt8JeZjo+iN
0QC8d2VkomsMmnVpFj1a0EMwUgSZGflF/5sP0fbyLP6uyJk3lU5tONbViHAXt1K1oS/WkQX5UX3j
P72wOqit8zgF9hYg+Jfkyf0gL96deexu5T57yj6LT2Zt1wgWz9uHpXMf5kXU5UkDgj+HFK85b++6
ybrK9Ky/ErZfnDIIFQVvwFQeEks90bp7c2tz5Vb8u9fnFk9zIF3ekaKtT4wzkEABWpdXgYij9qVP
5RQwm4xOwGU9BUU5zA8Fh4iMVAP9HluseZgYgnEQhUYb6CbYR3CwII2ZuPmnMSOx6aVZMvqpLVp/
Yi39Ebf9sFMNIQ95Dsbbvq2zG6OOeOAMkbsxk6y76gFk2prNm4VXWeTEijHlvw3W7WYv2yjj51iv
yZqfdyqmHqtkjemWPWTqIdp010pv2zjjIYOAl/H98ok+P75laa4WOqx136NVNpybjWX4eIqCTvEj
HvuVTV86qtoCVS360diAMrgZ2w9mAXLIPn+5/NMXhtYJ7gagQnokxFC2nSnfFvXk3lhzsQZXXFiY
/2O4i7thiAvWhG1K3hrB9/EUo7FKjk9V7nxensH5t4LJdK8o3BxCYw6BiG4z7Ay0hhTK3TuiOPS5
DYKC4rUeuo1Hy4DO9R5JwU1vJYfL3z6bQcOnT/P+YuilwUlnNU17HI2nxBruqzi/q0+IKMru53bY
XPcVLcbr66jrFAqWx8Toqo3MVRcA3X2sRfGZpkxuu2688kunU/JlPk5lxT1BV8axzJtPoOhfqYSK
ZhuNgOKr6Y/dj/Hu8pzO3pZYOS3k4xWf61GheaORqRfEKTGDnk7c7/s1YMfSFzRHaZI6yUmHVcNN
PDxAI3l4jBg0rtBoVayUI84aDyah2f1kjS0wPV59RFb/p5MbO97hgXp5gc6aDsbWbB5smUYvDfz8
KW1uPOPVmsnWqP9Ikl+3AzrrYTvUFJrUWXscZrTd+JkTpVuwcTn+VDbWimNcsA8dS2wSg3PbivJj
PmTp96QSZlCBC+8AKg7AXPG+93mX9SuubGHDdWBxX5lT0c8kOwJ1NmySOgVtRWuzQ53ma51RS5/Q
NjyN+6iaIYNx8MxbNA1tubUXvbpyQ7QdLzPlEZTsa8iPVPkNRE/pgdoq88EaUzxdPlRnA0iT6RDj
wZPA2Wc8PdamhGrHCHzOD5m6/LkvKLjsczOrg1FxtAnPJlSALn90wUp06rpmsETk1SI7olflbqqM
lwhfuW5obcm8hJWt7Jv86EB2+6Ejzp8OMKiVw3v+d4Pu5F9nWBhzLKgr+6MpFai9lfis+mSNX+W8
ZTg6elP1HCgmicZyBA/ZjyyaEuHXg53egZW5vu1ntDUFBug1VjKaCwdXB4DbGUsFh389QPv8Zza5
r4xNnxVYHi/vw9Lwp1l+uTeGHj3gxjzkx9HJeyCmx+JAeGP6sYeg9PInzu8G00HghqN4N7ilAzlv
s91Ggg03SG+u0QgveFsd+T2WdRd3VAJ8U7jQwnrwytHPUxf6sc+Xf/7SB07T+rJCGTr2xian1dGO
veGzUwlws93sjTtgD2MIfQo3ubn8paWF0m7Wye7MnvYmzC012xulPO8275Jsc93o2q06QPLPQi2k
PIL2pttSAZIzYTXlSjbrvH9ydHxvPRe223Uo3rYnjdqCGPaNFAnY+938REgDOATSsr9aWrxdMxtH
Fw9vcuivWNyqj/NcPJdJ+qryNc7rJQM/mcqXDTenHDzLhNdHNtVxwARSDXnv3Nltjn61xA5y2ayw
A50/Wo4O+c1HO0ILX9UcU6N8k31x4yX2dkqNfdmr98vrdN6+HR3ni2dsCzRQ3xzlZLyISX1z+fSp
JhDOXTe+dqr6uEqI051yGAgJmgRtfhIE5828vzz8eZNwdIyvMaFG3Hj4+RMd7suqBL2bm68JfS8t
v3YHSdDLS+41DXSPBfVBa2MAB8BuIVHzYNjuyh4vzEDH9na56GRrY4/HmI+3rREPN5nKrwuVHR27
WzR9qWbbPokzo106GuJf5WjyYMqui5scHb3LBpGakFpvjkNj9kHTpL88nqMvWq2tz8IBdU+b88Xa
QG6OWoEUOKDDe83e2+khEytB/vm+SBMA2n/HTg2k1g2n7I8MhU17Y8qRbWpsNrw2McYPTlnzCVbs
7q0aB74VbidDOdvTng/muDNlRLd1BJWFtrVitAaDQMvOyM+OIe8bDRl9vHzEzwMVTIdrJgTgyxyr
pBSHPM2oC66XVj01nnQ42F6AC6aVjPepyBVSzb3nAJI6F9vGTFGRmCFUlbreu4Ro4pshMrK9/JMW
nLkOThbFXEQmsiJHWYoQyZzbOnahe9M8A+AbtLXzZMxkTRViwdvqCGXp9lVaUm4dB7YxLG8H+XHf
qsiWVN+ZdxV2CwdBW+LejlFVsSdxwD7/Vq2c/Hme7wtR/PactX1cOsjaC2M0Ia41V5N7QBcauApu
lGUE8VCs3N5Lo2u+qpM2IVWNxutk4sMOUoHlgzVX8aeYS37dJ3TMcd2hHGyOzDg4ONuqZnPwP86u
bDlSXQl+EREIgRCv0Iub9jpe57wQM2dm2IRYhMTy9Td9nnwZ00T4zdHhkNBSJakqK5Ow9NjaaotD
d8XfLjHHFMC2dPad5NSRut1ZfXUzSDjeUYirIYDU8eXNu+Jwl2yRQc/lmDUyOSXBq6//ON3GDWdl
BZbskBZUFMELWVinnlyPrI4G85jhDnX5o/8TXfgrOAwn8N7rBzfIpGfZk56Tk5107dkaKL1uMp+E
UF5N4W4y0kINVTS/oNXF9jwdg4hAnR5qWu18HGZwAbipy8M6QWXYlKXBfgIK8ktPBG9ZgJ0nVoFa
XQy8VmAEgGSXmu89We0vj3xtWheX3p6THIXdaF3VtyUY/WRxcux/L7f9ua4rZnVhk63KaeJojU83
oMNT+WwinzZhAUdfqeaQDUyFiuNtO4L9AOTj9t6fy43U6Ipj8xcW61oGt2RFkpPT6LskzcLR02GZ
V4epiFWzlfBZ6WWJPVZNaedu22Zx1VHgjuzg3snAzJF67t2cGPCeTPZGtHZlof4CIgdgCJZBnca4
zuRXCaoGD/7U/C6o02xshRXLXQKQGdS4uomPWewGr80AOWRfbFwj1759ccnoSBrMRPDkRGvnB+s7
cUhxw2YJ6CYu77S1Dt5//2C+gMRzyCDYyWkY3CnKrdy7a0invyWJyL44O++z9qELH8H+OajhIZru
SpM0suVWantt3hcmqEF5OwbgmjqJEvH2LhjzXVMNeuO734Mun3g2tjh7E0q6QQ/47smekhBcJW82
9X7oIfs51859OnESTpYXBi0/Xl6LlWOGLYx+1K6sE8viJ78Y1ckQ8sYK8aiCTkOzt/l2uZO1BV9Y
9yy93kt9mpwyAQ1N+a10+6gevoSgQVH2IoBV5LnnycZNTn1X3Ga0+7cU/R036knbdURy+iLY16Iz
3hKEy6yiQUgXA3Eouxm9BEp+X5KKwCjefdaHHTsBxkAbR+FMq8WDlNlTmW5xqqxs2SXPIwqTVVXn
bR7TDPdzsFZGM2iNNg7jlR27pHm0UIVdZyDAiZ0yqB4RNC68CAFLVI7UYO0+B3jDASo5Dt3bOPvB
SQVy+uIdbIm0zYdxdKxuymIHZFcey2/d4TxN7tPlTbtiGUukragmv7V6DKyf+6goD54tIp9VkeRb
lG8rZrHUb88TZSasTR67ZV+G1XjVTuBjhIDs1/zsUqi9aNoqSO0cyvO5dyqRtAWt/ANY7E5fm6CF
VcPDOnX3btWN74QNKvI7+x8uHqz+awuwRNuC0IjgqQm7LksgOrvMTsIC7lzw5inPONnwuCvGsUTZ
drVxp4HCn5PBurIL76Ab9+VLE7TE16a53wapgvQxadrd3F9x1d3iYRh2tX34Wg/ve/eD02CB4m3e
4ZpRVn+88s4i3r2V3GqP3F9uf+XCtMTW0ppAlorgWuYJCcBP+hsSYrDmVl8R2b7WPd2Ckqw8opco
W1ET49EygWPVEF3G/RJkNgHtdpOAZQ/fZPElEkriLRG36eSSyR85P7njXSK6SEIhg9dbj7YVi17C
3iAjFDCUF+A0Jeal8FFFPJTkyVNb6722WRen9eDXbZBMXXKSJb3ipbMDddjj5aVe+/SFNbfGMwSl
VMmJFG5oaAnY3oSy5K2H5krzS2xKJlCs7UBS7QTxzx+eRmgEZLDgOazg+S4PYMVfL4G0eqaMWTYO
UBzJXV6HafAy9gI8pv5GByuTv4TPIorggogCL3LetE9VjyCl8Tec0Nq3L+y4JFWGYxE3Yuhy72jx
FJRuNEJSlIqv3cCWhFou9ENRRS9SXAEyc+jglE7u0Pn7ZrCSjWfD2hjep+2DLzKkHIFxgC/i/JFA
ss1ioOB7pMkXbzFLZriS5HNeuj4qO5z+OrDHyE6GjWjFiptbwmVHv6nZJOHmWMXcNy+zwI45ZX+a
VNPQrol6rFqZbUzT2i5amHBRlGQwk0EOcaiHfWVV5d4dPW9jj64twsKKxwLM/G6vRSztVIqQKpD6
2u+Km81YFzcCkhAbU7bS0RJgmrMAVFuApkPr/ob0Dzy/V8kPyJ5etuX/zvhP3kFLlOlcdJx5vEvj
t7e7k7W/u8m/uUf3eB5CMJyGU2RHQJyG5yT65YV1CCxapI5IP0V0hwtUCMzxTu1I7MXzS33yj+31
VIfQmY8erZ0Odfjr8ld+Pgd/EXZZflL6bLBonLc/mS7BiuqDgV/sUmereuJzr/kXU9dsDDQi586N
q2IOdgqZkVuQA9kHKfwt0N3ne/8vti6jbGMLk9BY9uU59285Ozmzu88sHnZbrmGtj8WbOUmZNVS2
R2MwNEHQaCxLEHdKUX6bWFVHuIFpAKKsr6V5/mLu6meUmyBSVp+7po611vvAsBtrUBsGvLbqCwMW
jhxZaTtBDBWlNkpEkF7PKa6jWKvpONW1OH5tdy1MGUXGrElxw4p1OwcHqpOniVv3KrPya5uPG6+3
z1fmL+Yu+DuHiVHRGBUoU9iArK2w3F927x8R6Hj1i+5weTCfb+S/WLyY0NAJnQ2N00b/dmwnqsri
x2DUj681/z68D2cPMrSu9rPaPjc0D3k2gXL+JicbZv65x3aW2XOZtaXu7FGiLNLEZZ1dWWmy+9p3
v0/Xh+9uh6CsAemkMRiGv1upPUV+OX9P1EC+2MH7mD50wE0GqudSQdHMBGBj+ta/C8JtSYmtLerC
rBnApqzw6Hgm6a0zlDetdA/C2kqmrm1N5/8/fcpMVkxzXZ+BNtVXztSAOQbSTNekRHaS5oE4cCjo
fO32+Bc/VqEzuxwdD6ywwfBLOc61U5R5iNF995N5q370c9eBqMT/D4k6OlctADLnJJeHZrKDMGPi
DErgf73+S0Ur5C96LMX7tldG1eesDm5JaZ5kTjay8yvrvcyfC648r/Z1EOcZC8vJDssKDzVv4wHy
ec0QvnxpxA4RtiTGPltZ/twyp4xdVx9Tbv+SoBjuBIn9We+TYPo5Cbm/bIArK7JMqAd5WaQdZJ7P
hfdzcJxdxlFdVogrx3u+3MF/GNC/bzLOMq0O5Gkp3Alu3JplEkNoPb0ayrp9Ym2gbwG761D0Z5HY
big9tgGzn0Y5O7dj7dgvtiXFvR5tuYGO49hmn33KwhkMwdSpuaLtuc9AgO52+5wN4dANoefMNyT5
DSqLy4Nem9WFY/BFXjgozCAxNeC2aku2Z7R/TqbhFYzE/Zeuus4yTZ0mqZeNriKQU8vBEG1bLLgr
hs47+mqsdj2z+nZjOGv7fnHiZ61weD429pkkzgACTbObaPrd2RQcWWt/4RbAo6+c1iYkbmowSvoc
VCVSsjRKZVf9e3lF3pf4k6Vfpqv7pK8nrSWNu7r91fEc3KzBxtPy8wCws0xUW13pa3DNQ/0b9U6h
O+DJDVbNfNR3fp88kJqfTWl+U1PeXx7KyrmwTFmzik6QVYB2SWZefaQkHVB/cn6naLMn/uvX+njf
2B+OTcBsUWBByiAe/AkKDF5UkDx02J8cErku0YfLvays+zKNPfhebct8BHLEnU/W+3sNt7vXIJl5
dLmDzzUoiLPMRo/Ua8dq8LozGUeb7LJmyKNCOfI5S7K5iSZpudD/ARRxJ2lbhn0pszudEXo/2kCa
hD4k6veT13pxPWXiHCTSewwgd9CFI7Ro/vF9Xd6lQSKKiE0su5J+kJ/11KRiw8RXdu0yXzs40qo8
09sx0AQ3Iut3tOw2bHqt6Xcf+WGFB6aJx2zjxMHE9F1ekuKgsiLf8LRrrS+OMl70ZEBmsDmPWeBC
DcIfbrnTJhsWsOJel4KSbtU0nbJHaD2O1TWfqiFU4DEB7OGJknYLq7gyhCXQKgF50qB63pw5MFa3
UwagNlPF1gmxtvUXLrWcRqL4SBuI/AUnVHI/ycKJ01k/X974ZM1JLFxqBxYOCyS3dqzc2r5qBWCQ
uefUByL9P6RL84NVNuRQdroGIwWU7DMkEK/cMbGOwdj+Kl0AN9KgLK6CynQPXtDQp3pKzIbHXDmH
l4kNu6xLL6u7Ma4bA0HbNA9Fgoji6D7whOyKsuh2UNT4WhbI+YtMDNVbWvlTfa4Vve4L9muAGlft
NxvIjZXNuGQTa6ccHECeY8d4FF+n8mUKXtgA8iObbDiBla2ypBIjad0yn8w05pURP1AJIWM19iym
kAlJN/pYG8TiwmJyLbQZBnWurGvQhzzY5FqI4ujrLWta2Y/LvH4KIHzuCDbG6QROIDBhgEYit3lE
IejiG3O8vO3XhrGwKq1mCcXP1IlzDa0Bu0FJsRnSMBAm9rvp9XIna+uxMC0vp7M9QBfsPCtzr6g6
QngE4gZbQl4rfmeZzXc4yh/yWU+xMR6u4eVZQa7u8pevLMIyey/5nGUBUfLspOVOQYQICjVILFrm
N4QuRaTdLX7ttXP3r2S+xawKRTT12fmnfxsPLD6MJ30k5wTXx5/syX1kd+m9fZ2cnatHcZM95z8v
j3BlbZaZfjVry4D+rj5b1VMbtFHJux3PNwJfayvz3umHIzN3/LH0a6WhrlB8LwfvO7HkxkVlren3
3z80rSEBIVOKEEvnmzsgIb5xBnKKr83JwrbLHBQLJJuasyp0tc8I+SPm5gAD3MLsrFjdMo1fdHbG
C6saYq8X7LZI6PzNLstpJ6eZvqbTJvhkrZ+FdRsz+bWVA/BI2vIcCHJdTE1sXHqQmfUl9OJfDFp2
RcGIPxVYh05FblW9dLR5KgrH3ViLtXN5mW0PxsAXFCJjZ+6at8QtYsv/4w3FIU/m27YaAWruIlzI
4kFlLXQI63DkKPS3TNiDmtWnA6omysj2vyTCTJy/M/R2NY4BaOTTcog7Ro/JPG44mxVTXEosEqF6
Wge44RiW3kmvurdTa+/k9MeXdvUyM5+iGMZVetZn2csi8gl9nqoZvFfV1lZYcZbLjHwpkeockwrW
Pt2BqwZB1auAJgfoqoWu9SW5Isz/wjZRgp1wUVfNeZL6l7SDc0vnu6kXXyLvQvvO//sVk4Ag1IG0
2Hks2gMVXehtAgnWwlVL4pkaUfO5nTt97gr2L/ziGZoqzymlXdTrct/20wNN+6dOkgOqzLew+Wu7
ann4polxm8quznyu9z5JrydVXTF36zK34oeXWfqiSKsqwYPu3Ejv2Ae+jqxAb1Hnr3z7MkFvRkrn
Yer1eSpeJVQimf+vYw6XzWElCLHMzadlmfeK4eArmwEZuEk0+U8c9XbEgGX9V7l9dmcPbHimrQl2
VuaMG/2usDIA9rfYYcQr5mzumnMLikzR3eX9LZiBET0GTapNDhCDu80bEdcIGvT1HUm+GMtbJvQn
SNMKOTRAv4+qCDNgRdtoFmZfZSWYvcK0GDZQXit+YMmIlftQo8hmCa2Q0befU79Od8az6L+yUkiv
FqkVAQqkNu4Ba1tk4Q/mBHEwqv3mPA9nV+YRS4HOUVs0HWutL7xB6yCqBtLs5tyPr4VbRymibcHm
FX/leF6yRemmqRyZ4mjD8ez9sIxvX3l5xf4ETl7snLnKNhZkbRQLFyAcmzljBb8zOGDnTGTo6Xzv
iWTjPbfiAv5K7Jum90Wby/NsqZPdj4eSOhv5g7WmFzEXmnYMwUpanQOEmYysv4NBeAOOsGL/S3KU
Emp3LBPwizof2GGY+c52WIinCrlOZ+uhNb51HOfA23Off/FiuWRF8RIk54ccERIiLOBEZv1H5ZB0
1WYTFbeypZYMUkk19dJBSdkZ5Fow8Pog/BsI18UJoxsXspXNtGSHokXGKJ/IcG6cbwArhklwxbwt
zNdKnGNJfuLNNa9KQFAg6frPCG6Bd64517Wionv2He/InQ2LWNtXC7sGtQaQlSJAPx6Jpk6cOKMb
gbz/tv0ngfMl94kFvUu7l3g9BK7ud5pAOSfIwOsfBAT1N9BTp2EC3oQbv/XplRf0yWEUqfvaBl1/
LPgA6k6nmsJCpVUoocH15z/2Tj2wJhxyd3oESx/9HjiEPkxS9Nfa7nRctpXcg70R0lR5qff1gCv+
YEYwQ4K66hlBWHV/+dBcW5+FJ1G15xcIRukzOFqnMEuzQ+upKHGH775iZ68kfojo9NcurEsGJjPT
vBqnuTrjZhl1ibeH8HFV1LvLQ1k5pZYMTLyFP6+SDPzVJHb87twiUTO6KPIVN03tbJxOK/vsv0fN
h1fqpMHaZUl00qvvfXZo8i2Yz9rXLy4Rft/pYvAafbb6iNq/vUADiiFQ2XkFwZbLE7T27e8O4MO3
pwH4zuYhB03ie2lHy+2XXs37y22vff57nx/azucKQG0y4Sas6RQOY1GEBNwYoUKtXZi47k0p86fL
XX3qER2fLrZsh6KtVs0JjwduYosXT1kx/jMVSVxk9dYj9VOfCFqE9zPmw3D6hlCkQBwe58WpqN+k
+D1vBjrW2l4cgfaUcn90iHs2Zj45LNuPLDl0fIvsb2V6lsfg2AKn6DMzoSYy/dnYFlBvvU3DNine
QMWy4W4/T2ljghbbFdf4vPf8BtKjRBe7ZKwPSBQ9k7p+xdP+XIrxjhXDE6VTF1q2N4SoZrkvIOga
5mm6cZX4dMvhExbbOchG1dLOFWeAsPJjZpV6B2JYedd7jbXLAp8cSc+/lIZCZ4v9rf28nTrpQyje
4uYG2n9z9D64jS393spfJwxaX9x5K5ZJqTWF8DP5btSjbH9fNpW1dpen4pxWlupFEoMcyrltmZ3u
xyAfDpdbX9vIy2BUkBStNeEWygM4kjAB3ViotJXczG41PV7uY20EC2O3kOpNuJuOZzl19ak3jTla
M+t+fan15YFkJUiFOwS7mGmvvw+U0Sczpv0XW18Yem9BhsSRThK7xlRhXpnbph+2uDhWJn95EHGk
i3Ie+CV0l3i2A66EnUBuNuxmKJF8JRLogAr+/52gyIdkKKwmiZ0sQz2XjzDytEu3eKJXzJcszNdz
WyZtzUrQMTpBSCUE7qss88O5kT/TGar2VNOry8u8Nlfvm+uDNx/KiUIicsQJwY9zwOCR5n0VmA1f
uNb6wnhH4VJBKoF4bNNEw3RsUFgs/Wbj21fc+ZLqzS75ZDNSaISv/kGJeuiUPzUwp/pLlGVY5IUR
zzi1R9MFwzkfy3YH3iDxnFgA5m48LtY+f2G/dOp9d0LeNC5aGRU9BBLaO8QUQ3fLyFZmf8nz1jo5
AFONTsC7V3x3ZHDyO//JzdLfl7fOiv9Zsok1mJtUWUES025Ir3Vrv+SmDTbe2Wvf/m4aH/Zlk0ro
JNuQRZCtHfvM+pELN0ZQ5UuARse3FwY8MAuqeONsxfk7s8MZh+WpzKBTkR4vT86KCS+pxFiW+n6Z
ZkHcCFG/X/puCXHDoAcyv833Vm09Xe5nbREW9qvl6CPzBALzGWDxCEIqzoPdO1s5rbVVWNhva0lo
4slBQySx3AljdkXzm1Vvlz99Zf8vJaQVKL0cv1Du2UJEwO5/jUEdyuyt3Hy9vx8mn1wdlpSDfeqx
IrDg20Cjl0MtQgXfJMtNBJrDxIqQeOjvK9Wqfue+5wYuD2ptPRZGbWrfbcrWJHHrTcfAbe7tJnn4
StNsyUSouVPLjCk07YJPRXUcys6aHL7W+PscfrC3OiuLvklwq7dKfjPp5s3RW+IEn08J+4vOTWfS
naEPfEZ1nnPdWTkeuGm9Rcz0+RZlS/i5aEDab9KBx6lQoe2ZqJdZOJitIuTP7ZgtxZqnJmhL0Lvy
2Gnqfxv2e6yAnFc7RsBwKHy14S3WBrGwYosx0ZUavbQdwTFcPMpmOM4t23Cmn1sagOf/v7iFo+3R
Dt4NwXp00nynW5B5NGNktirE1jpYXKbTypOktb0kzruflq35oXGtczFYt6qat57Ra3O0OI3TNlXg
yMFC26baD7N9pWwwe1TR5f2/1vrCboVtRrdLLbTuoVyq2/M2CFm30fiKBSx52yqi+oQZGFctijac
hPppaP/78oe/P7v/dnJsiTpPkCVGpsPwOEtT6GQELOKtRjGXLk6GJvvGT64TKhFea7+mKMSWQHTQ
bya2zyVUeVK946jVC5VHd4zLjcfr51lwhy1R5/7QlHOhzXguams+djPH6ybP22dZzGQ39KpE2k2q
Q69w7fDILJ7x3K3CNsiqo3BIsOu8gZHQnRS5KqgY9logbY6gRbJ1eVhbz/dN9MFZOhxypQQPYei4
1L98EMKViHIS/uvyiq5sxSVjmmgVKr3rOoizgUdk/Cc3b9a8ceautb3wBPmY0AB8lOMZGTInHGXw
k0EPpMYcfu3bF45AGAqajnc9FZ8BLzu9lM1T2W8Em1dcMV84AGPGqqwn3DedWYeJ1x9GJHlaHqqp
2bfT78sDWFvahR/wxDAUeZrgUhvo59K2z3ZdbiRhVr5/CTKHcmBXpaMbxJayXk0w/XGcyrfDqSP6
muik3JfZprrGikNeos4bbUgjhgbygEV27/TyqkvZ2fKru2KzMnKti/dhfjACAj8wpoWNk1EnM/iw
kGRFksELSWrAg+DtvrQeS6Y0xwq8bOgwEMJQPTVWRzJvnYorS73El3dk9jOKEAFIbBsWjt2c7yVR
Py9/94qhLUHIASe+CgxOq9akOwQIYr9iKNDaolpem/yFnVk0TTrCgPJPJnFvZVaUoApWtvWtvdXD
2m5dWFttO7STdAIoD+UQRaLprhjc3dwBJVJR2exG47obxyPh/9FyfXKKLQnO5Ax+i2Zu5rPMOgc4
oMR7oghmn4akbY5OLbo/yqTdG+wne9aT4seK5pBj4qxpD5Lz/FWCM2gvphEFNdzurH9GWeYAK4/Z
t1YV9AWsjfnZkUN/BRXH7F4xnl6DnAgSCp3g547K9KZ1wRJPhwa50Roy5mXlTffO2OVHHK9yZ9uG
QJUKBfyHup+qPReE/G7B6bN3nGlGaUBXAxLd6O+6ZfUUGSvHk7XS5ZPDDGp6DZ5nAHawJPRGqu8T
1HD9K+3c7w/4d3cHxtUh7rvMPfiVk/8ZoGj40vYWsGsy714DBGTu2ZSPsWp7UNXQbH6wiD8EUW+P
8wm821YOQZfUPtkiGe7KYq7f8RbJr8BS6SEAE96u6bPsTWaz+tlBreI6Z9zkUVMOIO4RVBlonxNx
HgWjO7tBnhNMEeODMFbyOoMD9qeFt/6+TPr8m+83KTjv0gzaRtSDbnSba9xo8mBCeaxd0sgb2XAW
lmpumzGr9nieOnMIC550jIHPSeTNxK6B4s7VPnMHAD4TaZ0bb7IfK6/OMcU88a591ZPY+BAAK32P
P2m3LugeNAQpZPHytjvkOfcPsDAhD3bR+A+gnpjoPvNpL3euo/gtSZTDIy0QL/DK2Twzu54fB9Za
O1TdEGyHtD10bqUPRatQa1jPgNq1tTnVXp7GoBgye1RXyL1b1f1uGnvARDOnj0vTmyunmdvYlnV3
AhjX2Vdj7z0kvO3f8EDTPWahcq4mHyxIc6WGK9xHWNjXVMkQGzZ4GG01fguoC20Yx7EA9AmSoxy5
c+C+I3cpakSP05h5EQCyPMynefzl8ay7rpq2eYFGi7ixu6rd4Rhp78ben96S2sjIdMgekIGaQ0aD
H8wwSaGDiT1dt5LvDffqqOnb6jcqz4b7lo/eDseNvu7Q3cEdAeZHFey7lFSCZ0Htmjvu9/rglHUe
tcrUj4RBzs9P26kKXUT3b1JV89d0JPXB68r8Hur23V2dOWTHFU0iWY7gl5wsEVUBD/Y9Jf2La6b6
IJOh3Uubi32q3ws8bW32foZWBuRUIdnbqpvZpuSaKTIctBtwLN3EDi6KQPfUll1UNF5y2yL/FGYu
JDw6mjmoQCibf9xOcejtNPI6zyVKdkpVXXudyx/mIclvSJOMkXIz/81GKj+yiWU/DA6oxEVlO2nY
GEYfxkY4V6z2yZU9YmeWxMy3lUFAYkwZyOXY7B8D4SZHizv9vqNu/0Lo9L3hOT153UyOalL21dhP
LtiA5/HG4rYHegnC5aEsAnHlJ6P7xns971HCVpCwtgB5g7iHe9vgAh0VU5sDhz55bAdo7B8gWKqz
UF3wywkKFqZpKiI38NLgUIFf6AWVPi8ogspD300PnteXV96ESqnQWIP3UqRD+msu0zrKpRinWDCm
UOXvWZFrkTpCOdr8CGwvmIiDYEgOQ0XFveMWzbdSl5BdAuLMzvz6W1vrCsxePn0dSmbnkTDg+mgy
Ue9BmkVvfU+YZ0HBcZmiXOQ7xV8xbhw+vF1h/HCSvNnZM7FC0QZ0l9b19wGM2CdlF2CcsIG+TmtT
Q25eZN/LyRgaIbOQ/QhGUCtcqcKUtynAkEc5pZUIm07UjxMpxCngA4E6xSCe3AFh2P3AvOQoRm84
O2xSP6h+J7TJe6u+ZRoqlzCy4LfXZRbwXwXZaykxXsDcQlVVIyhXSy8afYsdci3JFXK/dEcZ1Lo4
7RACL6rECvO+sA/j7BXuwUv89JhXoulC1Zd+Fwk/ywHXUNlRJKy4S/yqO4+qw0SShOydhjWHKkHR
4pSOedQPtMX2DbK7FPRHj/NsNY+DrqZniKzxow359WvOx3Hncunj3d9PR4+P0McIrATi7FTlr3OR
2TsG1OlxBkl3OChlzv1Uy+fZNDzkHb5eAMwZMTgdSDIG3jNNafutmup+n7d2/zOVFkILQynSK9Fl
D71sgkPn1PrYNRZO0my2Qdc4D33oEW3toXih3thAs3vS9O4RFNXDTvmuiUoLFeyprasbJGv7w5B1
2fVUGfOrbWp5y+H4D3nNxT9iTtXZB9VwESH3Qm8sl1gnU9D6CtsCO4R71alKHXEY6jTbV63NIg/c
juGMYtKoxTL1EBir+IFAT++5rqohD5uGew+6ZHyKiqCxfinENW5A+FTeeUNLjky9gwmHKn0RjsPf
clsUcRM05U3GBnbkPae7YUzaWBM0MMxtBf/d6XuUGKs4I++lizXO3icfDOWhZon7UHWqheCRIx4n
cA0XUWq0rfZBmyWvkqMssUaMeje6ZXmkVVW8QrkS3CZgPYxQLqHuhfZZFIB7N0o8bQApmJujavPm
WbZaHwLelC/uVPyrJLRed8b3p2u3xlr50BB7wmUCJp+QPD+Bq344uRNB+r4lCiJJJNUSmphwrfM3
ipfWd1AvsG4vRM6izGm+zShdEnkQSpi4EXCLJUhqx8lN+MlLMkruvApq8nvHdOOhCFCRFPh2FzuV
BdPqZHVF/aRFlS0oonRUjTlLb5RTZl2kLWrMAXV1+ZXdcuNEQYfTd9bgxwwh3FQ92hUhu3KEdqcp
BHmsS8Di5UjxNKgQj6CtBPGM9IS1t6aEPcw1sfdwW/YuJcPwx+aq2dNJjO3dZMCJLgc2h0wC/oyh
dr/47IFqK63K8TvhZKxDRjLq4mQrAnvX4f7zBi7C5pkEXhWgoNqpDlobHRnsliocmZMUoDh20+8s
wQFAG/KnFfb8OBkZAMaQaK7DrrSpEw0DmNK5Dz3AsC1qfgAP+hhp7g031LX0Ea6Q3mB7m5OpodMp
8tltwtoEvY5IY6XfPSsoz9Jx7X1lt4MBQt+vQw8XNWtXMQqXOPn+KUNd6NFN5/nOgFnt2fUn+4xQ
NT1LoYeogSn8aktehtPUmh3YmMH2Zowi+1Kx8jiPud1GHPUA2a7J8QwIjRtUTph31njvpbk5jK3o
zkpQpJR4Jvclm8vDhCqPWFes/AYh4LS8Yzyrz0D/5U+u0SNoFsbOuqVWCrmTsi3g7mlvOf/j7Lp2
I8ex6BcJoLL4qlDZ5dxt94vQyQpUpEgxfP0ez9NMbZcN9MtiMZiRVZJI3nvuCc/92Mdv0gnb74RK
HL+xDZZDY1Evtz1m2ojW6nariD0Ul8lwp2PVbcvQk098jfh93+IA6TTzc28ObJz2c8QqNIgwT0/F
TOyTGnq95HwQXYfUqXWNDn1VB8WM9fa8zH2bV7z1PDA4TX+bRKT08yHqvdu4DyJsRVGn/KK0vfPV
G2wJn7pm9N/goWqPvubzGawOzNKayBYq7iQHt6ztsznqkjrth7l8C2azZBNoVt+k6IO001oVQxD7
jyLx9JmJEib9lbGBk1fVVP5aSOyEO4ZLtSgvkZZ3DwaMGLJk6cTGieZdO80BEorjCsBh0CzbpKzg
px0Nkc4izcjGNiDEpdrz9N2C/A+EK6CbjRJuc7XI8ogUVWOzVll3zga/RzGjdTM8IresKWBvM99a
rWKZClt7Q9pPgb5H5LbdRPDkYqlDbfte2jv4vxwGmUhx5FgDhBXuApPtFiLlTcdnACWd0nCWmWeG
uLWV9RmbJXa4RoshyoKoHB+6kqxDyhXueESdth8CGH9jTFPtq3guj00j0eSsotzPvgvRCe0cUmjX
6/eLbnUxh8Nw46MxO+DxupkW1N2sYT+BAuO2Z67HciuXaE4XWJVVKF7IfOKuyzL4Bfe7mnL/JkRF
+k1FiBjZJ8bh8O9vxvs5oV6xVDI6tSHOC3AezF1cL+Ju8LmMUj5JRIiSVt0mRFqO4KrW7ODmGhHM
skv8T1TPz8ROPlQgTlUgBbB/djoR3QT+hPSdeRznbUtZuPEbCaWwQAmSDmBqZNwL22051OQQdGu3
VQHlDxCpjN8siuzdaMGmX6O161NUYF0O4mIXpq1h85iz0dZZOBH1WoU8fpmnmeWNDMc2rQIEIYLa
iM5u9F1ypFUX/2RqADm+7diS1V0YZajt6lPS8Kpweqne6UlI4coaK/AP2FI9k8j2J+v01e+x1AQJ
6OW87UAy2wa683LYDQR5aPGSAH3Wd7oVti3UVIWbxnOmvR+NzRa2EOGJmr7Duum8DUQHFRpPOIhU
JJybzPPX8ble2PxDO23w2idN+B33D4olzEW9L7pEaK7jOk6BXr3/yllF1tQDYLCZEaCUe2Sgu4CF
4iWa3GCPCG37BH+gnFprVCo5QmRitHWuLvdL3SNwx0edlC9924AS15CVZp5TTnkdtWYz174tURO7
7zc12jFHi7emqqZTv2twEtwOyZLcEz7TI+gYKtlUSTWeeKyWQpgyVhlHYCLGr07bvL77arPtvI7o
Yho1oeuCgWaN9KuiaXwYZEQt+JCUrhmNG4LCVfZfOvjRfE96VKSFZ1gY3zZT3/NHD7z1+rXGJKsu
WjTNTUb62X4BVcA79mPr7WJL55Ry7PMDhw0HXrsGcvIYjUlZaOmFxQSRepOPdHD3pecKLwXtG0vZ
ndX0A9OCIfUGKV7APw1yxWSwRyW2IPVIDfNTu7aiSkPHzCH8J0n4bGc3rPNKhj7wkJHC1k35ETQP
1ka7ZUXoE3ayONkIWv70YEtwh1qFp1VsIi/XTqVi0Gg7HeRVuZPoD4a7IfbUlNkgiYdsQgyZKujY
1DQvJ9ZkDlCt36Wa1EbJkaKwNT2ShlrbpUJNfZr4Ahm+JeTkI4Vy3Uca2I8qSdZtazjLVjzEBw8u
8k9zF5U5Yvl8bELIyT0OgH9S2Y9kSWc4qe9XIYazeU+15GxgGxC1nBfZr/pAUaMd4ExfnWIVBx3C
oWAWq1TS5rIXzU4lTr+N55DdjKsLsAVQukUicgBzPB+SGkPtwaLaToEBYVBYjfbcoTfKfYUCMO0q
4u4Cx/T4GtEXweJTDv1NT3v4s1Qd3zoOrJprETWbMmr0jZZG7fABx5lr17GgZdjfTN1QoRWIkdgR
8DWFZb96nTu3RS1n2MYDEfSuVLHA+7UtxJbWeRwrtEoeZeoxZqBR+4GE0L6UJiuZSKAbHpNbTktv
L72yrFPXBiUMMIUuJmQVH2Bu0AlUy4J+NyGWaTpPMjlNDmjqA5fyxiYgQc1ibZ7AN7XfUT52L62z
roi8xhGeQx/noj5ZO30GR3+wqMABYzQyim57JtuTIxd+GjE4xAkN/Ghj0ZjeI9lD/qbKcZM0jkn8
sxmUA386dNa5M1IiEHIVYlee0SItMXzfsBG/0rq7Kd0V4NfQQsTY9cC55tnLkNfQFyX89QD7gMmA
2Q4LjojC8/O1ousmbJMIOKMPuyNEGGPe1yo0KnqsXkjSN/dYTVXKlNucYhZU+WjDALWmkYX33pal
4Jd1OgVxoczRbHqHxfWxFCcJS+PMZ171ihqKFKDNxYfFaKR3tsgF5s4An+mBT5ApBeo+hlx8O4ee
B+VtPZ2Yz/oftELnJA1Jtq4fBX2qWl1uASXGe60HL/VJp15d45ttHJWKpdi32rOklhxb110eonoJ
n2vG3Lyrer/OJCPBAYUg2U/OivuP13m79kBauWOiE6B1JGN3JswSdEA48IlEWkKsdNq2dZwNFaZ7
OCkmhDZOTvSL6hYnZznAOhYbMveeiJjdZKf6Mtn1k04KjgRkWpRisjrlVQInBcRAjsl7VyfWDB0y
LWqpNaSz4OcnnTI3dAbT2oTKvi08qLeQiLvnpArwxmLPW09c2uBhkAmHDZnG8J05JWrS0lH62KFH
GrJlRjMI5C/47Q5g3QJMm0B6Dv3wFgYUYBuoBa6QsHsHKQDxXNU3v1ubR4R4ihBJ9dPq5aELXUw2
RUq+xUnXPgEXi290tQQqT7xmuGUi1pums+3tYGs3x2sK71Z4veDAZNNbJSl7SGZ4owiJ7gbz0WAq
kjXhBQu6uSBKsQxGY+SE5IlkB1upeTN2vQfy+ohWyNUTsFCkCXwtl4bvUOWMdyU20iIBYWQnl6n6
1bVBfBiXNTnbUustpCfz3h/m4cmTc4J6AjOXF68GZtqjby/UMvg7ESHLFSGS5CQToncBSB2QF1BM
mxMcx28OPHTDtDNQA+WgcHt3pU76HZENKjYzoINPSVA7uIXemyFkgzlWzUElXny32wZ4qDca1BGZ
1kMNtc04JdWZO7TOy7hZNqgIvdd5mMo1rxbqo4ebwTNoJ/tg/b5rAe/5GOc6+OK3Pmmbchvxlf1M
UEMdkq6Pg5RUiTlNFqBYtqgIUqIQvNlW9/b7qDlzQWOL+BbWBN6XUumpsNKTKp/kkmQRVv3DqgXa
QzWQ72SoTf5+O5ljsdWUc0BS2njeDsYq7KZEHnXuuC1FRo3zRghfNysydp8nEXYbh47Ty7Aa75XP
4XTrT9p8Q2ojkNmELsWCGLnnEUVGMfTwMSD1mOMQy8nsUrVLjILQKQijYLeq0fsSzZG2KTLgJ3Nf
MQI8Vuh+Sd1IA5QPMRF4jt9rs8qpkCeL0EGoTbouV1B9bgSS6hBqhNbOaKTOpOi17ZOsBU2ZE5If
ZLUUTqEuwgok5ydAF8P7rDzZoBWjO1miPpsaAOoM59h27GVSuEPfH2p0eSoD/ybYhnU/blfr/rBx
GT+MTpfg9MOvYRXQOo2Iwl/hOtYnATztyLC1PBHeOJms+gjHXinPox54vmAQmFKYqwPHnXIVoQ2y
Q7JmdQTI1W3j6RUj2/bG8bFd+7rSmT+b+OjBnAwSXdZ8HzoX2AJmGjcT67HPM1Cq8AabER6SGKks
GfDioVjLBoUK7fwHbAzlxobOiNrVH27g1RWi6kUd+Og5FUhqKJy2IxvsvlMkzNCKofPQ7YISGzi4
b0pv20gRPlYgAOSoOnCsStMUdenoKhVOTDMMQOZzKOv+m2VQdnp1iAVMuz7zAouCqFKs8HXjZt70
Dt/P+it1Y1CvKWG4sum/6rFebk0/uU+uDb+u3CmLklfVV+Sqv2niQIs0r32YNwlCkiIWhDmG8G++
GdQv4VUA5LQKgTRTWTDFalMEMXaeFIA7hdVfQID0Iqdnk3Q0ebFjb58mU/dV1sqQoZHzW5q2EdVF
7UdNGsDWAXpUbJdxDBg6GJXdr8zRcImZyUNQGSx/IdgDg0nlxitJsof1VFPgGBtuiEjK24bz8bXU
ym4r5g9bTsB9Dd4zPtf3SOV5nWzaoyoZUovifRO7cbSpDaA/FJzsrFEG0hzuOiANlrFTBNynm4l5
XraOmu4QZEdyVKJJEUcSRIw+SPqUG/8lRKxE0dmRnlhg+yKypbznig/HtR0ZQBan2k2zoGewIpZC
Qu6dMzGMOcpVuS3FjAN8rWKRlmViv6AmDM8RHJ/fpGYUaGukU2VDI1KnokNGyGyyKlQ/6gr9WzqK
Lnx2a/IY6KRbCj4w+UYdX2awZJg3TexOZ+EBsW+jdvoamDo+GPikFCFSQ/NoWd4/L3QncJ2q8gah
rhknRKWugzMKUtrmWxfh3zNeF2xYTWCTqriQe2rKceuXGD45wJNemyYgu8qBRTim0miUKj7VJ4Sf
YhUCB03rBGqVOBGv2IMAFJQjzft+Ek8do+FmBVixq4IovIdCx8cPiTF3YQ4SbdLaACHdakwB3rft
SSNmuCXeTxDy3BdnKd3bEp3UdnQ8RHjJNT7UFoOapo/9o4fEB3hAeIhF9aow1waTzrZWL1002RyV
Dq66jmwzOAxWT0xNe8+L4wwidmfbLlTldG1Epp2xz8s+kTu4f8y5HgARpAZ1+EPiTGxLZI3gPrhx
55ra4TAytJJhq+i+DCwqadGypzHqfmAEMxSq75qCiqACDA/E1FENga50xWuF+TlPA1RWZ3yhcHFC
IbKHDJ1B6ROZQylrfWgxo8uNQH/al63EVxysd7wa1i3qC/hOxlUw53MFO7UclRWEVBOvdyVvBEw+
MHAdbgewy+O0mhPxYwH0n82DMm4qwyE+uAmMeHS1NiHGlkt4ByJxU2cNJH7gaKrl1wSg/zb0W44c
NgCsVdoknnerzYqFSepp2gTMHb67gQmOCRPuLWwrm8MSg7qUKckwqWpaEVdAtZ0OdwANag8QeO5g
tu2umJ1NEmhmXQ19FvZu76cj6pOCTaH7ktDV3tDeBiLlOIw2g7JeHncKgGGNHXEtyynaOMO0fPdm
p9uASt/mjV67fEJ5+FUtNgTRaabt98YfxrVwyNT7hUaP/ROCltEWXU3WI2295hDB///bBAu7QxUP
+qfAiGtJo2qIbmJeuXe0RlEJpNK98ZYxwPeMOGI0+jdNA+80ijzym3XBf50mGJyF+YA9kucBBt7H
ukmq7SDcri/8alh2/rKg2sGMqt1zh7VFs7B6r6fJfltqAy/CbuBzoUZXfV+7WH3VdaTPaq6CjdNF
3haTqQgWglN7M3crP/e+QgBi4wWPbhc4JB8koqTiHk0ElrvYzsNCT13bm3ttBS1CuEdt3bGOoJaY
ewCWS802dhHoz7E7AaKdEMQiu/4MBK8u4s4E6GeJX2W1FOt36cQ2A0THCIAxjXVBg6H8FiyTX7Qw
K9rGftts2igR970brsUIvCSLpYHFe0yGe4IU9UyWs7epCKWPcVXpp7iBTQRxk/Zm+pm4jnwCB19H
ab14HCqFyZ/Gs1y0lGmLzy8LFKDWVAGLfAlNiU9HxuwUeyzG7Ro4i7ieObGWoXsjkodnEq3TD4y9
PY0Ww4teUegIpOYmrb/mwotFnbUVA9SxOLw7ARIP2xMR9Qi+kZUYIAdqva/nGZhBFPpRgRwO1hVN
ucpdJPyuSHypzC4JdPVSzqGzKaeQJZtVwQBMe1g3qTu4w7eaevJt6EhjQSULy6/ofVgOVpC7D+O5
hqSH9wWMiRn6IRsYDJ0DobMpSd4n87IuwgANEcpQRI1Q3D1iB5s5DU1rb5IltL+a2nGyka1OsboQ
7mUDafUtM559cImuvyXJYLc2sdqDq6buEEmAESZ2iUaeZwjwjsavXxM4fm01DbvfUi7sAIhJPnvS
DxHz5AC2EWP87ItQvUzNgO/DjMubwrp7njDj95FWycSO1qgQhGLxLVWNf9MHHNQXsSxvRBMGsVs3
bZwG9wcqCiJ/gdO/q99UF1bpglAJH3266Vx0qb09865Gw9fgFMxlA77OFrr4ekljFqMoKwkhRRj2
0sEcvp+eqEQ5ncrYw5ikofMQFmFNxKZeMEChNhaFQNd3kAYCsJS1Dv0V11H/2AlIPVK4WM8PdhzW
BS24mRBlHkjEEdfwqBEuXNVGOJHe9QxhtlkPCOAnfCrhhSaMJODRzUth0EFg0Ous/pAKnpQSAFZM
QftwcURObY+BFxg6NAOSVd1bWIvvm9U3J4FRxCtLkvApnoPuBkWTeOhi0yG3icFxdsCYAmYVMcAd
7m1Fgn5a4f3cDRB+FzjXuywJ/ep+NqW6i5W6gRnC7xopouc5DOecsxWT8M5lW45OJSUm6As94iuF
eJyxPPQb901hyL+fy5rfWhyMechEvwUcPG6qStGjaSya7CQKC0cTkkZ+uADXicY3rLb2zu2p2sxl
qO48ZZs9IJ34zsPwI4P2uM7neQR24HEBjFzqssDEyOxMA6WCQlP6JUii7jYkSXCmPhI9MeZB2AJe
UOFLPLZ5tSrnBjSIxR+WE1+84N73q+ANvfW4m3ouFrBSFNkGsgQ25Xuld69cr928z6BX8DoYNLAe
ehBMRGPgtiUGNK5uuoI4+DZbAQRqjNh0446AwxFg7445dIHlDt90exwjXm1mP4SivmMdjjMlOUr6
IealVyBIcoGX8k3NB1gES/TFhxgDPcyXcOquMzDzoPb1GeMPmapKtK8E1avK1rDrfwxseDNdOW0Z
7K6LscUX9DFz7gq17dLVlMVs7uKkd4+mB3WmH0i4Acng1Do6QetY/h1R9TKBMuhLv6/B3DhGgA17
CJjQIwC079jTx7/iCv/vH6Lbv9iRfHHRb9LZHJuJkjp1+mQEg8pL3mpmaPHx37hCYLy0rjQW7K9x
9VY4CKMbuseO+/F1ryiY4Vj7X2onWgrmJjpxDnMrENHJ0Ia2dfY+IG26KW+b+aBbhJx769YHWcyt
oz0Hp86ZPuFOXvtd7//8X88OoWBwDOpCEKD7Zx4/TiBzf/zDrr2UC/ZzXyXo2qDPOQYdJiZzKp1f
8Bn/5OLXvtsLSiYwMgZnK0hChYFizeWZEzKs20cVf8J/vnb3F4zMycHBoKqmOq6GoaXcNesE+DL5
y9u/ID7DzjmCnc3cHS0mfUHllTm60k0YYTZOyPBZNvGVh3RpX2moaydS1dURXEfUOmfiT7tyCdMm
tJ9sH1c+nksXy4ryQOKlqiPzpqwKfg3VX3kie1F4QXgG7lq7YhX0QNp+O/qsIJo/f/xh/lmpFl0a
U46eAA2qgpvnus5nsA9/L1UQplz3aIU9TjOTrF8dW322Dq69hYv17U4L5nilFcfIfQ2rO89NsqV9
GLnzCaH32ju4WMACXQnyrXhwxIRD3FTzSOH6lHzm4nnt6herWHI1ggg4Q02ztgcmk9sOgNbH7+Ha
pS/WsAYVrcE0ix5Cm7zHKRbOEH8W2HFl+V7GTRq0uNr64MuPCUgmrq92C6Y9BWH93cc3f+0PXKzg
DmnegcJM/AgDybPfoFGAMPR3Q4LXj69/RWl06cvM6RDqctE9OOemzlU5+rcVeS8posT1t3E3yXuJ
OcL9aKfkxo5q+KsoAy+6dMWMKndZLYyYMO+SUIp6zlmh8MiYeu+DA+5+8vL/bFmIv3OxwJcKlVhA
oZcGwXVbg4zidfMtCHWoKfUPDRtGNwgfy1HuZtc2+ccP9R9Fxh+Y75dGmJXvDp7jIz+Sxto/Oy7t
bg14fTYH9A9YJqmmogbzBckxMkxXlzZ56MX1ZhFtmSqYN2aLo4Ndy7UCjaZsN+vUwLBd+eEWk+5g
Rf+tQSmogSClDvLK3wDet2nYdrzd1WLRNQhExt54Ymq/+t0odhN1+bmxib5xrWZ3S1P620C4ywnR
KfoRcazoKrjoAgAngyxEg4+4wO32T42UHhw2VQIHMT0NKAxGDKZPJG7NfcA7moVUV5tSR9GWlknc
phjPgXuU8Kb5UvrzM+jXzrZnrv+zB7q2w7yz206cy70M4nemceLBpp/b41pGNp99ZTLDWu9sqOyK
1ln8bV9VfsFs0IIeZDFep06IqaoS+saU4FvXy3sV2XXRXRsF62acYawK7EzE6N0MG7dMx+0mDo1/
AuGUfHZoXFmUl0aEK7A6D6MYmJKBoAJ40C3lPhKfuFBc2a4uzQd7f323qELJEaNIh56zgiPsx5/l
lbV+mSYYmtCxbRskB3fid1O5yDwsnSe7VktGUMnOYixE0O5dkLk//oPXfsrFzhuytkHQE0qzGKYI
G43I8CMUH94nRcGVt3BpB5vUfouRkEMPPgbUSVIXUfiAXfiTh3Xl3i+9YFdSrckMU71DArB5T3tQ
t+Y1iHYfP5lr935x3HFpuoSHOJOSVSK4CzM9wOIUOOPfXf7iwTvONMUIcbRH8H7vrNWgMxORGi+6
/7vrX1Stq1v5GPrj9l0zZENZ5t14btq/yrjGln1x5pEFuHwrsQJKDMLd3dLEGE595jvm/vO5/2Fz
vjR8LZklbeeN5cFOc4g0Vl/eIp1yQzHPP8ZDv2aWBxE4P46fCxr8bPqp/6F6/PuO7NC0K+M/B7z2
c12/Y3sUOssCfL9qMzQIAVnAAXruJMa2xOn4CUM0sD4HOGLfIzkM3JWoiW8xDVy2QS3cbemKKfdJ
bfYVqUFPbHkDFhrOwCdSlckGjZi+50R8r92+kaAvrequC5L3FDDZvdKoUQdgwwg/bsbgUVPsb2NC
/Q0GW+jnQbO/jbFRVdkidHcMkiYBeY7EOGLlkDJ/reFTxuxWOrCnLa0L1r1TmUK0rnOIVhATAJtS
wME6+A4Ib/0e9t1wgDXj+BY1YgQRQkQvdeNGz4sj1K0mwp6jvrLvA4CQAS/v7AYmf92zyydxVoir
g7S+lxAJufqr7GL/ZaXueHaMxHgCfNn2hFzw8IC0sABwTON+L4dueU2CwA55yYmbBdYbtrDgCh9i
jDwPoBHzB8+uwU1vI7DxTeI5O6nGZhctq/4yR05yIjR0MSljoJV6LrgtWGANILwALPEpbAvWmg7y
FgMi30R02oCf9QR5W3QUcnZBX8cwMNWODtO68SC9iDQgFlkOvyAVcB791p2Oi9cE35xQzD/cutQb
WDatpwbOgmkIOfUpaBeQhCB72kOyApjPBYWJ1+5zUzohWAtJUJ865FRkQHnn1Jcze3KmqM1Et/jk
k43gWtfvX6xUqK167i4uit9Qh/C1luIZDLX6ycLBCtw0PgQ7gjH2bWPROgfDLHLIjgDFQWJyw8pA
F8Bv7Scn25VN79IMuVxFAGs2RQ+Lc1qNPBPqnBCC/UnRdaX/ubRDhlU8qklK6CGS3yFJyEwFDnB0
7tWnO8f77vmnjeP9L/8Lwugi8NUB9CSIsdWHCH1F2vcYZHH/DTKlNbWeXlJQ0hBhvIhHpGV+1bQV
WRN/Ztzyj1XU/9+A+0/0wr9uwMYGA8xh0cdqaCFVGDQ/z3Y1PxKv4hmqkl+E8SD3KjTKfhBVBWwz
wQWLLARcHpPmVMkSdMh2xlFZIfvl47Pgzwele+kW2g8RDMz9RENTqgrfs4d++Sy84s8fjOtdHAQl
SnRQAVGwhPZrVK0HJV7UEJw+vu8rF7/0QpMR2M/am1r4sGOECpR2I0AyKSPvM6P9P3+Q2F/++7lM
lb8E4GCZI1g/uda/I7vkKv45q/qTxX3tF1y0NuCqyBFFkH90vOgOHrDHyHPAQnRY8fET+jOA4V76
oS1dqDgqeXOsRcPvR8+vIBAIwFZ3IUMqJr/DbAKjGbg4Kf8zxOrPCmX30iXNVJgIozNsjqQC44da
lvNebpdFvMCFuwTAP/38+Mdd+0Pvn/O/1lIXjGi7dG2PDr3RECZBsZQ6JeBDC2lnWX+yKV17hBd1
nkKYPOLeaXusOszsU4wKy68LCOIYK3eLewKpQ51K4vuvmMwFf1WcYYT4319WxYS0vCzNsffbQ8c0
5kuPlV6ePn5u1z66iwMFrGDE2tHFHiMwSkD92vsl6OGu/4lPyLXLXyx5p8UEfV2S+DBUXc4m0JBF
7k4PH9/7la3q0jttZR1dERceHziV95C0nqO52X986X/84/6wN18ap0FRDf0FuIt46vq2YvUZlFEA
Ns7WNWGRCPooRg4kYEbVNTvBlkvxyRO7ss2Qi10AVSf3FkToHkc1AmuAMH1vZQyuaeN70F2atvlk
u/nnA/rTT7w4/zATtG5rDPrHtX+PDYFZOl+dYV93/ZeSsf68lBPCNY3xdqBsD+noJ85ZgJeHpl6Z
z3qbq0/6/dP518r1EjFCqJ2YoybmNM5wYoABfYXSHNGs5QtswQK0JDCBE5aB1e215V6E+jNP4SsL
mlxsG4ZxSJVXbOoTBK6t/uIj0HZt1WFdfsj2VjSf+QheWQfkYuOAJEWscujsEdLPAcRgYTOuSxfS
/P7vtolLpzbwWdfALnDKCPS3FXmzAE5ix2QfL4drt3+xS0gOvtZSTwnU9c9xBPWHG6Z92e0+vvq1
dXyxSRC3ZUtXyeSwlubOF3QfDp8Fdvz5/YLV8d+PC/ZDQIdlrI4WPnZNKkRtAEdPbkaZGX4kvCTf
kNC4HiLPzp8Vln8+igh9v5d/fdBBT8lsKzhJWb9NF/KtNV/o8ubwn3Hz++MH9ufXQS7d2uLVG0Ad
AstMgi51HhwoyBxg4AHasM3Hf+HPr4RcOrYlIdQkyB2xR8L9LyjEISJZv3186X9cgf9/30HT9t/n
Q7DteP2ML5XAsyKHuFGD8DXzzAvW3ywGRctpkHqSaIJGkkTdVmru3idozA8h+A430A5+1aAh7heQ
Xl4lRu2pWRSEpIgvKCC8W79y1dACcz6yU7DwSWkfg+308c1fe/IX+4Xnoqu1Kz7VPrSPsC08Bi0F
Ja8K//L6F/uEH8PwcFKrPXJZGbhRLAUhdENCyHo++QF/Pl8I9f779JdJxnC97M1xNJPzrRf1LxO0
6wNIjjHsuWb5NhrTbyOW3HhBYnLdz+1JJ/MK4Qmhr8OcOGAnw9gfcQXsroTu7xv0t2Dv+uV6o6KS
fx+hyoANgIE0313rjHPfh1Sq+wmuZVvYbugywSRkMsa4XzzZsSwWxrxJ1B1bBqrdPdwApoKDo7OP
VkxnZ8gqs4kKvhs8gwB7N/pRzaCYhEM57kraAo8BB1AcwQOsOYwIcGnP88EYp8l4FwXjoYYUNFQj
ues5TGCM37Xfx3UyDJTOZLoJYZ+TTZ6k+i/f4MVWSTtPjUk0j0dFXhFYm8pxyWf99vHbu7YsL3bK
lZm57J2RH/1Jzi1+LahtcGz5Ox9vcumBp+jQUPg0RgeFlxlp/ZM6zt/d+aUFXpwwsIPqyjs6sGHZ
lBbKtog3n4U+/eNj/oc95dLvLiotcQlQ7yOkCTlQkrSe3VxMj0wReCIkKVRJexXYA3WxXbBu3bXy
YTGmaKGoGvm6NQYiTahL6nAuDA3OlcO2zAIHw0E3YwATfsbbuPIGL33zmnACJGVUfHCGcExNhNTk
ufurEgA4z3+X9gwvDg1CmDn+j7Mza44TZ7jwL6IKEGK5hd5x205sx5n3hoqzCARiRwJ+/Xc6341H
0zRVfTMzlUlBo3055zmq7JDxDbjb8EabcW3kwFOuFbE29PWAGPIahOsTlkrZeXBYCY8QEu6TVsg1
aN/C8Oprw18K6TSAAq13yvODmr/A7SrIx+2uszAr61nrWTBQzi+PbrohShTMHxzshQ4ojf+VwRqJ
dOn3a51fAcMu7dF0TxYvH72++NZKa68Kb3/7G5Yaj9b9PdsDRcMpsRWscCBWt/CYzv37Xc/WyXcS
R4cV1nlTbAEWlZo/6mJFqbRQ8DrmrnBMYNBqRGtUjrkpMoHs2CpEdLvZcVwRsrsOI03v8vZPiy4P
9/aDAoggvii9fetd8j+tt71dNNbfYeRK29cJdxh0J2r5rYxtA7bP2nTbA9yVCgZ6WJaMDeWQnODU
ex5lhNB1e0Oyoj8UEtijwJnTmGRHcKztfcPq6tj28IsFsMm70UAux0kQ85qhSgyGUwT4hmACJ3U/
hi7AWGA9lU4GJ6EK+F7B/vZPYrbfVQpdHzwe05aZVbszwQvaBL6hdpg+/SfXbSycrOBCAic7bVF/
D2giIs+xi24DT609PpSSAz8AYVq9BTGEvuSwPGxsOIxDyEuLhw4Jg3GRefxAoMvfNo2j/uTM4z9k
CnqnR1u+hR8AiY19buNGth1f4NqnYHYkCX8NGoCjvkwWg+bAqwRUxwNlIpZG7h4rM6V7UPHYiwKL
6ciVlYB9JD0gPNJxk+SiPBYDgCV1RgEwaW2ItWU/HCwOijLJcvgBIWEUYYHUyH0vBmdfwW5Ugr0P
XS+2I3bQAw6SdLBbCdieFYU/rCJGFTNid69wS8LJCS0WLlkS7h4MOnnvRhD420T1E9BK9rQNSngE
vdLtX0BxFjuHef62IRK2N0j2EUcsx9p5RjC6C/oLp2dHZl5k4ncfcl+St8SeYcr2pg6SU8Mqxo9C
jDOI8TOQMabg5xQ+x22rOvFklbzc9SXM6gOtu4OQiRPWGJ3AyUSyPW5v2hFssxo6bse3yZY1A3+E
wSw/g3pW/QYxDdciVTvnAIql5dRsPc+tDsXoBScbeIHnBllCFjgeHU6xnbRjW8ubCNuKCXp730y6
yMB2/r1RrYHf6ZhDWHbwaJ8NO4DKHFmWPIW1BObrVHJjV04GQpVK+ncLAF31ANso8rbU3qobubVc
Wr8UpU1/0noyt0WSKFC8Xb+6mCuC7K1N4c4JG+WTL3XQYT+KEwZY1Ip5Vi9zMHVwGUxwOAD0NaCV
bmrvxXAw15LAcH7KZmi+Fr2V7cyiqr/xJHvFFca0t5uppEc3lTC6+Clu1Oe5j5BO1R3ySr3Ptju7
QMF1MHkbphLwLkI0FzVtQugDM0HgyQeiso2Ts+E+MLHpaWtqB2doE5gv/okTY4iq2d8XxH6jJoJj
bo9AC/OKp80roCbhRhK8vdgGc3oYsTVgbbtNbAjLb79gYVegsx3hg7EHJzPoqYauBug22Z7AJgMs
w/PgyEzSZOVcbWEG04XDiM9yGzYrDo7hwD5gZTMABU69u+KtbFNXDGcwcsAWYgGt6OQ2smJ4eQSy
297cVUi6Xtig/jRBc05P4HgA0RExLIFs63GU5n1LLF0snE6kpDSnzgkICBsHfU1w5mvb7oUmpOuF
cTleKNvPAc2FUvx5ggj292gk5kYGKV1Z4y8ctuiwVpuNI6855D/dBMwUH/3vcF9jTLPSQ24ZTxBw
7wu3u3NZoS1HAw63Ue9ADZ/R77AIRC0u6pwMa7oGdo2yW5n6F9qrjoiF9ZOm89Tg3K4El6K6EID7
aux/3G5QCwXmat8AoikOn+BCjm06q3iwUnhPUwjmSujStw46B3JQ+yn0AtGu6JMX+rmrLbCJV3ke
FS5OU5vhobRgY0TE7E/ld8eucFfKbOkd2mgIS1SfGIA8xCnoxt+oraaXrq4M+I043ZJ0Nel7QQto
uvqo6BIcVXc0i6nnwzoKG+e29TwStZkFuBovVPYWcC+IqwQuJCg+2Fa2rfp6u+4WWoarrcVLC6A6
5UOIaIMZVKuLITTAfdPth1+Xdpm6BNtmhSPascB8nvhVmLRzv1Fm+8sMkkj6eCVWm1zZZ7j/f99+
4cLooCuyqxRKiJFAvkk8vz5YrjoYAdajZmo1K63i6hssS4+9w0WTk0sYt+PU3wcmvPgIZWJrTo6r
lYErMu2YNxhSvwDNSMYZ/OakBBj49Xa5XG3LeLB2lktM0ITSpirAPC5m+D97xp47nBr/qWYr/ZKx
rLhna4cXafuXDOgEqClED0zWc46AYow8K5PKUtlcPu3TzmgqoS6FJL6PffNQkj7Mq2CllV7d2eE3
X6r605NT3CU7IAr0iJ5/cWrzCGAmkypkcJRKYF9u18BCu9GT66h0OSTNLkiavYLnHLRhgDSktaao
uToE4xvsf39DT2evqkzSx1id4+DwbPFX8LSAcgHmEqTjClkQt79jqbC0wUpZxGHC7PoYESKbGXg2
5uDsO4vmCXZ45/n2S5a+RhuU+hqeEAinutj0YfAU9QTcEjA9OxP3iKemIP17YwIlA/9kutKtF96o
yy64BNc4EVkfq5YDFQcONMkeGDVVlIPHFLoWOwl3LSJ1oSnrEozKmWRQQ7wWA1gGYbUb5s7KretC
7ehxdBXwLMgbQvejwPecTWtoo6SH95InABfK1Mx3QA0ZKzcgS2Wm9cjZtDM5eE0fwyPPYCsFA6ZN
ZHbygWeMrNItwoD2/Ls1lmuNb2EY02UYELgJHN9ZfWymqny0i0k8sxqh5BIrEFA0+7skJpalX14b
DZhSxpjK2PU30F6oLZJl5m32lK/NIgstQI8Es5pW1bJjfYy2HUJqGFr81+2us9AC9DCwCfp91Uq0
LV+JI2f0iDSTQ2Y36R62SUANkmHlRQsDmn7lzByfG3ZS9rHj5TvENmb+vEGU9O2vsJYKSFvgtaDc
8b6iQ4xjlhH2eGsEIkkMDzlMxkeOFFigEFHduQ+nL7Ci7nOTp9UO6V7FpgEJbVtJv3/zwMNamX2u
X++jSWgDrEcZYmiSoIOerJ3CPMn2QwM6CUP9jSb/pzaaV0OIneXTLe5NA3RrACJvF8ZSSWtDLuDt
k5MRdGqFtYZJnuvxzS/v2cjis7SRFsvY0SgqtPSu+vCzHyRb2dZc/83/ubC2FS7uHdyFxQRqXbd6
K6DwtVSyUiLXW8d/rqa7JFUNJ94QSxzimcZ4aIGGvV3Yf2Vk/zkjtf5zKW279dTZnj/Ec0VH8CEL
GiH4sYpBdkovoV81CKs12MyVPf3oc8PB5GCDSzRIxo+4glQRkI0BDoZrcHt6AciQwcqP27/t+vBn
BlpDsBwC0P6E49tA1MBamgd4iCOrODimdVdzAIzs38uIzjZNHNoZ6NTFqVWgEq1U2N91yJVS1a/k
nH6yoJnCg4eo29bH/Cuspa/WptwUu3QnQ3ejdtUREtxX5wEZGXvgIFfq8/o1PZADl9nr0+pO2G0B
WlqAldEDefL3/ZHu6p06F9DVPWZniKV34sie1QOPEfUep6dkG7xWK6f5/79yv/bdl2H609tz352L
VKZFzNLGBHsesA3e0OENBiBAPAjkma8p4qye7RG5CGA6BEBXk5GW5wl8h38MhsOaCHFew6MvITEt
zSAztwYWkmU0Z6KF1sd18kdp2OKkilpkoQuxe4jLFd8Ky6SECMibswg0Q3C5xYzsgULITeGk8wbR
aUnoUQmsflKZGFwd62g2FCIxYctvVR3Yf3DJyM612zffgxmoWer3dOeqrN14TgCQXsDkowF4+I4z
SUKJFBowABnQfgAkhAAulzEQEWU40hEwGdMct9mscNVtDuNbBfPjEQQcZ5sBtfmTDraPSwPH7c58
AoTGa/MJYfHCBuG4ZT/b6kIBkYB+IkEBzmeAo+vysbaq/gXH2QYuQikxfiRG6z3YDRhkjArA/4BX
xgnKPKS/PMivw5Q0xhup2PAI1KcXIr+AgYuSfFDhWe9IdwCeN0nnZw9u9O0M9F04E7i1wNThEPoX
k4oSw0JMgdMDlF3V/YPhgIyEc+PC2Pum7L5O5oQEtNzpn4Sr1Dujc5nup1SS71jkJWFi2mjTRi7i
tknzjQcXTDjKqXxvyzbZVVXWP/pO4cZekc8RxuTgWIyMRBIiMuACBtAjgRzxSCiybIpsWBYSXLqS
YYNoY0DYcIWGvwZ7mdwCikYefMggXuoamD4k1yMYlHTNO1MYPjAusUnEtOEIMZwV7lpuj0xLA7K2
FEzN1gFlqg5g1n8bi3bLU7ayMF+aSC5//qkD2Zj/PWo00M/PNU7Gqm5b5d7H3K1ZnpZ++eXPPz2/
603wSuG1BrNDledC0O9532UrXrDr8XKYTMi/n85z1k12j20FYI24xTES9gOJ7eDAXcjYCbIhdiwp
eQSiKTC2ZuntsCcHiKyYpwiOSgNI5brdcJhhI/Pihu1pD1QUE9PhdrUtTSjaoqYZZIOkUi5jZasE
a1G+L7nvb3of3BgEWaxU4UIR61oBx2AdKAsJdu4glPjZYyLebv/8hbahCwUoGyukUVQE7Ah0gmLO
P7oMTT7rvJXpcGEZCqrKv+uvIhmSZLqWnJygRMI9uNAHF/uZzWz4ZoSw+LiygGwRVtkfSso3vgJs
z7TEUw90CyBwROwNeCDu+1qtLU09xKTgBmFuno9Z+a2oQVt2V/aNCw1BVxUgVgcQ0FTgPgOQS5C2
An88qgJOMMAiV379ZQlxbSbUFi+p4YFdeWkFSFXMXtWUZQ91IqxjndTGwQ8gNQwTpFT/DGABesPs
IbBxtPiuoIUJZRTz8I+2+1LhEGiDMTLb4CobITVV3hwQj2UhdEdlhwARRfuMNtUpqQGWQ/50hX2J
Px+mbh52sHvaXxrzQgZvxmFneLW5GWTL3gMgrhGHOjX7XBYgSQYJfyxslxyyGgHons9L2ArAQa2p
ocD+9QPwdaW/8eCaerSZZW0DmRSg7+O/pAEmNw7A2i+pqOUWSlYnCqZgTVhyfctt6hf4yOEVuLrH
Mkpu8nILQIp3xq4bSVSrG52FzqpffvQ+byoGGGSM6NnHfHRPdbeuP7jeBDytNzXpAEh9gFbW2lL+
TRSm5RGxH+WLzxA+BoZ17ZQgKDnWd0GCU98iHWTus3cx4A7f8NhHBjw7VklGN+O6xG931pR5+8IC
PMiCY3zlhOty2HqloersDVDxFCxhI0J9WnAx66IT22wUwIOD9XzIR3t4R2hbsDe99M2GKW5lx7s0
lmkrb454kn6scFTO5uTHWF3iMsy3KaArW4elar187KdprmjruupHHNtl7IsHxjB/vd2tl56rra6L
3Mbqluc87pBtJmDUpIyvTJ4LY9J/pDAQ7FtixIDhIl+hHpCm1VRbk8u92/Rrg9L1qtavxVLRuf1g
qD4up0fp5KHTI/pjMHf3lY02uwbAmbO8vByVTuDuAcbc/Lr94KWS0YZSqF8EeOjoo1Y/nEhNf/bD
sIXbboORZsWGdv0YydQv0gdgrMfhwlzMOmh3zoBzInjgyWjHqBVipaMtfIZ+iY6wD7BzCpLF/ey+
IHPwN9JGjjlwwgS6ltsltdA89Yt03Ge5qeoIj/GeaZsXM9k6maQrzWfpA7TN3Qir1iVdrTllgQNd
CoQNEXLDnLfK9+i32bOalZ6wMDbo9+kgTozBZAyY+cW89RGqZVfIrVxppUsfcXnpp5HBVU4pmYUl
qpUgyo/46jVwp/c8Czb2iMH2dj0sfcGlfj69RCYCg5uLFmu3EAz5oVuzKAm+3H74UiVrC6PKB9PS
scw+7hG4GDp1G4SYgclKE1r66VovtpGmBcdI28cBWCDdtAc1eIOYjNs/fanwtZ5sGy6MeFASx/W0
8+ZdO21ACxV8pWqXCkabUzBOAA1KMZNZrkAqlIoA/b39uxcKRb/YhT4XKQ2AO8cdfzfT34kLoa5c
KfCFoUe/w52Gzh6Bg8G4PyAnrkAgy3ZIa0Rl4hR0E4DZe2AAI2xuf8jVCsCSTisi4aNq/RqKMzW+
oZTCyskQV/916P/cfv5lHvzPYsJ29Rtd1+UpRrQS21dkGEDRPZBtgdgrQFG5HYKEWHwYLWmPs+3L
+Z66wSsvP+VTXys4tkS89bHB9x8d++z0XQS82somZKG89PvdasKC1hghV7HM9t1v6yNL09hu+Jtw
1Mqh2dW2hd9/efWn30+ZNfiqAOIkT2SkHCfmtP7WifROxJN+3TvZgtoQ03mnoINNJ4QKdnqnada+
Ank+mVGPANg7C0sf9bK+DoDZRPQEHFQV1KvCa0PqlBtPvd5uXlf7CspKG/q4kdYjFdA7jA4k4EKF
wpSICvted0aI/7nSopbeog2BlCJcTZQW4ret6gOgj3MXiGYXmOr7kA+ANZNhd/tzlqpeGw7BgqiH
KWUk9qGQDVtDIOirEZFvmD/ue4HW3Z0pB5/HgCsVnpnXHCFyDQiydOXOY6Fv6HfIzqRcbClR3QTA
wULaofJ/MPogjbs0BLar3xsPVtCPvOhATsW9nskAr59qvkmy5P126Sx9wKX+P/W82UjzGqc1JJ5F
hm1rI5szEtERRFRV3R6X/sn2vvdoPdzLE1CxMeSdfPIdeVlRV82h02V7Yvy+/YKFdqTfE6umU2mX
8Rk3ZgAZIfzuZ8Dod87XdrJLBaV17ASKXsmYjc0a7p0r3MoZ8o9o0201r3zA3/nhyrzxF5zyqSpA
WKazmU88dgEI+wqbUfMMViPyA1KbHOBDqE+uQrDODJ4GELxNlgMwSjMcp5Nkg5hCY98aPt23TUH3
qZe7D0UCk5hhdVnkEwvhyhK4mXDmDBzpklkHaL7BGmgQSz+3RrfJnGZ8nMZpOAhsAt4xQ9nIsOrS
++z07n8uqfnUgQY0I+w9xXH35Lf/5Blpt0hyvq+F6ZfTNcHlQXtRJA5p8Z7I8amA4nHuGSILS+zz
breyhWFRN0MbBsvzOS3BHAgeua0Q2oiLYfPRGp4uxxK333FpUVfagX7tLLgfuN3g2nGdIyS4b5Fg
OTL72+2H/4WhXHu6Nt6CSwfoHa1wQQDsyKElXb7JnQFSva6n00FMufyaTFn7ViCOCNG7wAPNXVM/
g4hY/56amu0AcEXoGyTXyMm1YC0JlVV7SCJKQYC3BnZQzPLqXePU1c+09xBwevuHL/VvbUJyWN4D
Xa38E5JE/lSeTDdQhG5Hl64sy5eer5UL6SoWzDIB0cYhzV7AdrA1kV1zIMRIVhrP0iu0mQgBDPNI
LQqzuG/s0v6S0Z2x7wb8XZvbZbTUOrUTnxz3GXnp4gUIrh0OE3ymj6x13mTBh7BhGBxKZK7eN63q
lAkYcQrJZkxMaj6nzgdkmLjNW2MOLH3I5c8/DYVQFyO9KOl5XLdIubKnNAwIgqqCuEj+l7K1zrzU
0bQ5SaKkfNlh8kaV+1Hi53HP6Rp5c6GydZVFYiruSwTZxhIQTUv+HhH85Bavtyv6+haD6myAmQae
hVQcHuPaxvmfWRXyf6WvcNkpW9rsEPZYlAilLZufJpnAALv90uszIPW1HgKNEQYBB4voWjURjlXY
BsPIHjTLxyzPvt5+x/Uqob7WRWZqY8A2Afppbc8CIVdWCDC46zbFprpPEMNS2yUgL5/MAQHTqV9v
AXzPttyCh+n2z79e6dBu/7vdWu5gkbqt3VMfyM0A2ZKbTxtknKxc2Sw9XusWFDZho+ycMmY9CacS
Ic5zuaXDfU/X4Q9F3U+2ja0xOLgzQlB/FRaw/O3LXSWjcx9ygnWs7IEnJt54Yon3vciHo5mu0Y0W
2qYOfTBJNQqvoN7J9l6G8p0hwUkigkdAfX779y80TJ38AAquyEtpTTFRA46mcTxNJLButx++UK/B
5aWfhjvlB6lHS2zfUxdhNtT/pjzIzEurWDlMXCodbcso62QGvQClY3AJYfwXDzqQnP4pqpVeu/R8
+9+/3+UI3UGm/BwjLDNBKDUpXmb3qTTKlcK/Ph1QXQSVda4oDcBPTx7OLcNk9B6MzgefwSweEeP0
gkv1FY/JUkVow087pThnNSowMrgwI5p7e2KpMqLzGrRnoRnpmijEW0DEhuzNeICwReTPQPLd14Z0
zZNtA7ncEWxzmU3tqAvmY21hhMjs+/IBqM4pQMpkxmGAQ2wCBopXMVppVNfudBiLvt7d1Q901QDl
EPvz6VL8tHv07f5HzYsfiNReefxCM9K1A6VK5xYengl6fD84zIpUm8Eo7DBNu/EEkAbCyGj7cftT
FrqEriIoskAQ1gPqFpRPFjOBEXnwkdrTFmtHWgtNVecN9HnXiQCA5pPtVKFIq6j3/VCAnHD79y89
XuvSSVo2LrdAurF7L+qABe4pwDbz2vHSwuP1S+2kl9JLOgkKM87mENBKS+wwQEtJPQTV3P6Cha6m
32pnzRCw2bHKuMWOF7l7HAzV+56sDddTYMPAHPhAfckmCf2e8Gg21sbqpZ+tjdUFeLce4h7LGDF3
SJt7M4aft3/1wppRd/rmGS2IZWRYm5j9C9KgH8dAXpLuJXKPpg1JhB3Bkn24/bKl+tXWioknWFbn
RROzbLRwmARTe94JY2N2zsrJ23WRJ1Zz2lgN+ZS0aAXqg0Lq684VXhpmWZeEJRC5L23Q0wMy7KDw
ZDBwszElp0q57W6o2bBhLgNlKSnlTvmm24eU1f7RxYHwpqA24MdJmtYIsU7L7xgZ7O1QIsYSKyO2
6WQRvN4uoYV61i/4hoQjXdKRTcyRvLhrIDbZwjnXR/c9/VIvn1YUCLvL0C5pE4PqHfl18z9uON9v
P3qhanXnpwp8mEo4oScq0p1j97tmVr8cxIzf93it/YOtVDtOB6cyqaAXEYARwMlENnO3NgUvjMz6
FTQt2gmoGUD7UuC2EAmKZXoIj1noDOlK4S+VkLYL6IE06Du7AM/VJD+NGqiIzqbGpoXrd3u7kBb8
o1T3czNWNEB+O5jKcO4Z8ZIjzhz3NDsQYgqEYgfI9zNUsQ2UyE7Mmizk5WbefatJV58aeqOUEFNN
MZjMRYKkZue9q+poSv65/XFLFaSNHcAaIq6m7ptYjjjotBBDu6FtDVVx3fg7r85XVgNLr9HGD9ds
ZJv24AbkULB4RZjkbGPmD1lVr0xAC81AvzDtZ5kNTtBjLwuZdwtnJ/3Ds7Xpf2H40G9MaWD0XZHD
E5/hMH0CVJIn3UoPXJgodDGUr+hYVX1eoX7hU/MYkOaD5UKJa+DqGrI6hVjmIBm/yj6fV6QnS19z
qaNPw1UDN3/mt0Fw4paXPJtukm6tXAUrH7Sw7qOXCvr0dDIkg2F3PDkFIzBrNtkk9AUBPIiKhER+
XrNjLn3D5c8/vSVB3KU5ExAQ5sZwkc6lkFzT2St786WHa6MiaTvBe4aHd/YXxwh+Q4z663ZvWyoc
rTcHFvINijarYgFFPTC07gH7WjNCkhAycZPui3DvY2VSPaEoyESG+XqucXYuz5wMR2X4K315qXi0
vlyYijgBr+HYgfQz6lo7CTsv39wuoYV+rAcTDU1jpAgIBdnLhl0BSAM6nd2q7KZQGMWf2+9YGIz0
DCIIshuGfIbkZGFbRfIGqhO48pGZu+ozX3rDpf4/NU83L8uqrw0rTl1gEDmJ+sw++eD9ePzj9jdc
Tpn/e7NA9aihFIctMx1HBEi3EmibzhEYlBQ00xPY8xTK4kaaPxEW/5H091H/qB68Yky9Ky2eiNiY
kzSIxqztkImnxHhP1Vueo01FlS8lK03WnobqAjPA6tJDtllYybVQqKu1ghdoDXcq+q7tqdOcVDlv
neCb1VYRYU9z8O12nVxtu5anJ4ykczWMpCTtSWYPwsRGkf8E62tlnXO11+Hh2jpHjJC7gVzWnqxM
lI+9YbQ7mEDWut3VaQhP1xosEpnmvFBKnsYEIR7298wyIgaPU+/tnGSHrd3KRmLpKy5V86ljBD6y
e8Uo5KkKAEhDdlMXc6zJd7crYOnp2tyTuoCIDjxoTjA9dU8DE84Jcc9ri+WF5qMnNJmyLhiUU/zk
m8B7Gy18JE1zxqVuA4q8v0YFXmpE2uQD2CTcbPNUnzgjh4rORTR7SQFC2/jzdiFdHTlQ1doc5HqO
6xLs4k6VjTyyKWtApS+JV2zLjmQfQDe6kd/UH61CMhmpU7nGPFxqYlr3JqWLGF3BAOOqOoA2iwFO
hNqLmrkCNtPF4TSSkTGcGf5d2zJ8qNbdVeJbouM9PQYmQHes8vttrexq5fRyoa3pwjMHmTdFISd+
kkTIMAD841jXqX+4XUlLT9d6u5QISekQtXyqvIxtGwDkn2jgiBUF2PUdjQUe5L+7oeP30mOSe0fS
jr+s2RlDv6TPBRFfLWATQsWbY9Krs5yDX9jLrtHJrq5+8Fat8+NEoDCCMStPCY0LuM7dDqGq5Mme
4T2HQuV2yS30n/+oz9y0F0VPOfJgSPo0coQ9hEFmVI+p360lsiy941Jrn0YxVjeWMt2xi9PsbUx2
SFALg2ZNtb30cG0AAHPYnxJi1PFos3lf20hCYJlTnls3t1fKaKl1aUNAXlaDpB3E50jyPHfMPQYe
Wdlc2H+vRf+zMkEt6/28hYgaxuzgVEL8YABKJMgTScCeDKUohmfkebRRzWc3AoGv2jMHKSI4Duhb
pAWwfuO4RarCVrQQRGW9/Y9vNmQ4T3ONg4PBbNvmAJyb+KqwnDWjyebiF7IAK3jEq6p5JDaUOJVl
UmwwRdtCllsgfAvAH3gbfD+LO5p60dwgHHpKTAazcBC8uGUPJlOT2s5TJ9xpV868ezaTgcdSmNm5
oI13IlZeQ39B9kXT0i8CcIJIDPb4TkBk2k0KIKE+I9Zr3+Lq35yBCE4ciqh2R6n0laeZc+7G1kFM
go1AeEu4Lyqv5sgKyh9BxuCQ7SoB/jsgFSYxzf3sGtYvZyyM91HW5IeLyKpdZuSO2hnUSLemK/2v
lt3S6rGk+YgQ+nocnvO6th5No6p2JRDVVtT3BtbmecYnG7EmfvFAmen5EQPxYdhC2eG+ZcywkFJl
WFk4B8w+N5gSNhiZO6A6oTwMc7fISYw73PpypkG2VVtVjzTl7dfZC5wTRZzjUzLZ8pwQKbYJnLiR
qid6lqMffEG8vXvsPAxYfU74OYEv6bVBCNkWeRF5jGwxsof1xvofssCEwA0WcmTqHOd+nDbFMSuq
bpfwpPwppDK3Q4DYeQ+k+aMFNd5egve+92Y7PRDo9T58x2hCllK2LSwESW4hYkbSq4TSmIBN/05B
Z/mOXRVUUGYrAe8eEeMed70CrtnoAQW1cQOIv5pYOG/Pnn0X8q/QmMnF+N0UWUjr0s0QcD8Fh7Iq
0fiAj905RWfskd6iAD6Fcbpyk2Rvd0CYOFQWR6tPrG3eqOmhBSY9rl2WPsoy4AdEVATQP9fOxqwI
mLzY6KhvftmyYzDZ4xfWzv5OJS6ot6NN4FSFzw6ASkAzNwjzTONcOHlUSShqM1YC++aa7lZi57jD
8SCLPNooLBLkvFU+VfZ2qodkA+imFxlDbj0ZDWNbeCnYGQnm4z9dmWURZ2n7MAYWNAYksY48q1Qb
tRZY5OlMXBlid9HvXFeOO4oT7H86IZJN3ZAuhmOtRY5qFfwO8rx+xJmRSnFki/gczLKqszYFjFBD
NNZV7YdlBYvOBu7Dog7p6BQ7e/IpALbu/D4T297CHO+8ANXiPIKfkm8HF/bpHNsbdQqgqTEwSYh+
W2apeewqW0T1AF13DV7gHsbrCq6WItsLBMtHWFTmO2VI/gLPf4FYUuBxipR9ZeiEwB/7HmALuRXP
OBwMx4T9cV3Xw8ZbGt6GpmLaFP4wPdIh8ZDAPluRN0LLL3qY08fWgjZPqPG5cyefHS0y+L8zUJrM
uK5H149k6ZN9CntZGAQT24xz7zvRkNhWEoH0a4KNSZufcNK1Gz/nRjh4WbnN8p7G0FUNu0vXCmTU
BlCpI+bIqUPAfz8mDlnuKMfs2BCnBb/XbXAuV8EJ4PXqH24G82s68+ognFr9Ht3OPLt+YX+IzhiA
z63KyC0QWpkOYn4qoBuKJtLUiIaxgnPGU75ngd/t5mRusCNNKWmi1B77M7ScVqhoZx8S6iO7Ni8S
b2c1tVlckAmADjhV3XzYfpm5RwP/EqEfjLicZ1wiQj5Tdn7uwWqtNsasoFrzLK93YuLhcmhlVbQw
NepUHzlMVmV4QxO7CpAvs/THTWEGInREke7vWj7oysm29Rye9lUTA662g0ojrr0pRl7TfTsUXTfp
EebBy4rbrH5IwHQo6d6RADne/u0LGxRdL0lJDi8KT2oQ3F4ztKspoZt+zDY5aD6337CwcNDVkgTp
Va1XsCb2jOp/fRCcA+qvHLot1K0e+sYCICw4n5IT7Vy6hQMCGArTRTWsMjoXikeXj+PEPunHskxw
ZDLunSb5kGA2R2U+/EyKdi1IZqGEdAk50uoJaItDF9uqfvYdHwcy40oJLSyfdfaYgzBQo3JEE7cy
ms6tHWV8g6WzJ7d3Ve5fYM+nVW0vuGHMNQVjohY/bfuPk7svt5+8ULe6XBxO29LspNPEJc3CauBR
aoI5bqxt9JYq9lIXn344M4XtY2ZBqyzIl7ybDzQTu6SbfpCarSxrl6pVW5S3qTIG5SRNbPTfafbq
rRGHlp6rrcSrKRAdAkGbuG7mL2MwfrN69vV2oS+VirYOlwrnqBZCEuIWtG7bfyhScQyKx1pNK+1l
qVa1/XVf5UhDylEmWCZz/1V4+5E+3/7tC8WiJ7a1Q51Sa8SjQckpmxd7DSu9UCa6jrbCHNUxg7ex
8l5wILBDpNSm6pM9hTz4vl+u7awxwRtGrqwmHrBpDxHbDnwaz1daoftXmnllc6ULXduhUWxoJmSb
JdLYgf/Kvo1F5R+AKuc7ZbF8+3+cXclypLoS/SIiQAgBW6AGF3Z5dg8bot19m0kSkwDB179Td+XH
NUWEt+4OCiRlSso8Q1cTvXOcrLLC2Smyx6IaRACAZ5mGDuzLx30DCaTYaxL1YIDrsof1jXU/sNT9
ARdR/stmorsrwdR6metMBFmKwnI96OxOoNR7znVf7aDgPh/srp1PA2ntu9ztIC1hAx9GglnKGqLw
/WD9M1UGbAMK46/Ix+m9BhEwUmWT88jU3lhBppbSDIdsr3sxWQ+PYqg2wTxICa93cd/l8mbO5Xij
GijOhfVs6XOWkcILtd/WmDZmJiEc9+adnN324Gs723szpU8DUQ3A9TBRw7MlcLnUHqBeD2RuZGi0
UFMQOTpuGhHMcbpDzwyYARYz9G5srm+nRMM1nsGS2xrmAZqBqQbu1mAZPIPZWN6h6TH/aF3c7NDv
r6EKNAhxzIZuhM2A4dg/4f8Mc13U/fWe5w2uIH5emEEChQOo8qfJOZty/1BMVvE0w5E3gqRCaQS+
W2R3HWIVMkSNYHcueuY/YcBZhZ7i7rHInDZKncZ6n70MSk5ktvZQArJQN9P8ZcKJM7Lm1I/A67JP
uFbbvy3bKGLfH2E0wHQVNW3KIEZdSLrnWcNxj1UjZAQs6FbtIeydhtytpzCbqn9y3IF/TbDCOgES
Q58EM+ujk/k0NA2S/ygYYCWkNdw3yI+Pz1R3OYRC8EWRI3Kcq90BAFz8NZBwWIwL0TuH0k3dZyep
ehx08vroSQ0h9NEyPD8SDc1+9fCsuuy/3veGdJkXZDWDkZ4xyOFMk0IeOAwnAygxw8A6F/U5yavk
2FuVe1NPsLiNdOKgMMqT1o7xmoUVs9TBfXEoDVGFdeWOcuemJdwGWq+UoHY37Yk5jn7UOu13s1XO
+7JooWIC7Furgsqn3Q9iUbiNlqr1v7kIqSEgCN43X0t27/ottlvL4T+L2fT/KphD/J5QsbxHGbAQ
AXFJ/coaqV8sYUIvAxLMM987tsfgMu5SXHj6tg6ABe3OqI50p965rIDZkZDqt/2HvmImPKk1C4ei
hihL6Vo7p81baHa09hSQajT2nZzqozkkTSRpwU+2oIAcVkwbuL/a5an1AG2hVpvvZdsCT4lbWoSj
iIPaRNMeXVep2wFxvYO+ToNblaMPTjIXO+E3ME5o2eWSAesMOSlcyOFycSsJPDRs1xwPrW75sW1K
Gk1Oq6C9V6rvBCJnFa570oqGqboo93V6eCxgTALn41k9Xq4VD8hUMzr+1hQ1qrCBwYSVCFauX4Jy
yJWEunxSPDF3dAbYX7Hp4Fm5WYVZ6jUw+CDjXidzdyetjt/gRgghN9z99xAl139SipSDm0wfdCMz
8FyteDR0df2aQRrgJ5cDRHOrYrgTJnN3xBVAAxoqBXoDMnCYcqHt5lF4E8xfS9vuOrjnwjjMsBiM
zHqQpNDpmkA3ol7QUCpOZcPnEOgC47HpPe6GuEh7h1K58y9ijvw4Cox8YnP6vRWjeE/BztlxJLxD
6Zvzc5klyZs5u8XNYGVtIDPfqVFsoPw2h7zzIxn96ZzTWTxkVQ7VGXjsHfVQ6lNiYnqbgqX3wsyG
I2AuMCcnk3E0AVnb2Tpl756hVTAPs/rFy2wOktw202BuGhamicqPblUXu6kzq1d07Mao7e22CGXl
QWoX2XpfU9u8K4nEKjdH3F6pMYldrWWyLwo7exVTMoN/5Ghwf7TNg8lsRhwNGQzdSxhg9ajYNjBq
gTlSnR6hSd2GcLx98aweJG8Dcv5FY8KdhXbJTQU9uwevYmMXgGjXOoH0eLNvYZMQW7TQDy2oPwEu
19PZ56y8K3xTi4hql+5HareotLAM3CkT0zKm9NasRv6SJCZ/6TmwdJYpnYj5JH+lpuIHh6Vl7AK5
f2cpM30UY57vhWz97tCRSnwzOkiRhQ6CD8ZaFHUJyttDgh7mb4PlPep2tAvhMUiOgPwkewjRIbKF
LEMuEnaUHUBrZm4MB8xuE+RGDmC6ZZOQDzjL8pwn5KLvMN/0XWcgckUDkOsoelQ6R/etGJBP8uJS
zpcUdoOQVGhuwYMavo010zhBJTCRqYBmmDRLwwoE2m81Nced1cNO3ksNdhhZl34XyVTeWm6fHRTE
mJ7qXNhRqmf7CCkOFZlwWg9SV8F0QpLuBAMiHhuUAIrhEm/aQcyQ7hPhz2F5ceq5VFStfSNaFQ75
yE9jpu2wmdzkMPoEhIcKucXw53erY+lPMLX0riKGs8M/JkHuAUEC8FOLddV6keP2/m2Js9Q9/IJQ
q+1Mo/2TcTkeVdo6b9h/SJzI2oaV9IAsskeH48UydAN1RLMmkdSFHsE+yfhDqUYNwb6ivUWVHVTu
ZCAcxbpG/UJ80O+dh/rsPFptBB/I+qkZO3KT5GIGXZoAhWhB4sFP7OkJ7ZNjBjX2A05LA1ZOQ28R
u/QBdjPst0KdD3pwZrFzy6o+ouA43Pvcbo7QcbZDaWf1QU+ddzMoMu1b4RjnrDZImJTKOONgah3h
9TNHrNPdfePVyUNeFMZzU5LmVUEg7bXXSoKVUj9knKOSWnUqwtaQH0wqu8u23t8WUzHvNZbkkXaw
u7KtZIisBNt6S/PulvuN9wPOQW0esUyLW25J/04NrMfFqej3ejLUn6FDGQ17e/5QQnH9fjZalNZQ
O39rqkr8KlH0C2ofBbUJzlN7kZX2I2ii1qNblLA7HEnxzwRD3b3rcS9WHXtyyqbY1SnND5B8q25T
aAM921Zt/Ensij8PWjgHsxxtvW+Rac7QZXGhwWbBFoJa/a9+8shft/fICR+sd2ab1DdZkdAnFAv8
gz9P0yvtwJllmtA/gyOnH8CcWztPQZoRrSgZdFZN7pJZsd8yUeWdM8j5NUUxNkVjTQ7PxQC78XqQ
6i+2efgZAmvMfxV5Vz8OOQN1CbNLnlgJxahgFJC+DLoyRenQh8qFiWxV84sqjSghOT8kEoWjqs6O
2LA71L0sKs8Z7upn1Zb+WQqjv51KSnagbhqvjYYdyQjASxPMgLyiFDhehD4gjHuCSlkP21GeuQAe
MW+Mem3oV1AwK6z1CgKsjeiirHOGBzQtskDWOIJBqtZE0ZOTN8sUqDxoxg+QvIPPQQYfpKnj1qMc
NL+DsZR96LiNnauo7FswLqArLb30nJMJHRLgGA6u8pyHkiTla6o5BVyPtcMupSPEkVvjXwVS+9dA
bRc7iAujM41C8bHVlf8wKtOOSmJQlOt1Ne0wfv6fJCvcZ9St9aUdo3YOI9Zt0YPKD7lTkLz7wTe/
e7kCQ4nDy8z3CbnxOmbdDBeREkweDBKJTNP7MjdFG/DW0+itJFZU55DyMyyHPjkjNA52BOX0+7x3
2dlvTXPvFOO4y1XX76qEpvdV5uRngxn5fi5694+R21WAUrZmAZIDvTdbI6Lwy4JEp1s8uDhwngdc
y//pzIn7QBHXJKA6hfzshFoxcxrwGJO61XcpjnqPXAOxJxujfOwMn9Aow6kKOV7VO1gyHWzXZgdo
bXsHm07NI8oV9IUUrRHCLGLeFbTuD1OLppJuoN0aZI6BY7uV1f/0taYPOc9MCL/07GmCnRsPp9TO
nYhW/pZO1+f3bLbkHxLZosCfkBo+KSLspu/oDQZYTNfvq2sPXzSa7dEyu8y0gRNLIAhRnWT7Zyg2
2syf37bZkobWoQA8GRrPVliHSP2h7QZeGvVqS/X48zIBWxLRqoqYsPbxm3hyjJOXZfeu3mL3rj36
Ml4fakpNW5s0aQ3Ugf0ztn3cQDZqYWsPvvz9w4PnuaO+NgA+Y6Zx6mfnFarC79fn8vMCIVuKoeZN
g9YCrOBOUM0+wfr4W5nwW/QK4BMw2S9NUmx8wtqaWRStPPgAg7uVtTGKNBGQBKHNzkW1v/4Ra4tm
UbZCfdbH3RCCQTlOmiPkrArjRwUvitn8muItW2pwT9UAlZ3sIi4hcX+0wQVQZXs/msMWO8y6DMR/
qzRsSTzrDVYa7YA+BeSyxA4XqDKEiOkr++GGcCjEcXXaKgit/NAiehOz811IeTYx706FgmY5LkiO
gXTEv8T1tNiSiJYbfPQ8N21jz0GabnuYNZPAInNQbsFJV1atd1kIHwJCdd4ovQYVs8SFO3dlpydI
VR6h19hH5ujqwIUJRnh9ba0s3CUnTYjSdusRuIdiAPJpuOeyCkvx82sPXwS26JVZTLBViJvkWVJ0
iZ0O7ntfwrdjHhYFaLPzjMky2KWEriIj/8YoxGmM6ktVS7aUp4WtSQGXAgsHeq/fGTikd8DoXx+W
fzsfnwXDokwszQRndNQboUfeoYSCYvccZbqEAVBmDc5Pr+XsbfYTWGJy3orzrGSOGyOfbmAIzvJd
QoGO4IR0ONOOxh8t0MTPgF+D+A/QFlk3bglGrCSeJWGdWIWpS97bJzVDYqQMcySHCfgKRr7UvWRL
vnpDSI1Gv2edEqg93aalVQW1QfXPJjf0xmCvfcOi+ixSQkXZV85prsywGm8kLK0718YV5Ct0FIv9
h0poOqSrtU1OrpUGXvmH+w/p1ATc2Bijld1xySPkheulfa7pqXVRyihsfswb8X59Ja5E/1Id183B
jJunnpyK7Kmr+nD076dObqSWtRdfxOfQdbZrjGxG8hoeQaB+pKh0XX/vtUeT/0+QQsyplfaopKWj
9w3U8hMvRfS1Ry82W7u33VHXipxwb4bHr4uiWmv9uv7steFexH3XQO/DNQnuhP0I44UWnrVYNV+S
frPYklg22CrFLR8LBRV8n7tRjVJFPjzDk2Fj1Fdef6lsCmvTvNPwaD6hVBAIhjVu/ejYxtis7HlL
Rpntp0DUJD094VhfoEkBwahZDBAGpafKkX/bEg6412dhZfEsmY8pqhMT9Sw42ie/gPEIE7F1+F7J
Nf8xCnVz1At9h5yArlV7tIzE0cf16N4acAsVeSKKjaS2NhOXT/twQJjnqfSNKbNOxPP8EFysAb4e
2XfX8PfXx2jtBxaxm4+OFDVpyAn90lB7L2w+Qyl64+3XhmkRvX1au33NWnLq6rBlwKbJ70XDgqZi
X0vJS3dLsBNdDyW7CVBh6UfdXO5k4uxxtn1t0QPZ+Iq1IVoEcyWFQJ0KwZx6IlT+DJmvP/68ZTe0
Eg5L8h5quXMB1zksJfk2NShoHWWxd0gFD54tab+VaVhS+BQ3NCytfXISg40eaRpVbbZv+9+4oG5E
2tpHLPZeOEhVjeeD55MonJ/SF79I7zP+twAfp3Hp1v64MhHO5fs+BENnSyjqg7J7A68TnI3pYJ98
P29OGdxUXkspCHTx4agbTG6Z74EFGndGkaHfJiWqOajDAxpWljD2nQtzvAUBxrqpSqgpGkBHh+2l
lRUgGCigbwOfgQ1zG5QlYVZhArkEO5e+vuWQQuCwbKu7W2iOVOdisMrQqxznCWVstnPHYQo5Udkb
Djg96plgGI8BzMPUDdVlGRG4rzuBNZL+BIzsgBGq5Kl3M68/ov2Iemwv6NGpMvXGSJJsXJPWpuYy
mB8Gzco8eIFbBUEjpwRwstz3UoGMOH6vAEpsh3aj3rE2N4tEZdnQh7Inq47b9tigOluA2QAY6UYI
rmRyZ5GlUOsjAxyG69ip8dK23EPwObqeANcevchR9qy1hxI26PHpk+c4wbwlg7A2IovzhcrzMmGg
FMRZ+RPKEBFFp1TRb9ffeu3hi5zUiDFLe9jQxgmF5Eee72r3hTlbGporT18SEYd5hsPYxOcTrGsM
7UdG/5ZBvvH6q6/4nrAlBRHyjPDn8GbvJrdLycMC5OU9M2GCIFyIUDqlgkWI8FE4Lj2cbEIvaZud
sAYoI3SdOve+8vd1NoG56Bj5Rv5a++BF/mpsYO6bYjRPczr/5GUBTkhjHgz0iDcW8NoPLFIXAcLb
rihSsEHYrsufwfyJ6u6f6yO6soSX5ETLMZO0uhzXhCuPjW3/crr679ceffnJD9kDOh6tS/KOnCDY
GibZg9VvjcjaSy9CGqYcihoDRiQx9RRAZ/HektrfmM+VHY8ugrofvG4o68uxya3eAPZ/tTt6KDyI
UhUglV8fmrUpXcR335pMUsCBTj2hQVfcgQUR6HKLCreStpd8zYQzoHErap6m5p3PdFeT30lbwZeL
7Yx8Y3JXRmnJ2SyADM88IIlOnvvcej/LzodCaxs6eX9zfYhWPmLJ20xsYYMRQ6B80JTNL8dk9JhL
00yiooCDoVGUvYVej6vfr//cyowsiZxqrjtPqcI82ZTFZunsykofWbmhFrGyYO3LKH4IBQv+n8QT
HJciOgTS+WnRjQevvfbl7x8eTAEmh05UZ50m7bh7dFxip9MPWWtsCRSt/cAyiA0CaQVRmafcG45z
3sMOL/Xuc8vaXx/3tWlehLJTzBUBiQ1ye0N1N+A0FTSW/Vx1uMzZxbvLyNeOMvYiqqVipZ9liAkF
HYpdVvM7t3AP89TaQeYbJwYhlOsftDZgi9Ce+mKQpWPMp1lN8N4wnWTvG767c7igh6/9xGIDz4qK
lHOi0rji48lw6Tc+JD9z9jUm4H+sAYQ/WsLJ0vFUDvUJhbcIzLNXAJE3ct+/Q/5JYXPpA4AucmUW
TYLkR0GcSTtj2OfAK+4KpcDwGAEOrIKZ6+KX22krxq24frVwOoaMS5sewL/LBVwSWR/V0Leqw2yo
UGcAuP6oK+n70AmGBFyYg912Z8D3B/hLI0O3QhjqvrSp+U16JHubZ2f+J837am/3w/gI5jA5ORZw
SgWph2iELYEEPmga/1yfsJVFvkTQtyMHrjSxmxMsenmQCXVXFt6D46t9MQ5/XTvb+J1L++KTkV2C
6BWx3Qwgk+akK+MHXMNf6dDeZJo/COGHrNbfR+puzOJKRluC6gGGBPCmTlqQ3EgEQlQaWHxLZHzt
2ctsOeoGScFpT/7cH4veMwNlzexrp6klpn4SVECNAWIDoPft7KT7qfm4N3Po012f60/jnzj08lEf
MnIGEjoBflPGJVBhsOBx+3SXuQ/XH/7pyODhi2xpWEOedoy38UDK24IUO7Clfn/t0YsE2ftQz4Eg
Pdwn7AyozLdJfoXwjXdeJMQcGryiaKAHi2pk4Olzk75ef+NPjyB48CIN6nEwS2gvshMZ2JtoUx44
PWhiEsA8c2y3ZE9Xhnx50AElws0rcNxi42Kll4OwNV7gIdc/Ye3hl0D+sFjQ0ZauodAR7mAnGmSG
9beHp9/1Z3+qV0Cc5YmmAoaW9wb0TiHCFc6lc6alcQDj71b29hkSXFFPun2dsq9sSvi5RdAOsJgt
jAaol7q+8xKY3dp/4Xy+MU4rQWVf/v5hnPwEyETTgpJYM0k0TdzQBcbFGL+oirRUqDBqpx3NyoP/
rI0hkYDFgIw0bLz7yjK1FzFLQUqfIBHhnCwgGAVwLtZfpwNfZWuBrj1/EbiFacJq12wrWIecq4s1
MHig3pPZfy3l2IvwneB+3Oe8q2IQHOAhOrl/HLC/ri/RtVdfRLBwHHs26cXDvIBNcOEA0QRMWRF4
IDbscxhDXP8Z6/Ku/9kXoSx7CZEPywfexLqARTU8tWUDxTaBPR+0yzw90NyTh1FJaPT70xgbFSEg
dljlvWOJAnU8wyyi6++wEunLQ0/fV5WtEJInZYin4oKOrNTL1x59OXV8+DrYeJO2ZNCht0wtAbgZ
QwP48o3V++mRAkO3CGvaD9rPR8BKpjwFPhlMajo/5PoHm56dHEqr8OvY+KWVGF8KUPBcaeV4FOph
FG5+ygc32WxARq4hyr3xEyvrjVwm5+NIzcAkmhOhJ9+B6LApAg3EHetebPl0fSrWvmER64DeZJ2s
sCWBRYyL0rcZSFRr3MqCa3NB/v/1mTRnq6EKKmgFqfbpZHX7DJ3qI+e0gZZib9gRQMj5Dce9+M/X
PmgR/SMMvrlU+KCa7kZQPGaAi7geo+tPX/ugRfw7bZlMOkHzzoC77WTSuAQva9IlMMkFHGsBY+27
3tr4sZW5WR7C8yY1eGJCWJ9y7SP803Ph5rdWkX6pEEhgKvL/0wOly577Lr4mSfgBp7Rbs2shEfDF
DLI8cWs1WromAMDZlbnjvrcH1Px4fR7WhmYR5Gi/j9boAQ7VKGiKuFPYT8++86UeGMbl8qsfos4D
ghuH+BlRN/MdgVlCIeFVX24oY63E9L+V4g9Pd9WsasEhOtiIAydPvf8PWiRdsfXya49fRPTkJY3r
+Hh5UtyglffIIBcxMWgFiJevjf0iqLWlWkaB14pbsz8wxt4m1JKDyuxurj+fYpQ/2fv+3RM/jE+V
TVBKrEwLmxuEB0YXQgletnXGXFs4iwAG2yBJJrN2Yzfj92K2k6AZvVBc+OHX3/7zgj9xlozWyfC6
zueZjJmG/o0Lb6kz2kVzWM3YJDpq+0HnMT+GOpeGWAZJX0XWevccNue3rivEPVMdHJItGDl8aQ+h
S4+FCbcYDcA4jaupcgJmZ791bT4Ug3s2S1THrn/256uOLr0WWsHReLQ6J25EEoDJpKenXHjQZ/9+
/fkr87bk86Ysg/Q1NsDYNC6l+T9j2UUuHPquP/3zt3fMxYHEvZQfcaGh0NVmgYCejgcABSDfgUGc
jQFaWdVLRQsPlWGWpj6NlTOHuRWN9dY2sfbyi2zlzCwr2wYvz1gk6I+mhKLbe7XVsV97+uV7PkQj
NGsHUULGJpbsnbavFQG1q3kqnQ1Mw9qwLLKV7MB2aJKExZDCQrdYDHUAFNTGLrH27otM5Ui00DJy
GZlRBH1ya0Dxuvd+Nc6wkarWVuXisIFgBgfFLnAMYCIsKczTq3MqtpbMp0U4ZJJlriKd59vNRGKr
AvuI1u+QOwPr2AfNx2RQx096tbElXTb8/6ZcuiQemGC7GC34erEPog/UM0DyfnHACxugw0PzX525
1Qf7fMDo0gynafPGHJGQYgdU9maEphHsqCLaz2J3PZI/X090yUTwSl7oJsOXmDKDydtzlm8koM8n
gy4ZCPXE0wzFfRYPXtbd+FUDetAkpt3MG6Duod4IUqZTbnzF2nwsoqLsElTLnQpYbDSn9wkroQQk
gX+dajQmuVuQPBhSrzxmc+Y/XB+4le+jixRoWu5oTVxYccePVi8PkqbHun0Xon8u6414XJmcpZRt
6sy5pWoAwFuVmyDpJHftLLe6oGtLaxHsPemZifukG9eGCrqKHRPItVNn66z8uZIioUu3HK+023JE
7yJ2ERiKV0FrHmqglsYUwp3ECFJ67xctCNxbaNCVkwRd0hcKm9GEwuwvJjmYcO57Pr/X8ELVzZ1Z
vNndb9N7kPk3s7nXOH91zpPCZff6YvhXCeaThLDkNXCpQTmT8HSpiQqzVrwxywpKEFjgtJwe0ekM
mKFudJsdALD5R3vzGGUDezGz9Ca3nH3ftjurcb8klEjo0oSHqt4Ab6yx4iSHqfRE5WOZVzcuMEnX
P3dlXS6pD4OpIXdRSifOLDNOlH0E0vn1a4++bE0ftk/hm8rJEhcd2roNC10Ebr1FPvl8d6NLjsMI
TbKsEcqKOSxNCi8PjfbWGcoA+r4bZ5Z/S6GfLYPLgH14ewXKce0g1cUFtfVd1nblAWLUUMNUCcQB
QOoPp7o1ji36B1XQtFZ1NGCjeg8lOXq0RqajtIXmFViWbRbyAjxdgHk9QISn8a8/wxNwdv0c/hyZ
+Sw9y3yb0Wh6Z5YBVYWxUun3tvHnmOg8+2HDfukxB+NcB6oh4y3k29geKGnjnFquAQGFJL+rBSte
koJB4ltLD4p/X5vBxR7vi3yupmJSseE3kGLLYz+l/1x/9Of0ISzsxQ6vqItyQS/qmFfN8CeR1Nin
EL84atPtfoPZ75z1xB0ZTnmVPUBvTw8B6k3JA8Dt42HsetDVrr/JSvJckk6sgXYF0CNY/V0FOJBd
vgnFnj3L3ipYr/3AIjtzs/eobD0nBv0kTGsdSjmHyni6/vorm9eS0aGczgfwdoLMqTTsu66sKcR4
ILn0UA3O8Mppy9HX7iEJ+rWfu2zbH8LCEBMvLMAb44Srfo/66E0nIVaomX4A+PJMx2bjdPx5R4S6
i00ZvtT+6EPnJy57Gzp7KVSBzg4vSdTKuoOifecAsElB6nerAYoipjNkW1vASnZZouKStmDV7CRm
TOFlFLY1OZIK7nnWVP3W3RaOcu1HFgPJi6oxxrK14jL51gPlWvBHil56R35fn6iVVbckscylC/UN
CJvE2LffcoNM2L/82awhSea4XwudJZEFwhySd0VZx1M2veUplNXnIStCO0utjV9Y2Z6WdBbg9eym
1JTEhu2cuVP/gefjllb3ygy4i5Nm4viNWeZijJuu+i2gOxlU8GOEKAX5Ppr14/VpWPuARfCXWYte
m5sNEPlK7/Op2s+gkl5/9FqELLKz1c/GmNiwq4Kb1L7Pwb9n7m026bDPUUUZ8xCd88BmW8O1tqAW
CXuuhqTK7AJyubK6teX0oCR9TxO+ddJZmY4l2QUoH1OqtLbjJJ18YEpM0NO0qPydd9ln+dxSFV0f
uJUrxhJGKbnMIJw8s1gKmJMPJLlTkK/1/WGXOykUr3T2k431+/UfW/msZavV9WhOzBbuay67sbsX
SPnuTPg/c/0lQUxCl+3WUXc1gOm46deATJNOHOTw6g83wm02bvorX7AkCQnGeOcIKA/O81lWd3Sq
nrKeHa3E3piPlRhZEoVMaHBBfhUAapZ8Y+5DNW7Vg1cmeskLmswKEmO0IvFUjXs+Ge8QNYCC0Ojd
Kghi2nP9kxnlxjyvfcQlbD5sjHweacf6jMZ9Pt9RuLsElu6O19fQv43HTw6jS4c06KhAIh0a23E6
k+a5Idp7sO3SeyiUp19hQulEfj+3f9O6dqKc+TJQF2VfVXIjR/OEQTLENKgVucpNdyNctveVLeo9
KYkPH0OBmp/by6Mx2uCj1tR7JM44nSBZNUZaNd4B0r4Q5kq7/k5ULiTJBral0b5yeHEug/lh0CSQ
/mbJnTH2cpSDEX5l8wBf3/6Hx+R41nWC7pKS4nB9GFcy2JJcYBm0FRYEqePaT498VBEBegbXtq89
fZHpJwE5FjuHApAxikengY9W6t+Vov3xtccvsn1dNh5nlkLbBwW9uhZROnwXasuAcm1oFskdvp9i
hIfhFKdNVwaQs7u3Nf0NtyaxsVlZl131syW82G3HyhyzsU6duB+L8pC3EpHoQ4ftG87z0209deJl
liKPUpVDQN6VSTQZdgZ5aGLs65pnEF7vy7frY/mv3u4nL7PEfYle9yD31DruDW94GCaRHzMjtZMQ
cjDpofD97LV23WF6si2Wt/s2pcqJeK9IG7RG5Uckd/k+5V5hhhlctOzdnNrDjQFgxB/ldzC7riGS
+MOnma9QLQDVf3f9xVeSzBL74hPd2wlumLEje+j4sJgU5obw7soKWCJf4BLQOQwX13iUE04SOTiC
QD9/SXYXplaL4BgGkKfGFscgaA36QTHDArnP0o1XX6sWLdmBea7UYGeDHft1dYub1hzAJzf0Jv6r
TMr6puq797njL7IvoR+atLsOrnN9BdlKPcM02fKb5+vTs5LO2CKKoKXvTbLP7FjU1W8nV9CEERFR
IwubqnlvHLYFRVvZkpdcQh+nOgs2T21seI4OhMxjV2YvxoSWDTAHXzu6LtmEBLAtM1MQnkmgDheS
xLi3Cv7z+kitLOSlI2CqizLldmnFSthlkCXjg4IuQfC1h19G7cOuQkg+qIQ0uNF7w76FvDYk6q4/
eWWCl75/Oc9pyT1lQ4sH8o9dlepHgzfNDSgDdtTWYjjXrGQbWWolIpf4US8dx7GDIQLsJfqAXjAq
w1mPG1+ycnlYEmeqAVrV1uW4wvIk6PsnF6KusqSBB2hj3U7Q56+hPe9vzMjapyw2LzOv/AxBT2Ok
eeA9bZw1rJNFNsJuJRqW2FJegH7sG/wyUBUUM+ojUHxwIIAwbu9uJN6ViV8CS5UcjLEwElx+UKDz
enX0e+9kGFDzgzwJxAs3DnprP3M5yH5YuRAMcVtA95pYg29aTyMsDeRN38f2BJvJ+tf1RbwyXEus
qXST3huNDB0vRYF2TlFV7/fOjFNFZWzMt/Wv1v8nO+ySwnFpIriuge0ecr0weZil96iqQhzLBuKk
Ie+T5KEsgAeBK45Z/ZK1Zz2nfsruCrPD/A1OFWoyk1CN+K/wHTL8w0zHIQtnRcSRKgtmV3ZPeKS1
iabNNPonMEbGW8jDZjsqhHusE6e/rV3pRpKR7piXswcYmQMNb8sEc8GoejcohIL2SqG+42hC7kbV
A+oyUfcg85lFNUUlX/qJv5OeT2/6TLFHaBZWoZtV8r7So3tWBTqrI2i3mCt0kALW/o+zK1mOFAei
X0SEBBJIV6B2727b3b4QvbKIRSDE9vXzPKcexuWK8G3CEw0lIaVSmW9hdF84MkULLmG7zn9z3C5G
uUA4TwOso5f5C5Qo0h1so3A15+N4gF6pBxsqiGWG2ZAUN+Bmicj3pIzskrsQZCUe+5kATXTqZggn
+8s0P9cevWd9/iMZ+hOUIcWOTKWJ4bZi75QPQb7UblMnT+JhyPPjTIocwpUt9rQUiTzA5EJD9jYt
TGwB6AISbfEgBduaiAVeAq19XTzMSMePBHu1iGvPwZAzEvQ/Mgf9HZrWUEF3IfwbV0NK96Qt/Q0+
qcsw7QISfllQxEPPSMiggHvXp6gMbhzTDApydKr+ZNF2DXRVDRROSSEsEjg+793BSU58Srqt7/Li
U8eft5YLorSaW5LU0Ogqxkg1aEHS+uIGORMQ17ZtjoFUdaGD5jR5KDmNUO2NOEQxI0DMdfTxNj8T
S9Y4Wg++G/mik+bUMbXjE8wfeuJ8hxppAuz6cAVVwUu7/cxg1nBZHQhYjeaePTHbTocMMhb3Zs48
IHnE8vLxYM7ELPdtkH8FRslsMMqmt6fWdWAtn/sV9NBz822pivnaJYG6EBvPoI/ZGkILTXVTwnnH
A0jJ01cFvLB2TaezX7KaGrbxBNqAFLo64yaoS3YPdVX1pzCseCmoDNwLh82Z5GgNri3qWnIwR/Qp
HaFl3LQz9KDzz4Fa2BpWK3xHzioHf38pOtQPql/GItFHXSkOJthbffy53l8Rnlid9xBXyEGU8sVx
Er8GF5Sg6hlA7guHy7np8f67Fvx5aXy4V4E9OeVH6xd7ASnqj3/3uWXm/vfR9TQFxiylPtXW3vtF
MoX+MM5h+yY+B2WyC7Nz7i2r2YHQNGSYYeF1mnQdFcp8dU2zbYLkxmsuWfC8/wHY2mgmH2lP4Q0G
xUvXoq0Iky/oPJLr2pTThcbxv1vvnRN+DdHtXFTiZbW4p4kUHfAyCnIY5URhtAnpfn2AjHV9l3hQ
aplsMuyHbgygLV2mj5A0GqOs8fSNoMLfSSWXR+7OoCPLjt6mxjWxHKzYQVsq/SIg7NOGnnHA9TUj
hWvZXB/SXhRJKNB/rUN0UAChD7z+0uXhTNhcG8RAkQu6tah9nTL31yD8EBYjIdB3EML+buyl6/CZ
FbBG2bo4f1NQTscT5X2xmeAZcJvBN/sXIRP/Q2suL9SkzmyVNcoZihcdPguMengxPM3tcJ/Wy4VU
1X/bbu99/1VIhgXf4FRkMRCOaG+o12f0DdOZQWjYdSAJopZ53xHlDXEGj8MX6CjbV40U+qr0nGpX
uDW90sZ2T55r+GHqs+oaakHOBgrq5YlXcD6PIMDY7bXIaKS6nn3nSwv/C53Sn63t+xPkdLodDBRa
wMP93m5ApwD2JZF0bwZn2aJYJnZ5M8171qriCB8OOBWRrHgmZe++OC3Lt0nWiz1sAfWmVv4A9fql
OaTZFIS2ojwOYIezn2ZVH1jfjtcK8uN7aPazyHhlDsdd0DjetOh1NDmjSPcCxhUbHnQVJA4MJDUi
iG/qm6oUbIlVU9niIP2s/pUJCTxsD5G2EDYAz3TC7ffj0PV2Rfj/5/DW/fRO1zNkZTJx7GbvlMGx
T/kx68aYpnKnW/hu1BfW1PuhxftfwzmfpoQpHYAzvXRHlkMCWfh2iRvh5hc4QOdesboGufPyVp0Z
51ORHKU+1Mt1Ti5Qy8/tiLe//5VI9EnCugVijac0LQCu5pY+DcFcXUhT3v8I7N/i519P9+dx9rQK
yAlGEqd5JPeuKqFkNz6MAQwWS/FnJvOFz3AuhKyOqrZqYeGGeIskAQ42JjsU4BOV4qXM5t3HK+rc
G1bHVJctYpoKoL6c0d6QCQ47fQX97ZFDsVqJT7YV/8Wc/TVlkHsp8yB1B8jIFnAi+abyTZqlnztp
14B0sNdlkFY6OS7dFw0xUQivAsV17cg/H0/RmdW0hmbDoNwd66yTx6wtqrgZYHhqMn0hGfm3mvf/
Lc3W0OzJawq36vK3KvVSFKAZgMszuCl/c1cMYpBs07tphAtCrZW8GjN4VVjdZDC/yT2+0TRX2zJp
wb1MnnmYMOR4ELaFo2HoqtaDzL8vozZzQM2Hw0sdcpFnEDjvRMRFkh/LoeMb1wn0fTYU4zXjQm+m
ZDMk03ADAX6+1Y2f17hBTxXYo/MQ+0BOPlK38cN8biEHNo958iRh5fnNOB69c2lnr9RYTgdYovYv
U5GkVwWc3sawKdQfyLk7sSsaAz9Oa3IEZNNe65FPwOCybEHy5UyH2iMzvP60Vhtfze6uL4RzuzSJ
Jhcm/BwmaQ1UB8TYzWrXd46oC2wrrWCbBdfXfN7Bf5M4/ClIXuCgccXsF4MSAm4IF2L3mZxj7ceI
XDlI86ZLjiNp/wRLGxdWxz6rHwqwaFlwCSB8ZkOvfRlnowqYE2CrQZt105WQyKeAO/hPQVPHH++H
c29YpeamXiAPXKL3xYgNF7GERHw3sFTKggvh+9xMraKek1JcNDuIiouEAMkCXjGt97k40vqLk18S
uTs3ilXgY47uvbHBKFr5OKKEmGQzKKdXfU8uhKVzYWPVJ7AZr7hMZxRfBdwJlp7fJZm8pP/8fmXX
XVPP5nJu4S5Z2hMV3IenqYTrR1osmwWlpDjXbJdp223c1JVx303PH3/490fkrrPm1mt9dxS40oDb
8Wqq9BfN2YU19X4y4P4vVx5FU7GFuGgdNT8IFG7u0eWp7nw7NxcOunM//u3vfx1BqIcGuswz95RJ
GGdAIfZ29pYvH0/M+wvWXWcENV1oR2ZBT3DtjXxWxGDvpCiBA/4Bq/hb/J+7j190bppWOyOlLaQb
8DKUjikcVXypwtKvRhTsjL7wJc7N02pfwAqqFdR3RvB48qdgTrZdMn1ymlY7Qs55n3C6TCdW/1qm
Fhrv34TTRNZcpygFf2qG1smA7tH/g+kbPQUe5MV9qk00mKo9wDrs0uXx/cjhrvOBwMnZLDVekTl+
sBd6KJrYS8pmT5t6PsrGlJ9r2KPC9d81a0jbEEegOVRNSfA8Qrhkl8CG6oiqX/ry8Xydgf276+OQ
u5Xuy7mhp3wk6QE2kn1UQTL4RcFwbtdKLSMyde5BdSw9TDAvixbHVN8+fvm5mXxb5n/tSSCBc+tr
YKBRTv+j+HBaDLxJSpo95A29UMI4szfX52FBYTXjwi/6JAPu77ommTdoqmYxSj50M4AZ90KFk/3+
eEBnkgt3bVycEpk2LWwfTr0Y+SP3e31c6AwtSpqbI6S15ifa+d9m2QFmPczwji1tUL05+8jgvswa
lOo//iFnAsXa3liUCuagi2hPHB46RDpwBkcVarywyc7N6SpGqL6vupYOQOZ7fxzHRgP6im92ldb/
7iWXynRnjrg1O6wsetA3vWQC5rm4k61yDsBFRa7Ldxx9iKoroRUxfJuqpL4ARn5/zuiaJFb4Zm6B
QKYngai0KWqRhLAorCB+au0nX7G688JTT0BoeljABtwX9f0ApHv6+PEXf/+boBD937201JYHCww7
T4OFdq2C5WBnAEtovhu/3oAReEmt6f09S9c8MconwUqbEyh3HHMYGsCMekfmOu7mrx8P5NxnePv7
X0HBJ+6MtQtP+j5zHkkCuxGn/GZK/8LaPYNRomsmb6qgVAnamYYZFNyNgsWCtVEFftT1yRxWBL6i
JK3UyRtc7woW7WOKI5YXN1z51IQAqzc7XMrZJxeE99/BjvPIlsynMPqDVSecA9uNBy25cGr0p85c
KlcZg51d2Ez6RJ2KcoiALNo0zGyN6z/bqr4ZHRhGfvzV3k8b6Jo91nt1mdYcPsdwPENh3Svjvpg+
Zd3i0jVRbBxsIzj0W4F+TSNTO2iymj0am2GD8tunfv+aECZVKgPakAX0QAUOLc6H4lJKcmZnrtld
rcucQOSKnEZrN7yAydvwhFN3MxkBF8ULy/rMrllTvFjr+HXjzQs6yG00etsEwCfv0io9c6yhYv/f
ZZoDn29YC1oEHHq7oxVAekRZ2zlp5A+5PDl2zrfS6wOomfJyVy8MWFXRwNmkDxz0uPnnrgm42/z3
d3i25elQZ+TU6GfplVFHd45/iYZwbgrflvZfgYcw6IsXMNY4GeWGBS1Dyr7w/gJ87dwiWG104J4W
dDRq/PJRLTCe9oF9sBAQKGveRXaSwTHzp88x5qHW/d+RjPPQMF1l80kErAxHk3th3dkGgDkS+QUE
uz61Z9YYEwlN7BY+mf5xkQPcoS3LQivZhQ157musAldXFGUPPwMclbB+RIGp9zn8+D6XWdN17xIe
RLDDFUguCutugKXeWesequkS+SB4u9L8v6pH14X6PlV65r2PBlPAnd9jZyFVxzrkohEAqPOmZeP8
yidAXrdmofkWwr2CxS5Ls5PxQNUE7KXzRcj7jMMLPbFH3fvFBqK1uRcFSdndsmqZYSbo1DYSo2aw
BB9sGkGvy1wDoJjFPdToD27g2/2cK39bBYxeZa2dv1t3Sb4mZlweg1o7oZDgxA0lspzUGeU+K4QI
qXCnuA+MRJOPNfNLjSY4HJpatl8A0YmWSrd5pPLAfhkW2W780bo/mloUj3Athjyp0+gH9G6WqJ2W
7OB5Fhr+gwfZy7TkwQZ+mOJ6CIoldn3p7EFuBFHJr0p5bADGjSzJR8jJlXY7TrwwGw67TyB1nHpn
mgwBpUsyfdRq8r4vygZpDFdSZYHlHYYLtacz6c268SGmOtXN3C+nxcIiDFV+P8oV+jeLKopoaM39
p7bO2kGpm2lHuebTyfh5FrVDNodlNVzAXZ4bwyoVrDLbNkWPh6sBYbl6nbNfQQo0G79UQz1z2K9p
Z7iggdgGT4STndwnkU76TmfBpZ7zuYevwnDm8YCOC5BrvRogq9S6OoJDxCULynNPX8XhoqFGMRQf
TjzpYA9AyNdsmi50a9y3h7yz64NVzPKJl+rSdADT5gFKM3lnlztAjJZnCgfGLOR6caK6rcQ9HFH5
xofR+J6Iot53TC45+MUBkL0w6g0niFpeG3fywmbs6tveWUQ00FLsAZlzrwVq9QeAId04l5yZMAeR
/ULQPXNKBauL3exDbAUuZhYufGkbDo3/ktL+CmYaQxgE+mggEbH5eAOcCe//Bs6/DtuAc07gvmVP
RGLAhexvlBRzhJpZ/KkX/I9pZuXotNM8n8p0QHeWAo/QdYn/rQBo4lIl6Mwg1rQv4Wg3xRUfnSfb
Itd5Lgk8gtv5c3eDNeer0XCymBA9jx0O1pxm+5ZcLan/yflZ5QiO5GZ0RoD1Hf2FeSbupu+lFRcy
gzMRaE32Shu3abphTI4Z5BUmnoYpvxlQnnadS7nHmalfs77g2117i+jVyUK/HdSAeEweRlLtP7d4
3t769+pcCAhU8yiODCcj766c8oaMPz/37FV8a0aPVo1AFRSmMduSezOaQE0fuSy48OPPTf4qxCnq
ezV4LvQEDHYIyPcxLZMIjhx7fglXfm7yV3EurbrELPmM+D++Uv0VHq3YBReWzrlnr0IQ7XPI0BD8
+jJo9hqQzDCAkTOkdC7dVM9Nz6oK3c9tNouSQuckEHaX99BsxN24Bv9HA4SMruuFjP/MQNb0jXGe
CmQ8I/TS628B+clh/gB1zo/X0Jk4vWZtwBXEopqJLKXKs1ceuKeGuQeY5t6XKMzAgnvz8WvODWGV
SMAHmba5XpYTdYE9aCVNX2B5Xe+qqu4vKSa9xZt3zsy1DRR0DhtfG1yMcLbsp8WeUMRy4dvzhgMD
pFu0zqtjpwvf5Ey1m665HQbemLkvoNBDHBq8zjiGJbhbtsg2VJr2NgOAMaJD1kdAQGxYKdWG2+nS
6Xpm5a2JXS7JgfhHin0kjCQPvkiXYxsk3lVvWrIXxZhcCO1vkeSdKV2jP4cy0C2ZUWV0UAYOW4/+
UHNwIcc5syT+TX3+ioxY0ODKEXTrWUN3MDiFXE2m3vKdS6KzZyZpzRaFnHSVeg5uZs1yrfpfzmAg
xHKjku7C5Jx7/io6esB4J1A0o6d2GF59WBvcQKwSCiuA0f3MNRzmP7d1ViGSEtqO+YR6WNmValPW
szkOuuUn5kAj/nOvWEXKxrQgVYLxe2qaX3kh4taFYDnMoz5++rl5WoXJOu/rlDQVso82PyZD8NKM
Kbz4vHxTzf3nVFPoWoQDd7e6Zp0IYJKahCO9tWaAedCl9OzMPlhbUy3wePBx/5bHohu2lGX3cq5/
fDw77zcn6FpNzOaGZVOFBKHJWBvRLnP3TQWprzSQ9+logtcyy6oDJKv1VjXgjn381jObb60v5jjQ
Jm3GXh7Lsbhxi/Zrniy3xFzScjrzydeSCTY1aY1TfTlZPxZldu9U+ttYFKAKX9h7537/24f6K3jU
nYFPtU/dEyrqM2jnQC26IDhGvF+cC684M4Y1w7Uu21yWaStgUjkcfKf5Y1sRzYHckRoY3099hv/R
nohDpgVEGkhLcLqrEkOivJxMnFbppb19bhirvQ0vdNgaullybFogUGGqCoeMMEPlsJ8vaVefySHW
7JSm1bOlQC3AK5RtnIXExL9KlscScsCl/fKpmVrTU+bS6Ny6eIdc+g2cDg51Wt7Vo7hwnJ8ZwpqT
IlKVNI1o5xMpNHkg5ehvm07lD6aCrIhkS7t3qkC9fDyWM4nKmp2iiBi6tgYHLQN5yhVelPsAGiZ6
+eoPVkaF5X/65hIt99zI3tbFXztlmQrYfILueJJ5nZzAvYERp3XmDckmaPCl4Ms/lQB2ffKyvCaj
VH1RKt7AKqKqvQrqre4NKPlPzPMePp679/MuyteTp4XjkUEDcqgzBbIVKuw51FHSAL5PaIw7Of7L
LUCAgZdYYn75PEBiESyFfyFwvrud8PrVdOqs4tqBJc4RJ7BESZxpYBloaHkZfTzAdyMbXvD297++
lxhNO1rpp0d/anZjZ4pY58ETm4dLnY93FwResAqdclSMj65THNHa5dt24vYZSnX5AYpY2oTF7IFl
xko4JHw8nrfH/i+FxOtWWVIygloo2iGFKfVwC+LGvhDpZ2pMeLT736mCi+bACwi9Q5E/H29TMIaS
JCDbN9QOqFdT9OY/tv14FOe+yiqKTmXqQd3cyY89ALPafHNLfliSS8fA+10xjGSVIlmIl7nZgkW9
CLHpl+Wprx1xLAP/WpPiD0HfIi8QulU2vpoCtuF1h4BRJd3Xj0f37+J65yOtyTlJlkE+s5sk/BkA
8NWPHqorHbPQKPzlLDpUtA5Z811AOgYnbH4cSL0rca1aanpDKoADPO/O8gF36/kqzcnWC5rrotM3
2VI9UkgmyeVrkLsX0P5nFtSapFIqpzaK0/zoq+5PlssoJ+2Pj+fhzOZeYyFpBpKlAPvpmAjwzXN5
VRETQ97vpdX+5uNXnNl9a+SjaIqgpS2+dOCUW6WetbCHlu9JckeCT265NQTSOGUzpD3Lj3RJTi5Y
w7m+pCjyPuaB8rUkvx4AraSdwBR1bgTZnRh4y91YubGm3xJPvVb9FxeqsvWko36GlyOzJ7/8lNIe
Xr6KJTMphejnQh1VhhO5q5d+X0GwGk5HU3NM8rq98JHOLbFVYGnnhAiwwNMjmJt3jbTHIaunC/Hw
/UjyP9ll6WQ966SnjsGSmTDz/Tkq8MLQBH0af7zGzr1idUZBk6fLal6UR1O5GiSG6Uc6dD89YXYf
P5+6/3aX3gsYq3gYwCVbGb54x3qm2ZZYM9/2ItV7OPGYJWxNYcuQcFX91MK03R5xfzjYZCHProS3
9FE6XhuEvem9Zx449R5NZgfUri57LHsnCCdXuLfcoTm8oIrkGSy0ElPlFfzKpK46dLWfQMWOZM+c
l2iE2K4RV56YsyQEvU+9QOx18SJYAwa7DtXL8hSQWm+YhIELbITdINLMatjC17lsoJDvkqhUhMag
dQFvSXy3vK91YLZt53oQ3uToqvCkhHflkO4Tgk67ROa0Bcg4B1cC/Jk2LGeebofa6/e175CDQ225
x+HI4hTC6uGYDAzhFHaUUWPm8lhrxh9dkDl3xpnNtp4TcZxH8PYn34Umc2WdF3cmqtv1kID+2c/M
2c9j0P6U6IvHENowUW5as0kBM4CXDsd9Fybh4GkMXDkxik/JLU38YIzaugk6iMnm2a96dCFD64PW
nYdVTtgj1CTbUJgJLixp38VzuoxIZyAKaFwOvQXMl4oIE/bXyHL63aa2ryKOrvMX6Jfo2F3m3+PS
SXxj0PEe7GhGQCG1ZqGGacI2eFMUVCWonVzK+Yfp4LeV69FPYleT/mcypcOLLKb5VRQZfawrqh4Y
b+ptQtPg6zTavoRhQQE6xbyInQYJ5Kefzy6EM+D0iUbWPLa3sm1nFaUlGTdE9VNMZ4B1kdiO8nZR
rYxKdHojYt1mipaJODcQeKFeNGDRwEWu9IO4bFLyJ09L/wm+YE3ceXN5oPM0fi+pFleydOdnaDK1
GzrL4beTZ3LT+P4QMyAJ4zJASuslcECOIMogQqDxx+c+kP4J34U9lJ6VOkzgOgX/3w4eBs5k6gBY
2MI70k6lB8w939HalQ+tmfw/E5rEY8jK7A0g6Nc/l8lz7owkzg+IGso7R/YVhto66StjbrUzCbMm
FE5FoTNdmS6u7Zh/h8gpupCpFuxHSUk/QggNLpkzmuQqrMpCBjFJoPUbpaLw+C7nkJV0lDfbsIP8
zWHktXjok5HjH3MRQakarZzA0aicdonuwyplesfYDJHIKrBhFqg2TIkPYFMvaFeEbZngoUmQbNAs
zq9U5XaPlRTBVapK0MZ96RtsOl/RjcSNt4SusWNeKtXbP7xDox6qErqIwasTV6hqgUhE27IMYYm0
bDNwWo5w+wDACYKhgDrSb4Wp0ckcqmHv8nr8mrqpASaN2TtIZ7RbVejqzjCcSqTGITFRkBlrsSTb
VvLpqLTnX7uD9I5By2jEB8/fgkJkbzRppoP2ywlaXKXjHcp+oBvqlvpHg4wrLN1meBiCGiVWp6pC
qorhGr9UfEPS1mzzmZmbLIWGHoRLmojZLJb9EAs4UUrLmiNtemeAdInsd0rnasd6z0Is3EyDjL1h
lNe6K5MYP5m/DIQ+thp+h2VSgJAlPbl1OijoW28prqXK0joyo2dvul5DGbIY7WZoCLREAK1O9rTo
xiHs82GsN3Vh1Ya0uX8QSrl7q7PmD6kq9mJSveyhr1WOoRkmdwNubQ+jrCLowqzQ/AmeK9Xen6Cg
GgZ5Ynegfy0HO9vqypWD+6buV2yQr7YxL4PsgMvQGPscBvZTOaJ+NUI6OM8Sh4WBBDQDku9i2/ZO
DS/p0V55bCZfZl44+1ER/1upx7oNA6QRIUKv2okC+BkGEGOw1cqQ0CciD0ftQGum09PWs477vDg6
uBtkxr6zLqiKLZ19hcKGHMy3qaD+fc1pcee0pt5BkSx56WEJ/5I4cxB1Y9GHiW8QPj1SXi2jHE8D
K9UeBpDptk+J3iTUBHeQ2ci2jMz5Vx/7/hraUEFs/EBfLbAtQweMQhnXZ+5tFsDwD5kzdAHbJo37
yidXXesEN7CZhf6OlIre9wTeAH3QixuRBxOobkt3cCDlES9j8LVvB/870N1mDIdOAJREtdc/QiZl
hGEFm7rYH5zajzE0FiszNodiYPP90gQMX9OzWxiB201fJ3kMWa/hOR1Y9dCmVX7vmAn6N9IjLNKU
QrasV/geQ1W78IbMkwcNmcGfEL1pB8h/5WZfBjATr0Huux7GLj248NSD+c04AqEPhh+0VFnghwjd
6SlnQXMTNA1/ZW7BTxTT96NKVX50hhEryZscBCpOD2Li1YakpNrC0FRi/b+pnvdFAm42IPMRllCz
RRKc/JqWoWN7ZFf23iRCXiXItL+j6Vvt4erj4hJvcvrb7brqy1Dy9MZnaK0A1Ou9zqW2Lw7AkF9M
0nBAIO3ss4j6lm44PP/SsG888gziYxv6DCWW1lnkS5kM3RLnJINUZd4GBWAIHujOpVLXCc8AdB5T
fgDUxd0Qx+EHmK5lgIi3PXxkHbZFkJw2roscgacQGCzguRS1bafjmqBah7O7/WFxRsamn+Fqh3Ru
CjtgjXaTq0CsSuDh0LIFFLSCtr+EXJxtP3n5bukllNoD7KehbbJvASVZbKwKnrJ6LCCemWiIDJH8
ZkYlJwYDkpxgIvWS+pP90XugvQ9BOfyiw9L228xwBQ2Finwdu9ZcM4s4RMmwOGHpQSwoqlVepFEC
Jstr49befsrcCnikhi5X05zC/VtCuK2CYuFVv7jyFhBzgo3QtbCXb2sXJiqS4uaJUlxY2YXcMwHZ
P1R5+o3KVPHH8y0/VUM53HRB3t6Ag+lBfulNeckhbTYelFZcxXISYr6pcrPsKp4zCMz43Z3gnnrz
6eUb1HCDA6hu5RcGfOZesWSu9wGrp3sUcrytm5l2gzxLIXVCoSdPCzcmdHKKkKZMFqFB5gXXKC/A
rHGvgypRIu2uyZPiHh7aisRDU5RNNLaBvG4B/nocYZEdex7ks4Kud/a4quAWppaqig0DsCoCgdBd
4p6P+uvAVE1CZYIGAWBo5W3duwiCvGttxHWWyVA1OXm1lbRPCZ1oNMiuuUWZjTWxNtxJQ5lnSm9g
oApBg95AvdtWBcE93l1stbWB8g9cVM5esyxybB7hUHXjhcK+ZnRIHzV6bHcEAyojKDXxOoaadjNt
kRrxH043ta/NkrN7DXkdFc51r0QIofrmLhdo5AzE5/dp68vvUyvL31OS1XGGAzCD6iFdtgvSn6/W
yBlibn2uX2RAGGIuxDJsaFXlgcrNLL+FvbYkEQew7mtdjOLREsKOgnLvITUGinapb9zNkA5ZjN3m
35YiENfdnI51PBdmuMWJRZFGjQG5YcD69puxLQZMRye3IGUMd6Jc9G/oe8HKTFFNf0Nfy7+Zk6Hh
UYmS5ZXn+uztu3iqAFRxTJ8H5sFYZKH66C29epEEVmKA6BSxygRwh5XKjqLVfRVKYI/ekmS0C5A/
871hI3jIAXS0GhigU3rreGhYhBLOe/DBFKncMAdXWpehWR3VGeo1OEw8B9I+BdmOY1/1kEvg8ybv
BHvqsUza2h6BBSB7HHXyq+ixPHAiK7a1RWVfy9afItjGeDt4PNRQKmu7nyCtk3rTC5XFVidLBHGu
BbYlRsOJ044Nzn/tyC9yUMEcMjXW33LH8WFrMw/udad4ed3zuXgqa3/eZJy6D1AULY8KbREbL8Xg
QzLNo0ClFdn0G1j64saDpOZGd9Pe49lOcj6ChrCUtzilDLjKsG2IZukr+LQDCtnMDr0vXTvBdA8M
h9CCTr1Bf9nCjTkwJzkH/caisLgLFuQfeSsJ4Hsmidk0g1s22PmuFIrc5YwNh1KOadxZ8CPqCuZt
bzH02s6wnJ0cnccTiMxXDXwbQF+iaXWivcLnqgPP383IoBS2mw1OhA0N8JvAfC5ssn9yXUGiuYLO
b5Dq+WeHlPoYYD3sgZlzt3kpaxCg9LgH46Q89XCG2gamAGXBoXNcLIv/PU9JcG9wz4O4oIK2VSoT
HYHrbzfT1GNDQn+sdQFe5b2NipksQ+gp8DSmtGnuAtZUv7tmwPWiVukMaubQbkvfa6Oky+c0durM
/GBjqsMl0GMes9KrY5mm5qkuSnrlaEHaKFUdNilLl+mZzdWyVVUuf9ZWvN0YmVYPBSf1DW+qpL3K
l0HsXbno+wngnn3X9/2uXRiSo1JMVbtLRlICnuPkSNXBLtro1ix7RoZ0jsmU9gAJgnbfUQ+nhRL9
TgB/8Zw6nYOBqew33JHnyLdEXdc0Rx5vkzpzNhMn/3B2ZkuO4twWfiIihMR4C57JqXKsrBtFTS1m
AQIJePqznOcmfyptR/iqo7M7jC00bO299remv7IRDiwG6jLfmsmzEUSPCC7ituiqGz6JQERzVlU3
+JE2GACei6VZlrmPpQ/aSgeDzygA6mDfY/nHtkPUTuelG9MB5vKRKfMJprNpsWduAA4LWgXFXcZp
t6rw6iUoSnmLaChvi1Uelu0zyQmgdO2UPRa+7f/0gVkB9I6AsoMv/Oi5Gf3The702JdE7OTA0kR3
qb8ZA2rfhZ06nr5WvynBkxtWimZIijT48+ssCUJkvxwerFlY74o54o+Qdv7sW5bm0Ck6HP+jNDB1
mEDXW2NzZmyl4BnerjJWeU0M5bD1qwewHeHuVHMQZfyarCV62DFhQzbbscWqI2ghHOcfBeTzNNJ5
k61tz2VJmDONW05PGA6UrPd6GO56/camzbBHXpNETWYjMAkliHk2r/YaN64sQhvRRCPSISSbDfHQ
HVGJ29Yv2S82ggsQNaaqk2piUDpluMoLiMRWSIvbCcNS36S+mr4r6Tjb2vgGvCpYfSQ9HDxXAolP
hiQHq9q4yJW6B09SPeA/Fw8MGO9mXc55kUaF4zU/4fvuxF7pYal0TnWA/5lYw4wR9393LDXwC9O0
q7tKwvF5cH8jUcAOjQQIZ5Ozrlt10GPdVLTnaz6X/oqPyNPwKvSQdxg9vUGoEvixsanz10YPSFxq
Wm/YONUPtT/QzWyq4ntlbHFjAgRvxBPlq1fj8t8Mg/glp6Jf9xr9I9oASt7gsjnC2srJViqwre+z
Sd2YIz+04gL8kyFzyjZqiWP+OtRqNsBWaDeyQvlmppkcNPpzx8iluUjaQVdrp5sgQK/86Q3GlT4u
cOidf89l13/nvAAICDcc97bx+npFGKlxoiNzE+L4OhBoL28sU3rILjk8BoCXbIYwlL/qyjISKZpq
hCE17fNXj/XTmpqqi5zU62Po6ccV7tVyBckHgkqhDIqqnrCG7Qw50R3Mp7CrCwReo5lrjKKUh8H2
5VMLp933Ad0KMtLzAHNyH2VZACbR+ASfoqT2CxrndMzfYQM2bkapujdnDsDzHlG7xR2/efDwMT8s
Yey32fW9XR8W9AY0dOR80L0Ga07L+AyU9yBbo2UDotWZ+PnDMdGRAOh3nElA3yI41Q3Q0GXnbicw
/p5cyFyfYO5DVsJ0875up2oncAvctn1VxVgpxYqNNLvnpuGx0d54jy5snDiNIZsubMs79O0AEzF6
odyZOVc/2GTK+2OQt7I9DnbJjIbtP8ptgluA2UjkTg6ujdDirCkbm1XaI9CyWZvhVldSDByOflvl
3dbKJYFtLWZIg6aIjc+QS4vqlsg1hZ/Qk5/iiGkalH48/EJYF/r1OvBzG8xxmKTAoIe7yRxyvdEe
99YBTqBNZwYbYTIas/quMbespG66hvcheeG9h4gLjqfoQcibcKsHm60nPnp7a8Zb8YfBeiSId+RK
mT69w9SQJG6bqn5CLyNgAKFxrUc6GnUPFtoUw+JueBmywtoWRV/fdKQaNg3Nmi2IP9yOSOi4BzEN
Ar6zRTr+qBEGx16n6xzVJITCs+bibsI5/91Wtv4jxyB8qseqWVV4tTEwkPU+9bDyI7jB4hsXcD+q
VinO0iJqLLCjYS/W3WEFz4kftmoD/nl7Cx0X2zuFMJtau3wHw15rf7wb3qFRGikiPQYuthiJiGtQ
1qwgV59kTD1v3jpNKtZEKQs5tTJ86Fnn+5GbtWbVe7bz2/E802GmeeGzyXJvDQkI4jzV1w/gonm3
JbHCfBd2vthQ1VtISyNiwtLrbkXKZbkirt2t0iBv9rpk/BscwDIwHDA2GxaAkJ8GtCa7yZodujIV
drxBu/WtB/vXdQOs27aReYOah6unVUGOEUPQND9YWLK144RqiMDSUTce1/Z+ast2nSN2+557VnPb
GoBTNGf8sStV9mybYbhtfEp2Gv43GF53nnH3UkgV88krt2BwBHvPFc0+bCayQYORG1XYBG9U2MNi
YSy6X0hd93GgYNTQjEQepnHwZrif1BI5k3qEDXCJO32znRobxLSuabd9SPMDnMB0GyO/It+xz7cw
9dXOHmBnAIODUSY0K5070s7VPRJG/K0gfXPrBY6ANRl8lOyG56vQqjSOPhBIQCYbtgWv3TfPpLiY
13YOBwnizNvAYdZ/dPLJ2lgM/175uviLQy2DsJ2UJeq/qouruR2/9W7Zv1Lj9pFjMN2n0sjbqRBi
myFNt2nxP69447DN5CBt7broC+Fh9zPEZeAp85W/wj7lR2HOs00QCOs2AHvghqGxaNU6InuzUq95
RlbHuWk6x42xrCpnVY4yHzcmREOpXxQ1W7nY02+dPESq0CMz2SL/UAagw1n0N+RkA3bJsHHuXQ2t
/wOEGcMQE4gaHtuA8WfeCn0/tmP3zIGlEvuSTa23YWiY+Z73OLZjBpsN3DYNb38PRa8eAFrqSMxA
vSmiEenzZyIMfR6QpyZR2PH8QHG1tUCtS9lrGGYa3l9IYvAZLK2iASkJ+Lcnj/BKRY1CZs6ZLQ/J
2sxWW2ukfN0QhDkwtu3MwYLxR4rmsBGOA2gONBEBdToeW+iwAqPV01iWI/xj26L+mY9CQcfgeexb
APvMXS+AljSdNR44NsO/YyqLH27ZjAiTa/Uy1rPy19iQh/cM5dJdmAsYLc7efKl4dapAuiiF9w3V
YEnVkCdMzVNl+xTlluId9RgSpXWDiN21L1S9v1Te2e4S8DHYivRjbVn7Kg3VLYgKKcLzsXwIrWx4
pNyU36QFnl/lTcWN51bh7nz17MOS7Iva2ZL6MWm3Q+lMVIccLIfVMBcshjvLuJqb0VsVYig33ShL
cIRG3YH9QmW26SbXgkEMpTCRBH0bCv9yS114FSDXmObRBI7IVuBq+DzUdns32bV6lx7kcGPWWVuq
iv8GGlIEZym7kV7gJ23d7/t2VjzGkYPcQl2U7LENc+TmxJCXf0q/RzKiyPgYtXk2Y1LA7G7NRYo8
fMFaJCgR+Nm3yF+hBTTD7TpDiiOz/rOKSvxXIOZ5ADA62Fgt75yDnwuDhI1uZxw8SCFpQ9K1V6Gi
JBUudghSghudMee2HOhfKpl+dDWcxklW8m+6gb9I11H5CvEoXYcp977T3K5epBxRbXJwubFgRrKF
51vzpstmviM2FL9UWWabyg4NgyAKiNhBayNgyUiIOoV+x/0PZuYBdQEFpZdAuSfmLTn+/ZNuB/YU
AKxlKcp7jrT2OrDTVQaC+WokRK9pWNsrFF7qC3KUr7nDmLuLEu9kKW7jCCwPjCnqxLg9qD/dqJy4
5yl4Z6b9Y3rkeqMZ2LeEhy2CEY0kzNPgk+7p/Dw+pcRaYsjyueDYK2l5GAq8ascDvkt2e1l0O5S6
cKnz0VkN8nEJ/xamvOfzTz1Rml9CWFRQVoK7Y36A9rp7IzNKNYVkzoVxPQ7fV0tzITAwro2KiEPS
A8jteTLr3t0EJDT3DirIKKDl/JJk8kPv8e+T/rGanz1H8AZJoENf4xyCX+FR0BAG1FuBiqEfZYH5
Y+E0iGcc6ivjju5tkbq/8So7Es3CDnbSEP6WF/nwkKbaQS7Kv3aMF/KHVKEbGLoteaCKf0cGGqY7
ejZXvsCFcgBgFHdyMw/3lBncRtu03iOh1XBBEnZqeixOD8gbZcB6KQ4wz4woDeJWXIJDnnxlx3Pk
0wrvbB8tzrqXh8Dqve/BqINHgkXwiw3ayGi0vFfGxhaBbGbvDIikka9RZwpxSVxlOZ0QDJf9g6RW
tvXGPNj7Vtok5xfF13vPP17hA2JJmvqDPDQoBMRpl71lPXxz3II/uaNDYqF1vj3/qK8H2FkyT3og
ZwQaTzHAIY+yFiH8VQ6UEPAv1p7WaA7tDLKYKigAg7Fr83MOAOqby/pSR8ipL7+Y2AFKYJMHP7I9
TqCHGs1mopgvCIhPffRiWtO8DD3wr+Rh7F2IKNFB+HZ+wE+928WMHnD3TEUJRI6atflNvdRBexZY
8vlsIw2dMhCFCuhR3s8/7YR0aAkvAZPH5zSD8mnGpcPSdw7+MYcXOuJPyBydJb+kxxGOmLlrDqa2
wHkaQpqYItXBZqqJt0XtJWN7pPrEFFNE9PkO4QVPMlRj6J6hMjREOcuvMvuzUQL839WMOkClagj8
DwSZ/dhHgrof0XdbDVsN60UZpJsRm/4F0deJlxgc//5p6/C9TDeul9cHQdrdYNmPPIAxjF/Of9wA
yljUx+Pz7+/rAwwVuP99kJoaaldpIw4Tnw5Eii3J66iyf9H0wjw/9YDjxPn0S6ymNkPZcXGoqhxC
iLof+VsDg8FtNgPfYgOpYtbnf8qpqXhcaZ+eNMvUb1H2FwdaP4juhmoVl9UlM9SvXwi0P4sPz0qv
bND7mIBGA/EDxFO2DzVNiCvsEOMCdeF1fL0r0I+F8Ok3mBpMuqpoahAIunfLrzYuuYSBOfXRiw2H
D0hnW6g7JVMHXLrim9yWm2tGnn4EfJ++9VRbSNiF6QDbuLlZW1SQrcdsU6MyJfkFFe/Xb5cuL1/a
84jPLVKhuOPGKfx6grp7EJV93cAv71gN9ac0Y7xP1MQghaCrwRtezo/OiYFfBvqp5G0YVgImlJ0c
4rTX9UuAaPFCAPP1+voHoti4LSzvVGESt8O1Rcr1EE5RVgLFfJG7duoHHF/Jp9eLMgdx3SqtAOqu
134PrYouyKUm3FMffvz7pw8XcB0arLSokn56YqGMQnmVj4f9DxBxyKqwb9NsSLg//IUBPJzsmA/k
xoUt+tSEXMQGUFjaSpGgT5gr21sDlP8zVwVPNCzaLtz8Tz1isWTV0Psa2kCYoffijcDiyGCpRUOP
/pHrpuYiVghdXuSTzcvETP1NyvvnQOo/13z0P0hD1BYNt/zUJMaDqrGo4u7SbvP1jLHD4H9nTCF6
6DcgEElERSMLohnpXbXH/AMy7EYLyivV6wQ3pwRm2gnpwhcf9pvnh+Tr1/kPvzDrYDtqSoIZ0zc7
SfhLSekqRQHqwtv8+oyyw+NzPy0l26mVJ3UO/jZqT6X3txjJdoayycryqISu6bpfsViwnuxwccSh
nlh6uOstZwfh1HvRiavmvL2M6gkkh3RqHZ3kNmROGd0V/cGX+spPXyzaIRuLOYUSLOGN1KvS7mDk
V6DKDhe4CwfJqZe8WLNSK1VDSCTADs1+pjlMwEn+a2rk0/nR/3q7/4dH2PUT93uJH6B4dm91JWrj
nnXLnABZs/75/DNOLLBlTI/Wxqr04SOXIPvngH9FR+9CoHBihi7j+Qwp1IxSfPJoq6ce2pg20I9K
zFuOw1zX43zhJXydqbX/CZ+Z0yAfYetEU/ZfOmV75Nwh6GHZfaf8LfQ4kH6HHuR2QXqp1eTEe18G
0mPjosjJxz5pcPDEJsPzeN/bkUkhkzj/Xj5a4P7NAf3DICwsg3z73Ckw+43EhU7pg+jhkADxcMcf
WYYyGHylRpLBWgDlRtxGGusYJbU9qpMEXhV2zGFOOELVCiBXCUtsqAvbIQNobCzr+wnStF+CkAEd
JmyGfVvQ2/m6Aqi4i4PKvXL/XvJz0B4D9hVy1UlIzbNdhfclKMXnR+jES/AWOyANsjBoUa8AH5s+
ODzYt73/jYtLTeTHE+aL8V/apM9+HqpyJqh8kf41ZWHScn5XdRC4M9fqY+bkf6gur3Iuse1gsdGq
CSr4qfB0YjM9RYG0XyR3csjE5vX50Tq1ztn/nhczsSd01+ABkAH69aHKr8oJ2EtnQ5eNmVWB+5vM
9CbL/wz5jZr+nP/KJ7a/JTzRRjYa+p+uS1DFlg2s8gqriRSxKjdybBRfedWT1flHnRqdRWwkGGHu
5E86ERBxtOPdjDrhVZ/8D+hP265obXxyU/9w0Wd16eg88Y2XZD+vtVJiGsz+mTbrVGe3DHrI81/5
xLh/lKY+hRZWyIsSrp2Q6sxjCvF88drVzdbNIGbP2v7Crn1i9S7Zfil6TEC0L/gBjgYxbpnwlUBh
XqT787/h1PAsNgfkByvUf0SOiHTIdr6Z5E07zJdsMT5ab7/YHPzjYz8NUcbC2tPdgOVaDf7OSkFc
gh7aAfqtQKQxoQabzXywIgvMdxTsCns1UF3FpVf4ALjVRTTI2bwbFyJu2CBkcEpmYN9ZBHbpvsvJ
yhmYvEcH+SXQ2KnhWKz+NGtasP86nRAl5WtehPlt3+eXOoRPTZhFoFWnWVe0megPYek2sWiE2Ftm
7lep76A0XzTqwh526jmLcMue8qzqUhwmEGBBIemXt1DCvU7QAwBMGo5XPmW5F7TlWCIm1Qn8inr/
LxJmcdbuqXPh3nHiVSyBgUhuDn1rYeqo5m+W/wqrqzA0tu0trkqOTUwoUG5IAjdBEBDP7FJx48Ra
XWL2QMtCObiZsSEE1UtObBXnnnjMuft61WL9cAX8tJrm2oLGHNelxCH36KOESuXSnffUN1/MzHSe
3bxVvUkwB1vcjHKYBnfVVV61GPHFfETYh9Y0ItEphMb8bswiRugKaaXrRmUxDwPbF7DZxHdH+T0y
1u2o9YXY8sQ6WiLjQmlb1jQbmVgCJXBrimfTrof8cawunacnxn0JjuuljRBZKZN4ikU6vbGbAhrY
CyHHiRXkLvLlrSAT1GYKmxk6ENLpnvRv50f8xI1lyYhDn8NR4IObRGvpg0olgEuQ5NZP6OpZzbA6
Pv+UU1//OGafZnvYIfXAPCQe/Nx/QvtgTLvq2/mP/rCs/uJcWlLNUN00TT7ByptDkOVE0JaRaKhh
nwSXBm81DbZY6br3YRd07IIKamfYEvgWQ1jS5hDuNfYOxiIqoaE7rywdQjWEu1RidY16KtO5i4YP
edY0uHEW1MGd606yiFpJISCA8H6DhucAO6Vt7vyjeJFCTLn20R66KqsQkURm/zr/O09N4MXSILli
sDPAcQbdV4UejHTT98EzvEfQc4vr/XUvakkN86XTlsdN9SBRKR0AzoVHw/nv/1FJ+OI9LZFhfsGs
cGY6PECxmP4BPW8ScfFXvUMCXt4V7wyd51WUXRitExNuCRFDJl32gD6EB4iuUe554vOFkt2J17Dk
hOWwGlaDLDHb8gMc/6LOrSKO0no16tX5gTpxt1+iwgDEsEBOZ2jSV+KP0uSGD+KxANsOXe5kLUSx
V611K6EFOv+8U0N1/PuntdmVBt0kGdamM7077d4eL225JzZEZxGAyYl1g3GxZzVBE67hU6ujhqlx
XzXsUsbg1Nug//vdW1N2rZMGRVKV80G71Zz07aj+c4NyuEVGv7nwSk4N0eLQ4zqdwb+AIrSv4Das
w33uqMfzo3/iF7iLQarD3mVBrvoEfR8sKkMF1Lt67mcYKI3NdRcDdzFKXRmQSQUcTsNu/uAq/tOi
l5juH3TPL1a1uxiaSeFY1V6rE+ikp7hzCmc9daUVu77RTpQ6XsnRRc3RF4+WG5B8pL+ZQFTsIw8d
AusqhYwYvRXDCxpZ6xs/R9cOlLBoOkszskbvtvhWMbd9IcBCrYSG0g+j0m6GaQrQpDg0CfZhscnC
rHsR5aAODJCSY4s+OApxOtr1f85Q06e5BaSQot9Mo9kEEvqaT3KtAVhfw1jDxO6xY7l6I77Fq60+
shAqKMzvIEPv9g0Z0Ptcs+KbrcBHqITo30zR63uKz9iqBiwgFO2DHeIWEG4haLtHQybKF+nsXnTU
PpGVcRY7f2OjmEZtLNAMXNotHJb7lxGg3ZXj4GZq87qMOtOjSYiGCq1EV01LdtycPm0KgyU8ADJw
1R47A2ECPMzQp3xD5/GnGPR103JppaGVLjotEZJNdv4LEO7faNm7dNqcCGuW/hk4nSdPNnOZoO9j
iCtLPoP7kKS1/wyaxi2DxPvCQJ3YGthxXX8aKJJCAY4WoiFxRgFVmk5kQN7Pv4NTH70ImtCoD4+k
DHaj4Aisevud8F/nP/j4Er9Ys//Acmtp5hlQogRK3uBvyVS2Qf9smUBwhG7/gWVxl09WlAceejGZ
uA4ZZi/5kdrJqAevliMWna4nVW0EtMwgel54E6cCjCU7Uk/e5GUE5SfeayniZrD0WlVecDuiE3rX
c/S2wlow24hgqO9mxv372rM5Wjqz6tsEichdIV3+cn6IP/BPX4zxR4r707zI0eXvw5QD9XZ06Kw1
kC7oKKyaY7OB2U21463QUJ+vG1hnrpuSlWuTWTYw4nDsZfbQ/RAStrWV4cXj+S90YhNZ1v/Lrrdn
owp0IhaApTiAYUWeR3esIAj5U1XEQ9C+aan+nH/c/7/VLwbgI1z/NAAVkLl24Ryr002XJhZn7s0c
MFCQgradvxN0WexbmLa+kUZnLyP1vZ9BCbzGCkZLlo12EyeL5VwVuGDC0WHNsr5JCB/gNkkrfj+E
aF0nhPmb0pTtT2j99C2aBNAAD38kA0yGk95DD5xvLBpWv9D+hp5xbFwAsbjwvBX9nN/n/WTdOG1q
byzLHx/IIP2HqQ79X6DPoEN+rCaFKo4VrNxeTu8wnO8e+iZz16qV5pV7WfaS+ib7Y49Velt3GiAZ
oKa3AFoI4I/sMr9xw2Z+cpoa6uOhbV68HnVigVnxN5DUr6O0A+UHZY4xNtUMyMospsQufXbfz/AU
ypEri3D7hjnaIDy0LAggTxpQEKK6hnwY2ecsHmRzB2LG+JrVxl6j9dF/B1cJdQ8w7zey96zV0Gtv
qyt094Gx1n+fMxdGP2UAzEtL3HjSvjzkBIgD3AL7WGVDuLLLCecn0/MtuCXWX5+7dAskFwdowetv
DHF5VIFUsqpqMNrSNCBxRSp/a/XC+kWUm8bopBYrmjtlj/g+pa8BOpo2BrDeF79xaTS5JI2FB+EP
Jj7dCWKLuC9c+ByOefoyoAMbWu1qekBG0IE2yK4fCsY0ek603DLJwCWCyHcNERSy4sAKpRF41uiG
PxK5axb+16EvaYvew3bleU13U8vQbH3tO98gTSm/z2IQf8qKtlGVG5JjVOFGdX6+n9irP7aBT7Pd
MMa6tgmRpktJdkPdlt26/DohqL3UZtlotaHdgKtfSOU9brVh1NTZhtXXecjb9lKV5ROjWl2BdhjW
92V5n8q/wXTdfelDr/9pYEjtMdmDvpCAPblyQz+SCtLgAJg89vO6oV+ERy0wJy5c+PpkngYog7I8
3GNFuRf2zROXmH9kWRnmFiSEfTK4ZBU4IEo58G4a3WtKApQs8zq0NyExoPwcDHVWQIEDHyfWnOfX
jD4+fhGd+F07haaBA9RI1Pfe8jZ+Vt8MSjyx4JLv5pfBBB6xiFK83JUiAHPtoJEZ3GpWbFua7b2m
gpugU69sy+/ArBqBYblUifjyleCJxzX4aUqlXVPmzDB+QPxwa+cjKBTpOu/IhVLQl0sZH7+4kQmr
yDKvg+CgA9VBzdY7enQuRHSnvjn932/uFN2s1WCHhyB4mzp0/wQah//2/Do49eGLmxigbqhH+CQ4
VFm5AaHgnbViE+jsUqT7dXyFgVkstABXKxcmGMEBXU4UTC8/v1eosawcbmukUiW557jErh0uB+CP
GnDYVGVtPUnQ/3JMrs3eeFWulZJlmgrhfe6jkRHw6zZd1XWDZZlOd3VVTaurBnOZrKoU4KOgT/kH
3U551AwTjx23elakuTDLTiybZYLKgAgIV9wMlHsnRWkMnKa4N/ROSr6B4ci3CeFfPNXTU12Hf87/
pK/bkzBoi81gwKlkw1vm+P5svsl6tW4k26St9zt30HQ8s/x1QCZfZtnzKK8rBuOpi/2B2wQVLDv1
DiARWcB7mnGvs65cn/9RX97z8OnLvQDme4GoQE/pORpprfQVILLvdk62gA6BlDZOl5JZX+Zp8KDF
rqCYLVGuLLHNufw/TviPcKrukadLgN++5M9z6scstoeiN34g67BJmFcgKs/96TcN7Cq2nMn+ASsy
fVvIqns7P3L2h/PYPxE6ftJiw8hb4qOUa0SSApD7yzeiy3YNul7d2IgiHfY5iHuxcVhjHZDLcV6Y
V6k3qwEHDL502Y2b2dUjeJJ5joDalE9OWKHwYUad7UD0ML/CPMjfkA0PGjREwlQ90Mjw2GnlgCVk
t3TVg7LyrQ5CFVvQCd46R4x4NABaYdYI2YoyGovXrPztUnmjyAz/h8KevyPFj/fq+t2PoAV2i2Vj
89ueYQIbcbgvdmhuzLtXIYtwl+OoWgOxoG+GVimJ04io39kE5ItGa2LcecTe+C1Bin4EGcpj6M4k
k7DfqKOAawqRrPRolh7bMeztaI1mBPOktd5ck5kNHWDK6ftjv08t95FXrjmmGModesNrs3dTC8U8
UukeHKnyT53PMAoVlnWbAUwUzyJA+h7MlRVyf8M6H8d3ZThDRt/gTqjB9MmBadnwQTfPc+VVeo0A
hD1iSOe/os6dd5b63Tcz7XSgwEkBBA7cT9b4zp9O5n9Tj4IiMKOZfuU2FRgHs+fa2B2B7oeyxnNf
a63kBjL27uBMtdmANkfwXSGBeiHwoWwiWll466jNC4BFFXjuvNB+lDn9GJfGHYCOKl1n7QIEd4+M
CnivBVH+DeJu5NamXkR+euRydyAU+HC3R2ahCUxN8fvFCFz27HWbrAj4rsC14eARTXeO4dBa4zoO
2+Ewr16cufLf3EG3u7b0OCoQVAR7APmdHZsC3O3SAi42kdNgEHBPCeFTOavpt4C+69AEYbotXUDj
AEYB1SqdppDH1IgRPpDcMpE7uBaIQAUEL9ImFYieaUMiZDDlbecXOdDdgVgXRVbGRJV61Yet+2sK
HeR8A2C0IvAFg32ORuVdgXaYMpYmmx+CsJq2naTqzjGuvJc0p4/oyrFAJgL6ATIVEE7AMhWpXlWl
7G1gpkTZQ4BG6NP5lXwiYFnmB8OKNZNThSrxJ5ZM7SNypdf0tkBgfjy8PkVaLThZc5qiGhZSCxf1
6i8NnH2QzrvqYl/CB6X8i11omQXkcIadJHQNicgxaK2qQF6USB0PlKYHOgz1Q5mncmU6u+exD2O3
cANUivlFXTmlSPWGoKUyq6X/pY4Qz3Aby5GSzRWVoNIC2RIFlcSN/KqRXmYV57CbqKkDlXhUT7Es
pI5DXMnPf/iXGRoM9uJ4TgMTYtWMqEQS2DbWLU9MVt2n8/BcuqBXcm1iDTPB8w87cZwtDRBrMw2w
D5lVMsNBEHhMZGV2WXrXi0vO3Cei0WWOkVS4rRPcWg8B0buWC+A/OrXOBdrdr/sFiwMZfOfMm9DS
jXYfPzhYHoy5QJ3LvReIt+V/2JyL6+LqZVoRmnlh+RlaU0cKvhPYmT+5n9/J8JKl2KlXsTiGpQ2p
X1i1faJDtRnnMp68P51Aju7SxeDE/rB0o+kp0mGVliDM0cKN+Nx/B07zwgXzxGteutD43ezX6eC0
STr1Tw7nh1A4MdH621UveelC001haE0ktA+qmIa4wKEUu1ONUKO51aA4XDeVlg4qWaCqEpIWCV80
b+8T+k1k4qHS6m9Bpws76Yl3sHRJASRpYp7TwIrPN93NFIjsfh5Fe2E1n7hMLC1SxtRDjg+t3nAW
ODZrRtr/PoTl2hmcSNYAiJXpRpBrR+v4Ez8dCsUMkcTRZRNSyRZUsnvfPQSNjuvyggboa+8NNGov
VnY1Ayc5goueOFu+zXbjkzz09+bW3gH3GvuxjueYbqYbb1PuukN7T3awGN9560uGFKdeFf3f38fm
2g/5jCmt3SwCwsMJr/KOJnSx0DVCFLQlDjBIzIZnmLNkK3vkjy2cmD0fibHzK+bUt19c0uELPtSq
LQGgDAzgsfxb61zyJzxxQC09UcYhAzArcMJDxUjMwVsdQENJ0Z/UO+8j9BxFd5UyHIXZ4zf4NMXI
ALBgE+jgMIfhYWABEGu1euaz+Hl+kE5suUtbk9ZYTWECILpkGjeThzL1/aSaqINc9fwDTmyLH8SE
Tz+gYKpBWtytE0iO4pBzBR/y9kX6l5pFT7zlpaGJ1dqFSSsGxlgz3FJRrBmC8PNf/cQldJnJdvKq
FywzNYofr7S9aTIv4aSNw/l5di/5ZXxM+S+Cvo8U06fxmYA1BBCmCA4cSCqgbjgmT+rewm+D/7XD
On2Gn3T5zeY8jKchPAr1LLJWee2vp9wr7lsn78CXa9sbWcMhDuibYIpYWovtPIDoBeVgge51q36D
NZZ7YWF9TZihhCz2BXBd5pwLSZKytmuA8jON8LMWNIw6y2So/jNYCKD6Uaw7EkxPTsqKDEXIjI6R
atLuwsz68vWgxe74908jd0zyeXU9A9xfvVXtTQXwYGA/NPNhtNILj/hydeARx79/eoRjedkw9W6T
+O33Hnczkqm1ZgcwEDfnp9ip1bEYSQsEJ2mBWHmwnf/j7DqaJNWZ7S8iAgknbYFyVHszPTMbYiwg
QAgP+vXv1H2b/pimiOjdvT0RUDKZSJnHoEygJzCqIQZifrLovWw5zMLK4trEgarSyckd3L9wlAt5
m7xSo95IIGsjWGTZXNiuCVFTDYLMmAWuKk5SW7syacrw+hSt5Npl2wE1iWw2JwjH6pY+g8LUhTCq
/4rVd8LBSJ7mQocpxKY3Yn7tbYt8y5zCJnHtelElnB9tMkba5GcPVIuws0rUbOK/ipgbi7+SupZs
8ZgLXM0rAJ6KQn5xWXdbT1uU3JVVWWpA5QTmK3Em+rNsoPtXT/I3hcC+mmAmdH1VPgw+pIDLi99F
hslsFLq8hkZ5/FaXD6lLThDqhvh5vgd0YuMlaxN0+fu7l8BupukyOwe2KcvuiKbRLOrfn/v9i5PV
xQmktuBYdRYXPz3D5vwISYz4DYXoaj9NXh/0nZn+uv6ytSRvLs47HXq4qdO3NJqG8rErzfEmpTn0
1myInMMbAG6bFqPi2FiGjiAWNuyzuvljj3a9Y7aJ5nXSwPsR5P/+qKSJpq3bw0AR2CvrKBxjuHVQ
pPvOW9rcUvCNNib/w9yHFV4E9gC3sySRiLt6UCEgI0D/2kGVfKHT0/VZ+XCPgjW+KKkYYlaoWbo4
ekz2UScU+qrdT7jBzBvJ+8NQxvMXoexMcWF4dWtGGdoyYeHAuWJK8mIniIKFBCjwQRKzPChHqL9+
bkSLLxLpZJqU5QgnENe57aDD1xnxC0u27vkrSBrOF58jycwL8L0nkSyHp66SL7SbdhqAGijtj27U
uajuMeEIwEnc7phQVbxVLgT5cA7pAWUYm10rjWxjf6wt3yIDGHlXOXafkAhly9+0yO57yMUGcJTd
mMwPMwyWbxH8LaTbDNSxvEiVcyCbF3DefIsPQV/cxDjMf27FFmmgEqIEKi41z14KKfTxYVCzT5vD
5x5O/zd95QnTGiAYfNxZQ3ew6YzhNgQdgI7Dnun6Kz4MUkzSMrEUzWQ1OdYe+jSBXfwe6EnLPGzU
RoxeJvuf0ymev0gCFhzQhiFtdVR2ZIg6eEr5RdfxjQlaWeIl+5x1HcwGNHcji6G/zDk8OqmPPonP
IBY/is+t8ZKJXoBkQazcsKJYGMYX5jSwWYA00alPHet4fRlWYmFJQk+oA1hO4kyQf7thZQrNzkND
t5r8/12VPliEJd88pmMhe7BIz6nOsgwEbks+CQN+5rmbarlvJat/VtCtheOAXdjwA2ODS/2qiQEZ
q5qx+lLlHv0Tt1CE12ba/PXkRdNFFfa8Uaf4uJ+Kc/IiFyi37wsT4jERGu2wl2CpD6eR3sd3dN+Y
Gl5v/XwswawLIUp0M3jO6VPTviRpj6L17EbAv7qEjHdoUsUjbKjST8SUb2ye1aEtMsQQ52md950N
UTs6PE9OM93alccO7uwoKOMmU5C7fRyCqAzZjVSiBI969o/r41uJPraYVvSuaug2l9Cik57waY2H
g4y3cfpc27OL/CqzQuZjLeeID/LJahuJ2428tTzy5fqPX0lNSxG1SWe9AX1TcZbqXgp6mIFvq/sG
pi7J7nNvWORX2dgt8zI3O/Mi/6o9FgdZxffQmzD9OdbNxjz9Vwr5KPwWOVZ3fRwrSkkkuiYaCiME
4O+Aoym6kUdYHN3H/Yn23y3XhDjYvJtNK+zy77ObvokRBgLWd1zyNi4na0u2yMYCHgQUUIwpggRo
/g34AWs3DHET5MxOo+tzuvKKJWFdUxPQAfj+RFwV8KGtUI2o9pxtDGAl4S9p63UpZtpZthVVMA40
3D9xbvkZu29dF7iPeeObuDaEy8vf3RoKnOxVMXIoHQloOANTiWaC7XJZh2NVb9kyr7xkCY2i89QY
9mRrgB4u3p0sBo1CqTiMzab85MZzFvvbcQGQKqVbnyUt2hREynL+WQnXfq2Syn7spwkZ34CTpA6I
RfhvQLth2QVUOSwhRFehDMl0gs6AAXGmBGYjvQv7+MttwoQPR1579cbv/DhL/YusAyMTWvy6OyOf
3DMbGAUiN3bj2qMvs/9uKSdP8skEKeVcc/eYtc7e7ciniNj/QucqoCNhPtahgfkSV08537jrfbwx
/sHM2UmRjFlddth9sMyaUZSyEvLgphsR9PGlBmSf/50RtHqrFmZf1QUslT51peGd59kbwlHnLKCx
5aLlBKMP19LVBjzrvw7Tv/kPGur/+8rUxfImjUzOLXah8Es165eihDKnnmGlpWF61IMmS+ozgf/W
nog4vTMAgM7g4Zv1u9QuMpyuY/tg1bYlA92O4zfY9ybg1lraPlIG/5wAyEnwnTqm0FcU82ieQBoA
ZAPWk+2tA6n8sDIqIwD8fXg1uG1WT7jq6C+fSXlwrv3f8XHBbek42LNe0rJHOPuSHYNL5d50WLWx
2ejKRl5WeWGCgjya5+m5Aj5boTZaAlQTG29jhdb5yU0cheN7Whjn0QAiJ+udOmRQvI06msBINYVr
KxT/UlKGLmxWvpC6tH3GVf81wQTNweC19U+uVKKDnObFA7AVxjdrTgYY/QzuCIPJadrY3i4m5aPN
sPgE5Z3ntg2h/AQDVhN+nFX24smEw+YVoPvzVI7dp5pr5B9gI9zvCBiThENvVca/B8MB17gdmDJ8
3tcXpBUoKxtBtbI6SwTiYAyVbsGUi3jaAU5PxgGoFE+xb5/bYJe5fJfFukE06VBCONds7Z8eU7dA
gSc+zJfZxhdv7fcv0mTikVpKlkE3OiZ3TQx/7E69XP/tK+u9RBXG4wAWbM+800DAZGy8cy/0nUhm
IAol+dQx9x9AoclyhDg1PPz87rmpWSizcmNl137+Il2W7ewqwUBLZwkMH7NnCoNaCx7Qs9hqhnzY
cMY2XWTHMe/j0itH70QdftsOyd6BlbNQD5kLW3CUjTNJf1fZVkd2bTyL8KsQeY00TO+UO9MTzoJv
sy0PhX1Bv8FX+lNLvoQ62YZTw9nPs0+ijvXRJc1dPXd2APs1VNrbdmNlVr6TS7DTUJuwNql1fBrc
/Jl17o1DpidY3W7s27XHLw6BpMHvjrnkJxiR8q+TW7VP8MzkcFCEReXv6xO19o5FXE+uZfRictkp
geBQ1PAZNjcg8Bo+gG9IU597ySK2R3fgnmgLdiK1cU/08JYa1QnoqI3YWxvDJaW8y02JmRLc1GLr
VE7OY5vBgqr2DrUcdp/79Yvbcw5l7slpuXVKGLyGgeDMYvwnCz/39EV0D+7QdmPHrFPDDjAnArYT
joXDlhLQx5cVc0nbq5tpgHCJA9lxYx+P+pbH31zWH6B4Bgny/fURrMTzEpAUt3FrNIisU1zEv5WE
mzW0ZonveoUIHDlsHOEui/nBR3sJTYJeukxValsnpx1fiaNgjMLGp+sjWJmlJS6phRY3zxxqnUjF
w6FV3+0OwC0pnAfI6cNMMaufP/eiRUR3MFRNLZp5J1i+qK+6mLsTlD37sOBN8qvSpDuUVSE2Klpr
o1qEtjF3ADerkp06A+ZZ4uja/OZiXgLX+cx6vT6gj9vo6MgtQlsAtZfhuO2e6ATPPV9Mo/tLVy6s
IrsmgWtibsWBqUayb1D1Ca2eTM+9W8XCzzzD3kLzr3y/lviJpKVTY89delaqP4qR76HSHI4kPZvw
XBMlx9flHFuf4noQcwmpmJwhlnDjTM8U+DIT/rFEx77NqhuE7a0Zt/sWKitwAXu5PsUrg/vvOP4u
u1HWVkPdwj5vclx2NEYbuU1x8wRD6M63LrJERgd6LaDj1D3B3bjfOCWvVA3/AW7B6lew2oABTSFi
w3fI3IzgFkAxMiS9TO7BD3B8L48ZyrBmPIddpp0vNIvLjbS70iky6SIzZhZrhcNy+zSrSb/QlACs
EfezZcNJjeZeZJdw84L1n4WiPriaMUCvuVKhWROY2wpR7OAa1UNXwp2/zrBC2PhZl439UR5anJWq
NnPbgqTOyeLzYzxVOuhEP8H1fHq4vt5riW5xPBoHMEETYdinEZLxcKY2entPB2AsNj7GHzdysX8v
G+3dhpIOzeaUdN6JgZ8NBtFOpeOTgmkdIGGA3SRByZivdXUo2jIcYxRtiLGz5HnsXoXSgWm+OLDz
tJ17QRof5tlHBg7v9bGvfEqWSLHanKRTJzOOhmJ6bAx4hLtHWcxw5n67/oKVyV1Cxea0kcM8Oh6u
fskr8G9n2DJvrNt/9+APdsYSJQabYTOjDegNsFqTOGvaXhYYEyqrI4xxw5l6ZTRrm4fAZzuQqYVO
t4IQ6CEbq8EHg6MLYXdh/b4+zo8nki+1KSenyizbmadokvOjBVfzMh184aUhym/X3/BxHHDv8vd3
u4iaiRrlYI9RjEt0BN/p9sBA9d/VVe5sVM4+rhPxpUQlLGopakBwIpB0/ksqB4LyaT1FJlpupV8N
DswiKZQQAHjX88YGXBvV4qzXJTCEVRT6YXbsGTsIBX3LCNwyLs6j16dtbWEWSa3O55ylLkbhZq39
oJ3Su4digheK1LqQR2Hdev09H290SCX/7/LEWYJslqDMHqfeEY6qO5Obn1yWRYKSRdHjwK2yM6DV
zHk2VO03M7ovsERjD0m3dexeGcFSZXIgllc3tczOhjahNOm8gGe20epce/SiWqZdMWY4703RPHY3
YLRGaVY9Xp/3j7/W3F2sb9cV6LQxz4paZ6Kwvc/UsDNgW79DBRLG9Kq1dkZXswgmm/IvGYwtleq1
9y7WGw7rhFVc0SjR8yv0WZUvoarLW9hsF+V4Nqbumyk4SGBowG3EysfnS+4u9oGoM6z53JqwURl0
WI0wUNHgj/mCjngp79E3Lb0tuvLKki0FH60pBRcdMxt1RXo/JuUOBbuNc/Jac2wp9dhP0i5SioFk
BQhvu6Lf9a/JLg3tEBXO5DfLfHVXPUx3xS651xtfi5U8sFQK0FNcaqiKN2dztk7Z7JFbG+5qMIAc
VZhQuFpe345r03Z5/fssnSm7bQDQO6PvZp7gdSpfjcuR/PrT1wax+AZkMjZHA5fOqBDuN4HSwRHW
k6cB+o37gcxbCLqVnLwUCKgnQxc9KNxn4h2q5L5OH2rj5foA1qZnETUW2ICtZjV4HDx/K6zs2U2N
8Pqj1371Ijq8ZCzAX/RINLtJFgyaH20KDTGnLzY4KCvhtyTND6WKO2fW+iID5/fzD8hXQoT5O8if
vuVuYXNWJmjZV8hhYhQbJMEE6fxRtBJkbzSEr8/Q2rMvA3u3N61Reyg9AXVLmxmStn9MSHVff/LK
3C+p8Tmd0qQepHnusnK6AbWoCoA98U48oVutt5V8u+TBC9LxtqsaKFJ2hRWqoaepD6CUHeayLnYt
6KcyqMWPpBF7XVvF2/WBra35ZSrfTRmuXU2amwWJBuo6AYWHj+Am9TtV3eVD+VJJy9l97k2Lg1Dq
8l5A+F2fG/Y6uX8HqcMa+8ypf2Tt9LkQsRffSu2wONMeFAwK0Q+wjL8QdBJAVxs72XJE/H/H2H9P
5XxZ24Zbbe5NTgl0nJHkey47YAxJVf/xuNMbNxryCHe0aVCKKIF7zA+QHMuPLZllFnipC0Fkr4Rj
uG+BnoBvQ1tHYHJPASOOjWd5za6akvmbWdDCz2CxFBZ9oe3Aqlk9Q/TJiU+ArrtRhpUKKm524aBj
649dmvxUEJzPfQiYsTvLge8qYWUSmh3M2mnnwoggHWEMXsCmr5t7eK+Xk/fGW8FeCJT4W98dM+cZ
7W+xnzhXLmx/6/nWGMvkhnqdlfrMlX2oRBUfwKRMYLuRVj+Bohr2RYEk1NowOErZBPP1jBV7CqDJ
c9HBZngCifTg5ka9Sxge7tN09o6KEO+VMy8BHLQ3H9PcGm87i/YRJK9mlK6KMhgudqRmxxu/qLv4
aCSePLKcwJY7Zeh1NY7+i7OJe3DA/vHRFc19bXTOy5CX89kwXfOAg8QQCkGHcIJXoj/CxWPf2aO8
MWB2uptogrJRTly/6Ql7ogbIxX7fai9qE4fup9osT27e4LwDSaxd5dZjWBE73yM+5T53UASCHnrz
VmvbOqBCJV4bF1ogTQ2Yg52Dth/oLuO+C2vVn53jjiFQpuq5duY2mtOqP1edc26dge4GPuSnqRqT
XTVo9zB3ZhOqGhI/BS5+d1x45NGxW++nlXSAknY15JGgiHhyZQmndzPpoZc8T7d8Isl+Vp7GoyCZ
5zH7V2O2HdC9lovKnOmjwglaO+wiAzsjuGnz9MEoDXqaoDqw93j5O+ka5wQMoPlM7PYlL/IO5u6C
/gLBppUBr+rhG6XzEIy9B8o/YBJl7eeJYwXQ0ir/NnOlAjlP8ymvmzZkqsjg1NV7DwI8/eeyY9Nd
05V8x1B2+SYdUr3WddXeJaObwMd6/jvbUwOhgEncw6Q+xgRM6W3rta9urTK43tIBC1KV52mCoFlK
3HoPhqHyran64jlNesdrzDDJVXmK8UTUP6HgXBWlUwZqaPNQQZn1LRbjGM1WZh6ACrFCCjW1wKzc
bO/O3PEr1Wq/gLPTQVFt/aTlXN40GWyEzW4ufxmtVZz4PA04IqbNwcJpf5cRM4aYEQjYNeLHDSpD
q5vGKWTALAuDLOs4wI5WIa8BSYwbAFzHsk33ovf6Bw4mgq/tBDd3RcY9scv0CKFmFkikFJ9nYOIy
TQPI96sgHycZWo2bQkYYeL6vLtS4H4u6nh57p0tDlfdJ6ExufXQnYva72uFjAByR3jkFLgRQUeu9
MzRYIdk4majGJKzQjw2zzIe8ETEKM5WKIGc9H0qrtcEoEH9iS9oRc0QcJhboKgBPZGh3QcPUh+l7
jO+qp6qTU+vhjkNqrgziifCvpZk5fko94CxJGUOnA9LK7DipXH4nUBHJfIH1eZh0acmw7elIfAm5
jns2VeyusHny3SXGl6mElQxyB5w18KxY7+SU831Zz+2NrsFclTZeYpRzfQtMUb93M0CgXYkShKzH
GR5rtNIPOsUuTAtXo2qXsPMII+8d52kTcuVo3+qkd0cg93c3AZK0z3Fbuk1JYZ074tVfsKvFl9gy
rVfsnfEJAMYR+dRoUZXk49xw3yy048+az4e8ocYToPTqK5j+JgRK0iEo417d0KmwjDAeAbtTnYUG
KCnhKhQoZnkAYCoXiXROiyMZDQ4gaI/YLGlKX5oi0wFADnxnwGDkezs2NHSh47EzMh4nfp1nPN1l
ToevGuo/POhKGIMVikvfTYsx6LpmPHJozN3rpu7CqfDKuwyso+M8ODrICAeMjFG7PE4zKL+mJcz7
URbWQ4m2Wdho3e8RwdimFWJBebLdC3PsDiPO4qgCxy0poIvLu5Nlpuq1cJM2tMxc3xYq60KSCbIX
HMLnFLLgkMufBmgSQIiX97i5QT6D3MOOF7z4hia/4C0J5cG+Tu+gk4tZsbUVCtepghxyRn7CzTga
LVOjlo/67z67kOlyznEGwvGrqIO4cMYHDtbTk8yb4tmEMGBYSSF3tajyW3jlli8yn6BAqBP1kovc
zf0Ru+dUV6a5z0dq7pXVPLCWZ2Fmm/pkzbb5HdhO9xgLrwmrWfE70NWlz4Dh9x0gyW5ZOvPSd7Mx
v0hHmgdUVepHCQ5INBW6enP4xWnOyr0DWM/sMAD7g/9NWz8ls32q5qx9qawcny5VxU9DMc8/U9RE
DyABeo9W18yHYqoF4sTkqII6Npxua/eUMpoBP1m1Nz1ge2cbyfubRYzxpejU76mg5CQsuNe3w1gX
wQS4523fTtOdzY32x2CrzJdN0vtQBR/23NbzzQBnkBRTPFmQvxtrfMxz08mRwLGLdnkJbI/fD3Yd
2sQ1vgI3L577ukp/QKY5DzXSwj1NOvGta104etFUBtTUFDNptq+OohDdMFxoHXhE4cMSi+amo5Du
67VGx2aeCRA8VWqcivlyGOv6pn/uTAds8NIRoQUE6WFKgAZTCdV3aFypP2YvuJ87zIMeEFgT+TS0
oP6l2QXUk92kjuifkLf1DVKvBYN56PiVxSxv0FbIjoVh8L/WDC5QWNUdjbwBhy4pmB2StktCIU1o
QA25+DpIw9mbsipOVUmGYw+p5zMhKg0ngK8IQNlo6mdG2kQiRZ3fj9mY1OijJjAag136yZkhWm04
Tf8ro32MUQr5AB09e6Pis3LZWIIAWruz55a3QLJnkDgZBVQtKdxRAouNaqNetXLPXgqVoHVWu8Ct
8AhxGEG0rQ/gEfrQwD2VGY6xcZlfqbYuBUscBuXFegDVyOwb5g8dvVGlcZOIfg/p9ZNhd5DsptbG
DW1tRJfJfHeRARaUIYnihlZ11k2Xy5OX5HAcyutTbJTfr19hVu6XS82SpKm4l8HdJOqMWUHUCgpC
aqsHuPbsxfVIWpn0slmYUV3Vb3XjIYUotqVWt/bwxb2IVSYtWV/zKHVTGc7KmSMIaZWHT03LUl/I
JiUUZUUBievG+J7P9NdA2UZJYi0UFp0ldwSPXRUu9D0MiPk0dnlSKr+D18UnV3RRrjHA0vXcUWLW
HdoF8zSNfl2M367Py9qPXxRs6gFGIEWJ4x+OwnJvCyKPM52dt6HxtjAMK9f3JYahbCDHhmoNQsxw
LZSCQHAfbbh56m/ABz7Bn+jP9aGsRNcSz+CVhM6SQn4Ul6kAGJAgcbg/9J0vxy3e79orLkN8F8CW
Mj2YAQwk8sY6mMivtpyAHtop6JRcH8NKECwlVtzExI+GSUpkKhyR2v6mzb3PbdMlZqEch0xXZU3O
SfFm4GvUNo+t3mrwrK3xZTzvJqbO4kaXZWJFnpOJXazxmRJGk4exymGN0LS+6lCxuT5Ha+9aZKG5
LOD826EIlYyxPNcOO/Q24LWNBNHVNuEVK9iWUMHK12HZjOcAQ7OYz6BtQn49dMsMMs3UVT5uzo4/
6kTu6DiCdRx7W6KgaztsEew4PUkbLC2BTz0oHO5kDb6e6rcZxEnfo/lGHX6ljvefPd675cphMAoh
wySOdPLUV1C2a6GGrb+WSelDF3XX9N/IsNGSW1mtZd/d6nGaU6QAE1z9taYvXffglLsRa5UZX6/v
h5UUtmyfO3HReGNrlGdt1idpA08dA3XeA8V5/fkrMflP99yLE2HODom0U0y+WdO3fuy2THDXpuey
D96thCOrOuMUhTqBM6ZPvergWVCtJNmusycg5pMNINnaJF3+/u49cGrrR9wGSAQ3xT8VNZ6zbjqq
HECOz03SIgHQaapLdwTVym2s6lSiZnvXDShEXH/6SlQsQfhNLgk0y9CynGnlq7EMifhqjdmuMuzw
+hvW5mdx+lCSGw6X0AWeOTvwkv2ORZn6rnY3zstrm2gR19yqheMwyHPh2gkl0vqQ9lvOOGtbaPEJ
b0lOSa8JzgcJtEPrv1nytzCTUKfo62ycElby4FLJA5cplBGohupuAbnPjJPugVlxfgas5N5L1N6y
Er0z4sTbWI2V9V4aPbRTDZcFXFQj6UxhN/69sCrM7EeHMsanlnsp4KFcCUhZhcbqDDOHASUKpf44
1Y/rD1/79YuYtqhhQxqVMtwp6qOTl68otxSBMdT3qKjYu+svWdlQSxmPvLEhSjrYJLqodhqTfi2g
d7uR8VaCwby8812yQBWqY62TsEjV5pfEMJ9Gwwh6bwNJsbJfzcX3mzushS7WRd1L2EEhm9zHuZbh
rmqeqsaugWKD+tH1SVpbiUVUM2GTuW9jfeb1kStjZ5c/M/i1ovy3sVHXZmoR1kmemHUGJadzjcYF
977T6U541cYSr/36RWBLOI+gNAUECyQvvlQS4ncExegSrH6fp8CkXZ+jj4fA/hHzMOuJxsk0n4UC
x5fS7LGaHZhcQNLo+gs+3qlsqeZRQp2lLbki0RhXp9FsfwNhuQFi+HiGGL9ssXcbFaW5XkKdCnnJ
sW8g8vx1zqqb0iTPaKv9vf7rP96tjF9e/e4VVTbAS3yizdmWOmhddDaVcp7LHBaQCUSCJym22K9r
83RZoHdvQp1ZEO6Bf9jPCp2DxvlKqdy4Q64oEbClJkcjaAHt7woPF/YcFJOufLOyu92c8qNXDSdY
khxAGv6S6vk7JfLeS61vI88fOm0/upl87AR55sR8vj6p/8lw/dufZHyRA8zGhIAy+lZRPjDoHsKi
BTV6MR4c1wDpTdbJ/Vyo5BDblTobti39glr0ZMIm94eXdPzJGuCI1WurfLahYuxLo2hfIbqDLn0v
Yagiocb7bNdAtnT9DJ4/HLfvbcBJb4Ac/m3Z5ggBhor2Pnd4eQ/5dfdmlNBThiULamaJLB41mSe/
6hVWudH0UAgR7zGDo2/0fXwb4zZzRh2E3BaWM54EbjnQnFZkT/TFeMrkUw3WLho+mnVlhLJf8a1Q
XhtKqskRlm5ih8StwwT8RXS8CDsLowSQF0X/nY7xD2CFs4C3yIyaXyydJp6+xSPxjjDKqfZjYmah
tJGWxdgNdz1wkBvZbG0HLtKlUhNXFkdB26XlvWWpk23Hp+srvpZllomy4LAycgFn4e3BsG+E92hv
QYdXTL3ZUupkhFedUdhOfe4j+6BuoFhXt75z4x3LINnJI73PT/E9sOLNHa5qt+V9v5F9Vsa0FEHh
uKkB6UDlWbGCKBhdlUPp9w2xdzRn45aO5MqiLEVQ0hJaV2acyrOp5592NX8tVLpFGPv4XMeW6ido
TLk8dzwaNdpob1JhG3482vOug+fQDsVrM4AmIwsTUDZePrUPloooVmf3PGWA1pAp19/Hukkr9Ox0
5/Np2LoQrqTspfjGbNauZMyiQFhQ7xXSyvo+z4BDJrCpD+KqcQ9xkhZPnxvQZdneZe3Uiy3I1pr6
PFl/ctUHqYMyMvuUxDXBj/7fpzcN81pTSCtyketgPNHahyJjqPOb89cR6kfh9UGsfEfZIvChwY/e
4kWeyh2tE79USR2z8kWf79SlTXP9JWsbeZECcM21ZSU7FHi7Keqy7IGXw8aRcu33L05KXiX6OJsN
fW4z+ZwY85GTMXK0eoG7V7nx81eifamv4Wg3g0GmUOfOJOHcauAKxvQniPtfrk/P2vMvMfp+I9lF
I5LC5ZHsq+5YZtN8AyKzDA3Zjxtln5UV8BbHJag3G6kLM5NIJE4OZ5bxV22zTxUY2BJ7P8RgMDuM
08jlwP3CNqB4rWq0jkezajZ+/toMXf7+bobqpCgS+GCgtTFVaTT0tYUSb76PO9i9XV+DlcyxxN6P
sWHkvDTNiFvJt3gARgBic79lCuBtpd+yyf7cmdtbhHWLMGul1bTnmtsPDWhcfmGpCGCkLQTYCkON
eYuINvMcBn3J7EZuDojRBHgTZI5dI2Az30mItjSg+jXxEOmxuKXmFv5+hT3FlgB87eaZM9c5jbAo
97U1ktcJrMsIMIPyNbEcD8Qek//x8ml8a9ExqU0iNqZ0bW8vUgD6hCTLYVwOIEkfpt63adoK/JUn
LyH5FMCJ2EDv+dyjzHHxZnth0xYHfeUD7C6C3nQmm7Ksa86Nbm6mWezG/OyqPmrNYmfOz1b1+qmN
vVTcnZ3cSGC3CKB8W2YA+AwvaZmBdus1f5Uo70so0Vx/0UomXuru6irWU+tmsBiScEYv33p4KCou
oB+1dWZZyQLuIgvYjPF+7glUZXNgEgFZLE79GKM+BDLOp1olbKlOhgdDGkjHbgQX8+6OlET4+TTb
oVTZr+vTtDaIRQJIIcMAKEgPEFMLDGVb79D3CYikG6uw9vhF9Fsp0pbitToroQI3F5GC/w1cRo6f
+/WLL7kHqfdyKhw3Mlm/sxgKE8CDfrFElW38/rWwWARzPYzaHjNQqgpcFFQsT8Qz4DEq6a5Ix8oH
yOpmoubGaq9s2SXJomhzJj054UY3tja06MD9K6BvEMBlCIBQa399zlayyJJuoQ2HliVzqwvo/nVQ
8U3Okw121cpqL1kVyoCIFUPZ/eymDQxn7QnuKxKnxdzZKgiu/fjL1L378pYJCu1qhODrbPQnxxoP
bUw25mXtx1/+/u7RsU7r1p6Rt5sLhM0IHRBqbP37+qSvfM+XJIrBhHaPqcz6HA+kD2URf4Wg+ZOV
WxXAf8Cu56zcuN+uzdAioM1iqjJ8yEEZKMqTHQ/73Ouerw9ibYYWwQy4MBCrOa7OcJoKgODtMoj9
m4frD1+boUUow8g0AeQWV/6xynySfGeX1gR7ZlBz6hqycTxfe8kinD245NKxc6yIpfZDn6k7mDgX
fu+5QGvjQ5cUgJpeH85KLC/pIQ3oJ0QXdRwJb9iNoA8HpQN/X61c4dti2qimrb1l8dXudW02RCPg
7PmImp0/OizoId9cCrH73DguM/kuKmzcIsFY7q3IcAbvLjFoEzotiw+pEO2Bz6n4XCZfckZ6LvsW
uqo86jj77pSwd4DFm5eRjdS6EhVLvohnNg3ECVCZSaFlrv6PuS9ZjhtZtvyVstqjLoYYgLZXdwEg
Z5JKjho2MEpiYQoEAvOw6t/o3+sv6QNW9XsUJCT6cdUbmSkziSEi3MPD/fg5KnE5XTluLF15+vzN
AMnS4kzVWnmywKl6Cklr+IUWlitXX+jCt+dKiVpblW3Pe6jpKHVWlMdbYgvbAxlUfxAFQNLQDBkK
6DoD7QBWvsCzaehAjjJDArGWVeImVjXsErWWQ19acTMfAPCSY9kEEpFZOqBIXzZ2ed3ZWX004sY6
ZWayxg6/dKOZP0iNyEQ3GxAPgKKgzDrQ9lvOjXqDw3t0zRJwFl1e4As7/ByPZeTZmNFR4oUsQA+M
GhwaAG02qcu1kyPFTY4zyuU7LayUn0iRRpAjtwkq7E33RUvNfSfWwDoLYzXHQDo1CAOxGBA46Dq0
3VCVQeNnG9zH8RombsH1zyGQCIEEstVRgVWeJqVb6mEOsJFh7UHF2q+4gIWZmNd2bSnDlrRhdlL0
eyUFtNWB5QaUtLaCbapflTb1L0/EAlWAPa/qkgQcwxZUOU4yGOOdFsZiF3b98IJ2nE0YK+vUglTe
lUypW8si0TmAtPAuM+1+H0BYY5+OZrPyKEtrYprRN95jbIy4i0RQnhRPToDWnHD7Fc+9MJxzUTrD
HDut6aeQQ6efwt783Oi8d/u8+IQ6FahgMuFmg/6+yG8O9kT1gSU21sgxJcOx02TuaXVwHWrq9vKU
Lb3MLKrpo8oK0MJgHGsUHdwqKZTHVf2tArHnTrT2WaLLIH64fK8la5q5OAIVVqDFhXmsoLxNMvBN
fedJ7xYlWzlULBnTzLXFTZzqUHDQjwrAdqctn6K2Oxl58y4ZdAPtKT8uKhtpbG43+XDkudyVEr1m
7ZPWBe+b6jmKEmrtVdmlASiTlXnQjKldrM2hZBqKdnt5AhaMYo6fjMMgScq4HI/MHm9Iku4lBHwv
X3phbufidEVtNA1NbeOYpfSUdikYcdVBRZ8Ca2V0lm4wff7GoCO7RpqR1tWpJ+U+D1LmmmF5CLvo
c5OBH/vyWyyEsXMEZeSYIWrZ0JsMOHCAxkdDa11TQ8NB9HW05cpQLc3C9PmbN6EpcJQCFHvHJNGf
BrO5x9F9Jar5NerPnmvScavOIpyhdUjdqY9xrt0RHXVX7Ck3sAIvUsaprNE5p49irXZlTMb7izrv
HEAZQL7C0a3QPGpDcRhS8KbEkOpsCp+R+xigmDzVUek1t3rRIocQ+2P4/fJcLQ3jzNi7DHpDurAw
jLV5HmswdQSWf/nSr+P1q5eaGXoAamZlozUWdCkq3tlmWx/zSvTJpi767EoUXZK5Y+ZAwxV9L6IE
+W1S3oOsbzgYPWDVLh9zBwcTYhhbi5Ix9AY7R4m76ItvXdHWGY6lEbpkE2qUZzBi19ACS9sw2alm
TD1Zi+F99cs5NDOuOwrhE64fjVyiUayO3UE0biOSNeTkgsedIzOlDkhd32H70HPZn+oRut9ouMiv
Ik2LzpcnY8Hw5+BME9QFWcUxzxHGxi5vzAmYTW7HZMVmXgfjF5M95zdqe3iTvuP9sctBEq6p2NrG
iV2fkb2P96U0cl+XQfOEth4Q/Y+pSjw0SpVbii6kfZ9Qx2/4kN0ZJTF8Xa9R+bfEiAOjA1axPJF7
pqjx6X1DMc3CG89hOlQVbQrt3TZ2brCk7kB+cwoH5ziaa3wrC1Y1J4HTgWzIGEsAhQ2rvaQ88iTc
7vs83xzkaWvIwdm9IseCm9fIad1oVry/PDRLzz2LLRynl5lZoT6YRX3xxWyZuuG8YGvInaVFOHM2
SYyqRjr02UkAUp2KfGcZxgkk//vRaVcisYW957Xg8nZy+ySzDbPqQElxnfGtZWY7WUO53nFJ1K3s
bwvmOgdFVqMxpihx1qc+JOUmCEh1hqiAuclausZZuDARc3WzihQFdFZBC2+aQbNH+wS4xKvCWUnC
Lb3AzAKsSGc211h7cupdDuZ8qwk3FvrGLi+ipatP7/RmCvpIRKNl0vTU2kOIBvMhqPy4Sc2bGKwk
K5mlhWmeYyPL1CICjfA14lKebqHpPjxRYJYat7Ad9FWg6T1yC960auWdfn0/PscX5CoUuZ4Cc5bX
kOjm5pc8cQovHZ0vgVGdWdh+uzx2r0Hwz26UzxEGY21a0cA08yg7+w7dUoWbJEp41Ao6l9Gg9wHT
DH0rKW5CZL5Ao0p3qTHssEEVrmiob2q9vhviaNxiB628GE3YCh0lTVlZriItOptN2WxFmWp7B+Vh
UM+EjQ8UA8TrGxNZZVr0XpUm1kcNjbYb2qxKeP96VZD5iw36iJbejoijRcPIzarkMei7b4MQL5dH
7tcWQ+yZb4kHQxDwWAjAGcydafMzI8G7snPEnsUxhh0KrYn68Jj1dnodgjB15wTlGkB5YWDmeInS
BqsJgTrAUY/CLRkfoNm0nSpp7xqWuR5JWfO0TTqJFuf0i45+8UCv3nnlyVTemDnRQN7Bely5TEGP
EoP9BS1klx/61/sEmWMkVMJCWTlFeOSm4TscVPVBuOWDOsu1xp6lQZ8+f/PwYZvHY9Jn4dEG7JGa
j20zulq6Ruz/a29B5vAI0+CVCps2QWMmAJhe0elp54Y0Ma+6uE7vauhBJK4d6e1KgLqw9ucwCRmg
emMEbXQceN9ej2GLdEBqvEvB1SBziISqVM7qxA4B0DSUy1l8hopj5vHceVfUQeZgCDOVtogLKz7K
ML4ihdyxSls57y7NxMx0eyOGL6yL+Nhha6aSbGkdomxG/YobG7NZCX4Xxn+OfODcRLsv3gHwwNG8
LwZBa5fEo76yXS+Ywxz8YMdMA33vGIO9z/iLjcZOBGnpxpDmwqIq3xdykDn0YUyr3oz4EENkEc39
5Ueb/3XZmn99nCZzqENoJHmGHv34mHWoy6X6Z7uCEleSn2gpwK0zvmQjP8TpuwJAMoc9lAaH5E3Z
wVkn1hPAVhU4g0KcpLrr0k5tf3TGtf7KpWmZxTmahcpo22LAeP8xqtIjtx7MLkBvvL3iBn+dVSTM
mjkp3WwbKzFjNLk23yH+fYW436UtpZP8temKvt5rDhcrIc6CS2Tmj3dLeJIaCQNJj0yaa1rLDqUG
dt0VyC1eXgdLN5jt0JFhhYXR6dHRCbbxMCDquBsgQ/K+i88MvRmdSTqw1A69/DyUDUAcZydeG5oF
+54jH6w6VanZ4MnTWL9p0uYgmmql5Lswx3O4gxpAvNR1hXYwEgckGo4VHUkKkVPCI7Udoppe8yiP
b4FQWwOlLCzbOQpC0pS1uR1rB2TgY7+o0SVo8wGioEnf+2UFObt3zQid7v9miwXSZahZ4oTg3YgG
1+jN+Eb2bNzmWSpXbrE0L7NdHHEyuhiYE4GTqQPljICEEDhX3+d1f8JEkDTlGs/jI0mKh0HI1g8r
e19P2O/akiveaukNZiYOTAevk2SI0J0mof1DIYmw1qSwtLJm9jxKJ+gjwuIjKHj9UcL9Zt0ko7a1
1XCd2vojSMNWjG/pLWaWXTpOQAILG7gVUS9t5HcWDSubx9KlZ3adlJ2RBw2Jj1GqnUtH+cwsV0xv
wRDmGAikw5oWKnfxEd1KBxa99JJtQ3tw2bAGX12IPub8mI0FwVBlIvqwLPA6pR8MwwSA4D42vwLh
5F82s4UB+knZiWNzVTrGvqDo61fPyXsX0BzzYPdBFSdBAIdksitRjtI1m/6zXvFnYsfnkWmnlGZ3
l99iYW/4CQBhI6vlpPCwJNgMIwX/1gdIG64sz9cs+s+HajKXeMptqJCPY28dOzHowtMDYrs51auT
jAzte5KzBnxdcX8VDIDQ1XpGrwrd6qYT8fClslUHcIyRnoQNHseusvWbOhsNv4mNj2YI7rIoB646
Lat8a+qFdgPW6HRzeVSWVujMO8RQN6SUMygITcijflTy1mFR+NI14FYQRWutuLqFCG1OtTk4yPY1
ROAoZ4jPcWYLrzWtW30oz7qZPKfZeM6hMDw52BWyg6UXmzmMTiCizScCTMr2Y8Cxbr8k2k0sohWj
WFpOM69B4jSydcqDA7eSL5mwvldFf+ra6v7yvCxcfg6VEFU7DITg8R2gC1jcdN4YQVzPlk+Xr7/g
uueAibQzYmaMoXbgidzRAeSHkV5/5QY5xrkCa51qd2OwNlYLDmSOnchUHqJnrtMOsaZHbuNo92AX
XEs/LI3UtADeBAEkRe9NbQzBYTSf+h6ScAbqN/qK01h68ummby7uJGPqFKOhQRC8hHCwDRm6D9Zg
xNvLs7D07NNt31y+NA0BcPwYHU3mW1m/NZThJYytnBkXTMCa2XZNwkrjOnZ+VRxa5OWqLAfdBw6p
MMPLz7/Q20CsWQRgNKRkoYEXEGmSb0lfmHdhEhUQO0NKxUpD9GFmjfCFzuO9gRLdPZCrg8eJWuPx
WhrBmZmzUYXOUOXaoZImWlw0ysFXlziC+0ZhDPvLr7l0k5mt54LoVWuiAdOhmJ9UbDIoS8lqWBnF
hUU2xxPwJhV1kZvBQYFVlQm0e5nae8/cP0EJWhNckI0WHIbhAP4csMKtdfQvPfYsOzfWllLGtHXU
DDxqgQNNJTtna8TxC6T4CAB+tA2mcRznVGodC9JU50Cm1l5Wpb4tW0v7AMa25CbviebVoO7zHRt5
3iJiL9RpaOTD29hebwLepGe5ebB5wk8p2EUFVkbEVjaYhUUxL8Bptuyy0ZTBQYZ3VDyYxpWxZrhL
l54ZriDtmBFdBdC0sobEYxpqSyEVwDckPHaeLy/qhel7xQm88T2F00lowCAp3JEOhXFnjL7ZY2Q8
Xr76gu95dRhvrl5XIGiWIN44DBk4dQst+6BES10aNC8OeDEv32ThFeYoEJSwIhGaWIHMjK/SsNuo
WK3Y5MIUzEWvakXqAr4tAE7gRlK10YsBS22tfrUwOnP4h60pLeAddt++tz0uRp/0DprOx03WPF0e
mqXnnznmWtcR/FTT8+f5NoBOs1/lzoOWlqF7+QYLAcSruNObCU6gJiKBWI+Pgqu08nVmJLeaXSZo
BtSKT1DFygwPZGDN0wghoM3ley4M27zyWts2KJ8Y0dAMr51UGd/KrtyhK/arqRsvl2+xMG5zCCZE
J02mpxU7ZIUGFh/9u2bqt0MNoO/l6y8s2Tnw0lZZ2POIq6MGrVxfSeOgR3Kt8W4hyJ5XjZ0ma/JI
UnnMAo7CNBJKX1jWOJsKjKx+bJJxwwqQ7AipAz0YJXJtOS+thdn+mMVBL1KCE3TWXLXZlpmflJEi
//0NbA9eJdY2nIW5mYNk8gKJkT5EkpoXnTtGlk8LkD0Yaym4BaQ5mWNkerByqKa3pjNKCWqrvjnY
QGnlOJRw4YM1MYSGFrqAg4EHd1DzNhC10cZ3jNLxSZcWV3nG7A82tKG8y2tlabnPNtg07UurARTr
yJq22hHLsR9rMibclXRAdaRPQU92+U4LWYQ5siYCp2WT6UhtcnBpp+lLDCQJgx4uba8Su/Av32Rp
+qbP33iMtqGanTY5wpw88UsbYj22cnP56fLVlwxrGsQ3Vy/A1GjWUZAdrZ7x6zqIqF/SSmwvX33J
smbPHuc0qWLNlEcSKZlDddDI7zTGgGkYtYlbpPzWjbLwzcBUH81qCFfKwgvzMmd/qstGJ4mo2JET
9DOBGL2GAHxbQrLeYTumOiSWrNJ533KbAx6MFvyJBTPYETHTsQBmKm0KVy/Sq4itxNFLczTblBIV
aODgToZTqY3yuoE6qBvXY7RSiFswF312FECjIEQZIXdxSrOdzoddF7xUZejRYK0lfenxZ24O4MI0
Z2BIP2Wl2jYB33YBu7+8vn59aWvO/ASFbb2UAv0LVaffApBzTpJVZpFfjwu8xI+WgeR1bxPHwGN3
jzF8vs53XYM09hq+89d2bc2Znwzwrve54PLU09qj4hOE67xW+/6+gZmZtW2lIIMuNYhlxNYtiLU/
QD14xaaXxnxm0xjgLjUz0zz2Wpa4TgGBlTbiK8a00H5vzVmelEodAACBsulF012nIlZeGJlfQoV4
yQUpTXUKC7O5aiIthXJqmO7QV7iGJl2acevHGU/zQQdBOpr6e8gHu9CF/+wk0YaN/dbW67XG4KWb
zIwZShpB3dQggrRo9hU87x8r8Kg7wHxbdf3xfZM/s2hmmGU8TlS2QMM1bmikO5p077S4mTE7adm1
HVPFCe613PVj1Pm2gJrI5SdfsIk5HxGza0j+JMDCNim/gQbNCcLjR73lu/ddfmbSvdWUNHPq+JSF
BAoigGNZ6VWStO/y09aci6ijoCeDyFN/dHLtc15gX1PRX5ef/NcbqTUnHYIWDvjaItqhdh4xj7Pw
r7F10OU9FHd2SHuvcdAQnHWar0XaSglvGpSfU/PWnIMokGNvw2uD6MZgHiPUratzeBgb7o3jzhb1
5vKbvdbMf3Wfyc+8iUCGiZF6qIaJ/JOXbBPkUDhoAyf1VDB2H5BV576do6hetVaNphenwNEF55ew
V9l+NHr7SnRN/zAK2bi8tbJTy0aOibXFHnrP/bMa9XEzSs04VE3L0DWt9+nGANPn0YnTGApRWRk+
hZxGHgszfd9PlK9YdeBKJkzb1JbBfOgW8AORUb2Pg5juFAe1LZXfQDzXb6mww7NVC/2b0Yq7ok+U
5hlkdLaW1qlPTdTE+6SqlacXzpC7Y6nRwTfKxPZjQ1aQ9ibWNu/EuFO2ju6xxhiuLLD5+6EyKz/J
tHKroqy5Dft6PMumJAzUbJOqL6TnrzVdWdcBSiYrM7FgfGzmNsyotBXncXcsqpdSfOL6BydZ83pL
1565jSBo7JBBF+oEBiWAuao4RsCHPgOwzbdF/PeK/de3/n+EL/n570VT/fs/8P9vuRrKOIzq2X//
/ZBDNi37j+lv/vM3P/7Fv3cv+c1z9lLNf/TD3+C6/9zXf66ff/jPRtZxPdw2L1BJfalAA/J6fTzh
9Mv/1y9/e3m9ysOgXv78/VveSMiR3L1ALU3+/s9Xh+9//s51SAhPZb5/vb3HPz+YXuLP36+fxfPw
/NupKWPxv//n/6rS6X+7cnj+/vzbv37bP3/Ns+f4t0MlnuX36pfXfnmu6j9/Nwj7g+g2NS1KHcqh
Avn7b93L39/QP8AkYjiMc24Ra5IOBji+jv78nVh/MKpTE+JrBMrUdIKoVHnzz1cW03FFIGZBjOrY
5Pf/+w4/zOR/zexvODSd81jW1Z+//+j/uGM6zCBg+OTMZI5p6LN1NGD/EabUy0cWFDuKoDUjzFcV
83O98fHH2zRTuyQfVg4Sxqzj8+8bO47BTJtMjcrzfDBzDLOoa6t+VNGwKaHVWBPyGDsplITQK60b
2UbrqgKco+01Wk9bN0aXhJtDYQhK29QjDt11Emd7Uh1Jz7ZmlH2B2vQmitUehP93SalvIKbnh7o6
gGz83OVfDUhMD5mEV6K34It/yNXXyK62rMiuSD5uqow9JEN77bACQRgdN2mfQ7CM+fXY7yzIenK0
SrmUOA96rXPXQr8/iPGSrxFRO70SN8hbugOJn62QNoe2tB/CDDQGpfpsQpiJEH6wkB8Wcfw9koEL
aaFbVvZ3LUN7s2yV4yWlfdMJ/hBjNU+XrOryAKGcxK207pCW9oduEnaXYCLZIkXtawHEhVB81dJq
2zDq9412TEzi10hLIcBKr6QefEPxrDzITu6llnyPoibZpmlHdhx+1AmCjbLGL/1QU7eKtGir99rW
HNsNlKYfdQKVVyIh9GeVyGwTdtOAfwX6PKlvBKnPLUCl44L5XFRHpRiYJ7Mrw9Y2LM+g1DZsBFgc
3pjeP8v2h2X6o597XS6mznUGRmyAZM05O2hRFVnTG1r5qINIT+/pKaLV1imGTRHT2yFoEmh9dh/M
JH5oWXiKoL5ASumlggOK3/p1pO5VzbfFAJmlMa4+haJ/EjXGK1e7SKN7M6j9ZAw2kdH6NCZ7npm3
Y612ceAchgI8e1kubiQrznnQP2VV4EYRpj1hVxYtPxkgl7cAh2vC/lRI6WldErnT7IxYxfmUZGgd
KB4ZkACi0wK3rU0cQkx3Ut8SAqj2iPkkEl84aEtTgYp81bU4uWRfujbzsgYa3wZvfFDAfha0PI5t
esNNum+sECXy7JyZ/CoR/QdoXH9QRXHvhIEvhHYqUvIIOee95QDzW4ZboxbeEGRnDjMBWuYmNcst
J/11G34DrBdKBtk5VHhWKCUJB6lyAyvEqLcWyEts2RyxQK+iMVhJaxuvp/n/ilL+nlgDYC9OLZNY
jM7OCG1alpnsWPVY6s6DYs5DAvoPECtsh6b8VOpSeZ3Rf4ihFK/q5LrulKvK/C5od+iP8wLaf0gG
BDBFchXbzga9mFuIPbqmMq8VBYRBqjMLtAcyNH4s+JUai0NjMR+KaKmrGf2pLIoD7emO8PY66+UB
5AZezbtNpeqPATxhFaAgbZGdhL0lfDjFaesplu8gMHAEOy0U7pKvQSSuupZBoCxK/EJ2T6Wd+Kqx
8ET9Jo+zDasaP63rLQKWnRXCWfXo79PNbdu0XlFnntZPQ6/ObQulFdpcK6f10PYOG043IJw45LX0
alVdh1b7IbMaP6mAQueg9CnBsB5B9czorjPH3EkVjV5tZFA6MaGjlfh57txExRNh7YcAGkx5+h3q
le4I9IzWc1e3v5UmXsHUjpiEY1OpfUXzcxLlrVvn7KAseP5AO1+25Ff5pJ8mHB0q0N4Dd7ExL5Yk
nGWMxqp6xFhfNzVcSkh34UC9ish9UQwfnI5OZAa3OAWdFYe0XKJ2NRjctB7DiMWBxNdnkmQbB1zY
biTyvRrZdrTKbUnIPmDEq7r0xs4av8+bj5UtD6ZlPRZB/G2yEhN2G8Ltl6z1gsE5MDSVAdS1klX/
8Sz696K2dGzqtk5Mi2GL/iEEJ8gBcZaO9WOU8MKzcM8ORAUDurXdPkhWfKPxK99oEUotGBFBYXlu
QmAm01SHrZTkUMXK8i13uW8hRubhqS7oI0o8JyjqXZVl7qGLwdUbyHkbLUiteCA3l6d3durgDtpT
pxe2Ic5HdWLNT5wWTUNu4Uj72OFsMCbFQXOA35021UKyq9ZmnlKIMgTZlZzsW6X2oAHyFKXbDPak
p43PcnaT1NYNBM5d+Otj1PCrPCo+9VKeExmeCnhUs5WH3GmuzTY/U9M5x7T8iLbZU1tQT8YmAH/t
HavxmnJoPmZNcmNp/VMprKuyAPItCb9nWbFrQ+rbQ3OtC+pbaYwsnf1gsv5DleAmCIEyW96nAyrg
RTiU7sCLyrOD4cnAb9wiUJ/DzLol+IGrCfh5U3uodHbVW9FJQWl+ZZKnFfPWakDbYBKcoC2UkAwK
bb8fV5QyAhJHYCd4ZJq1L7GLWyL4e+r+W1H+dfytBMHTX/U8hv8h7F/81f+Hkb45mctylH8fy/BZ
5eXL2wj+9W/+id518ofumNy2GfC0IJLGwP8TvevWH3Ra5AxRuK7zqQ3rn+jd+IMgOEdUzQwb0TWc
wH9G78YfBrStwC8z/ctME6eB/0b0Dq/547oAP7PlTDeH42YMZ4VZ9isDuWYBLLjcIWHxLa/OqP/Y
bpHI0VWttkHHoPAsLdGumjhBSDRA1iKrwkdThwDqWETfw5LtWS7+kuilc3sYjx6hc2GKqAGSV17L
xFUOMx0NuN24090wl560IZbr6BS9lJlXUeqBu1n6ORcZ9I/4AdTmm46CNq+Pndibgqsok2dus5tB
s2PgPsJTmOqtB0SlZ8lw9HgJ7gTbIreJgIwqIp3prizJziLQNiOtr1vs9KCk8grIBDkocmkGQ19O
pbZM5PfSGYUbTJ19qYVNT52jnm81MHjwSnyBo9qnGT/oHC8eBu01G77WRbYBL+FZs8kutO5qDSXJ
BCKvSEnoLPPyiO57cgeBAjA5RMGDnlpyVwAt6ILwUxzKnh0cB0UjpcmzjBF3Zl3o7MCNTLbYOZ1d
1XzN9a8IPLeaIa50UK1GFtquMw/bnof7obXy2uDanmhkT/EYodBvirHcMaLc6dd1LXYi98YxRPHA
OEKl934UuWtzhJBOUH3qcrCKRfF4n6L0Rov6OkIdSEtQSJ2Ug0ELvrETCKFrduUS7aOOycAT0c54
osg6xfqdaO4k+sAxoZHdPRXGLfSYj9ONQb2/YyU9mVTdiTr3+fi9iNovIsos1wrMSX1gD3I8Dwax
heb7p4nOBPKy96hGeUjVbHouNtOqQHbrBoLQwmW1tgG5xz6LIlD4JDjHNfJLmoBOIjezYwJATI61
NkywmdbZUqgRp0WI5A3mgPdPhZ1umir5ygfnIar1p9d1Iwiuht/wHFtDjsI4gn9J2bYxlI71Jpo9
6jo7WuIp8bYQznyCKNiDyPtdGuSbwrRAlc12RaVtBrO9ltgX7fyjGaupyfHY9ptp+2htfsjiaKcV
wakqRt0tZbFLBoTpuQCdwLjpnBzSmvK+TUKXZuEGGtnXEUPQ2sTfiQwdNyfapjOS7xD63qbNnYXg
c8yjk0wq0wN99yEhxTYYYnKKGc8h38o6b+ic0W9S7JJZwr9kERnuCBXpgTnZVdYU/B5VPX4l8Z1T
hgyNxjk/ZZMo4qjH1Bd5E22rVkbbMuKmhzhT+sCJWdAsLoJtAc0fFeJn0Nxi7uuXJYEEbYwWw4ik
0Q7kBNG24Kqq3VHvI0wF1PIy1YCryHmpWwv1CE7OEobjVkZfbaBLNdzVSVltpgcadKA7cjatgoxJ
r2vlX9D5hp/RLXaCuI2EyWfS50YnPQgeSQ9IfXGy61ruSObEhzqT+Z4FebSNEIruYqmh4FfzDDFq
4NuyxQkmiek5JAa/j6EDscFW6du9s1UFgSzCuNOV8kQZb/U0/wKmadCHpd4og09KhBue86PonQ3P
hBeW7Ukzx5VQ79ce2LQp8jy6g1165oG1mDokJB3OBBps3r5rEe9E7CvA6p7t9BiG9A5KrxBkHp+0
1RZjYwYSwL6EDQAxl2OZhkl0Om8GtjLWctGk+c5wyA6aKkcV4PTYKHsbgUc/yAPhRru4sjaTd+0r
vo1GAywVY115msotRFjFEWEH9/q6Mb1QT/9KUxwduKM/tM2GasUDIlmcN0acpBuym66SmImnZw9a
gA7ksLtlffxparwG0lki0Sw24yA2bQk1EQkUua7kPdfzrQyH4+SWa2Ef6rh1RSh8QtiBYl/SWvac
ieqKt6ZLYLyT4Yw1P0Cw+KTaEFSdw0Z3Ij+O2b4qWs9uom8df7RbD4Rhri3yA0TdvaS/wxpzWyaR
BG2+hji2GUDy50iOsYR5U1JiOvrgaO/GhuGin24HAeIn1eX3jp3+RRNygxzeTdizGyvkVw6osJ1y
jF1nbHW/iJkH7Xkb5OWb0bH2NahRErN/hNs6tOjEhy4Hqv5/KWYferhrDce+kMIXQ5W5E1+HTN1P
LwTFc5y5j2Vv926VZVd1JT+DGmpPnU0+0huzKo/Kun0Tz/widTI7i7wuEFTLdcYMWAZWyo+RYyWy
CYyIo2fSlL3bwmtDbaH0cuZs9dz4evlmr/HGmzj19W4cCkS4kY04lc7yiXoVt0042vmO5fymidF3
gF47L+qi20oPYYOq2RUIwTWiQyY99AoCpcS1N359pZ8fAtIInJhgIZwXd5wqJBKtpDnqyxmOHfHe
QpCuFwGiih2+gBvKXyd02s6K/qkVwuOJtRFaDnUY1n0Fr+1WUWwWmunj8ISNFNLeHGR7+AzsZ7tO
VRv03LvGAH/FtEOk6TeBPZ6jqttPAUJRU/BadvmzaX1q+8BziAXwpD2dWoA0sB4CkB8B2WL016TO
90n0nZCvTqyfddrtuDChkxmugENnJAt/uwlnyie/Hh6wFH5cBdIw0cEJLN6u0Qw3N/SDFepezxrs
bKPXinIzWuE2FKcq+lgZJRDUmWeOZ24Nftdjt4xPPQsQjEm3T5AdQ860MiLwjQm5y0M4uu57rXV3
1nk0ohPp9Rs1tndD3a4cgl6xtvOJhQAPYmdqQBd+3mXUOfBPpIGvbXrpJkUOfnSyg0D8Z4gYbCrR
7qXVfjU6+yToQ0eHG51pe71EDFubz/+HuivZjtzGsr/Su17RhwDnLaeYFaFZqQ2PRoAzAIIkyK/v
G2nXqbKrqt3uVfexnWlnOqVQiATfu2OH+CTMBKbZ9JxuxRDcU6VvzISZk0w7LOyn6+zZzWM6cPYn
lN9PydY/vXDfsaMIJzUJfoqL/4GTc4RVdrNn+k0/Ou+LxQ+eFSRVuEI2NjMED89NvODk1Iu75ZGd
klmfpRRZhywJgFgkYc3683ATwxiHGDL+5CH202bxz68P6JsHN7QNtuL3l4fTSMdXbOg3puwxPOqU
uDjMkVf1yhHCKYIaNUkdzuDgpnPdXWWRDcMDBLm6MSIMd3p1bqLZeUSZTy7GCyJBYzLcjXWbuXTE
GCZvrbWIC8WfSOturhgOHmY7RInECzhvHkxpB1ir77FOkwFlb0WKNOCPyeFbj3/+Lw6oCGwLSFA8
scM/6kUbfy1qp0Ugj1c5t9dpjNoT4N8j2ufy1m7SpfK3UwmlBJ4oy0K3K1P3f/IS/tWJDMIFEbJO
iLnhj/U9nhDgrAhegjBAQ+xwh9M0Ueb9OmWTkh8I2jKwinwOFnCJkcXU9C9e5eWQsX5fp2yf/Vlc
6b8YYlwbayRi2onn2N4fNUsrhR8DMf14V+zjGsi7onIvII9zV/QXGEM/URGKeBt9EzRBVrt/RgZd
R6TfX3347PhugDfAi6B/NGXNkhbWojxcfRg8A1D9w6OHOtg2sDK7cm+xp4ZUbVe8Fl+ygzX/mb79
pz3kv3sBfzgdJWUGNch4YNSrStZ2SNwQtDR2F3xXXGr9nGY6n159BXldDbsaOfCK/mh9rF/rsh1R
Sdn55xX3M26ZjVIf11OfgTa4XtdhDSOQGDZS82QZgptCAS3CvBSCn5pmGACj8jfp3F+Ccv4HhO3/
JxzHs3HV/Hsc56b/j/at+8/hP6507D9iOT//3K9YjuP9QsCpounOiyD5xwr4NyzHcX+JgJ+CVgUe
jVvz6uD+DctxyC/gZwFnUgKVSPDzbv2NicVvYcYJfcwZuJs9D4bUv4DlBH8oKwNnY3t4TTYKBT1Q
XdDC/f4QbqZ5tBAmhQYLgr7f8iiVc8NE/96jZzXmtMm7oryUjv84FiHmxGYfrCALqrhx6wMsKj62
N/tHAC9MYvlDzB3zxVYnX1p2dBNQa2uKUoCclGCt6atVkAVcXc/iyXX7pJr021TSRCLStUbi7zoM
x87DFMPCIKGufKN4ztJtdR9V5wEaMZHOLsx5eRGC9Ev6PdzKath44V6Gl7P2dRzgccoSzo8GRruN
dLPWSWaWFTqhJJ7H2NL5UsXxEGRoOGm6nW3FBu4GF8TJJapvS/A1YHmqQyly2UM7mULkENZBLDe0
BmCfR+6uuW/uq7RKm3PBvuWjY9/Jk2fHLaSWduzUXtysxyZvcu/ZKtJFxu1ruGzEPbI/2zp+sEhi
94lkyVB+cXLX3aswfpBImbaeaK1jD/cyYwmSKR2AMWh/ECdZbWwVbtYqGSyDvrAyASQW83ZNd405
KvSJ+uNtb6HGN5djcJgJBO5NMoCOIhsU/WmaIOxgfFk+rFfrdfmwf/5s//z5+iN/09+//sjf6If+
ph9/+2v6rt6Aamzcj+nb/QBKg3h5iyIka7mZBiAJebSBOpYibNDFHkI9YDUjMJt9I9rX5qYacnuO
Ytr/kDRegxSgOH1p3jCSTtDg1w9zyu+Mvat1xukmJkm/42tm2nRmm0jFc3Gu24R4+czTCZhOf1ZI
U1zPvpM49BYfKyAb/DiWYEjPodoGkE2tMJbH2LKA+ng5tzIzpz9MEk5RrJrYWZJ1j5qm68/1vUmM
ghEzjl6nxD3HKsP/F771LiafOHjdtGpbiQ8anj3UKUInAIUZG5MgSHwDYjJdLvg6eZFIML06dR9Q
xug+LBf+Xth5NFza8hB0e0O33QFJn2LLR4jUAOv5zR2zPthwbv0jRcBFzjb44z2HbfPOOK/wLVx8
O6+sF1yqzJVp4AYJgXOBYrG2K7zCBaWBFksZD67PqHScdnWdLn0CSEd5KnbMhY9bZ9rYaxIGMB1l
Hb7g3gMvo+XJcDuBAD1OUGbpFSenOIkjCmhN7u57fQxvX71VxREBI5xEZ6X3nGesx/2dLPRhsC7D
NCbtimAGlVb2pZri+Zs/lDenNIducB9+59KkvXUzv52s2MPyGtdR0rnAE/OS34ohncCP3dgZH9Jh
zSIQIljFH6zzxDN8RLpkHssGEMRowtDFvqHHuv0uyueQU4BOmWsd58TVb8YqssEB2W87G+CFWJBg
qaItECZk0ZVdokob+CFy1/ih0VVCyncWgo8b9qo61vrYsTEW9TFSIi4sVDGseaQzcbHfGMqUMO88
RWUs71r5jdbLmC1J25gsoHF/t/oaobQjin1iEeKAOVN3Xw32tvss+wNFlEiiJ/A/VtzrCKDk9b/D
zzP2Grw0fEer2OxI2jgAZRISvNbFkvDgK5qtZ13ljbdtxG5BdD7gokbEIXvg5BmDAL7STWfndfcE
PPHKP06H5SZ8g9YAyokB6fTYlGC3Pzi0BqeajT6UEvnYXOzloQKWLvKJHcdT8DzjPMTuddveRnaM
vxc3tn7+S3ceT8Pp5y/j1379HRvHqwvoMV6vB9rY//a3NyTDV38qkVw373Awrof1eZkh6UUbkY2E
WZKGOjVxeJHujVckZHnHZe+U4E7fAQTE3XDjLZAB0GfLzpiLrELcU9KPr3Ct5QRxY7+TDi2k1l0A
4QdjOyYsIDIATbrdUKGREXVdMwDacNkXNEdgs/Ie26yYszlM6yWIq3UscVj7L4ONcxVl6eIO7yr2
l2sDK8wygIvi7j2MC3zmNEIkbkQB5oBvVtGmH2JEzZq4iMRLgwW8Sbu8ngIBMXQcvfnH6h3mc1lj
NpMn3t/47KnH47FgcdRtQbgHILZ5vt6IJW7dxFvhu3zpFBQeKyo/JwtdsiYrQ9w7qCYK6ZotNb3o
IMR/V7El3xRBCdrew01b6mfXM5lwoyzSHgiJNav6Im9m8Q3vYyIqHLFuiybEPo70nNb0sSD1Ox7s
PypUMsTGMjFCI5LSq1PYJi6tRm7mCJmhu8Tremv3ThoyAFeRE4fj1ZoGHWXnQ/UkDo1vp96CRHir
SdteZfP8PbNjODzX1rwBvFPHpc3zKrpYYF4gVUF/6cpwUCzlbYnALwhLosyUa5SoyHKxgU0HGp1b
c0+YiUmIwZ26mQ13CKYPBFwIeMnmac2tGpiAefXIdFNX5Gi85hxAHdM2/ift3CNzz7x7+zma/aXx
9Cy+unutvr706U38kW38P8gjQoVno8QKjph/P4Tev3XsH2fPv/+ZXwfQIIISEHOijWQwB0v2VYz/
K5kYhL8E19kvCm1Kr0AyfufvAygQLGxnsC7awD2us+nfB1DIAH3wTZFNHAyn0V8ZQEE//m4PsygS
78Ax+38MVpkL5mKVKYsNoeZlKkeSTkzLjVYF2dSMI5jTXdrMQ+nzvlxDFgsb8Avax3UyslKBP3BH
PM2a5thYzpzKpZKp1SKJvnO617LtCWZMGw99mA7fFFg4xC8UbU5QKZ8Z20ULWTj44NzgBVmJZxzo
ol00jdbeo9+XH7IJVA53rbhp6hETSB3ptzKal5NjA2GHPqAEEVBTaNUUkDskkkDr3lV24taWve8k
UrXViJKkmdJoL/zJzUIpVI7vNE7rsEWFS2wjdDnFSI651IT+bVS7Q2yC3n+61rElbe+JxCltHS/z
2qdo3uRZQQqViKgFqQdR964kGLmmSTxbVaTvew5kkFO5PJWRwT1f8uULGP6YRwr5swvs2klnN35C
8QDFJIow3ajvYHNrxLdlo/XEmiSYQAB58eyPAR4YwbQB85iFi12jUoj0Ofcgc0MBbwj9RoijhQQI
tKWK3aHxmGfc6U7zOkb4IiRptyMKSbYoCzJJpBGl3ujrUFix4C7sigUo7byePLpMqaWVOXblMKOm
qrfyMJyG/RKVW6y9L6GpeUYGviQePPCJ0LaIkYPU5IgG6ffd6gtMB6oO8tGs4YbM5oFjWA4NUNe2
r7sN3BgntE1OiadQt9ugRXPbMHNs8X5vnABSJMbshxVqKX+uEBCAwOGYjB64CXRlx3CqQIExBVbc
hYZtJZR5re+MyOGc1XHUXQ0lJRQk1jB0+BKb6HVwNKYtCLD2kLQXiEDsoTMpbPE0Qfl4P00tKFmG
AV3W0AijZVMDyF1lkzQzBtXKlOppHIdxE6zzgIHHb7dRS5tfnSR/6QT8t9v377QW/3qN/z94QGKj
/u/Oxoe3CvL/Qb/9Tof98w/9djhiO4cFyCfQTPiu7V+FYb8ejn7wi+M4FGeTS/52bP52OLrkFxuR
vWGEeFTcs/4VS/vb4ej/ghMRMjMfQgxgfVBu/IXt/Kce+e8QkQ+ZNV5B5DngpADbgef7/XLutJws
DHTDpmtdQLZBvegdjAXNUXbCgaig99DyznSfVTgm4F3VSxzKOcjcuYD1gfv0sR97k7FgqDJEpovd
YLfMPwpdTzBeidK8LCOtnvH/zOfAYut29aX9o4I25Z3NlR8TZ2nTaCE6meDWyBz2pyAgJT+TiX/3
ReJh4gCIo/QqBf+nZOGCSjtAWCzZ0Dmot6QcxONVOz4eTFCg3q+w1y4rwPosqV/4esobURwWv+sy
NBk0H9BPQQcy2s7tGK4z7v8oeEJWIbvHYw+4NWSejoq5x0NImEt2C7UEqpeoM92GaNhFopfnKZJy
7XI3x7E6XUho/PcCIuu0gm0NM5MpjmhZQKF60eENoUNctFy9+67RWwTcOjkY0vDNXJsagS/M6FKY
EPgQK4iKNTwn7VwhjxGJ/J6F+BSftN2XwaT2rdHUoHew1hO1WWam+nSgY3sLagaMD2QXR4EH5Ana
Y7RMarCLOLSpODuIjNSYWIX8iOZV3MOS6bjpSCT/wJEXvciKddgjFp2GA4kYtiaGRYnhAGWZKWqU
kwlo+R4tRDW9uM1MIc5uVoHp1qoGHHqFTZPVIKgyQXVE+wTPhkrUQq+EcjBDFrq04SnsoVgNhgIN
ApgotmwkPHVCRydCLSDR+7q6LCGY4QJPaWDbdvWNgC8soyMvbsKiUk7sMlj/vBHh+lQ7Vgpiz5xI
VAjkfpdWPq+22tZFXUM+35RpDYUBwJjJqbADmB/aKxssMWZqP01tmpe1YAS1V6N7miY2Ad1xoDxF
+gIKLSb2qIvKSkW5MhovmGliQyo7Rxg0FuFaCfkZ+bN3LlylU1ww0NhaTGC65T1LEUh9HQdstceG
Qm/ECJZiaRAPHo5U56UohzcdRsCN1E1kq4y4KK7t2rkHF2SGnY+ohlstqHPuCDbjFpiO1wj2iZPI
QmREXyeIVWI5xzBz6KzWxVLjWLuqa8hTGEJD4/UOguNL7JJVY7evtauD2wEZkt9t6SB0E/K/8l4g
EmvFvrOMSV26GlvwMh3X0AvHfdfby4+g1isqVEIWwGYc1SR2PL1mjoMhqO0YTgLUgKwuMB9nKo4K
iB+yydW7xI0b+y1yVxxHBIk7cUzx1nLxwCR+OSGQ50pBbBP1mTeZXHoQS3kDk2c2oaJ9xVtWyLG6
zCESEJBd7R2kIRlhV76FF3vNyJ0YXJGU7frp9+5uNJB746F5rKKhzaHfSBDKFUc11WA55fQ8U7Iv
Ivqhmoqmjs2+LHIvhXWDfiOkEIkuXiZ+a5ryqdfLg/KhjgbPaTF+D0vYHeVyW43o8nQQwFlhlxnL
k+PXcVEY4JTVNST9ihnWXYBzTT10nXqzKuioA4OxDjd7XPhejBAnpAE/LpGXevX0DlX2A6/p68IX
ffItAFOWigqsXdq5DLT6XDgDlKCNuRHaOtaovZ4sgaWIbF2YpFb11TruFTpFEzWEerGeWCrXQWEO
Gx7sqMtwIiVO0eEiHCWPXREeddkUUFopqMnBKEZu7Ngm4/MQs9Xb2thuVUlivKm8TBTXTlaszkeD
agzoLMATjGjg3TVIBN12Yffg1oUHGYAntppX8sPhVgd3GqtzQzxAncuZ6P7Fqnj4ZUWOtYUua1/N
MzjNEiucp/t74sGq0TXsmZqrSWSKAMfRWDYoQW9X9Fo+z73WG5+MWY/upqTGgdnU19bLV2/qMFk5
wDbr6quj8q5qHZHoCMe7hnJrvnLBJXZDr30MvPCBhze85A+Vg20TcaafBTLyMFli4Ba0OOlgjF1N
rKQa57ug9VDV1m5Ke0yIdMMkRBJyM9EUyWiva2+fjbFPgYCUNpyOs26s0+TPE8hlcYtvbmpUuOWT
I2BFCXgm+HAH6w1ALniDhn7I0OuS9ZYeAEmuO8stT1J5mdeTxCtDmQTRFWiW6w3FSTVX/S1dQ6DM
qHyIQS6liPJ+YaX/QoU4uRG+V6VynisdZmXU3Y68PdeK3JIRubR2WO2Vr7EWWNGxsgaOgMapB4Gz
4Ao0JdKcy3OF5Cfc1PfWIKALwEdjvo8CgmhH6mbGYhTIOARtOqy0zfTknaeflc5CnOdpOgpr/CHm
DoIBiGEK9qadEjo6Y5KCR/BZ2uVhDQcrltGwobZ3Ikgww+Xq37FxPDSFuOlWNItW1pPndEcyW3HF
XbAD7XRb42Hhk75JETqQDdDMQa3p7GY2Q86/RhDi0JQESF0pNKQXZqu9R6otmD2sQCWlQTyLp6SJ
KxYVW01QPd56J7gQqo0rvnB/8RQJIE6yOiZAPd7YJR6rauRGtsibYo1MqsUmKe0w+osZuix7WDR0
fjZEkr2GmzT0rX3nu3eNtwKxQaoUOjHx2dYKCoOobRgu+hlXjwXwDfQkHoMBLlamw2212hO+/36R
GEwW+9JGwdxkAKQNwK608watRpUuLsxRXmT5SRQtQSLLoj6UIWpL2WLhwqnjHvmeXT5BYHhvlThj
sMSY9W0Kxruib5+IBnnntM4T2FX4X5cifAz7IanDJp/mIPb8YA/S/erVyYaoylv4k6DTM6fQOWr5
FIq6xIaLb9NglZfWvt7TqKHolxsXGiew908I1310F5nAuhNCDFL9oMhzwenH69xrrxWo6KI56wai
xtkZXgNfXVYDdX63iGRRPrLQ8URayTYg+imUBSBdVr2NasWpRcNcD+JTEuiMAvQfxOUM25byJhyc
wv2cuuCxXxo3Fp6Y0kE071chXPRT89pWMhm02a0WwinGCrIqjJT3I6M7YfnbTpYXdFrd84o/NkN5
KCw3WQJexby7mMCDGUrdj/awRcdValrEghUGfqbuYZEI6yDXMqvViTbQ/exROS3xHJP7KnSA4Rbe
I17xjwiMwVT0O4oktXoGMwqR1YvhJq3Lfr/U+rsqxCnScq/cFjxE9MNU5Z2wLHxZYUagIwQBo++c
vkGA0CxdoMLlKw+bAeLLyY0R2rZnsOuQUUBnNeOs0rjyEVZTbHrb3kpe+IlaCch3nq7IgmZtmUZ9
6yUm6I6DKVQaWMV6XfHd2J13peEyk5VECM04xxNOMF9GIEMw6sfSUhd4cN+VDcPF4nblhgkFs0oF
WFUsxsm0uWcKNe4ITBf4hH4ejuIAcCIpR58+MQ/AdjWWd2DgprQMYdOxC4ZX3dNkGuYwBumwnZBN
GtslxFJu22NQXoG8TMjE3/SkejSeBHzRqHwcCYTXIxZ1u9mEPZxLFYWcwgqZE9sDoVu0NoqEYtjO
2oW/aALrW9Psraa7dTlGMtjt8bH1VWKKHApleOov8FwyARm3hfECuuxS5rBx4U0u2XtdIJ/Tb3BS
Ius3i6S0kyC0n+DrvS3W9URcb4YoXEZQLft472XxZYQHXGi57bG5w8UVWBBYVXm3ULzBBmdilXo4
m/jSvbTwM+9nBwM4rq0D8ZbhqcXotmUs3BVlaSeTUrktwA5w9DmPK/8mSJZIWKeeamuEa4g+uW64
ZQUsYkzh5KA1UtNwUfp1e5B8BnwbBWeD+t6+5/VusbQEb2afLM8PcwfVPdRgtrWpHSW2WnB8NJDc
VI3fxn0LrIv1AMH6QsEiWD5Vmm9tHNSwICeeLxM0/uLQDZ5lYSOHop2cDaemhkbX3g6mfgyg2E0c
tADXLS5Usugnv1lOLug86a/bJpiefWji29a70DHaltI8AiXBA93a9Nr7XPwDY0OVTwPYgWkG/D+Z
Q+nYX3IIYXLn5XU2O8DN+MMZMOZEa3tYnQDhVzAeplJOW2fwhjcxFlmg8BomxJglo1peOynmeK7W
N7zWt3BmL+4AWXoJiRfpAXZTxyrAZk7vYdvcOgs/opndpBaOzLTyr9yc8ZhOiHLw3gRI8bcQGlyE
bKddcixtG+pvuUGz07Eb7A74PXvo/IVvhFea+Fr9yJVCoZ27nCo2wd8XkYw5eLDXgLUQ01CChEsH
B7kMaq8CPyV+ueZjNXI4XWscO7bycdBXD06tITaqK6g8nW9iRzFpERtlEDhClwfL9uEVDZBb1JdP
ylF3TS0x1+PIvVrQRqhKQWLpfAZKtRmrnj80EMh16dB4jk59P+q3c4T7Gs7dEQtjG75EQTvsCB/r
TRPqOUd3fLTrvMm/lRi7M2UCND4UPTE7+5q0bPOgzWlZso0eVudLaI8+hz1f5pjMwbrterYNODSK
GrsEyggMQYq8jWDowa0lphgJpswMtrXnblR8eI3vvNjeVOrrmAG2XggIA7BREZZ0RmKLHfjEkqZb
ArgCQs958KcW69zUYLOMDHG+amwaODNKuBowNahvII3XfYLPoFM9TnZQsMtsFoIgj0Eq62zU1Hz2
c9Ef0CZjbS0Sutm1bGc363XcylVbN8HoQ/Zluhq4I2LY7oCiOHkRGIyNPZxfLyWFXBeB/BY60cnc
AxKxw7yLIEheglB+ejjrj71doegJhrHi0Vdy+qBrsexDVBK8wL3up4h1AL9tN4vZE6i2apB3QZ8E
M+m2tOyK+0r3YV5GMEiNNuOf1KDkMYFus7ZihEe04ba0W+iFWSTDRLa9+dY1t85t0dCYBsXemGXO
+qhrN4srF4XjTvmfCGQ3F4wTI1gVILvoXV9LLC5m8FAzVOK08jEc6xp0OPRDeqtp5D6h44C89Q7e
fFO2X0inv8r3AXbToVY6lobdaMfZNbx+CksgqVKX9sYMA4IuZNjTzOl5f7Ki2WyUHENsWP20qQYY
akZiRdvZs+CLGxFweq9ZFURJIWuE3WO5XGLWRd6+ECPlmyJwFOz0If+a12l6rXzjgKxrp1y1C0Zm
V1qndWytk33lplQxg2eOAC2z6Cp4xpK/QW4Hf2twoktsXwvmtXVqgi3MEfWlHoIKeY7ecIhgec6X
mXs7NaMIZiLCbOewKGLcN/2zZO385g/6eTC47vtrUd0oN+hpR5PlyPzy3Xbg58PKFPEa29KI8BDU
j0bJUiv08JkJ+n2wAtWHi1rEg9u78xwLB0MjfDFw41IwfpVTFeDqxxV+2lHsp2GSJ+n6dYqm0zNe
tnmoYOHfKKJlHjCongffu5EOdrl+gHq1peZGo1YBt7U1B9uBTWg98+c+X4dhfbdc8HDEJfyln4iB
vr5qbuXEih8V9RyoFzHh4x96NxSkhbdlWrAvVwF/jHB8bNVSRlWs4Xu0kwUdATEiWQLsXmi7N/Xc
LrDUuNeEQiBm3FNlAvvgBKi/pF9t6VU/sEKEnyMTS74U6AvuhSvhQuTLc71Q9lCgfDLtay84u3oO
YeSxS7j5NeDqqYasgqrGwslAJOYaVu+Lri3PdlDj1DYwzStlqmc30t2lhg3sHDCPQbhQ2We3D+bb
Gt7zIw/W9bUmeNL5fPRuOQkXyG7IcnCnaDxH/bK+4vkA5sYLEZBQ9+6YzbzWIBW9pjyJyQsh/lj7
7hOeYoyQmFmPIpLdxYuEi7xihz5KglGOUy0OZFHLgx0MeMpg0xuGJOoYcrtWSyTQmNN8LYsh6e0r
mamtchcFwr9m2IiUNtaath5kEuFq0wfR8WbLi77Kpe1Bnm2iajsuUB1MlQR9rm0i3qxpqVM8Su1s
IEGQMlTmYCzQRdJMRQGpht0+L2GBgDLSOxnxrOIQUH0Wc3vvy6CESQgNV0GIoYKWQHHU2Lr3azBM
CfU4EFEozLAZ9wyfgq36ha/rGMPZVB5U3yHmAlTXHkkBYVbBqHO/jmGFPEwfA2QIjjuI1gEAgr+Q
BygikAAW9VGLYW3xgotlW/JWdX1zRNhj/VJrMY15V/XBacR9mcMay9Ky1aN105cL51sqsQg2yBLB
3X11odghZYcWqf12Phtl6dPSNwBRtVwmJCvWlUSggur0Q6v6+rEsmgHSgyhqztJbOtDx5XUXdHBD
0qADgD1iA8QG72IjDVXoP7Ri9a7+oCDllTsdgoZ75wbTiQcdbx8kyiHDEKNtE6HlqpdQidWYf3yz
yCwoUGEnqBQfZBVk5/BmvUKc/RlBJXgoWAoKDoi9utrTd+0SkGd4hkb0ol09GaBz6En1DUSxfvWj
bFrozmt3Le7rae02iJkZXmhrOR9WafubXpXo2bWkfjd1W3zMSAd4H0ub3gt0w+z90tc2+PiVw0pi
RR2Ge+CzkJ01pXkKorac0oLhRAbmASEEnUl4Gt0RO2UpZ3SbLX5kvYYN69+Gijfv0AIokVXIB9hO
EeuXeCk1+gyLGVQarxuY0VprzbUJhvLS2QaRU27AfJqqQOK4m5YRm1szI83ZjVocUTYbBIb6ko0Z
dmDnPqRm3szW4l14RcMHsBAYAqQzjsduLGk+BxgcY15HyDoFnF1t1cSiJ1/WQaYb9KGsV7NEHI3S
4MAQYtpD0d9iqHW5lFio+4JmEwCbw4wkya0ZG5PAujRvQFW6r4Wu6Q/XmsYN3m0EUK6VRxMxFdC3
4aRtPxkZB1QSkeI8i8p9sjCgnL2BMESF4OODRy3D3dBXOOSJEM7jIIEfI8FjLR9EQ+Cp4CX0LO16
depUkBM1FUmkz6wN6Yi766SL434RnrqXTTNloJCg2+j4spzVKqxT2fnmgzmcArda+/vSiD5MG8Po
zSi6+cKWlkLaHwx1wlpUmIumUZDjRWjiiCHb4Q/Ip7J2tt2Mj0jrtnaLwYkUh4BTX6DS/WTTAs/f
2EdAjyFXFHPqHy1UypBqSsOpuxSMia3FkIsV9SvWCXJV+45bZlxTY4CGwqIYC/um9kVwdUc08C6A
N4e+k9BDMQ42vqOEqhjXRJ/Y0ripXQEBwgn2yUYBSLonzsnxjHoYhBSPPbMBHaHma92vGnAcFNOl
lZEaaFY4tmCM9eiu5zkoAoBsfKJ5N/frRtEZT3YX81WnPAy2aw1BH8DhRyx1BTK+pv6ABVPltNPi
fo4shPY1EgK4yXW8W8Bn/d4R0OxNtYvUjAhZ2ohPue5zvFsSMrS4Khxgk1zI4J71BcPMb5XjAxxm
/rPqLX8z4mt68mav2+rZQNG1jA66PRl/K1Z0P5/62Qvak8fbYE3mrnpp1NJlPJIq5Q0oqBipvtF1
wEBq/IQzxMtUOdKNA8TbgK6V/hkrBun+i73zWJJbydL0u8weZXA45DYCoTNSC5IbWFJBOZQDDvX0
/QWryrqqpnraejGLMZvtvSQzQ8D9nF9eF8dzZJysy0r6SpvM+2ri1Hlwc4060W4NwT1lXSKQshr9
tSdN9Qfts4pVvs4ytKb98O4UVvhkVAo23Lf1j7Vo698UBbd7RhHzNlUtz4SK3K9jb3CxBZhCX/rM
b46zxGfcpQIkVhSlda2dVD30ypj7xL3VAniF2arczR4ar5N3nekxqdn43Upltw+gTHyzhsj5zHHv
1gc1LAx5jusNuzIdxzdgsb7cDHna71IC6G8KRHfHfljtU+o6Tzmn0qVk5nnj+/ETORGDAejSIUGP
8GwN0fC69iPgCzn17VPFUZPFYpV8FVSV1U8hyUIYldUUi5qBeWz0uIMEqH/CInSkLC0VvZFKLDvL
WDw7fUd/O6KwiV7zGtQ+CcyTNqBfwpvU65C19s6tI+cMLdgvmyGUahf0dfOWlSbYc9jpgxuR5Zu7
C3HddBSmuJOpm9k5OdeDGLubgI6SKJrtfvC5SlaydvgVTI7CGm3Zj340r/cDLoK9yBwnDhbfXGuq
1jQHaT8AkyiPWa0jly6Y9GOS0KVU2OsrGvtXXSTzcxW0SFksf5g3/Kp4qWceqn3aeOubsvHus1RM
k9nkXkWgbTK5od44Y0jxxgojavUiiUUTts+EgQIe6EDH5NXV36o87L9xyEx3rr+sV7tI5CVjr7nL
a3d9Sx3ZbobAb7+VmXa+eI7tbyc4wO+qaMRrnfQ/qwgzzNBkyb4FUrlzXDi0jd1JdWvLgFwyqBYu
wk2qh7GY5edi0uMqw/nsaH5XVTZGb1Jak08g0vOjX4fusFU9COAWHI+6gUwX1V3ChrX6s3osPJsT
yK3aS2UHVP6UdT3suMbaH1btj2+cQoAdrKgHViumK2e9LCKk1FymNfCf/FmqRYWbsXIy2JFSYtjU
83Iz2eXD3qfvk0irRjXvFgXnv/wAINFpYOrmRC171tvpSnXkuCuWRG+Gqkegq52LCgrN18T/kK4O
jvQNolsvRfKYT13L5Ju7yaGTljVscRxW94aITwTN1j1dmv6P1Lc/yzDL3qMG3EsnSFErezh4FTAe
KxccexkxK+Fsa0pDH2OY0nrVWDPcE1mIE9j3Ah60MnSFrbTjvAvf0whYMy3Xmyu22AajOaE20tty
QlqjRAz+bz2PvSZgsASPY/1FB57c9ncjHigRXT7qAj5lZvDaBCEvmxzFIi5vMmUyBw+BnvyX2UlJ
2JFglZFc2URXkgfINQmqtzTRb51abz7xxT4xZJwXOX+zRsyieF0H6yktwgdVtPdTUe/AbO9kY39L
6voSot6fHXWaRfRczPVTMenrWqwVb4VUxzBKnlKjg3chV7XN8Pts0xCxoqX9U8Hk6W/sabY/GDtR
ZKMfVPXwPPlokUbPou3Cml9ZNljr8S35ExO1IsjnxwrcfF4LYj83jq/JCCsYBb/n8xQixU4jnAgY
yg6961W4/hl82z1Y2ELSrdRxPvXtx8TRd1gzNFZrHsoPIiQH8mnXhFjG+gY1tdMz4lSSDUrjwYIS
gQOY3Zcy3fRL8dovYTQBxSfF3Ux2OODGVJ2GxoMGDsPqGyQ3O7Xq9b6THiSQ8WHgZ/feZrc8DGpp
jxF7m0Gn5vwu2pkXYTdUNDWrZQ6TtDgl+0w9IdAgLQt12YpMdakPwk/We9oFysMcVGcurPEDMeiK
l6FP4rUcgPLZzOnMyJJ3myDrvT9FMIeD67I0lDawy8YxPGJRGE570ddcUtbYt09pMzbT0XagrHSn
S96kBnJtqsShCAsk+aQ1E45z42e3Ip0G4GV70G+4YAl9Gtfyssh+uWNbdHftAipasyqj6s0m8yWC
P/xZNhn42NKlwzd78ZpnlcgZzkiYrVyr5QIUXCM/9RrvVK0q93gssvpqW5botoPX33FVT2+KtoC7
HgHOJ32EPRgfU0ZE1sLQ/+zaYT7PhZ99EMXYX+YlaCB8l9w7RZDNCKjdUW56tBjpdsxbyQhmpzkH
hWFDGaeQ+3bNlSIVmqkDgGWZxAvY2/hm6rG42arQfO16N6rvFmLgml06zE5Cwqm0uq21Yhrfw+PX
BYPV6r2okELicA3caxBOJaR/aZ2spTSwSrN4hjvsgBPq9cBMmlyQ5lg+6GNanRM7p4B8kWJ4SMgH
Z6tanHxXlm747mUBJn5IyYYnps6ad7X65X5sOIjHrqufxCyEt5kGhxVhjcSVgdE9AVxb2UamjcNb
0dgMaBlNY9G+Qt+8A71tUAe5iAhU5OjYH8KA+tPgVakQgMrL0uJes5debgkv+wTbruez3ebL4HLB
2vbBT8rgt6NLCuqUN8Hx6lY+SMMDuB2lZfg+krMQ1CKHLxq6h6LlBIR0G/e5pazYL7H7cGPz+iAW
of95efnkjk+EvMIkZym2hTCYltfaMw3pkEl6XFBVbEiiGfYr/ez39DC3xyR7ypzmm6zzD6/zQSXC
LEQmbo8vlVibo83s+gUFnvOocNXEzF7jN+IGncNQEkrT1v2otqXd3EKhIvWIhT5/WXrTPo3h+t3J
Qe12wH0t4FPpoYi3xYJ438oL2C7LJ8ZEMGo+13Xpo3cvgzjIqy7AdxdEP6bcU6diaUb4b1dAMnCG
WZ1t/RZ8hlvbK7L3ii10z3EgT6l27W1JnBMBwHLNoEeFf416HCHof8ZzaypWl1aL77e6lBhG17uz
4QzODYlt90vVhSeoQuzTQf09S9oXlSBN3bTsi6Cr/Izu9l0youH1G+lxfIU4FXRY7RCd/+7LdcUn
kDlbE+a/ZNv1FytQRKlE0AIhZeMPoMbhK9S5/ZyFxjwtsDrXXJXAn8k6wG3AjG0yu4xepBV07sYE
RfTJgs/61LH9IlKv/KfZqcGc1lXrrePgmOBaWupjNpXhDsW594uvP4qPdnDf+7ROjyz5GVCTFe3Z
R4+k1q54HCvh3gyQwX60UNrLqIZcUwRTbboMOsgbdJZswqXK7utowK+VGf/JHm8cJovdegiqPNjm
pSwm6vw8tL7COIB/ivS3EyCWeKzqsHk0RWbup0U112LKaJIcI0j+W/bSiR0fhmEqAatU1/+u7Dz7
MIT/YsIoV/IWcXGEu0ZVb+hIxQdoHNBZ16BfZ6Xc1Gvb7ZoJeZBKgVUgO4O7XKrhoZiscd/qst3S
l2F+JJ2LkS0Px81KVffduNISoSIFI0nWHhqJYHg23lrfy6W49cmSYW5XtRg3RKb7yEFIwY4dBrlp
7QTqv+hJEuQS55GSz01bLlerrYPt1IbdOxGDHdqEbdIOj34yzRuDWsEmGW3bom3aNSZwHRIrsEzh
V+QtYzxJLvUKymIWezbUsgb5hX4mdfHHYYmNzAukDLeVOaUZNpHufNZdX3+ALSKRSYkCROp0qaNM
P4igzQ9stuXbusrhYfGmYjsvdvVVsOUd0mbtviR9Fn74ueX/dCt9mycad4NCDefT7Im4zoR6023z
NvVVPLNHPIRL353taiTxwV4t3uPOvTruMO9NbrrLrRbtACXvbCpFXBuYP69VSPIwY2Aj+wSunLwH
hU1IT2m3WcwUZnE7d+2DWTkdNcpHrEw0gzz0XRB9ZtiujoI01XQjfZNIdrDiRWo+rw1Ul3+Fz5iO
ETGIxFeHerpz0lveYsPRQZF4lMufNhq8GLD/Go2VC/LipgFiCFCb1rkx6Fa5eGczMmYOpM220KKt
2fgQXq9CIBvAF78bLZ18L6v5drTa+fyzQb7ziGjYDmOhbFVsvLbobuZ9pO31r6FiCsEm/DraCyIX
MZ75OfJSgrTtkmxwEJb4TfetR8ZChky6AoG6TvZc9sM2Yn3eCYjj61y7Thhr1Og/vTyD0feY7O5B
14r7Ef3XDpMqyTidPqGXx6qdMv7AlbsuQv0ydeHtrVBMWx4Yq9/8g4z33+SL/EuzAMrYALydMB9S
LGwndP61IG2o7BljDbncJsnS7WTpujnlhcNRM0CK7dGo6J2L0gDTc+DchYS3pBujEeb9NyELWCT+
wUXO7xESPYhFAu8s7F7wr1HGeY7PpbEn/+Bls9yWWTbsctkXf426/7+g3P5/zuFy++T+a3PLudE/
/1m8LW5/4W/W6ugvDjYUgvAIIvIJuMC7/Ffx9s1aTfiMi1ZM3oLqbokxf3e2yL/IgNzriHiSUITy
Vjb+N/G2E/2F/8BE6yBDprTCk/8j8fafYJD/FDYHTmA7PAH8fOzgDrQBNp5/zMQfyaIbUPXyRGWj
OGJVROjIVFLs3E5HPP7aUgP+ZLs4uX2ZYYoKqlh5hBJse+0OEFfBdOqFfIcy6k4Twa5PpFd/NQ18
e2tN9/WYL4A0gXylMTGqt40Bpm2RCO8H0vLvZkdgxew56/nydtfeq/z+LCdkwTs1I1bcMYFWeh+1
EOrngBXI2YeEVLRMPDTKqS2lLP3V2JC0Zhv6dZ5s/JAg5l/Kg2b7TEJSsHGNMR2D8KVZaN18Yku6
wxwDcLUZmJ3p+GrcdJ5JsXR7RQ4c/UpycnEpd6PfXdogC8HLlgL7dCE6yCmPQdbWVZXETZp690pP
0+nWGuByhsLIi4HinJx/l3jcWeZmV5e5oMW4HabVv88ZnZytPeuOUFozI/tKLN2CrBd22DylZJ+d
OA/c9DytuYBgBHpnBIjhWNKTlm30KnvwUoAJ3qdbfhhNnhcPvQSRvVb1tavmObjjfqjvu27GeJj2
6/gwk/qKCG2Y3kK7EgUqv2I29ypq+Xcn8HZEt7Cjn+RpaF5DPnfqFUlAXZ19tj1JKrQoYMv2Wa9B
zTaZqat2389jgjG2KsMiirUzJ28CA4t3aosw6YutE/io2qIy6lccOzNL3h5+LwCQKFFvE/zsBRd7
DLEJOXyJBjK+fYys3PR1iB9PQGDD2aP1cdl+mr3XF2bfEmdvAzD6a/W5mlEUXH/JSFVqpxb5q1bZ
CmZBd9t2nRaht0y5lbWdSjjDTcvEy79orT8Gp9DcNDNuqi3BxfbX+cYg7KqgzO0XyMElPfiBm7wP
4Zh+KhewFPUukef4hUtkrU2RlejAboSuF97EYwo3lL21CaFuaOctQl5b25hL6M9ICy1jggfPJfI0
xk4jH3qmYASolodACjSvxwqWVfmJJkz3d+ASV7Zx0NddKC9rmo1smgSXLsNRsastNwBVbx0PZiWI
jkoqJresnNZnwsdwyuapy5u1zG50LVFpYsqno+JUaokqyVkLV29Uwy2LAztDhTOV5nuYkxkd84EH
P7Ogx2augtn+opEFvMmWotMtiDaBliSjl26ckNyfIE5Bonvn1GQlQa9laNi8pmGJI9wLhCXV3MpI
vprul0mQNO1Gl/6Q7dDZuUVxbjoQ5eV64uqOaX8qwlBdhIWTa2+1xmUGA9ZbY/CP0b5LacCZ4oRs
wdsb4rdwzpnWzs51E7y4oLVeSKRIZFUxrdwHQUEQeJq3trs1GPm2UQdcEUQf5bFvQvfet2uoDYo6
8n1eY7OIi9y3Eb5kGW59/DMmeFrbYFb7OZDte0DSzy8T1ZHce6s1f8l1VT6HDbSap2cpjlz0QYWy
apzTmBgtm9z0IJgfPF3Ux9GzMxGLRSQzALSPiwATO8ad/YomotxL586Z4cbYGTcaUTcx3jffsc1S
mu7+3D7//yL+X87NgPlfX8Rv6/df/8ZJdftLf3NSyb/crJw8w57PMPvHFPXXy9jz/nK7pdmVhWcT
HHtzMf3dSeWRZntzuAofoluIgP/1dydVwGUsvCjEtSr/XOL/k8v4dtX+51V8Gxe50G1+lPQA67zo
X7J2BtiSMJMqO1ZJjrMU6d1htrrpgICl3NW947xOqTT/Ter4LTrln38oBk6X3C2XhESmiX+JpZPD
GAWFS/mzbyqCULoxQh2xDj5RFY0oE864SKhrKR3CNdHX9D6uczWL+B8+p38zKv9z88/tpfvQTz42
N+HyIQf/+ltgMMTVYRcIUKtTTvhi4qD/SUlf2g5+9a1y4CnwWPyff6gAMP7fXn3g4I0h2SukS4QM
nH+efuiUsBbLwzdjedyPBjRvCRe5PI+e2618DgCB/mASdUluQCHF64iNuhuGGAjOwD8gxg89zJP7
bdSt84HsqJ2OebESRQNIWHjkSHimRZjn1fqIO9VRLyi9jHMn/gCt3VozJlX1Pdu8ySEKIca5N3zi
5VDj/AFzE2HPDgekh0oouWHAFvzgR0358NZrl5AIFRXpmM+uK051FUm1Lf5gzGQNsrHXTeEi0rQB
GvFvOHCaUVb/KtuSEJIV4XLa+6eVBJ8T7t30F+MqA9QNErcmYlALmrsPzlo+tpF5jKYb7kExRHAD
2pHvJmgzkuFFz3MHr4vvy4bx2Ph+bf9WVtVzcdYvbJn+S+oq65i0DgE3NpsthtOEluQCActal4eg
WxTjxPrgd+vkxRkeANHh8UmSL5aS3m5CU35g/rNjC4aMG6EMQCSs32oqEdiC04P9j04VbHo/vMUU
KP/7sIRndMtR3GW8RB/081cb+t6PkEz1mOV7tJ/H1P2obswKmjha8VoaQCaLnOsdstIy2tS5z9Km
ZF1djambB8i5brtUYwd/Zi2/ViDd/jRF+OuYh0Z8REuEy/vRzBaXjc2U+lCY0fuNCqNB0qG6srjw
h6cHougx2CUYc/hQFt9F172EKAtDUwRn3IRT8JD9odcGqkVJAmm4+r/qWRDxMySm6p6dfJ30CzmA
9nxU5Zh+N5HVkx/cBTCKjHGQiyWpB7TA1OOwG3jQqNn+w1Ou89Sao1c7wdWamwKzV25mc0kNHGgS
NeY5K7HZ4KNaSdKwErhTpD5DSvQNIbiQJzkdL9kfCjagO4OhqquDZwQCvjwGZIrUp5nUX2tf6k78
iObAvKmVNX+fVlYEhNToEE35xB2JdMUo8o6aP6x0gjbwwZ3CpcA09IfIDqts9WIYgWX8bjpVoVsg
00HtiACmBKTujLdPAEyZmCcw2t2SNe1z+Ydwd/yi/hZwvoLaFK2ydonVFuJAOvzyzH2MeEE1tWhf
x8Fe1KWleW+EbS81tAZmaXJVxtSh61mzjiEwt6DCijDz6z1EV5PuhPH75uzcJBFoAFBHICtCKVFV
nCyxQnLunNwiF5hcZFR2LzlR+stetprSrcJHv5ENygXgqxTeN6jdyj7ZA4sMj2+KZaZJkTx3Y88k
v1YyJB7VLpxhNzpoPLeIidzlK7Jev6dOo4nemCOkeplXkFASulG7dHUyvdNMIV8AmOfunuLgWcUS
eQtvdJZ7DmYLnZdfeaqHYpeWjpd+kF48akBzCwik11kYHSsCva8Y/MJ5mxbOojjpi95/ocBlzH8O
0uev2tUyB2euSAlyoTCDXiLb7U+jE8zk0QQUrgPDrTDSfhWJ8TXRzvLjxmZlF60RDW6rTjED05Xg
AI4ug0blm0XrvlDTdJF9nT17mFG9veXjx4xdK1rIXG41YgOFyC6mukdq3skci8SgF/O2FJ7GZVc4
5gWVbGq4soq1PmkiDFCkr1VRX3hyZXI35Topd14xr894Yie1tbob1TvUc9TcO3O1YMSIHPrIRLYW
sess+ldkV56OO52Jh6TzvPFguVh04psH/4c9usibx9xvXxe43Oons7l/j/kOqX+nBt2jb5RYnEHx
xk9nLnRIvg8WWbbTtOk2qbQxOgRVsRxRPBIrI9Bc+2CNQfUjkCp6akSANgzrasbiWENeZn4wfyLN
aQlb6FW2s8ocYf4IbIS5JbRePbE6jxayqWaTuQg2yG+tsm0j8Qix3lHQAFOcU101T/3RHvuI1Qpk
3T97SIb1QadshE8KJrO5ipa94qqTBIuB26KbJ1c4hwp3/D5/CJapVuR/B1C+EAd5iWxUwmovQ+He
mMDWsBkV9fJYYiV9sJCDd5sGTZM6eS74CK/ILydSG/nixNnU81ZbjSMJLc0N0pfBm7tpx/WbPGS4
WglganT6OCx5su4aZC4HzS/yjcMzfYg6C0113q0EYVZ2Rh4QujbKqk7dXM3rhuRV/BloiusvbVjO
LQ6ooQMQ1qgYvDFvXotUYlvrfay2DZw5qtKo++wMEGU8KNEJlome6HmMw+HzYNoeMQTnu5L2neMI
fU8Tczt+RIWD0tXRLSVRQ9iYtxKB5iNyRrK3dDr4jwYpA3r1DBnqYXJRlMSdjzr0YE0LXlHHWkgc
IgMdlU3uLeaeS5XppywDrMd2NvC7UfpiuTvQlzo6uJRNE1JFVWEGCah+erSWBvQZrVV9wF3RWIRZ
hWl+0mCA+mKHdZ+d8ZUs/E+in6awdG4dMVZ434llfobezfUlDHWZ7adxkMPeLV21nhvM3YcGmXeG
rVdofUWvsKI+rHWYXGgtU/2ph19kOCDg4qeZ7fEuLKxlPhpND1e8is67cm1P0a7rTfDZlshe4qVf
e4svuVjt+5E0lV8mBEW+mLwBpOg7gfbWJxGoI0EyIgeJSXz6ReNYWtxBhSp4RGQmdK6R+YHSLbsh
Rm2XkiXtapVuS3/6VY9dtUF3NP4YAu8ha4V1aUyod6hLwm8R4fLOIj4GV+4iD3IKKhHA2zEq7iM9
7BGfEV8vhvOEaf4IYytoZOmQQvl43khrkj73om1hYcDH1RZ3q+rDz9BQdTVF0vx2sig5l1NWn8jL
Jk8jXIczSjGW2m5qNygzxL2sywG9R6XjZeySNytS5ddU+AhZuATlpe0SJyCHcCzvKLsSP4cMT5gl
/fmMNpjrGlve3oFq+ha0nv1WeO3zpEOHhLWSZrIqYVCYxPi8Rv09UylG9FbdJVJ+a1xNgGB1e+Ks
ls60cuhjY0gWKJaUXEOAZ+yAQ3pQznLu+tEmECUN4oUoyI2COjlmNNFegkEUO8unUSGILJiU0FL3
KqwemIWaeOgLApHt8FkPJWNAP4mDT/gf7XzXLkKInYTl2RM1NV5pu1+WjlIZVR9NhVre9S6uwfxj
3OlLKN0Ehe40QHrjBHMHjne3Ig0CPW10rabF7MUYjEeOh98mauiYDfS3Po1ixATJ0Q4ixAQY7XwE
iLMYm4cy6audmLMzfyY5L71uf6RO+aVJOZ0pA3QO5ZJdQs85aiqi+qh6YkpGFWDZT4kGc4ko5kiR
mOYb3+WaykRxXpfIbJwB7Cq9WRo9Mn8GfoktXj3/nKAxwi1ePJIvyYw0NNaVT5DsPV8Uz9mKrG7T
oYPON9aU0KS5JvjvJyS8qp+3Fqb8fa3FPsdT8sj0PiONH8kRE85gGAAt73MQ2XRxMIq8SmfyP7nf
snvsmoThjd4j0uDhzoR0W7TUjJwR5j860sxx7yWvyLQ5KfBqbFjxtvYSfAky+6qhV4+sQsNnK9z6
BOB6yCoIoAZ9wxmelCz5CYp5LNdDh+63i7KvoBkC5zC+GO0cLLorGty2X4Za32ijILqadm0PUIUS
BnW4rjMWiGzOP+oxew4tMhHGdj4lEFgH6UblNbLJrAXzJc5pU1nZsRWIIbXPRce/dYYCL7eBW937
/kjiZig+mFxgudTEt6+uZv/LgFCnmEKxuxnRvDZpD36dAh7WiLMHiicqw9d8GS6y8bMt2aDkPapK
PrtVRRBe6D4ta/AsM88cqtXx79HGhMjs0MtN/hLsw7C78B01r74u7wJbQsQn9V2WW/RQFNdauvSs
lC16J5vuj7T0FuDakqj+rJM7OZIzBGlqhnGJ9Trt6U+tuI/LbkQTlE5nN0Lh57rPlrMcypxKs57I
i4stu+DHAjv8JZzG9DWVhAuD9KovS02oQwY2hc4ZcPo+ywwu/lZn5abyxRPuZBrzkpmktAShS16Q
gxEimjlY6yJ/JjLP3wkC8vaIScI7tCJJbEV2uafp9l3hhN+1UduevVWdb94ilNKJecLGFZynbMXm
b4VHu+mCr3iiajg+cICWxohdPQbDPqmWs0uy1CZRVn6uS0dSNJZRKUHb4xYvFFmFzZIB07b2y9JN
7quRXHcoWfxNwukf0yv8qgORPo8F3YBVSYrR6gQKnBGcvJZ5Ey9l8g5PdgE9zPcLxR8e3vHJIzbP
BRtYlsH/mjp+cl05wC+UaLCBtbi9JCzmtTI0XgBcHyY+mq09IUtpMmnvAloO4Do7+HeLFKWssWMY
WvEgXKJD/AaBJLq55ACIT0aKcfN+mwjClMSy1mexJFIQ02KNn0GUDk9g0/LBv3XccF8SpCSt9OIS
7rUf5gIXpZWTVjdbr8la1CXrS+19ByZ8isi4+HQ93is2TJOGxf2UQXlvcwbfMTadOaHdPjc8PAzk
BK/MkQ24rDvvI+Bjvo6BVVAAM9TXDNS02tYBKRyzTAkMW5BldaFPZAduw9e6oHavJhdzLhWJkwII
dx2ZBlYCvp+18euzX/kxzGr4oVuwi80IfPAg5egfK3vBZeSxElRWUl+yLP8Yunn43RvGB6c0xGOu
CXBoNkyI6xDOll3eX6vc/4FlN9mMjX0KBvdYk365tsV+VmyGm3bU0S6J1vace41zVjVf137GKxOT
uVfNIApywOA9Vig1MihbmJm5DckKhVYNZX+yUOwW7KC27P3nnDyKCI0+feDucmA/00tPUZ6mQRku
yCGeoYdE7mB6Oo9onSGJPKJs8RX5WHfXJGd83k3KwSYfTkvbfUf8Z0YfB7Ty3BRqYCAv37UI7gr3
Nq0RNpd536C42BdDajfLDzGJNHp0++5tmBDp7HIn97BwFCt/KrxOtm2ccGd7ozZPES5BsHgVkQ/G
npQ3Y0BxTOFU+pMikRrB99yi7BxOkTI6ZEDKdZ1X6Fxhc+fDuno00R1GX2JU3HRGLkQSlumUr/IU
zFZbrmNc4Q0H82ZLnKW1z5JIh9fCmaiRaEhR/5b2pHyh3HD2MrPBnUOlw/3aFALiJ7nVCqbQ9ok+
EOP1g0sXDlAV+oXKSOwvDXFIOze3kGi684TkHjeEFzW/m3ZskWnd4oGD7k3U4O6h12zotHvQhqpV
lES74mYRdzuXBRb2Af84GsCOMwB3oC2/zqHQOxR4NeMHBkPbwxCgpQIML8RInIyR2NL9yP5SeX1F
MwrS+zQrg6dc4sqbbm4gYVRxRLTibwmKClEH23aKGsHCVTz4F726+XBcO5vnaSHjclbcJIM/EJ3c
S15OP7cf4Vo06zYZNA7wfnbpAm87dicEdMVDVC/lV2q7C0IoULLhr2i6ne4sX3abOc/r2HYE39e0
zwoVW8CWlIinLojEcvNP47EN0I6COjJLiKh1TlMWZQcvR/4St0sgP7Jc0HSYemV2dvho42JQKUxX
TlRAMKk3QvdIw8n0fGs79WO1LvczZtfTYPSvDpKoWJyeuLgRxzuJOrZCOodn6CTrftoh68yoL2vW
J3edkmPT6/ShTvTwZt2idbVi1lBrdl8iHGG4mJrfxOakdGRPTn+nh1HAMlnPeS7lwRKkyfQcQ/tJ
ZdcJzcQeuUmshV2fFYrIQzQy2m4arQISSz3wLKuZgmd6OjzU2ZbcpuRcvHRy9j8tK6Wt2Ffy1I90
gZIRhugRleS5z52PVkbtSRiszmCxb361Xhevx/tlVof4xKJ7khOaLA/Z1Z29jr/xJNL4OaTNaQjc
blf2YX9y3eVY1GJ+aqY0hN6qlgccM/4Jys45tH67DDurafyZBGZpoXY2lNJOABmPaDSJV6j5VnwA
0SQ7JBTd0arogclcOyCogBBU6QbJK7NicfKxg6Rbx2oeu9F5Jqdt3ClRVk9kdQUMPMl8ppVNWHts
1OTw+FUbW6lf7QlDSvGhULkaFmrg+2yNaQrMmQVX+EqinNRId6zTuuGBkNSJJGFC1w9TYvK7tKSO
q0oL76V11IoAtC94fRj8awbliTwoPX61vaB9X0v+ildESGcDAX6386by2liB91gZ5mEdjd2LK26Z
1QjXtlFOugawhoAWBJaLyeUgyiRD8F/cksHg8Xet3+11NAzfzS2cdQKxJaWoYTmwyPT25gRbLSvi
z4IV41KYtI6N7WWHwWYFcQWudjMkam9FK4d/uZgPNnavDIliST1Cf2AHEwTEmCDsY1kKX39BUCt5
YpJ2lwRtf7+wYt9F/P6vYBvzzmPD/zb4IJMkq8zvXl1GhPoaEjAsnGHoFGlkwaTS7awhm48COHqc
BDFL3n+wd2a9jWNblv4rifvczObMQ6CqHyRqtmxZdnh6IRwOm/M889f3R0dUhq0KhysTKKAaaOBe
3JsRaUuUyHP22Xutb6VTwAxGqZtBRtIa8xyThIIqFg+nvqr6osB1mGCA1PUG8gaHX6IulW/qWL54
FUUyLePUcKBFtFe5ZxwHGV5CPUaDMwxWs3cz1uEO4yXZKZQSaTehowYPche2jjDU75g6QLsbmWKW
wCCXuNYb6jh2YBG41gojsXqWVPW4dntB/g0QdIC86IPKWEb2bBnNRe9pSOdErKxo1Nk3gxcE51Zp
PKNITQ9YiuKVRZrNhUmt/ZTDyFjGmlSetzHUjlAGYW2leT8zatlbqwyELju3vqMTtcId6hCJmDLC
9rbgLQa0+S0D17TccG+lR6Nidtw0hgQUCylVOivJslty7HE5+OQ83qmoi2M9xSKWhQXgLij8dRUl
UKrG+j6Bp7mxE+Gf0SPFaJb7GtHBUX6QG5fwsWIapvuFFS0lVGgQaZAmGD5VYBdZwBJEU2pf4R9K
8M0Vz58RfJJF2NKz6hutqPEpigxzS6QUm3fCtqAMaj6HNN0sXPQGF2EmtRsUvNG5TPsqYYOv/Wva
AOkSAjzQOD/HjV02Z4mSJDv6jOS5JPo6qFNxHkzmC1Oxyevx4Q1Iw6Yuqv4QuoG/TgfXuxXUG8AL
MhH783xUcrDkpmmRr11MzCg8W5S8bbDqi2qTsI4WvXrVdRaQjbD80ngF4WL43O87bNVDIzfkuBHN
nKYMInTjspeJ7wEvMMJCpwVV7X30w18LNUXTEJmKT55kil1jaVogdvhx+YEOQtU+DAAS4hVFSL6m
0Y/HSkZMMpcme+xAta7skA9rW6TRqbcxLE9R7yK7c0bLyGh/QnqjsBgeG8NmzyLLEdk96h9yCMxF
3PS3bQjEvO7PaIJA1kbb5sGqyM8yzQC4augVaZkGhfCgZbQk+ziWL/yMMnhpkUZWGIrFEUctlHlF
FhrVvfxV9YJ06dq19TxoScVenPUOTU2UKrKnXruNrW8BmnF6ClFszrpCMi7d6pXPBTusoNOG7b3N
KOGoBeZxQn57JHgwjdxHR66Fw1Waqzm3zahcZkZfLypLYgMOMleDwo+gFWNuHR51qRex4wUdp9Y6
rNeYYjsFhSxzrV6hSxq/BrxLcXarsL/NVLT4cAULtAJB42uLpGq9RT3Zv9Na86/pvzSQHq0KbZ+G
HH3gCFYlfnbrQrXYM1Wyt0OsqschlY3j1DECJxMbW2TGxXYwYixi+MSatRUgpsDLp1+27GrXGdcN
960MozXlau7YuYWcuCPEjUivh8pMo3vSe3DbdVULpFcR08eSkJvzMJrIEYnATNlWeEccVmpjeKjb
crxVQLqiOsmViqKxTJ4GE1Ps2ArB/cHxVIwNs5uw0tacsXESelmgbxvNk86UPAZQpOjtWRRq7i0A
iwaAEYYIGdEiB6cwaq/rxspWdojwx6WFueZetHGTdqgZIwlKItKqcRiqBUaFwXs0gmyfZWIuoSHr
F2lQ2JwzoF+Y2N7Znrj0TNPzmn5n1oyrQGqi7lau5T5kWCN77rzkqPzS9DWHGygDIb03IYt618tC
b5cA26JhVoyqpOwSF3BA2BTybgCTxPCBoZqZ7rgRk3TRKGV+NTQVYBm7cekEGfrSKzUrXJo0UoC9
FemDlqvwedh/J4yLVqgXRSR/Zf5GKpMpMm1p488icL6h/JctikOWtVK7L0DN3aDsZDDA7EUFfRUq
eOFkq9161DS1m+Gyr/O+fhaojuVjRMfRoX85XpcRrigIbfTWVdN2Ol1e2Vlx1co4mWMTa/7gn+MU
4jxlH4E6LkB22kAh0+ugnNBEj6Tv5fu6K9bCdxuDyFckPojJdqyNczrb0RapzswANpwDET1Ow96V
oB9KZy/cYlcxZ17sng0hI2jTMzjzNoCAqb1i1XBM3b8s1WJYhjIRD+bYAbjOCH2G8jyzMtD8IQwD
PHLz3oV8WftTOsuy6UeWyabX1m2jHvue+VdRmj6n63GOmsycmVV4n9h26kQmW0UA13hioCn0Kog5
Hxde4u+kNm+WuIT4e/5r57S5mSdv1AnRSdZW4GM/7iRE5UkAbF+LfOvK4hS4CP3+QpYQfAtEhzbP
iNOS5Kp3+TkMvvPWtUY2m+rFJjl75CQBc9oPLyXGxSWWNtUI93GLzmgICjrn/rzI+whwhWwdPCLU
lLjB+a7m94ocfyXI6sIY8Fy25rkbJ4UDb+RFC1EvNIh/jkAevctkkPd50j/FXtnNc1ZSmiSYlDRr
leTNuCiw8SInSv0t/vFkMdIlm7kpJ94aoA8mF12Zc3L3qN19y2Eu7O8924f2UWiMMNIudzS3iJcJ
bT8wImd0qwNUE572NBq03jHcRml4mWh0X4AJ8YkwlJ4FFPRQzQg7VjOU3ElS3fL5rEFV7mAV3Wq2
n+PE0AtrV7KErKj4XPYUpk8QeIK96MrulgfBJo0jhRtTtdyhI4pqlP8mkn27MHQiXZSeRxETKI/y
oF1wfkWXh3OPqQ9tWrJAUZVrnmNFinyuU9jQ81XsWZ5kIZKKFAeE0riPUp7gvKc/MWPO/QBeQHuZ
1q95IyfRk8sEptxGuQSd0MMfn+H998t67zIY62ksdma3KfWOgx1BWqZ+AXQ2o3wrA/9Kj2R7oLhr
zCRg4MDitcWKG3hnzIgCchGMVn5pWE9n/+unitvPKaTuVSRwS9co6vzu93KUSSP8XoojbIOe4gSy
JwVbtk+kuGFU2GUm+95aq23/Mtbj+tgpBYcnmeNE7/QilS2QYi2feNA09KALZAD1PKlt9z5tMvUC
wYJOnoMUx9aq1w2jO6ZMxqs5Kgy5ntVeQEZHqbU9WNykww5v2OQ0I0foizPNTPklg05fqdFaJCJ4
LZVFzrevflfF/3912r+goU7xcR/r067y8hHz5B+basriqt4GIvz42e8yNUUxyUnXBMEG5KgD7/5L
M64ohG4BzTeRXOoTu5vX+yFT42/AU6M2kGUE4kiZ0DL9kKmZf2oobvk9hPvhkIB0/Hdkaie2hu9h
CIC95JP7s/Q7reUOsTZaua2M9MlVTSeBSJUqygoG9JxIvK3dXTRMZt58Sr9Qh71/MH6+4PTnb7Ih
Ifq1sVqpkBhlbVKmrVSGhDMxBjfURV9//xrKeynYzxc5kYDJntL5FBbDJmqO3ag7elo7HUHKngd1
pP/qUpCQ/7UrtREfJidAYD66a35yhZPW/82z//PVJ+vGm0sEnKcMAYkMGxn6LwJbhyYC7vlxBjnC
sTg24fPhgmcAuXAMJ2dpsv7kurljfvnK0+fx5pWhPEN4LSTaq8S9E0tbl8HGaMl18oZdI7eHjsXf
ikyn5MTsMpb65GUnRd9P3eHPC54+iDcvG8G4KwxRZJBEFvYFOvSL+tanC3OTHUDO/f5F3qsKf77G
dMlvXkOCfwBMDoda2pJupduOYnerobzAvO7AKnF8OuK/f6UP754T4WIwdDCJur7fdCYBaIPNztpi
ElAJ9AkO2HRnFDKrMxAFTXptaBTfSfld7UvUgffMNaM5z9I/0iY5MJqsq3//10lC5X9cJTXC+6tE
nd/7o9IB26dF0MqHGr84MRLrYGqYMZ3JKz5RfcdcwPHZyH5/we9loz9fdPrI33y05HZL1P1jvYlU
mQ6i7Wi406RWXxEA7ui9u3JHQqQ7ffX7l/vwIk/WHARjgyhqITb5XX4VPMPIQyhCWLt7W+5dJD6f
3pe/fhxIGnx/YZFbQmGNtGJjSwjCtGtIPjNtgJ7O7TOyonlw7DjtKaH2Rf50gVO0Xy9xFADvX9bo
yPfs3JJ+Jsf7eXCj3KX7zN/7V8AWlv4h3ajbDjYLEAQq2CfX3GLEPU/3bbWGbunOnggCVIhdUbec
z86NZl7dhBTij+2ZNIOUDNFB2xeP2Tmm9mahOdGiWBnGXlrYc3Bn/PFlGG7qvciV25icj/6WQM/Z
k2Be7YRg5Kt1rW0rfW5jeQnu62N7rMSettA8OxMcG1Yo+RfD2thImBY2/bJ3dMDgy2FVbrNFLS91
Z9ika9ovbvXk78vzCs7qtl5Doz+a/MaJjd5fJ0dp2VwUh8JCdXmpu1/DW+3MW4l2Vay9HRnQKAYX
BE0V3+JLcrNk6INfdahJ6bm07QIHFOAqXVnhrllX/2xl5Nz9/jtROpgjsQR8VQfnYtXTSSxYW7XL
VKINDxb8JIXUvAREjeD/B/LwybOlTF/6f14bxakAnIigSXciqxumbTAM0HYpuGuowFz1waf9lkGm
qMqHKaPdZVlp65wkP3U1uAbzjc+ecOujJ+F0hTZ7Fk+1dTdCZzhNWH1iz+HFOR3HxIrpH2Mkhh/x
bdzJOzdh8J0Z3hZQxVyqwNbo5EhUucJpNQWrA/ei1/HMV44a0BeGIymtGq+1N0UAXj1wSo+zDmTl
dstEnygGPVgUQemwJzZOocYXkkQoWSfJgFZr5SzpGnIHYNQaVQuHVyBR8m6tIeBmG76EnrLBbolg
UGP02TbDPSeqi6pHyDQNWGJPBwRq7Ad6unTii6WGZlgUCPogvlhWcu63KS3/xEk4HWR+tfaUypg1
5AQBCCwIbdCxIQfGeUqdbZNUVOck9z3AQ/hkoft1GSLskz0r1DU71ovcheK7Dos72/a+Ckl2+qA5
WDmf4LioyYwbxF6gzJ9QLqzDn2xiH63pJ3sYrlO5NSLIaopbfPU1fMxCcwKNEgBPf+BZuymTty61
z9b0Dy5VnGxcein6wJQTd1OkKy6NVLxZzk0+7Zp0fI9+y7E2OPoFtvzQo7VpfXKdHxSwWCvfP9jw
+dSk9yR3g4wAXB54k1wwn9UcxvCOHeY7fdy1BnKg4z/7UsXJ7qVrSVtpuIO2iMNsewtv5QtDivX0
pU6aYs7mbRkfDIWd2lR3o7e1N79/5V9XQEKc7GaDlDZRBaJ+2wp7xwDYkYN2V9kSlcCwy/nnqQz6
/Ut9+KmebGEYi+H8xoG6yQb54LvyVhjXOrk8jVd9oUFEZYRej5wP1f80nHtain6xUIqTFbonjiLF
I6tsWrfeScEIRfAoOM8n4FJrRdkFrIb46C5cSluDt0IC42eLNP7tD178pHDWIRpoEBB7FO+7qLPX
bpwvBZtDmJHJpfS2i3lPvtFjlijCjs5SP9olsX2RIDopSkIK+t0Yd5u4cO9zLTvTVCYY0Uqbgj01
EjHqtQoIvVpGGqK8ZZbthpGlaBWVS4lvD8McUE48BzMC2AeOJCqVgQCy1NOnZtHy+WYBdhY9HWrk
T2zc+OshSB+1cdflX/X4kFMk+qu2XZVQmQGBy+veWo/l2uqXMkb0NauiFKxMCjrUYwMhRtGdpp53
yc7V7wz92KjXdn+b6y8AMZL0SmlXkbZqrZe2Rv+3aauNjOKI4NtoLScrIMm86cpfloDH2rXUrn2C
Mw3kUmspXyKEmIXQQFxYy5gbz1oxcBCB4jW3Umkd4piMyuaaDg9KEyghoIUUL9rZebFhfLU24WR6
ak8AXbuEQbwhpcRvi/N+iDZEJ1yRfLZqho0sj+e6uMWO02bpKhiGdUwLueJxr3N9F0LJ9O1g5Yv+
mwJnB/THlR0D5a808SKlynGoxBe9PleycoOx5JqpGRqw5In2zM4K+qNCR1Ou/M1QmQs/LoHKgl1n
PKHYUAeH6gnwBtZlYpGq0snD9HGUIfWJwL8MwMYO48Cao39J4nA1AsAKQj4M3CzxLBQy+t/oOiys
DVHQRvzMPHumV9msAobgvgTeumTuYDtxC5+r1Lq9P8FTDQbmwNrIjMaE0JnrwuNQ19tkEqfkwgio
8erGk/IFZqrDgBRyCvxtcyhp3qQR3iLG2IlcXCp+uU5hEqA4cewCpQ0JBB7bja+u2yq7ivv0Imxb
h5EA5Ym8wTuCYnfl9sX00VxwpgT6fKtFg4dxmDOB1QhKpfAYJd1TnmZzj8BYpEAbS282cV7tzVhe
DCGgFt1iNhaIZ13tr5ocWHE3z2QemiyiaWol5r4d1qoM/N6jq9rreFDNK2jyX8VIWMZE0JHVNcKE
5QCDhlmkORyKCClKYVy2cncG3B/Wibnp5GZl0K/QEmUtkbKAI37uWmJt+ge6tMyajR3jTYbaJHio
91Lu8vz2lz4G2xnlthuSs6hHwaNuV4hS6AggMdLkO1bWWUT4chocaNl+tk9+tNBMf/7mrKUwttAz
tWk2BSlIVb8WRUvmU7kIfIHAgOPmC3wvRCqUVOa4ZVz6+wX9NVX9V6vrSSliuTE4lUprN4IgY9dz
917NAw4hOwvlc43JQoLOD/nwrMnPK5rJWXJFf9jxKPhk86oYuLVQTmC8cHLSHGXQLXIN0QSUXpsU
82zSElBBKgzWtBFIYDiPrGimp9dVei/LVDvfgk5luEGytgJMXYp4LqUVA905UCGnb6pFAxmksy+9
9pCnx8hikIyKzrpOQD39/iM4acn+dcwVJyXR6IMNAzQYwd4FW0VKdkzi83Uq37PDTIARININY1AJ
5Q9B3cOhsg10FcQvM8WSh8sGuH067zv4OoDV8jpwbFU7o3I7TwpzcelH3ieb7+vx9BfflXVaSym6
P+pGVG6SQdv4bMKWhCjI61ZpeVfrR9k+L0cEtUE+j1QmOMqZSLEYpIAU3RoEKBjigGiL/BCoe3r/
HTcZyEG52BY5H7NfzjHONw32ivhOq7ndsGTlOFzcVYXiKiosB67ZvLILIpOI2nBTxtxwMFuyQwx5
ljFtSKVFhV7fNACQsWIU2XXiweMhx0GrZjIxUMnLdARAaEc8hL8gBwLcFF3uAccb4GuB599lncrr
R6l7AO4279Sz3DDQ4QyXNQk5KhMqtbyMaqjxGzW80FWQpSNsWXKWYfjNmU+cZbd9Xi8zEmGEDRCa
dJeiQ+VI/HvKry+x1UNgZNpERk59n9aQHqxrnd1b779aLLrNWH5yWxlT3ferb+ukAJWs1NOiSuHc
jGtCWUFak5Hfm4cB0wVqH4BNG6O+asIbD3FC0d8X/iVk+rlHbhA0z8XYiHlcV9fIhpc46EPPqSIi
taAgcchihDdcGSS59Xg3PJwbGo6nJoJ1Q/bEYLsr8D8XNuymEIEtSx8iYnWTGC7qQWI/xeCgCZtP
k+cO2WyKcaxoxzUy33lIxNgYJ1tYkWtm+k6YsK8a6WIsiHSEnqCkHvNBCwHP+MkKZH1wQrBO62a3
VHJRueXGiO9d7Bu4o/Zs3jAjACh49RqLGhkc9qXa6N9yKbhu5JVvyXtsoNeRF59rJRogs7hUyo3O
bR4O0sVoZvGsjL5Uvn6rkk9hevWiQXMj6USf2IhQ0ukQ3XqcSe5NUH6d1+9A4a41FdRI/AgTYG6z
l44wzPtBWokQJSx345BKF1JcQEI3SQTvHL8o50XTrJXhQc9eR+2zts8WZt3vc6vZEOiF3sRdJQlq
Vf63kKHdleZK9hsnvCm6cGFOJ+bsyg2hS5b4EDtcKMECfcYqYh7Zl4KT/2eLh/JB88k6OSVkaKix
4oX+FrmcI+ySOr0iobKladnuhvqil/jjWKyQPzlFZX/BDz2j5gJNVh+KgRCjT5sO2getD+vkEDEO
rYsNVJE2AEUqFi9tJw8X1ZAptDNxIkZj8xWJ6FlsddeU3xttvKo3XiR2Rqaw/pIvUNSXcKJxaEDy
JlhguB3iLyOibmIoWOeSr0kzbmjrbwmomkagG0PUxxESyVYjJU6d0iM2dXT+++3jg64wvv73O7eV
E2CJy9DcFK5Ob8y/0+ho5aZTKwxV4e6bu7T2blRZ22X9ziRfcqyb4pOH58MXPzmfIDlTAlG2jGlo
COPMdopU7LLcfiSgZ+cXKulZ7Q4lBvLF+kB0w67ka5XA0n9y8b/u8IsJl/C2bCHU3iRV2bM2YWJd
lOSgahh/3CY6AEQ/kCq0eO1ddQaD9/Dm96/5QQfjtZX1plIqI6wNTJsNPMs2LlGC5MVhOtdPnZOY
0qTz5Vls/NNv96Q4kAN4lYxvtQ2q0S8ma7OB2jE3vuEE2xniOglyJzMsR/fLAxi+neWPO4Nz0O8v
9YOT/TQafPvptkWqYBNSjY0JFwhz/GrEOGiiIuYyq8hdqcWnvffpbv3FbmWe7FZqOw7+WHNOLIYL
ZUKniOSLzDVOnyzE61X5UoHjhNTDVllpDqZ59gFK01D77Fb6oBVpnuwD0JdLAmEA/kJjXSUq2SaD
NofnvjT5PAs+47omkZewqo7SI+Jt/f4z/mjqYJ4sjHD0lZLUJdiWOGUj6256dgv3BmfBpOPbKXz0
Zio5fR4diuzTz/ujr/ZkDbQDzGCTT3bTN/CE6ANW6Y0YaAyE9N8kw5qZyhqEHv4HB9HtFpb1Ze/d
oet8wGBz8OhHa6XueO5nw60PnirzZBWLC/BVRsPZOo/VRxflG7TiXSAbq8gFDpLIu1IadoprfHbe
+WDhME8WrgJ9f5m1ub2BqPhVMHqEorUlQ3Jar4TmL3BaOFl2G3AY/off88lSVRkQvCTBHW7w5AS6
7KhIZrTuzvWE46vVoRtoFud3hbVCS/TP1irz5HSVkBvTd1OoQsJlweTdhUzLGp7gaVkUKWAshpUK
u+4n1/jRp3qyWjWGim880qWNR+tvWjAynlPglOzew04t5Zmro6UCWWwY7vfX/FtSj+ss4T//Nv3M
U5ajrfH8+jVt/Oc/fRj3/u6Hqv/z+ksYijqP9eO7f1ikdVBzqnouh+MzMXrfX+DHv/lf/cs/nl9/
y/WQP//7v56yhrWF30Y23btYdpQ5lqXxhHys8rioam7TP678IMoIdf/jf//8v9+FH291H3/9vh/K
D938E7IfUCEVBCVqTVae74Aihb8xABThPAAqKXSNVeM/AEXan4IplSxQhxgWUlx+6IfyQ9f+pOYh
RVzoJnEUBiikvxX1Pj0QP7cCikFD13V+HwELk/lJO1mQ8XjFmZcG4xckd7f6oG5LYhLCUuEcB+Ys
NLQdeVtogLWdGrkWcvvsWR+GK1dkNwB+90oiBfOwotdHMMnoH92xXXqkQ3ZEqRCQdBNlozmJ7VBh
uuHaoBe4aDMCxqrMo+k3XA1ldGl36Q0z7Q3gmAeRGbtUuNcDGaacZ6SBXD/N0W2DYJ0se24juPwh
LBBk8KDzQuUqIb0tMKV16+GdIzyOSJDMfGE9v2hqDRqhtRGKdZ1Z0rUs7AsXjXoqgjVggHUjpHXZ
J/cJh+CULLR5r2WYg1U3mJOb8lxiDJnlU2BW3TEp0tOSxh0JuDOZ2Sz5csRSZsNDNhEK/T66lyhm
Z0QP5I43BF/phVwBRSKeVDGIgmMv7VrOn0T93QgCHPi94mLaYStDgTmkklxR0SBVqmWXWDeVAsSV
PBB9QYtuCSVtjWCYFmZZabC7uysvoj8ujerWHtwXtWMSrPCpSC3gdbDptAdpItITbAooLTInZIP3
XFI4R1HFQbmW2hVS8EsVKTGueNxUQ3HDz9LpFtZ6IP/VHpDCxqLiemv+WOjWOYA0hOQB5yURFgVB
e8UzMAFIxBg25i1245mlY8AjhIZpdsk3MVbFDXzy205zF4MsXdAU3MUhZ9R0LI5SJz8ZGWGwotdJ
UFUVLAhVeQTIci3bzbnEtKEbnunpHgIvuE+VCNV5lT57CHFpDC1Dm1A1VxA3l5Seg0oYeas1KWrj
kHyqGO9/XoX2ug+HWzvU0L/2D0CYUWNY57El2TNDk14av1rBQQBlRLurGqrciUm0BRBtr6HeuuAI
EKe+5oyHxbFQpLXSyrdtXNxECicNCya6XJP92ewHNT0qmSDXmHBdwliuVJuEX0kar4IYu4iXac4Y
1DHhQiHgRY2gDdOn2dqqxl0rypjEZgzvtDUNXz+zVRqQbpXmThGWz5HCN0xehORHl60NQAZ+jYUY
Gz3GtinK51ZE6wjXtAiTvRJMX4ErLnsdObFop4AJdyGJ1piF9M1bq1iZhXKGyRM3XuNeaJzJ5jxj
91JYr3h7hFoOL6pSrVpVWsthvCZzChdreO/m8kPX5AtBl6bp4ktIE/G86yY0eWNfYwV+whNJ+xxQ
ZJ28vrWOgjkFPh756P9ja5NLfDh6p5zptv91kI1rRVN2Q5t4ztjp21iO1oicj1XUX+EyWxthsh4E
d4Wk+19xxR5ltX/Ah/nSci7vCm0L83QXEsoWZuYGt/ZDlybPfU6Mk8Gp780if/i+CL7T4fxybTQM
POToVm1YFKydbw4haO8Cw+v68UsqItlxi/wuVAjhFWnoJLn31PW0XiwTHGB65kErCZPWoU2//ORd
vG+ZfF+hDds2bDwWNLJPT18JaqSiKEuZd5HkC81zpVkeGeuilRiXxGcgu6/CHKKa4u3ywQVtq12i
iMdYlyxe38nf2vw/3NnfVQMf/lv/A/f/6Vv9eOufPfrlY/CuYJh+4Pvebsh/woBW8KwJSGLq64j/
B3xQ/lODLWjJfHHaBMKj0v6xt6toNzVLgDwBICwLWgJ/7e0qXEJLQAxkyYMWaFNJ/o29/UR0Ymnw
hnVFM1RoxZaigJR6f/sakqGFCKQL8kdFs2QY9ZIlYfAYysI6SyRmuHGIrFhrcSGntpt80/0EP3LY
6yvi2ccH1S+9JYmuqN/A527efIq/eLZ0Kpi3dcfrm1N5TwpjWGGqrxTjN8+WQVSZRGAKyNR8bBpm
ZVhrQOYxpoozhqFeHyAV14vWn1V1m8DrJ+atyOl6g4wK96HR+A/GoOkHUeRfzYBJMd0m7codSCKc
R3mn3yhMf+aSp0v3WhlUAVJ5nq85dTOQiZ4N9Ub1cP1UViutBotYUpZDeMZ4/0zkYrXn2sQ2adbV
MBqYDN2QXGFiJOibI+IFnRBme4wWPu4Cy2qfY0GcwEyR4bPMVLMbXhSNrMlZCjddg9UxmA9DWZOj
LslQh3//Qarvz5bfv+VJDMxJkhegTfH+Wxb1SIacnwO2ssjDRluvdup8gNBL2xceluTu2+SbkiMo
JEuOyPU0ESvLPxYt4zPZW2bWlVsuLWsZ5NRaYQ9UvZlhFmSKC0uMjEo3ChwoFLNCF2sdEsrv3/50
D74pP19vAx4HjGiUoYxMTjoSYxHVmRcyTS2iNnBYRXW6AUG6+v2r/OozMqcGDqu4QWDvdDO+udkU
awx86P5EnQ8pVRXJL4vUvWxI9bKSB3jXePoL8uh+/6Lq+x4H3wy3wiT5Nrg8BP3ayekX7kcV5mZd
OhpQhEWuJ/IZVmaM5m0g9484kLVnHmF6LTbZHpd6wkJCBSn7T3mWJGdGMGRnsaarh0aXE0YYvi+d
wZALb8OCKDufeBBYZh3JPOYADi4Unv7ZrfW+TfD9AljbbBwvqqICNX//sbGsjAZu8imXru0dxtI1
qcYt0+OxBlGAO2NZNpo5HzHfLE25iWHPaTxz0JjIIBD9xqj8bg6zJl70sClmtZpX61GTSKmhSFgR
UrA1zOoyiaFZJQWKgEQ1rL2SSWAV2RZXZi4f63FIL6JwMiQbfv3JBU7797ubz0BZz8ptadSwNsvk
++szWpBMctMxAGn1cq2WJAog9p17qv6ioIQX2Io/ecX/tOrxiqquwEtSIaRiY3v/inEkAYFOeMW8
LK+HAn3A0HRgvKRtllTa9/36v6oj5vvj1abSxSIBijJGOdkAMjImykovC8cArBDXRr3MZZJJUiAQ
zHw0sSwGcDbZQV6bAgF10L/8/gk4RdFPb4CNTOFqZW4jPA7vL7fBvTo0OmNjz7TBUhEov40bZGLk
NrhMAQ3X8QfM6U0KsrEpChu+XcFKgwN+XjWYPUkotzZyi5kKSsrS1gj3I/V3oYe+PZeimu6OrzOl
jFIco+iwOdr5Hb/NROdQFdXciyk3k/5SFyGJc50iEbxCxrhvGlBIW9s7VgQgXrcA0Ffwj6IF+FAE
yLAzFgYYT2JjYcB9UYJYhjjBQwCecl5KobnpayLfAr9otgrwjFnAaH3RR8iAXj++/4Z66/+1+AWL
Z02bCp+PC6/rIMlK6ey5qp/fdlf++skf3RXV+lPT6ZJYwkD9Z07F8Y/uiqr/OaGfzVdTjWyq9F5/
VGCSwD2jwJ6iNKJCm4Ia/irBJHvy3ABNRtCtwKKxUaL9jRoMT867NQbbLg1ejd+oKlPVZ5w2B2Ej
N7iV85zYqXa4Fane+LPATPsXAsDwoqYlQ0WeYpJFPXWwl4NXIhGVcsRUmI2BQ5kVxYYgM9zSy82Y
lf6t7I6aNRubyl6mmZDv+s71v3U6U2Q7Ut2XlvQvhDwm5nYFhNIU5AWQYl6zfxzqsHS3gcl5go6A
Wm7oeox7jGa8J1I3/UNmWUyIU8t8MkOX7EGpgYcKuXXBKhMvVahoGPAJYdT18hIwb0/uQfBUdk0D
lqDxpWsw69mj0fEu3IySZN7ltpTNCy0DThyYHn/CVNAtF0gbSG0dRvNbwOnr+fW9VK4VuWifDOIZ
ECDm89iXx0tM1UTL921wmVmFdI2FnxAdaHv8VtFo+sL1GkRnZeJlKKKCcW/VVnY2wmZqucLW/0ZK
IReHIZoLQdV8p+UkpssmKu8qkmTQzFD7x6kpsQ9bgmjnehhhie2noDUL726KCvI4Eoh35lV1cl0n
eERBHrn3ZKD1mKwbQInz0RxT46C6+bgXOtQIsokYWuqejonbSBtyCz3ZyT2+REFS+gwAfr8Ng4b1
qk3T4lZRMxeltepe14TsYVViHLUeGLfRGmnBGLtyER2NtoPFrCatfsMG4h+6SAWvM5YawVSW3le3
OeCZhzCXiXbHQH/w+7a6VhRXum0xmq4tuFqbqPVSqE1C28h24m7B5oBRpOeSwwZ/MBh7fQvAr1I8
EiVz0ZvI/lTdvpfxg5z3MMQAFQA8tlIhJnoLmIxCJAddzvxvghihjSJ3ZCbLSnTo+8a975pII0to
qCHsARxwoIgMO8991Wq1BAAY/nkfhGI/pm1213u1fFf4/vAlQLRxkFufxFjBv6JHenRDCEA4IyTj
NaSN/gXNLAKuFIn2WKKiRxFipccDm3c4tvNBMqMFPu72S5+mFwFJcCAa23QBmVJ79FuBS8F3pxqs
0sY1OBx3mxKxjjYjksnccpP83rSp4uFqDvj9Fe+QRI33MKLIXHXlQH+p5tlEGIEsdSyjPY76aK/F
ZXAJCxM04UQ6V8Y6AL+CMqU2tAhCaGPsPKAUqyrBbRHbPoqiEL99F/P7WpgSV6abgVNUG9S2jVUe
fHgZi4R9x0n18s5mYDQPRnvYa+qQvMR22p+b9eDvXRrL31wzGFYmG+W8CkN5HURBtP+/7J1Lc9vI
lq3/yo0zvqgAEkACGNwJQVAUJZJ6S9YEIdsS3m8kXr/+frDrdNnuU6eioifdET2oCoetBwkCmTv3
Xutb+Qy3dMPp6CmfE4fgUk2u1B/gimyJ7VCTeNeqBkxMW6Hf7FBeEDPImx+Q1mcj4iByGScXyXa/
2qNBL3MUyqyvHmmFgStqbh2EBluS4whRlJXym2I+yqXXg3AcI4Kb8A+XyDfvmBwEaVcCP6HHVXRk
kc2bKIbHWlx4hDWBSYV+yo/dOAR6yq+Occ4itKw9SBy1TyQq3+QqXd5IyMYODvsYasRdamKqe+io
nKrw0YbFDbIszCAr7UuCT9Il8b3QH7Sbsn0rp8fGBGdSXIrqnE6fyRnepyMKl6uhhkfkGdthvB3E
lZecoB1NLEtryNt1mSYBQqO3Se7IoOdQ1O6Qd+375KxqxLq7CCyIX6vhRDIIxrMgCf3UTi6zYhfn
21JcOU53F32uCe5S+766M0eY7eS7eJcgRSz9JiOLuEaFX8DO+OLC7mRxVmTMIs2yMAskvLNoxR6/
hUQhts5MJ9jZ0QZ04+ewRTLxaoASC2sTaMBlRCLdEuKFkBUBlZm6wE79dUq7hx4BANvfrhimFat9
GBpCuHL5JksDgfFdYn9MeKhBMWyFARevuYPracWVem0dz0JMr/UCVaTQtv046vvajXsUt9B82rnx
cxvslWceTBe61FAkq+GcmpKcSzPTHmIdDWpE1utEKxwSBIdgeGGuFpRkloKkeTATO+gaeWuLRvMh
JXwRjraZF+u0JPPz2PfHvJVPhXAZY5XTi2cP1ypfth1bnkgpnN3EOjo5HBzQEyvz1fxYxvFFL8UX
M0Yyat+V0v2UwTXzNfOBzJOtmbhPTfJGGCVi2yMxjz7MqmZbKnWeQ5DM5XG9ig6sUmL90JFNezE2
V3CIcUhAotfA4PQC92Y5HLL8PEDsWxWDbljsu4UMOnqBtsYazK4Vjw4N8UsDOS0s9+a9brWLofwc
mmoHDuk60uxDDaja9ThuTgY7OihVSFn7RV1kQ3FKyFxMkm3eh19CLYNTiXqnr77G9hzMuQyW8TPB
y/DKjo6AM1fcL9FuKa8s6/OijEDad3MC5pecF/fTbCcXBq46hasJn4nXgmlr52ubBFscVoJ35sDD
DpY1SqcKXShADXJxAhi55qnJ+M1qTg0UVdox9NnnU888IBF0XRbvs5BQ3tQnMgkbPETafoSd4GO3
EaR1O/c5IAgXx1dxUOVNVm0BIfqz+9l0HrB5iaK+cM3ratwNAAHa+joh4tkEbnh0CR4qX4ruqIdR
MMOt6oroTHnthtfchXvPuSw+rzTM1kV0c9GXH7FjbCqN/MLxINs7tWoaPWhJML1cdt3I/Wr39g7H
xMaJLo30qbBfSGlHEETuIpVOceWE94l53WsGzIad4Ww7qOoCPDagfJuEYQ8oxqdChmeFW8our+uQ
6UIf2Mtz0gKVRPXT+PF803oXiwuGEjvqFF3Q8Qms6Uyw1katYkeC9yDLlsaLFgbTuxZ+qOpyCT+a
/lnWl/BzGnWlmofEehqhhSz7eACEHqO1ZCDUbSugj/qL+TgbN5lLhlx3CcqKFfPBrbdTcdC7PUMT
/C2FfjfnD70+vmbatuZjsy4tNjfZX4zLu5ddada2qLZLF+T2e5geWlViaDD2Ir2b+CP7E0reK6E1
16mJGQ4pUQIdNrM3a5e54HUDFrC37G4WAl1bJz93RNG5yqs+mSNGnoBi81J2J/JwB5aqReyG5SAx
h43xVWWHQS/GTZ2fquK4sOS27rWuPkb1NPAEaR2ZtId2+FQ0eyPfjyNDI8Y5IN82wCh8LO++RpLz
VGzLNsfE4FxoGkBy/LipwuZ10OV7DJ9CZ5Tv8mKruWNbe7DbmwxmHA5TRpCzbwFBghl/ysY+yNvr
ZJyINFXbpMGhUI+BMzwshFrrdWDk8e3ClMHBM6CCRO2LGmYObwKlanqpjJQW6SludtxmJbrsLjvn
1GMj1thxLJ/15t5jstiTX4Y40CcasLJRCA8Brh2/5sLM3KEZeUjqnBegQLRbmb2Wyy1ggKBLdrFl
bKzxI68fG2svFom1ba/Lo4jfmvR1yZJAyb9qDawN6B96H9/OJZzBPEOnTU0I/Xo8+rElxtyxjkyj
yq+mKuSOTdsx31r0gcgf8BruLaboc70pRV+eW2um/1Q7+vCKlY8MZH2S17KkZAFlae+JYBheavod
F87cqxc7TUYgP/3AJpWLZ+zhp3ok26TVpLjnJ5OEPC+ay0TQqM4wKtt9X3bWIR71cWsqrn/XphhO
h5TP1MuHqzoj4IvW3qvb37fARuuCZ3BZi7UYpezY73pPgskuvibddA+JjbWYJXsum22cXpBB1prd
Y8W1r5ySRFEHRC7D2dXDo/sRWJqQwmQzdcPeLOadp0eAtBoUvB/Q4vuLAhDxsBFqGU9xrVU7fbl0
PGqY9Sk/wjs7SpSg8+usP4r6q8jMiRnqsS/uorm4mluQWrngk8xSFpFaBayHBJzimnrIyYMf6jMx
1Ed0dYFZDqx4F1FHamUPddIr00tasXvphfFuKB97PgmnjzAMziyJtwsR1EtyMkFDz9ZbEfeXPGq3
RG3jIVblpRbPz8Y47roiI+sF19YgL4as3NP7CVTTXy2uc28wSs4XetMxO2D6UDXZBmjhK9EbVyYu
mOZDLk8GpgSnegzBpjoUoB478g8H+pu/nK8xM2H0zvHbBIiBMAKM4M/34KLb9GTtZrhKnfHZGxbd
tyGdA3R7pd5cjpmRNRdLOSXB2JGGho6CyNmqJYKktrLt3++1/FeELT+Nvy7eq9Nb8d79qpH57zj9
4rKvHJEfPrlVjPO7dGZ9F//vHzdvWp5oX+LkDb+v+rEbY/zHd39vxzjeb1JIwAXYmOnli7Wx8r0d
w7/wtS55mb93VViPfm/HmCYDMXQsnmNSrKOTYSn6Xexiit9swdyVn0eaE3mC7t9pxhjfJl5/NHy/
mz9cE8nizzeaJ+Y6rUsNxGxF6EQovYFjI0ylWSztq8cysJmEF29sbcQcXCUoENFQB2Q3QhoTuagv
K0UJmLlu8uYMLbuWPkVPtgVfPVryl3TsXifVdKxzjnZllwWs8WHybZduIkwzfm5MIDX9gdrnHFmz
cKX5RZ55hzjOnbvYnDRjW3mTfVF17pmgnvE69/rsySaM/aUtSqvaDnOiQDFX1rEp81d6HuxwC3aL
LqzDnSXY5BH33Bv2G02B1h+MmVIi6UJG1hbkMeoLo+uosky9OpZkFe2rOsRIQTGP6K/kVc589d7u
tPGLnZThPWxmAyOMEUXX4yzla0R77RBlixPUjdNsK51VZe7m4po+KFaBEvPk1szC6t1MLfz90oz2
sD5bxtElQS8oHHbtIqOHkDbeE/EDJNCDAecckrUHzTOMfRkl5m1TzWbQSbHs8jxTh9hguQY6uFIM
df6YhRFOce4vXzqlhxvQXUbg4zRvBNsHGHEvOo1RidEBst1laIfkcI21+tKZAALxg9tOTtoRsBmh
UzQCcK9ouSPWt73OhOFefiOr5elxqMv6SBOB8pXEQnh9NhmFOb3mXSw5YJltVR6tXop9nerpSSLL
flbJUPuQxp07SWP6jEJCuy6janicqzw/tBUQhxgbAaSQIj8vdZWdvAkwZIhn+doKBQ3sGtbYpujD
kMGjCyuximMY/Bz7+3QwVxlUv5UCLtqE9A+w8GIEut6QPp3F6azT6NI7Zko9kdXmI5TvNug8d34a
BzP9HMVtfbST4RbtABUdGygreeKenTakiklxLIQ9H5cpkDiHc/duF2F2UlZc+k4sxv3fX2T/VBrw
0wr6r5fi/4br55rj++dNbAhqrep+XDHXr/++VhIWTMvapgQTJk8nnep/rpWsetAABQulgVnR+5Zp
+M+10v6N7GnGiWQ/O7ZH6OofayU/jzm6znehLjDAQv2dtfLX4aVgJITEUGcyZgjkgb/SCyrPGowu
TLB1DUsLV9gb6cHoKQhHH0alum/tYbjVsta49moYHyPzVfqsltF+xkBGPe60ndg7hVU/pgZRgH6v
uf1bZcv6hUYvtXKjDKcPmrSnKewMSVzuSpzP1u6Hy/0vSoxfBr+8C8SSzC+5XrYrnF8FyG3tjJXe
aoZvG3OBM65dqXOp7acLLQBC6YOuoCeWqk9//9easL4c/kcExq/uBW+qbRZFz/DnCF+jFWJqY53S
i/MyLYd6GI5jS1//3//OtWD/Y29zvr3VH38nk5AfC/oJCbJZ9+vv1Ce4DzW4yBFyR9OI13//i8T6
k379TVxNSwiGLty3v5RtektPkSA2VhLUJ4xuK9rS22TIsFmn5aA99LNnXRXx6tCvVMNpTYNVNy2K
lsOURPJK0yp779o6iboDwWV4lGJzhT4mKsPuIYw3naRfLHwmwhASKbzqpjY7Fj5WySz/Xvf9+Yx0
fcx+fTcGs3k2P5eHkB3k5+tGvo4liItZfNqnS+7HteF5uA90tYWXb0yBZcc0zcJSOVPgFGhJtlrR
LC84np3kYhzt/GoZB+MYhiUBIa2hJuaGUTO8x9bME5PNkpaj5mghCkNlVcRP5KRob4xvb1Gs75YO
Byz4rEYcuaicy+EyIBg4JHKVxvV6kaC0tAFZGohQEfDTwF4vbbde5WS93g3WbEC33z6GURubAGFx
aKzODZoeJlld8RaJpvU+p1XGtIKlozrYplsNfgXLk5aaqogqWJbpw5pqLHAxv8Sgm2Whi1h6z/zI
6mTRNmNh9KD5BfT3zSBCq/FrcwhxJ9qjlV53MbmR/lJMJfzCrl3D6ppU0jSwTLK2OLwII0AGHfO5
zmYfbjOBP/+eFJ5DQ1ZZkBrliowpsT8bcpnsoEToB8aSNInnEr1lgttVFMyAI3WXt2q5S3FkPcRp
Fc/AlZ2mu4HhNBpbMOXFHYqC6pIJyDwQ+tuNy9dozDsjQNCrfYlyazZup6xoIsAzWtIE7tDNdxWZ
wIhu5eytusc+JDaaA77NqCttM5+UzJUtQ0KQhnyyNQaYoF1+qWyqsw10ToyemNWXXZdMgEM70N/o
OdEBbZIOkTC9DMfOIArb44MI5/aA6b0oLvgubhCOgmJBlVtQzqA16u7RH+FA7sJIfICg98YNK7H5
DoLeJuQhFbRp+mxQb4S/jk+1UY2WrxI+5zxqClr2aUVlNSFHATxhmN4WxHLTXhV8aIAVqD/mIIzr
MbzIqMDWClVi31ZV89Kty/OQNEy+5Lpoy3X5Hr+t5OW6qFedYH1316U+XBf9bl3+HRNv6/8tZhsV
T9My8/I0L6ijWgZTpAN5JpoU5ISlTxrumo7sO5r4mfdAi3v5K63Kr2I3YUsgxGx9Ek2ZxQO9zmF/
kPiMlivG2IlWt6Bzhlvw1SVvbFu4yK4qyPuTatmThPioFWWxB6B3Yahn2bQzwmi4m5d5T5Bh8O9X
ylU/8tNCyWtydQ5CFrosttNfFso/LkzSObxj8e3NuxmVFy0Uron97fqQvop0ulkv27xewG+v4X9F
BP8wdDamP6+9Lt6Wt/9zD+Ow/rH++vZNfxRgko/ldxXmt3Pn98MqpZkwUHM6KMXWw/GKFfpnAWYQ
HU2/DM+I5CzLefWPAsz4jUoJsQvaAZ3gY/G3mJzmr7us5Pc7aIXkqhM1rV9tgWXXSyesIySKdt7v
BoXV/DSspyGEUqHpTActNEuA2birOthr0chfOdJu9y36yWlrxI1JogtRTsduENmV3Xgkv0BCI7LS
Npduo6YpPXeEwu9wfERtME7sOFtCaIptpSZNO3c65nUCoTDwz2Vip3DpU+LHamkwDBMq6hnbVSxg
M0E538u2/71p//GNE/jnN+2VGt+S/qcbdgULfr9hLfc3C9XMd6ELZgwqwO/362okkhQjDj24b8Bh
2i7/vF/13zgqgB9mTE94BH2Z/7hfhUtzBQvR2v81wSPSFfkbSpdfgYc0bzzLtmF3IR+mlfOfWHfE
OCuraAXZ2GPHdDci15azAkBci24EaS05kOuNcp/DCMq7KjtOxmh//TXVA12VWjHTWq0jTVFhqxs0
0sG6+2WUsYG6fRVyxk9iclWqWSU+QHGcK5I5P3FjSQw6H/2JMUFOMKCbqExmzVZ0ZVfuE7OavhCH
is1UC3XMSm2miL1BczgdQDPDM3cH17iVlCN3brKG1C4QajPfs2rQBK5SLoZjI1+hH7WBaVNHVeeb
zsAAlrKjvOxlMmkbo25pCIeudPeYw5PrnnTledugCIq39Rqgsh/F4pDkg9R1ILq3gs7glmEfZEzo
ydnuT3kvuCJJknw1w4rARkPX+pG4ijn5FE2aHQVWO48QlxwTu75tJSg8vPCJygIsib3wx7IPLfAC
TWHNd0s4gaDISO25DyXtoq+eSjU7yKMydw4xymv74FI6RLtcchAJZhScW0LQkxlrbAgYx43ntj5F
2lzZG3tAA+/HOqXqSQ3x4voyImNlkIa3p+Q1louMIIX4tow9ZEB6ZPb72gKJcNO3jUlAiln0BzNy
3BIAFO1lQlpK67PEJMWE2ejFRxm5lFmOlxLGKmTNcSLLtqR1y3v6Rfk10wB6I+20zPzt0FKS1q4J
lWSZ6i9xBoSM0a9jvdgR3QpqqUZuaPadbHN+syRtIyxCDATNnoQM2zqEeZs/O1keDkyxiYsiNBZu
ja50O1CkbG1CMlh6n1Z1Au1pOve5xzFNjYuEDq83ZeR7nCch4Gdd4l2k1dR+V/z9+WnkZ7XY+gyh
PWTv4Q8CpajxyyHOqogeTbtFIRciJy/SEnkh9LBsNtDFi5EO5EqTSCo+osbkgM7gQid5rizl3h7N
+qpMK+eWoBBrs7g1ApHSKB8pbbKtmOPpL05O1i8Hzu+v1UHVhr+BA7b4pbqx+jnUM1p12wjjDpZm
wiQgAiSd6/JJp6Stpp4c1SaZ9Lzd14Ie6bLo0xUZDJkXoPMctlmbUz97nbWQBTfG44fsZfRBJ9T0
a80r95qXWfciztYgsaKFNe+kaXUVi1Juy7j8kMiHICIAPeUZ3JVxUXOIJNduG2HVePdmO72t66V/
LQYP7YgYSE1n3I00nxmrETIU1rT3OQqrW6Tt+amQXuWQrWbWYCE7foSft+hkIMlwGFBFNpDDoZH3
5P9QlNx8rwZ/Mhn90qL4dhklSh1EgrDBcY38XLjSHXGGMRbgQrLEvquKdnhRjXzMQP/s54jQQFuP
6Gq28Rw0sk136F6dt1xX3Y2jjcalpPH3GBqxtiV1cUYlQnSx0/TZbtbE8Bcf+b94qczPKZRY4mnZ
f0N9/FBje0MZ15KRJrWzUM8xn0YwpvWyq5QuLrySiCmdTYoPHlPiX12mf/FkUNrjYpEOfX0qsJ8v
k+cRaF7MHXfbZMvLMmvdvZG2JMYuc/3gagOZvIWgTkq6YkdFAgum4oC7eNWuIO440DPvPSxIP8Hi
WgSolcVhQlv2F26GX7tmfJhMtZho0XFydZN2zM+v0k3LqSClVK0QLHaSFuEb0MTwvlaKbWOZCVTp
3GmON8usxDaXIUFHA+GJBI28eMz/9iSQWy/CYtnJGqGd2lDrArIuir2EMAfYL1cXULkMmG4hYSx/
/6jwP01JLNbu1J/XU/iHk7cfy6lvX/97OSV+w6JBYU3vf4XsM1z6vZ4y7d/4CAUPpS6kyQ1H0fTP
egq9MXJjrF2cMjFz/zysWmswfFsWj4e+Vux/p57S/9MJwOb4wUuQPHCezq9bj5c/PG6dstsp7TUa
EqZWRGT00EQk8EU338ucWmDDKVekfp10ongzCsLXfKtL1c50o7Ta5bbBzNSue/K4CD2sXDZBt5iC
gp5P72eFTiheFfECrkaEsIJ2f+1+cSegsbupJTCetBPVu9rBU1rSpz4pnol9aRLD9SgsJ1sbCy0q
3U3PRkN7OJExScmsAxK9htc3BpjB2eib8ossSvxfm7p1Y49c094jCORkFI6l7hOHLBtMwHNPupPo
pcydTYQdqPgwi5bphe81HnxrZfbTvsgd1d1NYYNXtUhje/W+tIJeG5Oyyf4wDTW4ZPn1JFAfFWWh
fuNqBkIk9N9GsyHOxbQmjjxl2j81ecGUHAl2A2i5xxq0MdIQxW7uDa2L8Fe5S+ji1ZrT1yia5oc8
lR1iJHIOVWj4YpyivVMa8ZdOk0+EUZ16JAJA4+xrkfcXM0zkdDLfFUzIJh8ZnMN/REesGqzPjbFG
6XgFJurqqIlifFzirkVHC56KDrwZ2BXCmMLTrnlZz2FmcU2Tujl2mXUY0ugq6vu3aTzNNckxZXyV
kfma4fryaffNl0nN6ay1YqZQvX3tRaWPY/EaYWywkN/qVORedtL0l6x+mpE711xhgYahag5j250B
w1gDOXgMu5wxvmWSlu6iHO7mpurVYZq60xIKe9c5Fio+ECIonebsZbEqtKixbVEZGtd6D1SLGyN0
iBrP7PuRF7kxVPQk49jct+RA3xaCeRZ9OUEEXLiPxra9KCbARSTmcWkt67HX2tofUmQghYjJSq2B
BTZ9eMjTFMnE3IljNuXS2yehqV87UXlPEbUVbfFELn209byGfMJWrbpQNdUY4Jc6fhxaUR2kRDpE
WDA4tAZdj+69S8dldiltp9hYCZ3fbAQSRjRCtDi+qWsiQMpNnX6KSpnaQWWaBHlFnhYFNRsyROsR
Q7/HjUByHQwwu71L1jrGcQDXDO10SohaoLZZ6Z9LxckdCQyfPaIUXC5tXO1tOd8Rub536gTN94I8
mAPWo5GPO7apHvFVMd60rVszojUwxcXELCVIz8HGmFDUshqmMrpbdcyxBPKX8yFGfHcVYn7ZdYr/
OZ0DCq6S8kaRfEocRbPG1oclGX00XH0jqT8bBGOIskk+t+yFte/F6VenVllNgOLy1nU2CrmxnraY
6swDKcrJlSNr6yiTUUccShxPaK6GfIXTxs0WEftzaNWbpR5bWqAKm1hhYtRk3CuJjz12yvJ8QU9s
y7vybkQSWUOAVB4XmdVNb5mRfx1No9zhIzcgvApy5bEbztfwY4yLNEcG4s8x392UqGdRpWrBSCda
HOj5EXm/SNRAWmHZm7HsL1PRj0GpONMh1SYDjRNXczEXg83DhvCTlcAVjbtFU20i78miQV2PJgbZ
c9FoH4amzl1cf8hQkstqJpo0b2b0eN00wJCJpweCDRniK2IP+/5RJy6WlO6ovtbt8BC11svslLn2
uSBejHRrF9FbdZkijidHYrXxGWFpfum8Hgo7QeWnCc/pEVHEiaIeQkOC4mlDntiNJWNOg2RbMdy+
Yj2H6JhbZwjEfJGrKVY0DJ76gOsUT+nkR1KxE5jGBycAbytzl5DqoXlvxyL8aGPnNYdfaw7esPHM
DNuAThbyPJH9NsxHI9M1HE3F8iiYwEG38JpLps6nykC8zsGdfG7wukX2VoVaeY5KFN4MLwC9W+We
HKobUxtOcxa1Aq6rSwHmaCCNlcGdpciE6ynUNjU2eiSDECNrG25uNl4Z6XLs6GsHPE/8k5z0Z6Np
4ATgQtFujaixrwzHyllq0D5itr0H1r91F3JIsRBmNt10D+2ywu5FZp5+YVq1fcrYLC9RanZbieF5
3NdAFDZy1D4mu/FZc2xkkGwYUdUVfjJjezXjT3Y4vpCe6FzP3lNfNvvKbXbT0NSbLu+uF7jLc7rA
KZHqBTCrvnE8dVm2CGkvJwZW4CDOWTOzm46ANUybe79qnjDw9BgdJpdBhuvBnOXMC92ALv0XVjq1
SePIPk7wWO7MySKyEfdwnQdU21xB9DfZTcLiMGf5rdePG9uYyJcjuN4R8Vavm3OyrKqyQuqvdtfc
oRS7zmPzTrpvdY9SGu3pdupoAS7huWmQ01aq22tzEfr4L/OdRUb6ZyYo59qxSYU3jkVvHOY0v83E
pa4R94CGrAkPRtTDQimpA9C36+NRS9R1NBsAqA3tcZ7tk6y1c9PHhGoRMVqI6J3Fd4wuCZwrfWHH
54Rj9K71QGJqH7VxqwA1Ol2+ozh4HjwmSalMa+DwXuDVmbdxkuzCwu2QbMcm+1KzTlb1gzA/u8BW
hxjHdfpVcbKLpupMbQDTevR1okIS0tAtCosyQkO72kVIfUSvnBIR13WGr8XJXvanVoMQ0z6TxI6A
eU9QAUsyYNvl3SVCrwUVIh3CU6dml6fjvijVSa546delS3zFiuJI9nZiPBz3RJfhyCN7Qz3po7LZ
JJxAmpXErRjRlCzGSbrNuvoiSoZDJ6Y9GuEL6XxB4HZ2E/MmLqogA65WiI7biMmW9snWrgvTWnyj
od3lphyrBu9Ivi+r4nNGCrMsjG3uBcL62uqCdUokNzRguF7RYYKe4iOqCSD94bDtMCw0kCCQxYcR
pBk2ba+6pS/rW1A4aDPsYkH9MXnn2gWWnRV7JW8aAvIQ+lZGtolTcSwrhc9ixD0hdVHfpl5GLUKN
DIrNRo/LYbuFKAmnWw+LS2BTNjEL0wB0ijMORjNunhnjcsQQDzn2lnz7C8O1z+OEaxf0CK0uryZN
SkZLd7s0moDTjBq90uxkj1pyCiAUjE3XHau059kv+5dutuDx1RX+FeksZbaRYdLeijG5K9qzw+Rv
PxRGs1XNchZuR8jdcCV61J501oRT6cMmK5D80K67s82ifppMb9jLiE8go3nn4UWhz219OHN243nT
ZcS3MKknGaQo7jEAWz7UabWnZ5Cg9CZDOWuvWk9HulTP164e3zcm9hyb/Y7n75L07KpPTVpHYx3w
Hzbp8sUqx/iArJm72wpRvbaSsifVJ8t3UfbGAuCRkz5XEee48hu6IA5i2kpmg0AW8rpl5w+C34wN
oN1oUr9IhftkQST2Vgv5Ik5Wf9uI9Y43822tUOiXjs9evF2JTGM1XxuJPvP5cmE2WZVexo6GrYlx
fe3uk6SadwvA1JDieE4gHY/crAmuBalj9l7H9ZR4Y1Fu45D4eg0lOoixbMJkMtf3hVWdUoI/NjQj
Hzu9fV6/S7b5kz5l90mqvXp2dnQGoEaG/gFu6HH0YLO0lAQbj85b3+BP7KmkzvgR7kGW7Jo83RXg
xvXcOGhmcXASVAwxPGKd0F3D6h4nHTVX9bnLebzwQW5I9bjSc8kdIF+NbvrkqfGT2zrHSOkBZjyT
ppO300R0USb1IwLnk6XsvaoiuQMzAaC+Le0g6nXzcXTsxWfiGgaQuma+t2HN1WlEE9FJjHGWX4rE
CuA9+rqm0DcwpCOTICLbIl3cNdtyx6Eggc4/XVie99oPSUt/amr28G63NRV9Q/43Ld5A9U3Qm/lt
hD2wND+54UTSQB30UxQUYUyJFOu8WBHIvPV2aeUeohJ2fFEzpfamva04TqXxp8VdJ+rljNmp1t9A
i2wnQYhMTDOZ1TEF1bEGmcXdR9xbh8qBCtx4b06nPXih8xDlwwU+oU1Z5PSJ5fTZzq5CTXgbq2a0
K4yYppp3linDIywSzJiWq9TTN9Fi2wdtzNIrOVFdW3YNsAcHCetvhGuhByC8Me0XfSTbtJ4DpvQ7
Z6xpM+PzcJz5DrHIpdFh74nLaxR1hJimPqtM0HTVa57JoGZnH/U0EE63dYbBd+0cv4V9iJdzReYm
vV3d0gNY1VGlBWopbxNccwlNuqpqKf566MgRwoizjqioKHs01lTG4UhVFem3i6Azag8wnaYdvoAN
zbOtXqSvVd4eNak9dT2Gxum+seNjh6zfiN5G6kmAwN4ukvKYxWDx+/GpGkwMHzm7xwK9/KGeXfYH
k2Riv4tOaYfeP0y0D2lOgUD06RPPS0ISqWvSmOx8i14Dld4wN/mXLPIsdR06NmWenlWccMK2mzkN
mW767KgMjYlrTdTiirCzL3mcaPSnXWJX72LE8JNflrVnXTgEqxi0tmf93elS8cUY++iOKR7J7qGR
yDest8Wrp3eF5Zt0LD/aEL6L36Qp20thQl2z5twx6dXPc3OMRy+9NHtAf1stmhFQDp6NCV/oWqpx
tMmM88AZDouWbXQSdDQKSJ8qq33TOSNS5cVubvpOCGhlk4Vhh2qfPuR61IqikT2riF9ztyo4lFit
fjDteQAgrxScYS8XNIldXLc6+AfVQ5lD/x/oVTjtHNky18iIawcSGRsnKafq2Vxm86hErL+ajUdP
VBU6Z/5cLJg5Jm1GXtRMZRBjHUi3Zmz1KGkKu5JEa+ZkjjPSZCpVF20YlMg7aZZzcamuBtgFW40R
2mPULYAHWPajE4pJF+SEaVACjvbcvliFWmcTbU7QvTBVJ3fwSqLrxR2nHpltmpx4YeNDpKn6ehSa
mW3SZnHusa1w0yRDSfYDbNEHAkHtR6Y144dmG+S8Lnrr5RzuSqjfaNho8SNU4WQxTjrbq53bablr
rJwCTlTWQuVuReGybVDhQgQf7AIIPwuG41sDx00Oyq28I7zEfnCxwrKyzENKnHSNzuU67byCwOTJ
seWOxOmx5aFbiiwwEdiv4QOJTegDOqmzZdWA/0KlnLPb5AiRyrpSV1SWLtoKw4Fjmk1slr7lzvm6
jo92v4kSI703eibnlARrIHyd0HTddO4QvSVZoT0ZLal4F7mTJfo9mikY40Vo6Z9gaxm234kUi8eo
LV9QuWCUGbLVmMbUrPz/7J1Zjxw5lqX/SmPerWAbbXkZYNzNPfZFUoSWeDEoFZKttH3/9fMxMqsn
3DwyvJXz1EAXCoVEVUl00sjLy3PPPUfbzuMM7v/7OOd/jYb63w0NhdHzHhp6/fOP78Wh+uXLn/iL
D+FA3v/PmjIYqCocC1cAuaNpqXDWf2OgNiRUExFKyAlAkwckVOtfyN3YqkpAqdpB3um3MFBhAXG+
ZtBAvaCYTC3ZofCNBNoKAm26wSPnR/9vcpKu2aXoPz7nvoUGjXS97IZHS7Rx0y77Jt1yPtPcucFX
BofkJxdqk7fLsb5+7tPEoOmzyvPHpBvDPzKfVD5oIBPdh2gOwJAvNA6VLGTxFNEFvjHzhuZYRPmy
azqosgIbcbkozxd1MmdtmRrapYgP/J1pCAPDUSdZV4c6V8e7yP30AVfv7CEshpjzs2jup9Id7Qwd
Aru6lrIfH9ABSm41PM26IFWBBFJZ5+wpTxJfLAeOkqFNOoiXij3dSxjq/AZ0zVHRKX4JVK7TOo/9
S/hqtKKYzpaqR2fCGKZw5wPPFZv4JfB5oq+ooM5j9i1Kqud8bLJUVXt3fEOTmIkaY74ZXmKp/RJX
zWjUn2wVbN2XsEv8zV8isWZD09vi/z7vPRWqi5eobcZlF0Afo3kwfAnpuglXjURBhXr0GvTLKh8K
a2+pu0BgzIr+78sV4YESaCg/1pa2sV6uEXQsuVL4b+vv+B7XeMvQOeRsY1CxT0PqpbeAUvqd9XI1
xf3c8hQu/TTb2i/XF3k6BuhuO4qP9J2iJUqTrn8GIwjoN4yXtNvQjzzuZF5aMaaoSELaNpysLQ0o
EGUTVMN0RLRABaa+DGfsltoMvss0+vQReg4+5aVLr2Jv9OaPvByyM51Ajo+cb2S/6FdGyyLO0/py
adrc2GbcMT9ZL14ZTd3rKHPWoEVbd5YXFPA1LiK/l380CE9qSCelC8+Gyae1rEojYPKGF20apNgY
EOZxefiQ0GvcbjoevYJyK/qourXUv0qrtAtiv9tp3JUZNhLVIj/lLrpuGN+ZEgaeVdWXzSK8r+Tr
wqbFDPWE8/8Jp9188YwxqzLs/vvi0gcapZrXxaWX//+fwVSY/yI6Ug6EE+NBPkem96/iEqKBSpdJ
yfrqkDSVwMy/AyvSgEonmGALjce3XZM/9FcnFGo2NgRH21PsMipSUNJ+o7jEEK/DquXSQsDIxHbq
zYxDbH9dWXJtSem4CtugbQB0DVeml4lufni1GG9Uto8GgWUqOJ62LmDPWGsuQ18Sh+l/INHI4ZuI
xkCzsp7Di/dHWdG3lcQUDHTqtbrNEJCZDqeSeq1WcsSboKtD/Ypr4iHGMnefDFq+L3XN+HOz/y1D
Q5WZX11Ifw4Hy4qlozuCloLD4Vo7CfupI1dGL6rmNZwht6sPOXAT4lApLpeXIus9HjnWKQ07ddUd
j0wZENhEQHNVv+xVNbDsQn2uLNrow3zIr9M68iGNNzy4OmsAORpeKgPnqD3PF6lo5xP19zXZQy2z
EpFElBLdafPlon41+jAbWShzRvchNW3GcZBId+jtNva66PL9L3o8lEFRgMir9rnaQ4cTTRCJyYfW
o9LPJYVjWFTta79ttqKb5xOEBhDXo1VFBooKKxsRLIuel8PBMCQP2zYh1wc7w5+sLnt5mSB/8imh
4lLsNBQrnjyurHaT1JZBCcIbcTkTvXzC7g+fPBGDUqZ5Km5qpI0+m44Xl0EzZ8kvbFasDRo07tep
pvPXriZ9H8IqAcaZAA8tmq6rMpSUSaq2/TovGJ/aQzg84XWdPIS0lgDsYZJibMOwU0pneWsD3YVo
w+xiexrLvRc1dOdQpL6OPYEIibOEHYaqgLBUKmtQEiPVls8CAdMf4dL09m7wk7zlvzWnCWDV9H9N
ZeJrW6duZxKCuoXRGRdOeOWmCGVWg+/dIJ8cfQ/7BnAcfaJfyL6w1Xtsfp/HvqqNizFtYaV3CLo8
cvktOUKRBbqi8PMfEy6dh1nM9mPclLCsitAB+epck97ByECVM/WM+Yc5D0YSSDGmxnlpyfQWcSo0
v2XqgkqCc0HJjuDD94HwBloHsPSZuo01dbyEl7btAgFJFtDDWVpIO2A23yFa90j1AqdQ9R0d7ar3
PdkERdWBTtLN/VN3tfpmyNK6P9ObOv4KUz550EcY2hurEc7D0lkjlQWEU5+9ZCRRoM6v34ypVt+a
6A7vOlePKCLgirddlji+azpfv5SVqSTCNY3nOtUt3plk1gOUfyy96TiyOiQv5p5cEfsbAKeB506P
CvV5LXPn1rDaFuc0P/WfeaK1HxJdT6oz3aRLlLd0U99o8RInG6qxiAnE1ZJ+Dkno0h1zAkIfU6hB
8P6L5HtVZQDisp7EVWZ1Tbg3Zor0kHer6c5sB7fdDYYN+SWJTIAbug9xlsDwS4NRmZ13vMWeZ7QS
oLfNdJhveyOHpzKPzvQLoWoEr8d0/t5CT/qi6c0CmlwswGBEZmofk1E5Xz1RIxJBe+ygBEEG84tb
pfnWqoxc7pOycy4GSABnUZwMf/ReZ31sdLSZeCcOv7quTYNoBCUK6rjQP5i90RbX70cV2Nfr+Ini
LmHbwPEPSvXao7YCUbE6e0YOqob41/qbevbORv+xiEwKB3SgoAHUYkCi9bTMg0vWP0brqs3ltvZv
hX89ybsxrQOSYrKvDlDP1PZTm5+9/Mr/IT7/L1Mnjv99LvXpe/+c/Mf/ab7/seLrqD/2V0pF7yP/
QvnTMzHpQsHv3ykVfH0SGkOpLUMR/ZPk/O+3qvkvxcRXUpuI/aluy/9MqQyEmJUGINLaELXoEvyd
jMpRv+v1/WwabC2IWTROoWdAdxwDvb6fo9mNwG5AwfIaCdOzMIrkz8T2MZZB3VJcToJAZzZQIHG6
MykHG1Y3f16WWeJ5S3Txt7oj81+NNOZPEW8Aa2/aHRUrz0zPkIVvEUzR4xCtyTHEuNKPali26Hm1
6QyzBAAlehZFVF+QDj0WiyeQytGLKzSQO31rWWHzBZM8l2J/oj1joat/dKvC2I9iSrcsNFouYUq5
voPQ4KHyfh7XhdVeVE0WfZ/M3PmmRGA3ceLmHwnaRUrfdZZdZJE9b/kk1/xuH3sGw4Po3VSm+BV1
BdVplMbGoKa97h4/aLm1NLR9oQyMKAeKFKGxPoIdA9l5OKMS3Cud5Ng+m9sO1eJ46rKRd+Ai04uq
plvoKmwnSAhZltPe5MVN+gltMXM4s8ZprgK07rPuJs4mFJDoFLxJNdoYNtRDgKU7bF0fTdE3BeI7
WGO5aBr/BHHPUWjLKSvEXsx7Pjfr/HGKy4TwYPix9UmmUR2N5+jzhdmPrC4pGm3kkPW5/MyDdfYh
BI+hdOozz1vs8GFYvBlLNVFxK8Y7exj6evg1xhPsFAQ/dK9qm2gLXBca2k/DL7X+3qyFgHLKB4tM
f4eLRI8cZiC5PSr9ZpLCyyivLrjx3aLSlZfxlu2tlXg2YfEGl9DemkbhGzep58EOXoaevkS9p860
NQu9fx65RfnB7KAbcpO2uRhrqtjbQVBawLWypdBPaXPAIsCYnC+h8AB4W0fZkdbLRKP9OHr+d1Sg
F2NTisy/cptBdNdVDjHEQymtwK02jDup74epp7SV1zAl+t4y85vOzu3ho2PjELtVksb2NyGgrool
RAOh7JvB/+L7mffgkRRRSE7jfq9TRPgA1OANH0lZCnExhlXTfsZr18FRwU+fY72w7LsaJsgTrKMi
OVtcbaKcmeQRpRffH7dTKcW9x60IKlxpsBOcWmbxYzu62Xw2cN3ILTp74w+nEVm0hfGQzEGZu96P
to5p0cVVrIuvQnNaxq1RNVzRHUVV7L3HbAF+EWR3sdFGV4s5Yj0CLVlVtKfETHZNocHW1opovPNi
oJfzoUJHe+FZ6O8t4KgPlezNRwEBTQvCpJ6/Ff3A2ANKtUg9ZX22H0bp73DzpRQP0XMGLpq8nq4I
lLHqBIWyLe0J/mMaL2a6QyMhvmjKGaBi1Cp8j7EnqKfdEtXj8l33xmakALpEeOS5c1RdxmmGLl5L
g8S07XKVcRZRV915BmR2DIO0bHmA0RvD3JjZi5vRqA37TpYJRUV9ttznZiqwe9UAa6LAHJvqoQdQ
g2PhJc5CxwYtvkFcuwlmI5kz7BPDhAYO5OLLHX46McpPhhN/rzJpn5fGGN9hgzPYe1lo2TfeRymC
TYVva+12NKDgbENjbK9QduH4p25i/1ycyrqvzMm89OG2R5syqtNfrjfpFIrzMocKiaxHv3WXWE8C
mNlJeTmThwRzpDfYIbWuPJc6xIFgxt/ms6fN5tcFFQq6cxev/GLSUP1tMnq8Qf3GSeC0FPNYw08J
256t4mboPiU0gm7406gYWpNjxZgB2/Cqa8w6SbCqMFiiqL5besf/ohFYKxxsOUN7am/yonSRb9h7
tYG5t6RZBdbi6CP+U1MWyBFywKZD7mvZJfQrJKi0wp3SImvf2UMZYJNSl5c4JlJDroXzxcgFXV5n
Fp457oVZ+yUSYdpLp0KrmV7RISMasp3OrH4MKf8lGh6g+25oqFpqodQHbZMoFN3YAPUulPI1XR+c
66p00hLJdaT5DbnJIB8/0RPr7xKzthzYD6ZOTygdlClUAwxV62imh/neHU0rswc0mmU9iEwpefRV
y6EZF9u5BdPHLJAukEJnt9SN2ZYVTh5aTG2IxfZ2iUVmLYPJtTEcLuyIl0htoT6X8WbV6nRrck0a
14VeTKaOCpfB34srJ3bP5X62UeMjDPUUYIR0sdHOs0hOZ56dLzLc6E0fukOA1qoqXfexa41XUsRh
DVPDypwpu9dseJ1oL9q+rJGlNLQfIrYoGjY4g9bXdsoHBkY1ngTF8+zT7GpFy7Ojn/0g8priU1L7
bol5Sw9CPEoxU8YKZdd8SEGoKelZtjuep8KnkVRMbfsLxLR90CYfQ4OOFgpq2U0lf8aSKuI+NJwW
/aolr2cUryfzqcrjeHnQRiru2yaXC2X7opqLQPLmc+8QlkqqqwiwFuvWSQ89jgkGDRvErpQU4ZiD
0GON25rdWd3y45EwS2TrBK3E/+XrIEWljN8bFDrvOh6U+aaXEZBvlcqx3buk55Ryx7pADipKCc+W
GZOsU2xz5HWs9xEepwQWpOt72mR4SQ9iOdOLJLdvcUuczPsFKjFcHLoloJhOheN8SKeIFiszGcyn
qLVcOBLGAuXCaij23Y6gmufeOHt3HTPyP1PehCemcWuI25zOHOUJM3BjZXhAwnZB/Vkv7rrMoJsa
6yRxhxhMVm+XvkPlC3oIrJPWCCO0eIHVv+W1FjVb2U+U8BBC/iQqxGfc2CaMNnMSwxOyzRTW08Yw
e/PJSJoYjTMMHcqn0u2Tr7nRJdG2KjIPoD+dFudCalGdfPCruPhkzADbn7V0cpWxBFIE5iWRxLd3
ee2MOPxEht/8sksm9bn0ZOHvSgxh4qAFGYeIye5vw6smd22YHMhALnuvzegz68IWMGWbcCKSaZvX
Nh43ka2nPwDNHXx3hohCWsxenO8HOcXRU4/hw1PqqCaZJXX4oaks1TfNC1HtSlLg5AJWYyseokIT
ldxIITq5J1cMqY/T7w/Bku6X694PneWj4S2R8ZBAtkh3uP/6kG3g0JpPhRnTYAJZs7jvqsl9SnNb
r3fw2EzrrO8StkphmFWzEyNtchvV45WxbMtI3cQyZDI89aku0Mer21zsZ8/vh/O40SgUDxnv781I
6dnDfsTKv4bsbf1GIh8iziw/XOKLzqvgrXiQzFowDRfP0U0+dEzRqtXbTLR+g5FFpJyzEm229+Rh
8Q0aI+aXIqel1TQ0+eBB3J23gmYfsevq0Zq3rTOQlXdII33QS/LjNp6BrxxvaOilym2Lp13mN190
v6sqWFN93wcg5q62yxe6Ce8yUXXZnWGI0Nz0WeGfo1aqtZewMNEDBVBJ4D/p/WXY6t73sGqLASHJ
2nuqAbNGGDnp5HzSBhTZAh0hb6CNbO73pLc5LU9VdB72GuBL2tvtr1IX02PVD/h1oO8bn+eoZn5c
OKrz3ppbtmgClQ46nycuInPId0OY6B/CZunvkDlpn91YsXMNPUG5W+WS6FhrOsVU+O/dtizQDtpo
Y8yu9yJHJ0SAAPmb1h91qCdasUSu0oGDJwMEal8tAE263LSDFT9LFBPEnvIsmqkmMg7cvFIiKl0P
lvO11KCHlN2AJFUU6thEZEuJkcKYKZ+Lpp7tjUXFGjlT8kdYFm3uSPLssHGvqavENzD1DZC+FocW
nuBS52ooe/eerB2LW7zYEOTu2BKdRXfZBplkzgtKU9MYkPUOD/EyuoiodghyOoPq7ZwjOz2nBaxn
88eIfe3crpn+yPTULy/gABP6Wk2z6r1fGi51PjH25WU39YbcwVuJlU03gX3z6jV7/ydO+7rNa4Xe
YsJAlgh06qtmT56jq9dh2XDrw1wu0DLPMxr5FhF9SmFjB3keI0yF0CCcHDLXeyvpyvOFi3088QtW
cLz6BS7VMt7hhu0gFKT+91cILpdljZQkgbKSenjbwpWGozK3v96fp8K/X6HUVE7ZSSgGWZQo6F9R
zcuvR8lsYzKFschtZtOZsc1IoeDfqgojjyG+TQe0PlF26JbhT+jkb5F5Qy3hwdAsMaL9qO3QH4b4
zgrKXXL1LBo1uRUTkGrg1q2ER4M30LUJXIqhtKaMhcJlYv3J6ggoRu3QexXjrfNAgS+uTmDmxytu
uwoK8AQqA66zbpDsUsw+chtfGUqp9t5weM4X4Rx9eH/F3xrFoqCkFluHmrlqOcvg9A5uzGtCeMhT
8lDCncgOixOdqWt0AykPGpAMNKlMZZiyNi4Rk8czMqXmrTu84wngiAPxiqnnxxSiT3niWx7PyXXp
TGf5wGwc/qrDXWR5IAZdOBYkZD5bZxb2tNPDajilmbQqHnEmPAxSbKopgqoaNjeH41DB6LnuOJWo
9wzpHjYq+SoKLYDJVlXsMqtLTtWr1F95uEtpyYbNAKXCgU6zNuVC9MHnapX0ADlF+6tJaC4QcTxc
YRjvPOjLKH9w3WCsAM0gO7Efj74hU6W2iAsFZRUeW6uzWTp65TuzDa6Q5RQ0aFnC4dJsZQ9iH6Wn
ZKIMtfEOZkqZyKEqR6HMt1S183BxTcy6ZGJ45DaDxbXT+RMXQ5rP86NANVyJAAj3Qyhi8dmrvbA4
E40b3iZVlnx9/4AcfWR+B2HXgOpi+q6p6q2vQ9LcYppkaUJu044qEP0hC08IoyGX2uKs4FjQrJyT
O+uNOKjMVPEZUQGJYuHhoLQnySXzRoJRJ8RnWbpGZGBy5gsZ5IU+RGd+5C00bGWNH8kTNuZH31kg
9kCR0Fe7muOzWnjaYtWbGHp+PrjhlS4WSlKJ5rW/otjmCfP+6q4GA29lIEqwkIWQ/cTE63CiSApV
vY81x6Zu5kdNIjPUOd2jz/P+twcCW3XZukjiWT4954cDGenoRUM885Jcpke3Hx9BKum+GR5/dz6w
lpiUijpo96zFzTq0txJFstnWzoKqmWfPn+upH8AJ+af3h1ptTEvRYFTNES8phy/lr87j3Do9bHAj
3uY87a/6flAUPs/5lrcQdBoPkPXEEq7CqhqQe5+7AuyczbEesPLTjkZztLTKzgVaThHyz09fSEfT
ckzaUfhUIOu6xY1x+KGEl+Qxvi8xvT/4VdIGAlXVbmM8wXABP3f06TdzDrYgA6rhFBkNL8HVgI5E
amQIK6Q9Ist8ynnrf5mI3oBPgu5rILWY4ltyIp063vcWbb5IQeDvQ1q3DqZUihoKYlUErj0+h2q7
+2X/nNPKdOKjvTEQGrhoq/BvLkV7dZrjOTEqs0mj7UxEweM2mrd5Tq0qNbPfP2IWokaUNiwGROVo
dcRQ4J71hPfTZgorJTLEpHIye4TwTp7mF/bHq9uBj4ZEjEdeRAEal7s1OyQPHUFjnhPTtcaMjCot
UM62x264SWuxpJfh4kYfrLINbxfJKxXBvKWLUDiVC12hdu7kN5Ux5ePu/SN5vNiK8mULti3N3c76
9BfwDau0TUDbF17Eod7Qjuv16c5X//T7QylZJ9AFspyjxabjFPn6OIpp/xle4tkg+38Uz2yMptW1
bygpqfWM0iS1qwInz21n0O1TGHmOfZqH6kbX5P9g8aBr0k1vsVPZRIcHP+lpFhpwK6AlT2Jbkizh
rUfmtk3UP72/eKvrld1jQz1VjFBs5Qyu2cOhwKbyrKG9c0uamJ4D3HO+p6FfLmRGjKFUFGHPWQw/
3h919Yh7GVVdd5Bv2CA4Ix6OCqWTTlrkDLdEOAxGdJ7pt6PASMRHMZAGh3j8siQN/BDuim3n1fJE
qv/G7uSGRWzF8ei5Jdk/HB+cYfTQ9FGp01CZ966em3QyqLRKOpIf9P5sj0dzyI5tLndu2+MUBisW
L7IMVIPrNr1UFy6eH5f/6ML1AEfZn7xKIfuuPmUuBG/EmrqphwHNFXjrM01xxVUad8/vz+fo9nOo
/pMHknvzWuI1dLh6ItaSJu2AO1LbSM9tMQ7B6dm8MQgqXAiVkGt7x4N0rsQCKvXCTW4VxSe0Q+nF
QUlz/9tT8dQrHuoJ5ww5lsOpyLGESNdO4SZDEe4DQbK4qrv+1MvyeAMggGcgT/wiHkbJ6nAU8lsa
OeMuxPHEMa3AZm7DWW+npM8+CkjRb+83hoMuCS+R+1QoKvrrPB316QLlAKBSsxznxxw+ykU9A1Xk
Dl0x76/fWzOj+ZZ0iCetOMolrXqZEVAhaW1khoJp7ifllZ7xfC4xAHVPBPqjLQEIgC6IzQMdLcij
F18mUx8WjU/ba6jbew2EZKfHbL73p3Q0CqkPah3YUCt5HrGWuNcwqRtshsHAhe3WgrgGtCn99sIx
CoumCJDcKQTew29EK/agOQ0+fRFP5/G8R4yaRiZLuh9JiOz6BOhwlEkyGqQOgtDLvlinPlNvtR4t
m7gzYWv22bLoOqFNgLZnY6D+njrRCfmet9bQNz34JYRZkpNVhNDT1KspsfubF0gZv5IhmHwvPf/t
L8W8LN9mN+ioQ68CXkh+XqZ1GW7iXAvnK11OPAdpCKznvwR9/hYSO54PsjbgTyQZoDdCV/fZK8hv
7hbovcnIiaK/KqO4ZiI7kHoSQ6j3pySO7mO2hEovUIKAbcN/Ho7URrjgQIFVYY/YPfjZdJOEofmH
hJ1wXbUWkqfjWJV3FW71FARtWlaNaE7hezQ0Fm2WOEudDQUSWh4K6P1X+iz7a/gOLVh2J1Fjc+f+
tu8G8URDlwXbna5jZfqyfI79GewA4HN+dOwOgbk67ClEuSiLw79z7QRhOu5pGpUEj/84c+roImup
NJxTv/xSh+g+XEpkBr61opvivameCo/T2IS3YOqttaF4g46U0Iv2cVwqL7rFBzK0aa3QrfsalTCs
ySA4XPuTMeIKRntWukMxwQFX9kz/5zJMjtwQyzH5jRpnOl+iufRuu6Q1nlJX48723B5Y9P3P8cZ3
B3bgXQmCxsW6Pjdt7uHR1LuoLUYkYhhdFhSeTu7j49PpvdylVBeBW6HsHn7zkOVAH4nrwfZK4CTs
QMPbwu9JhEYtvDXmarn4vWlhysprAZKVUpjEX2Q1YIlFERCRoMOwz9pfky/ts7wYTtGP14vHKARS
UE4QMtDyNYycehrUVegfmwYB8guZgAIsQpOf3p/L+gZiFB/OGQgggQBIbnWDh/iK9m1MX8iA/epV
2qKajOZESBor4fGeyJbfmBLPDA4oWTM4zTpdyNKqT8qy1zb9qNnoyXAtRBQu/wwCv8VdfNu3gYD1
o6SBFE5W97//a513/40sdEyT9f57ZuNjkXQ/n1+ojf+BaWfzvfvZvm4aefnjfzEcYSQiG8elZ1oG
V55FieNPhVeB7DCR1YbHqF7LgCuvm0YAkwVVBmWTA0bPr/l304j5L2RhCcvAvi59KJhP/P80jYgX
OBN4APwfAHm1ZR1fyjo3UzPgtwx76jvFRRIWzomrZP3GQoyN+WHarG4RD9T2MKp41phYVYM4HoWs
ZqsYb09a3+NT2unJteHiFVkPThNQ7rMUJbm8f/Vt7v8EIF7X6dbnkuHpI+FfLlkOMMhq+HzBljoE
JA9GOKM7TerUy4zYCqym8k7MVK3XawTkz6FIeBmGTMBcDWVR+TNNbbIDugb3tlweRofGfPg28Pnc
FjcvlBaR20++vT/DdTB4GRbQCmU5tPdta3VVN0OjiVxiGTTGKeK5oa/tIUmcqsatLwc1Ci1GqidH
B0xVtNvXqQc8AWfxQiECHSGWayxxiieNcTdGIu1rPcv6H+/Pal3940RAbcC6gGIbHU28vQ4H9Ku6
NPrRxfm9w3vJgPNwoSE+hWxeiGcYnrMYK20dNEH2vWk6v8ZFPiV6idxUYVSPJ36LWsLVl+W38FI3
HF6c9M0c/pYWdSHXiCOsFwfMdk3HDeYpuYMuCuF+CLcWrN9tGbY3gt98AdSwITzjspQiraTpfb19
/+e8saUPfo15+Gs82eoJPDsrEEjOcZe133HZ1C91kqv4xJZ+Y28JsDwfcgB5Lcf3cKjOVjpAU6NO
D9QA+l4+5VVrnngVvDkfVkU95bHreHFcf5XV5i5SREXBg9TnpF6SYkM+ctP4PFvC6kQd8tRQq01l
h503OaltBTAx6MR0Y9SK+uqmi9ps9/5HenPlkHlXcAsFVnuVqlt6BEZORAoq9Jug8ej11Whh8/X+
KMfzoVGO00FcI1/n4Xv4fbJ06OzK9dDIQD7vopDLfAGPSV7Q7d/+g6F48vLosAA3jRf/yVdfCWcz
8nLbrQI5yu4zdGrtfPGk+Rk11OY3n22qFw903FbANXjyOtZ0Pc8ptHmgfo5udRaXDRL3tHCf+ELr
Jw5/MX8/ffAvVwN3w+HazYiN61YJwZTb2/jptBaeJ4ujaPsIkI20JfyRmvhJ/u4HOxxURZpXq9hP
bo15Nu3lTmh4kFjrASEm3e1wkfGdE5v9eAuqT0V9jW0IKK+ymtdjlXU92QI5cL4YnUrd5NeXtd2F
J/pwji8GqneAb+w+n2vhpWr8akaW4aFmMYg2QEzMOLfayj2nVweC0ChZRkMTJ3LfNz6boKXW4U3/
UpFahSSRT25sNQbiWm2tNLAWvLhDd0KUDdGuSyxq+p0PffBEIDw+aJxhDJJUxoZJxLok5ZZxZPkS
HeDMt8TWwWPvMi+bLvBSozkxwTcWVOkzsDHhgeuAw4efDWc5lPLBvtES6Ye7UjT9J31JvKCsUDXD
hd6bTsztjauWW1aQaZK3YHghVlGxjbJ2MnGCDaBUWRAIugIagVMLPIhGmkOhuZspjuSN+F7BdcN2
q+s7rG7H+gPWstDC3j8iarTDy1bZTapUzUNDGxvJw/knXZG5GP40gcgtdFunLjeo/XVdRt2PjpiP
bTrDIJwnx1AWT0Z6ynnmjQ1GXGYzOzQfwRpfxYWhaE3I7Yzf+124twpcqWFXdAHNQN/71I8v6h6A
/v05H20veD6kEFSoCUoUq1dzHj1k92maU+7tRbprhwTV09JDLaUsfr4/0vHHZigYHGDnzI1Avhqq
wh3Qc+CIIKGJiEsgXTM88xCJvGiczqINoR4BcUpQD8StbXdrhrF74Y12f+nmY50E7/+aN+bN69W1
MI6l2QrY5PBbj0W+dL2ptUEHXXTjam79UeRG/ABGk564VI6OFfC2KizxcFLb/KWd8FWcWgoPRr6Q
XVDpZbxrkpSWWIyZHkNMmfbR3Htf35/aUfRlPKBHqgaA+ojOro6xoyF6iydjHzSx7//IEMbZU6LT
Lt4f5WWFDk4Lw1gvvesGleuXHrrXQT4dQjz9xMi0qiy8MlpUXdHtLPOg06j8Xs520+yyqW+ViHFM
r0OU7lz6qi7HyuvupQaJEGm4yEb4qEt27/+2t1ZA2KSODpiVQkgPP65j5mDLBXoBit5yOVjWtF/K
PD6RPar9uloAArNKgRgCNERtsVffNenps8hxBYPum1TxNh6W7DpZsijEPb03zyzkVG9aQipOw6F2
LqDHaic2saEmcvQTIGPyHVTYXgPAUW1kRhkObRDFmQm06WC+ERYlon2muOrzusM2rELoVUcZ7it7
1L9vx17uPOjigbk0Bk7OIj1xLb+5LDBDWRWVu68jSoQTnZsVPScrLBPESCqdt8I86h3al4hSn+uJ
jhLWoOeXc6Ev5+MkSvtEUDsKpJDFwCwpbEKU9aifHX4ZEEqhTa7amqlR31WsxsbJsJfvqUb8wjEc
63ZtMU4cc+N4VIi5Or2bhmUZ6il+OKoDBUeLynwMQtf6Yje3RdnR4asFBUiZQpopw11YTrSd4vkq
XXDjzi7ojBpaP2hHfLwiaq/Rcvf+SXjjN1GdAmPxgIJUJf3wN8W+McU0Mc2BaKz+GnVZ87atjPp+
sUkhtHRB/3J2qz/eH/Q44Cl+MKIlSmlchyd3OOhcF2MPG1sPitZNr+ZfWYskTSV3XG3yRAbxxvy4
MqE8cW8CSb5UE16dQTnaBSLreLLTe998oO2/xwKdcmmGWOo50Kh3vVi2eUJW4niHc23AHAXfUffH
Gj3GehAfFfQT4XSxipiIpJg3t+15PmPWiXKgl+AFb+v4ovv9fNuZJ+Hr48uLcW0SJi4WaHlrhALp
SEFNIlkCnValbcxL+Sp0y/bb2OTmiTB/HEoh45GRUN5UK7wG0TC7VvnYMgdTLsJnWYTJ56K3vr2/
YY4HAfZXADliNRheKK2c15G0Cmcs9jp9DubFMH5qZWz9SApkG94f5XhbMgoPAB0mKcz5NV92nPGV
xDB7Doy+yS+c1q6MjWYkhOuWdpI4mX3vt+8hoHJY+oibcU3A8Tqc1+gtM0YG3RyECPucW02t3Zjj
IE5Eu7dWj5ijXloI+5BPr0bRo6a3qpwzrmW4taVoVNPlke3fX703RyE1phgEGoWx0OEoC82m45S0
c5AbpC2yTZ2rPo2mE9vtjW+kPNp1wofCY1z1v786z1mvI9nnotgyUmK8KMta9U2F9UfbjmHaQvs/
sXbHJ8k2PJi1gIuwxKkHHY43ZX2KQiDjSS/RLq1U03ycD/LCpcFpOnUzvjU5aBCu+kpk2muBoTbv
AJxb1Ma1sIuDFJ3WVI9+6Xp6z+4pTuz2N74XTyoeESpIqWvpcGYGnYZOPXtdUDe1z3OpQzIlrvvz
93fFG+unzpJBeU5V1tcuNbRBgE5qAsshO/opMb0iz7G+dUSjs38yEO8znqZgs+tNrvVNA4PI6gP6
4YuP9YiDFq1fy3W4nHJcfmtKMFUsOMImdH5VOXm9BTVPDokXYtqr+0Z1b5XCUqa71aepmqwT3+gF
mD/M3xSs/f/GMg/HWuzYjDyXF3ddudH1gIp4s7XwEYHpVhjhB6trB2cvNcOgd9tvFqzUeYvTm1m4
5Hw0cZU+eqmWRM+N0vKCxKWJMpzeu8kVRijLx6mg7/ph1IrqZyMG06RZTM5uIBdECIL3v8+ao0/j
qa1YbRwhuMFwkdfL1sRpPGjlEAjapnfYdLQ3yFt1X+cCtUXh05nuhiG60dJetGuzTcLz2bWrf7Ad
1YKqVgHAszV5oJ95z84mvnjYh9dnEe57PLqc/kxxd04M9cZhVmkeiQ48YTKrVeSYoXfD/IZ8U+d1
dlPg6YHEf6RV1w1uLMqHunZOxKo3R6SigOYMMmS4Ch1uFlHwCYasGwIb1OQisZz+HMo/1gYRYhA3
VlbF9+9/0zdCiE2eQnmHHAnO5zqELHBmbHMeAyiKJYrtM9L5ppOe2DlvTIsyPAUkGCbkAGsqeZfb
4TzgEI0lcaUH6Zjj45ylzfmiJ82d1qKJ8P6s3tqpBH06GkBXcZxbpzQyNVPHLLspiJT1UTTX/f9l
70yWG0fSLf0qZbW+KAMc86I3IEiKIjWFpJBCG5hiwjw5Zjx9f4isrhuk1GJH7trs1iJrkRnhBOBw
uP//Od8BYC6IWiES7gG0svKa61CafKSbw10sXfer07EHOvfuLxPk5N1nC0ftkq8BVSdzufu/feqw
OlkZguXRV61WW8s0LXYKJXVk4HhGD6ORRTd64fT7SURiVVrQh1ss22Q/k/+rZV11i59TpQCJJRLz
cL6JhobclD4sUeLzKpIRRJtqdkR35hP9zvq4tKPQabCbQlx3OvE5vsCbVga/cqZY9QpLGS/cfNBu
i2IYvn38rN6bgcx4XmkXmQM6l+N75A4hhIE85x5FwJajsqqxVJrh5m+Mwsvs0OtTkWyfzPNBcZ1Z
VMVIIbkKLjKSry8rF7/1x6O8cz6kXIBMm40gLXTbPb1xRTSQfchE1/LQ+j5kNXyIfI6IZUixlu7U
PCTlVFDXfZyCvCD/ArHMdd+o2Q6o7U91AENhsivZTHYa3prgHXpvoshxMWpq//nj3/r2WMVPZbfP
PgUXJl7I4/s+xoits5L7To1j3k1VnB+yUCZgZIJgO5Bq6nVaZXz9eNB3J5ZN3xWZMFaWRZjw+wtR
Y8og6LWEGd+mTxJc0UpV64F4pzlffzzSu9Pqt5FOLq+hwJmoJSMVfQHRjdySq2jOhjOFkPevB00+
XWsdCeDJF7EjgTKgEjf6peOE+OI6DNAxblWvEJBmzywn714S0VZUPmgUg/08vnlJGnTgd1nU0iHV
NtPCu5eNWp25pPdGWcqm4LuXav3pDra2Rz4YZjP6xjB0a22KOi+txj81j/Ad44T236OcvI+ppja1
phMXlXOWu+9KzEXtWE6fjSoA3fDxVHinKs1gS4WWSYcv5rTpMWjGpIKiGZgG+OtDwyGLC0bCcNmH
ufM0SFe7HHVHPo+Vmj2KlKSVoO3ivZFPjnVuhVhmxOkngcYZ83+RyyPKPn6IPRovVzGawZ+ElrHS
j/E6V6OnUbPlFobkz16P/aIjtCVum9mzxjiEiBCf2Wa8+4ypFeG+YLONHer4RyRdEKnjjCVe4me9
MHut9UoM0Ge+Im9cO8tDpq2lWctmjaL4yYS1K7R+dskth2dl7+c8TO9S9q/XfGsbxxe4di/jJrTX
CZimrzChc7A+tvMsqOi9ksCknduLv/e2/v57Tt5Wo0rtARDA4DsBHqFOcgNoZ8DBgOt8Zs69d4cN
RIFIqzk24eo8vsNpyraETggfgkmHABMYBIFUaXhmkVvektPJhNJrKUly4oRndzyK7Ab4KkTh+gl7
dsJzQfTjtl5aT3eGmhLI0pPyc1AxteokKCXln1oElwdMm0dQBGYD+ca8R8s2tOfQHHySiPPLuk/k
CoCT/HTm/X3vuVmorNhL8T9A48eXKeoo7VqHwofUp+g1E2YY+/bcKQ8T8QF7rRzJ6BqTviEWrYi+
QSAbIXb3aGN2c6spT4NoDPiepqyUbVPB1siVzErOvFLvfU65sYuqwKYwrp8saHVak2fTqwNVDVW/
AJkzeaAt7NvZcYhjLYniM4zcfPj4ziyLxenzXzaXxlIaAqEgjm8MVPJYpDkL21Rm8TqOGtL7ymTV
WeYXsOifPx7svSltc/tpRbC1xvB2PJgoO4LXJt4ZmsbiUq8duF+J2f2Nzw+aPkensL8YQ5e58NuW
uddSIhZj7iMQLVJ3ivx2bnt5//GlvPfegFhY+me03ElgPR4kJtGEfTY9grpVgZMmWq6swyHNqOPL
9iVQDHedBDqUQnXQzlzfe49scayARSCFmw3Y8dB06fqkRCjk6yHZYxFMocu6guK7zi3gDF6u5unj
xxf77nOzoT1QnERuZZ6senUJAoVfNPrD4Lo+MX2Gr/Rxsvl4lPfeUa4IOR1cMJzKJ2t9HEnhDLE2
+kFAIqPejO4l/Zh2p7bwCT4e6r2nhwnMQN1KsQjT/PEtzKRhkYeSEmMU6sM1AQ3GY2C3xcUoQ2Wd
89x3RKEPz4UI9L9xKym+qkuBlI+ncfIKVKrdUKJV2LXoY/w5Lit9leeFcaah894Do7JBZYrzEGLv
k1V9JkI27jOd5a7Bi5+7Qw6HQJTu31m90cYvbbxFeOieTMWKT3FhVZxOZ/wIa5fkgq01VbX/8dN6
b2Gkc8l2EhkPN+3kntUhM1Ia4+ibRjBcdXGQReuh06jBqrD0oF/nsA7VbDgjdHm3BLA4yhl64fie
zpKqaMNW1dhhDp0BQNUsavs2aKfmkdXRugj6sd816EC3c5n0N4MbFbfZXL98fO3v7jxhzSIr5KC1
REQfT1WDHIZSG3krsiEQm0xz+20PWOM1aYJ4O82F8V0Vs/6F00IDE60hhChMWvM2zJL5b2xIfv8l
J0teAmmtSqOZbb1VdUTmRWKTuPKcB+udqYtwnI8DlQOK/KfeAbBXRkjsLJvsuScOow/1mbSlrNLO
PN13xmHnyh6ayj676NPub5VrosqbVvOxTOaHMQELC9DqnGv/nalLpxeH0qJxoz928i0CLFhLU480
33AU8q56a/oGYKrYSkQ6dAJDkyA0RA/bjyeNy5w4+agzXYES2aAKiCg4fVICnm4YZZo/1JG4I+Ur
2uBqHlcpiaurDt7M5ZyMNTzBaFrymSv1zEx5ZyVHK0PtEWX7ohs6uWoZgeaLwlDzXa1Tb3OOQ2u7
kNO9TTjqx1f67kiUxtg40gtiwhy/HY6rzWFGTqs/NM60h5RZr+e0Vu5VHWT7x0O9M2GQy2C1XTq6
JASdDBUPUPSC2NH8CY2ZN9rWQEZWFJxZ65a17PTRcX5DZWFRUaEKdHJB0gykxFxHGIGNnMm1muhJ
bWQGArEjjOgqLIq0OHNl74h02C39Nugyn37bMVlpE1mtGwufJM2Ow3oUCZgHpFvO8RKgWOZGsQX2
ma8NxW5wCzijtgXnZ3wWsbKHG7IuY4LMQyNsvv2Ne77Yr3SoMgs66fiHdTrBOAllV5/zd72f8inz
OXC3ZyQ67z5ZV11EfeysOWodj9IQm06rg4S7jOReKJ9ZuI4Rjpy5y3/pbI6fLZv6X0ErS0+ew9bx
OCqedldpCBeA4Qu8057m+nkm2tDQ5i/6RNBR5sh0a/YOXTjS4qMHoK5l6jda5CIz7oLiOlQKjUBL
UuAVMne11nzoYqmEkG6d4mrsZqKOOmy5ltfXoaNe1rkbQZR1RsfahbpIqk0spR36Vkgw06ZMa/cl
GCviPgmpK+HdKRMk/yAap4t57ibKBqQwhIc8Ik/Q4zdMIzCjCeZuLpUp3eYBki0f8C++mViOKFTU
hAO7r4mwQUTTEMQ9Sqdx19qQxQA1CiNz1rgnw8NkVvPjUM4JdbsCgoE3OjWsWgdDcbiGKhy0l+kw
Ve0qxsNBdFEEB4G/pWwzT/CsKPR26RB6JBzkwq+hI3+RmCfFRQGMstg0GoU7ggsS017LHjWP14im
craZNqURPZ9ysblEg25t+yGxt4stMrt0ZNdMFymKzhppIw2xfaM3WQg5dgjDVW9U1n0w4p/xjbEd
cAQ6bjyAtUmAZpVNbKaPehiP5mPqNPOdMIeJNIxsBFvJoU6pN1EHEZfQdM0migOM85OgnIHbSO/r
q7JWqmfTbEAOC1teVhO+AtDIcVWusgEyeEFxJEVAP9XKpdKzFyNRuJuhsQem5iXhRIgTzXbHhs2s
J/0+E3DOSQBsGizSsUG6lZNSEA9b2tbbrLNS+JHEkB0Sy5ZEcQazGLeQQNUnEebJ5LVmql/H4RSB
Zo/4juwoLSXkLbaiEStrjLL6UONZEpsc38AS2tnVe1cPEPBhkZ0x6ndLVp8W9HZ90TsQK26EXSif
Yan1z8SU4Aq2B/oScBcK6+vEjH21nGK4kRoBiU4+5zS51UF4nKLUJfIwGR5UA9QEDAU5XNolSbge
Ih4Nmm1Ytq2LzjYfya91QudabRtXuRhg1Y9fOsdpTS+ZhE62YduCJIaYmid+1qv6z5GsL4jGqp5s
e0UqP0sg9wbR1xhiyAQumLFqkU2fWIhJQ56LOX8ycyLWgVlTjllRcoxekqRyduAK8h9QJOPbQRv7
5CYIbeMpjXECo+kBwuIBvoxUH59+IJkxOVLg3G1J9hxC4r53MIUbSPDmFD8VPbwX9BhDUN6OAlC2
D5eizlazG8vvJozI0kszsji9wK76lxbLfXVRt4Rlru0kNJ+gUQ/9FuxTIFY0qvSbNBpdk1YqBuMI
wY6ybjN3brzImHgpIUHn3dpI3Upd29KGaS6U2b1Jw0whsDTgh8R4n0Iv46Et8PFJ+y45RuG11fuv
pI0rykoQqRiDd06Npxi7QOg5djVDmYySOPVHlC5yjRhLc3YuAaiqH7sOm8XCJdl+1TRzfCt4lyFe
4U3uVn2Al2GFH71QyIrJip1rxDAF46rQaXjJrqIqju038rKxJlBehAmZJZ0iaFGPUdwR4aGmReUP
jtknV5ZQBnMVz9LF3q1EgPUU9xdxtdEj6XMsKp7FoBLGAdOzTLaTK3k7hRo5ObryPkgv5GB10qsF
GZ7gBlkU6LEHLcoxVy/uxtEx75VoqAURwjPBq3AWBm1xk8dAV7uGuNoAke/EgkP5w8MGQLa8WabD
drQkbnuabdZ8mfdNoSV+TvY1ouLOhBxO2MKoBFrzFR1eMSp3qjLMFgg7iBhK9liOqUPKDX5nQfPu
v4oaIx8hiobfN3FxTXXNvTdZih5MQS6f3xNetLZiK7tMyDkm+2aIWViUeiVrWzxOkZbwr8k3erSD
omJGZaVyLjrqjeLUQVFC7wqpES0AZDr68ZcuRD3Zk/5tECkX3nO7iBbWggn4nJr5oLPY9Bay9vUg
/c5XCYR+okDrQvHruWCxV1XXPP7aR/yRVfj/zQf8/1sCJzKK37ZUPglx//hRtHE7Xb/mP/7XP59+
NO0/vNciPXIAL3/m3xmc5r/wv6L6RP/JDutXONxfDmAyTuhzoghaRP8oi5Zd0X9nnEAyWZiOS9MV
YSX/6t8OYF3716ICoLzBUR0JP468P3AAo6Nhovy2ZQItwrkJZSGqV2qUqCmPJ5IFb6aKYjwcmpte
9oHxudWt7raKcbF2FMMvrJplpx9sWPMg+vfOPN6Splluily1VyPuDcmuIuw8OrqHTpXGVlXosrmp
Pt+WljFejMSUwOgehbGlmenryAv3lH3VTZxbLQZ5WCBNS4NF0GvyqzQt112BWcm1FNtDrLCXU9b6
uqhLc6NHrXI9zPZnpUMiSH1MgYlvJT8DMphuRKsVT6kyabdlpyt3hFLJ226I1UuOEfnB7EHXeWUx
9fqK5Sp60vKoecHLFvXXREAlcks82VUwlmubhkfi9j9qnT8QdfankOXYj7WZFwm/vZX3Oc6mKfcM
+SLiZ9HF91ZkHyJT7kSWb82JnPdol74GmgBYNd6aZfEaWPVLMddfpSwuqfStM9vdk4hxKO1xEw/V
rR1atwRl3hKk0Hqmjhg70B5GIhoUq9pawXqwbwsnuY9kdV/YaHdFYV+zmVgT0kvmkbamdbNPs/F2
cJ6T2PZ1osP4sm6dkSSXZjz0Q43Xo6tw8CgvdWt1rJ75XduE9+4kpWebyUs74rto8yfo44cotfck
n31Jy/lpaLJdoLX4QRoYn2IddvYGjurdFMoNKncCFEL2Qnb5pQG1POJ7NZXghuQ6Ar/QGA3qFz07
hPUP8qf8sk4OxK58EmVSelUe7u3S3YzkJaycUOzBVfFLYucq0vKfNUc3WOKepbjXlZQXdePciJoR
8TnO5ARchE6ymxNzRSKX3yY3bgybQ7vpQnNdy+CV4//3wp59pb1TRHKTROl6mglnTwG6X5jitiMG
QJGbef7SFzvCYj5HGnz+Fp9CPyn3uSpeq1KwU70xSP9bIdHeum62JdS68BS7fVYyZSOVedOE5aMZ
PJT61jCyT1IL8FGM204kW77fSRTfxkq4Uwj3luR8uLTU9Na8Bkd3LQpnU5ef5+YpKLod/oyX2Ub9
mpsXdL/WZNpfTf18aefGSyzD2yhIt6Oa3UwK+x2jZKQat3xNnleoZzslfWl67ZKNxIVZsfVTp9U4
MTtBJXq9s62FuKK0Hl5zoCTTLHoxxSszaD/LZqP16pdUkNr2SYt4TjUo46AmEmf4ySfxTk2H+6LX
+epH2zCtPXXUd3bxXCg1e0fL3FNuWTtVe9AH95JDyWPcmX7TVhh3rxoMck7abaT2CWjRk5bYG2O4
ckj6NvdQOkjVsKetO40HsC57aWGCTC7VMNvoi0Cdj7hd6FsRt+umCV/cjFwQswjuJgJj7eXlixz3
Qesv6u6TUf/I8fXryYaMJb8wk83YAnbBbT84O0vWG0dtDnqZbKzKvSqprnvsPspiNSSjV0IEJNrA
k6XN1i3FGJDfmIp8zmzzYhLBI1vqdVNVByXN55WmuHd9Ze4V664nkckuxLZ0w53gLDXM2yKX66no
LxqzWZvRy2SYt03b4AUhS2wY1c9B3V8D5Hri9P1Nc8A+VvHApleWXt+ux/rKtMqYaw63bVOR2F1d
GOElvBujVz43reF1QoRUHEcHQaz7qLrqre5KKI4dO0d2JytJE9qztGwzal8nZ2IjNPuha29mua2Z
vuzy8fv0n4XKKUvK4GcUzCtXnQMOuekeAcSO4BbbI3pmXxXF9wqnDgt6AM24My8I2iVrtt9Y0XBv
Zc7gZ47Wrykhx6u0ytwnp6gaVv7qxQ0ieSDhtrqSbVavGlvdc0y/0ZX5AASJU9Cg4EBQeuemC3hb
aV9FWyMmBwiDY6BlB8sdMmhBXbIH/X+3ZJd7paYxOeyLnD/qVRYO2VYTX9Jivm/N7LUr++sG3sK+
JoVgTcKUemGmWn9oK4E7EyTytcGX55OZN+J2mHTtWqjPWNrMJsh80Mb+kKirMH6MQitGdx5mzN1a
2zqxvWncq8GNXzNS2BFV5PMlZsDUC5sLJF53bd5U22Qq4eLO6zSrthmtvX2xVVLHvElwkrRjSlgH
p3+vkYFJ/3zYu5nqXmA1hk5fl+s6jJ9Y87NVPt0LAmfAmW8ztdyLxHmuo/6xNALFi6T9KOM68Ace
Vkrikd/V3SEvbuMc4oKIA2OFGaNfNfl42Yvy+9D33+ZOf4hkvy+SoV4FIYkchXpDGA90fk19rqwq
eK2kTd4g5YU25u0YLwt4eaDTmzAqVmUmAKdzFoCdhvSiLXhBhk4iAOI4peaSyoRmrRFJP6nW2O4U
PQl3jjZeJfOrLaLnYeK/EpQjkm2eOx4Hp9kvEuW7ih8q72GYKfPWLerBT0N9ouwxh/A/s2syUdh4
1CH2bmj5/fysdvpPZaqlN2skkLUJZjZTDwNEFpw0utE4UPc5pFnwoM3BSzoES5DHdV+4zygXXwdX
3KL42uhG+z0ad7X4FJYEK0Wucmj5KD0MNWW2RFUVXzd79XKIOI6JUo23Q0nEZlQRj6IkCmf+tCt9
ZRx0lu/sXs/CkU9+Ha96EFWyn+ut0Zj1hmjseZWxN18JNws2ZaZ1Vy3pqetxaj8XNYwBqKbBIU8i
3UMZEB7iKL2KLb7fvRNSkAgofihG3f8wlNbeOLTC/LGj25JVpuOlbtxe2m30vbCgfbnpfMDPuSSC
xnBitbzfEZyZHqLGSq9za1K3saG1G0osqac2rUPUSYUcVV6IXFaLRmyCSsVuaeZ4ZznjClhLsx2s
Ypvpio5Q+bkav9SxcQgJllnlbnCr24CudZgSbC9M1innQWndmyaTu5FlRFeHC9mgRxlb6cG3vQ7T
r27JgbCJwm4tzOnaGep7VO9E2SgEaxG8fpcWQbjWq/yBs+TlxOnMiQK56us+2lR6cV+P0WEuEo2F
rc0y0tirS5jNzr5oYV+vWkW3rysYWFd0ZbNbwntYPRfSNwRw19iURNjdwXXirumXlWreOeHk7Iao
em4VJdzo8QXEcOXTDMLtEVzlNHu6WyUq3zSCQSmqBusx44kPdZtvCfBstlGtPxWVba/7Rvn5X3np
6prS66jBdZvQj3Y3gXjj9EsBhACTXa1YTGsEwGM1XQkpvsZN7otefO/YaCKWWpEH9Vf/4X+OW/+k
FPHRcevLj/xHcXTUWv77f8OWDJBKKPwwYp3ESRrav5DIUhNGEM+Razk0/Z+j1nLq+vfRSiNZkn+9
YBAxYy88iD84Wf3FFf/tZIVrYcEELCJxTn0oZ5ei+G81/wpqjUnd0vJK0NnKVk/Yv9/OqRHxxQlb
N+xBP4/LNjmsGyU+oJjJzS3CivnGnqkZ7Sx7ShcAnVDqrdCLGu1QMrd40UVOJd3Oi/zLJHrdXi2B
d08U/uwvTpnOMRFhafnk6MByvA6Kn1Z5wAkVe1h1VPScF0JdShKIAukYJPrRCynqEPznNPGXREHf
P2pWWKabMKsjvVrFjUyUn2nWGblcGX2kwQNQKQulFMxIpMdgjM0YtpEaaoqzGnTq6QcnSDp9UzdF
dGjVThmusiEuIn/OVDFs7GxK8uWU4zS3phpbxo5aaKQX3jRLc6I6S4zgq9OqCOqcyNJD+IGcCyJc
tUpKFq+dmpTg8DfTQUkGwBaHqGvbgLoQOnW8V0NnvlJqd9QHNhomQu2U/Dy992IzVopon8ikJPBR
d+r+ZRqbUT7KdBi1VSXHfCqovgf5UpeFOey7Lga4fGVPlj5dk+wlojt3DtyXESF0teOs2EdXI5gf
K/MGlKeJ5KuiTIGJlxzhvFgl/GXQikgFqODaYWyqGz8IOflsJOdZgQG/HKigETCcVDLMOYyBMmBt
Cmy7hFXtiRn8Tf9TJRLJjNbEkHWC0n9RRdGj8ldSJXEDLbmVoZ5jRPHIcxz19pD9FW1ZUgpLv5En
RIKhCYtb0FRoybG7IGFKxj/rzlDEPWtfsZ1jW0YrkwzEx0Ct2lf8DcnK/BWl6RYtuxF1Sdmskbon
OxoEMr+yUVDzGVrSOPF+S/0CbbBVXRZDroUXTSSmYFXOBuXWzs3uBjCwfmu49V3VdQQgW2RyEm88
WNodH59214p+WNdkfT2KanCfWzWvviYWqU+ysp/UMCE82kp1467UZf5NUIauV4beGQAq1E4+63WM
PWFMjOy5Ukf1vg4xehd95X6hqUUzL6Q47psVp8tVbbolVeKu2Ayxcq9X/UwTp8z2U5xRiTAms30Z
zLG6y6LBeBGGTMaViMCleIvU09eyWd84g6PRxOHbmA8i3qeFqmw4F650coB2tHWQ4Tc1caYjm2je
5p+cHct12wuORrP60Gdts3Y6YR0IjuGvMIT8FDrFp/5XZyIzxp8E88n9NJViTYq5seLlSGF704u5
b/KmLFfuaCbQWUVdjV6QJrm1zopUtThKZ2TdpZCz08vajCkvxLHm6r4jh9bZ9G7QpNeZqo3JWreq
KH9mHiTD9wVD4a7yZgjQt/d5VhPbHSrWlzBpJh7vNJLm2pXgnFd9NBNsVMxQxq7nMWiIIYQNaN+4
7FystWjpgnvlnEY/U2rhPSVuq/rUW717S4yW/OpoaWsvoE47Avfeipa/KS4fXQVr3DYRtFxWuYQE
+kzOZFGspdprKmL8dq78cjISgVm+jci6SjQOvWqoiudB6yVIEE1noyiGCjZ3KpPU3kRGGReveROl
8pLkoDK5UCri0NYAh4N8g8g/1ElqdIeof9Kt2hk52falWOldmESHunJorASjbObWk0FtZT/soRDJ
rVHVVbVp9VJK9WImFWO+Z0PQKiu3rkW2lwX80MJvKOOFnt739FJ++8Ld/vXJ+J1gd9o9ReNNMwPe
O2EvaClOxQYRFkwEd13gAbsmhKGwEc37VSXbP+wF/xoHRzNqJsR9QIOOP1gmPZbZ1vvAg89ff62i
Yfqqyegc3WXp4v/+WVxGoWK+4HIRHIFKOx5lhmyTWXQgobu7+gVW8ZiDUVZ8YitLdGSVNldTwEvx
8S18ozRaRsVDYSHWgnLzhpKRDYXr8IQWcC4KjVYZ9QodX9iuDXtO1iCw4y2dayVFY+3WaxXVGHGK
6Cw/f/w7lmrq6cXT50ZnBVkXZfnJLYaVa4Obh6obFiEFgSQ88KmlXOpMcvfxSG8nDWKNxT0CfuFX
Ts7xbXZYN+NSmxUwuYX7QFivtpmb6ZxS8u31IIIheA3hOJpCKtnHoxR2nvRzA/nYcnkfGlc0fhQW
wWFqx+qP3wIq8dDADO4caNpTxsY8mTTirCLwTFrpe4eeWTSIcxakd64H3cFC3kQtvbiEjq8ns0yV
I1xClLwSsPkJjYA6SQAoRaRZe87z8M4jshYLN2+2BevoVDKdoAnpQ9wQi/ftWVH7JX42jc/Mg/eu
iH0oYiEk4JT5T66oMmudZNnB9WY9KSNP7bo23ad9MbOvKsGi+H887SwQO4srZXGn6Ce6Twuo2kKs
pXRiNd1GyNZdY106l0txquGB5IlPxKI9YizA3VO7uI0OEuKE4XqRSe2s6akjWh0vt1T67rIs1O8f
X9Q7w3EsoBPzC2JvOBwZft/J261DpGVjkVqZKPHTyNF+r2Su2MvOLa/1aTLOyGXeLpE4qym0QeRi
NUbjdTxeOFOdqpuJwrobWV7Whq/Iaijf99r1ZMnCE31+ZsS3s4QR4aXwwWeZQ9d9MmIc6nFfMCJE
tXIz2zUVD+4D1UOSWT++me9e3LJo6OiQ0Xotb8VvxyLTKJoeZbftsfseN2k6DBtw/t2D7dBVCrUk
frSbAVHBx6O+d4FMft6CxeKJFv94VGllIStIZ3uICfutUsXNWlRpvWkqjvsfD/X2tYbaxurOP+mt
8SCPh6L4V5AkPxEQS19sHyv2ss9s+ouPRzmdk8sHDScDfjb+jzfhdOVtCZsdbWKSZdZHX5doXdzV
ebFup6y/yWnDbP7GeDZERgMr/rIAH19VEoQZdBC6da4NuiMy0FF1aPSfe5aVzqO8lZ+5jW/nCXsD
GqeI8Plwa6fCzriblUUS73jaUCBKKCy23iKy0weD0JRL7MD0cyarHs5JK98dl1VFXa4TLvPJhbZj
r8mpS/kEDLnxkFWTtioyt7wrpNl+m/B43islgqqP7+7bOSNILCQdERrFYjg7mZ5G7JJO3ZBkQmWW
HkeTqfpXgVLG/3iYt28B/RWEzohGSfKiuXz8EClk9r/S2OisRfoOQsB31qBym7gEj/yNkXgkFFwY
DCvp8Uh9okqquCjIS1VraDNR0POMuYFL0WsUKT8ebPnZx7sq9sYUQsCho2C03thkrVB2moXmhHTO
rchmEu4b+9sQ6lTy9OoMdejto0LLvES84SIAVXLKNkjsUgYzKZbUVnp1pY4BpWKzdM9c0huBhw46
S7Aoc0X4J5ADHd9AAn3HLCpsSrnBPAR+Zw00zrpJdJNvKWXhrvrJ4Z4mJIU+01eRs1+rDbo7XYns
ajPxepgLus/IiQwo1HOYiXdvwrKlAIBgghE8+XUmJ82g0blqu7LqlRXQz5+s4ByX8u2rSHYMTAe+
9nhiWHuO74GDHDhyOtoJEYkHhxKKz22oItXTnKa6n+y2fo6Rx5zhh729NHgRMAIxyuCH5PqOBx0U
O+hAyDlECtNAjcwp9xs3i86sbsvyfDRl8RswiErUDzBT59QnbGeVkipjY3lyKuQ3M55SxYuzlEpU
TLRH7ctAmMp1VCfAtclT0s9B2d+8MqB2UJawV8NvtLgvjq/Snps4b62K8atcHrpwpmxhSA29RjHR
7Z3b+JzZe/kbT654IRYBtGcTjdHpZO0hnbyKI5Z5rya9vXg0gjIg6bwEPbibiYJ0z3wf3zxGtMYW
B58lY49xhTi+QFHpLb4yy/S0lqQON8C2gdP8jz9SyyisqGziIWZguTseJZND78AYMdE0pw2o0FLb
mqnRrLRSaCsUJNX3OjD7c2vDMu+PbyXrAY0sNGjgstkjHo9azG2ABjlcukQhmjdtfEZN/blw7Wsn
ah7MvP9qIM0w7P4hKlF7fLzYasvu83h0vBy4yDBqL8yh0xekbed20KbM9EbFlGvFIGQpCpOOhHBz
vLVqymh23SZ3YBWGrYIw+KJbmXTevn/8M06eL/tH/JTLz2BHB3r+1MWSaGWBXJJY6sQuHK9qIbJS
C/9DS8KvUciHW4zRBj4P42QxIGJ7mqvYXRKo62kV1xGw6DnVztzS5fzw2x3FZA+IlScJ6V6z8D6c
rHNxITCkikGu3Ll3w00RWO5rAsdTrp1CD4aL1q3S0idfcUg2Uxb01cbqG+ecEerkBV1+BWiHZePD
pnyBYh/PKlOElRPNaMJp7Sqf+H70wiP3ZhQbhSZw+2fnUkbjC4dTFXMbKK432BWLQllYjFa7akOa
ESkPIKLOm5DwbtmDcw5u82u3eHyLF9oX7wwyPJzup8lnI+1iGWtVv1J1R0GJr/VuMXiWbOxh26uk
0V92CXJLrADSmh5qlx+0tgrq81vLzZT62pAu4mE4HH1vvUoVD7xv9GgGfFuE2kNvlXm06JfsCvt8
MYzGChloZ/tAVdSXKRNSXSepVrkbqN8EXXgt++cSQYJqJK+/3ov/6Qz+c6H08Ob833NZtmX2Wvzj
vvv6nXxBGX9rf+8T/vtP/0eUSRFpKUSCtOE9+Lcg0/wXXwx2/QT30gbGYvifLqGu/4vDMUG0+EoR
ZlId/U/XUCeSBXQdRTDga+YftQzV5aP02yxFjGk4eJLQhMJ6wTx7cvCPq1ox+VyrqzpwZ6/OLWOV
uRj2ocXueifbJAKQpq09IdW7lQYyVdrtU2lfsSU21mXb7M3cushBCBCGcaMo1mXZG9fAs/bOkH4G
jnutRvMjAVYjIVj2ZcYC3cvmQkt7zy3E10kNL6WhfioNbIFK6hYr3PDfc0oQeY8YUtd+Ws4iOWzy
YZtliF/KJPlqp6n1A+9BszSshPY4Ehi1Nc0a2TTv2WXv2C2CK03fjRGHVTWzus9tCsVJF9n4ok6B
8Ec9r1YK3cO7CMdC+r/Zu5rlxJUs/SpEb7o7YnAjgfiJmLkRRgaMbWzK2K57a0MkoJIE+iMlAaKj
I2YzDzHrWd3F7GY5u3qTeZL5UiCXUqgAW9ld91a0FzeuMXWUyjx58uQ53/mOT/QF+oqB5gbNvbz6
1KuYmytjrqAsjPr2jd5ar7oOEPsPwIEb17W5j0CtB2edxUkA+6rOLdCT0/rjJlqM9IriTgHuZ8UM
KEQsy5XafTAPFYA1qg6ImVEBBsLg5XjVXjhNwJ2cxsel7fqoe2k11XkNaDK7aYHNSaFIElS8IWpK
+tX5xm6P58tFrxHSkYfqvPYKNWRTxRp3qIvvwKTcLGxf/9CyvX6wBBzNtpC7pSt17C56rZXdsdyo
v17BoleMm0gxrxuLW3+9uG3OAUesUpXaAH4FfbdZRVLTgfV1201le2+ay7YXGWN1PjZeIn2FL7j3
Rg3Ugi0azNvoyzFR9EbXkcMhlv6XjbftrNHNWGr+jJxsd9tats2a098CybisquUG0HQtFfcYcNk7
7RbeqYbsyrxVv5OMMui4NuHQWUbOL968jhmurhpAmUlIX0796la5mivGtiPVPL8vyc7ipcqSOpYz
vgd/Rp9uLdrdOJVPG5DuPY8jb+TrUeV6M57PH0DRVi27N8p4rtVWt74x72KzdRtzBN7LMpoho6fb
aIVMDhR4She+NZQVT7n2Q/NmDr7OxRhDtJerMuqFcfuvrqLuQgKbRlVyZtCDsrptbKQrDGvRlStj
79a2rAdr3EDCUh4Hqr9U7jZghetXaxFya5XaVm0sfUSEAv2htt06bX1hOO1aa/0zbh0N9e1m+feG
fAebJLomseYb37a5T6EzKfV9GN6Znza3X//tHpuhXMBTRgkky36wqxV81p3VVZQLuOmxKwCfA8g/
mNY9DF6uX7CrEbJeKFNGlSvjgNhjNdif0GMWhQ+4qIFwFLb6DWAN5jCn7C4qBeusABznAW72iLdm
HDBJtrE9FFS6NCqBughrfnvtGj/Pq4uJHRqA/6I+vIu6rNREDXfi02m9uEg3+1RkwGpxbJ5VX/IO
Fz4w69EcLc0lD10cAzRCaRtVFJVEpn2zqpn3EXVtYG2rvbltDVHI3ADez0bWmRrPc1jZK5wjW7Xi
zPe9aP/pQvxhr5U4dr+t0ZeTsDQIfbhduzKP/uzfUv/uVZvBGAgnAZQMyHulijqgzRUQkoIzl3U2
RMoFXnSizcoF66aJ62J88WTOwqs2408QA5ZiHFTYcwAlvUGbY0+dVyww/bDICaphcWnJ8h2XQ7RE
YezNQInrN9VIanWi+fjKGFfBVI0zGijl+aKzVoxRSwKIeFtfX6+QCgV8BahjBdBjZStF1xu93ne2
2A++0tw3ov6nhv0BsTAwr1URHmziZt4Et9ZRl/Wvj51R5/Glc/W30kcUEmkU/iuQE5zy5Yp89WOB
NKhUYR5ZpwkEdhOrWlUuoH8SM6uI1YOkhPNl4QyjzTpCwLChcefBvVWFL4vEJzxgJLpie1t7ix7u
ElUpRcybi3SuB21iqtSyqaTqaMjapopyraMwoQNSlu21GZioQVyvjB6I5QaKVf4wr61exmH9KtSl
vq/UUBRQNRZtGgKmSpV7FOe3Gwj+hS3/frH0rU/N5masrso1cNki9tgGTB419Zv6xyoF5tm0wB4Z
SfBWmzSqPVSAp+3Mze1nC31hUZvqdKNtc31XtsbrtgPivIplP669BjABgMB9CIMIpRQrt9b3JMtT
WwE40KO1cwVuHgMJl5YZorjCpctHKsM5NjYS4GWhuelFwKO1rQZ4INDEpetuUB3thAPfbta6rRWq
k+aGN6yZ1UhV0GujjbLsJ7dWJQY17x27/lgxAOJSKmAeXjYB5pkb9y5Qr1vXfAFzwAfgku8QjhkY
ptwDTm7bsRd+iLqmJkC0ShV0aXNvqyryHF5to9WrVUK54/iVARC3n4HfQkGQDnAtyrDu7HB7F20r
KMWqIaRhr5oh6nQqmm9YxB/X73Vj47f1JmqeqrXyAngdqnRRkA3X0G/2AU0G3SAK0u8cT9l0pFWk
IjR7W/X0hTp2WqPF2Oq7LYD8ZX3bswN3o1F/+Rk5Tl81FJ1FyaJ+IAFsvwBttNMk3njTHy+A3ZOv
AMOZI9rZxvWnsx43HhzT+hxGFCFCLwzgo9oAfDWo91DfIksYWpVaez63UOtkVIDG8vXA78tRBYXa
tFy7dyh6FOFWT3to3Ntoh36NdsaVzbXrS43RWpo0QDWphoZv3kSmMTJ0GfxSTcf22gqYn1DzOm6H
KJ3/aJrbZ9tooHgbJN4g7Bp3ls7GHUZAGd0FdL0ebhm6c1Vel2+2jv+L7xutng0y+2bDmq6c6rIL
XBDq4OVxp6asGjfw4ee4crDCdylCK+QKygZWm2cUzQADv0C0UpW9pbqRw7YLbLInW9ethv2wmPtP
iBl0UJF4BSQYkNGfgUfrouhDnVdBQQ0ajbYfVtXQMTorz2wbutd3ddR9RJ+A3W4vwuWVW66rPhDS
gSP1KLIIKxs9lXVZdSq/rHDZac03HYXanfIYPTGAw0RTBXAAK9gcwG81rV6DDivGprdmdXHA6twv
wmbbqiMdXX2pmcrAQfHeuFnR2+Wy9IA2jnIbfRA6FRTfOyswvjy/3Y/+Zp0pO39e29L6P/3r/jxi
NZvcL524fvNDqNHoUfNDKzj+V0iCYF1zmaAhEGTBk3sg4qwvHRe0dzieIg91pVMAEQM2Ph2EeGlf
RGbkYJz7Eg8pfptjEiwCFQlnEC1VLxBckBDhgHNiuY6efF5pXoAYDF03Af6Kf9Jrc+zlj79XMsfH
JvHYyL/6YTJr5lLs3VF0C0BUCy4g9+aVC5yfDcYk/lt7Z8AICr6z3LpAHgQ3r8xb15sMFQ/EPK4+
8c9OsVK75lvK/o9ab+SKCr47i86BdVNGtdn+h1t4BSUDAIUgFPjbnYKi271cuQCPLZpKoUPo/gdX
7LT2S7ULMHcCb8RotNjPb20PsBxToW0vVy8YsyKCt/s3xCumZqBVuUDmA8ja2CvGBCBAgOedtRPO
+NLr2QCuSGsWHx2mBgqN1/Pn5BeSDXcoIHVLBWDx1V2Pv8hOkp3onQllv//EHSzxK6b+yA661K/c
d/2DL+9fPf2s9Efci+a+QfLhtalRQqdGFP+TaP9OO4KFS0vXMjciqO/XQR4cla+KclSqgxZgJJHD
7vjQiKJC2wixr4nDiWX1RYXlao7J+wDQz8JCQ9ycZmYiiE0BI8QtKlY1yCyRwmTWYL6KynzUvHBi
mdOS+7kUGFpJhc/iJmLjh8A+FH3IlWa7UwonaVo6/TwBGqiCPoS6vG/HggVF3wNkcS51uWAsgyAW
FgsBlFily8/IrCHNlsxRIpktA4MBFX4O8bTSi0ZnWiIrlgy/r6jkq7k5ccOA0/g6/MCicjs6iNIS
MWywzK0uLHQZksCF3bNKwFE6GmdT6gLUpANeAMqLZV3tC487MBC9yQSwBOzOJ2z7HrEnvGQGIio6
4h6Z8JuQdVMoLNTIHAMMM15Y6IEioKC1uFj1y/8EWmn2x/4KuFVu10kiDq9bzYk47QX2tPig78xJ
1isAykuAXM13A4M7XMCMJECuOcnMAktmFdWIAZkRnfhTQhNZzP6AwTn5NTeWcJaDNCAR6P14dWBt
S4sP2SJrM5ETD5fhLASIzQgVsIsHOEinU14ZGASl+GBDWF8z5A5picFbxUgmDm8m0fdSgGh3y+zv
MuR1gnUjKzpq0F1qvAYzVLUQqZmJYDjXonJ35zHguL5PwkRcrMisZ1pR6Y9ffg2dTMgPVQECBONm
MuMMMTLrxcWOtGhqaJalccqMbLYA0fDWjL3DmUhj84zkVfLr++3bSHM0nViJoFguy/sXXb8RrrKU
lO401+E2iswQ/oWFuzaxeJUGnEKA3HBG+AumiJP/yeVvaSDlEDDUL//llp5c+8uvJehzaUi//Lcz
NT1+rqsC5hrIFtPPzDXDphRdwyfibLMGGnG34oKf9YMNzgoji463HdIFiuZLXeJzJyGQCsWFI8Rj
Znx6QKGLy+0gDhOYDucSxAwtRWfj08EdBKim4uP9ZNoTMlnzWsz6zhQd7yi2oaOD/c3K2orKBmax
9ARnjjOiwD4Ul3w5iTRu7dBphWUpQFUI7BhKplFfeeopeZHI15DuYRyVT1K9/e/72YzPkSp6mfyA
kVgVd1regxBhtnpU0xyGH0wWlE0h454oqp4DbWNmnHfWya+o2BFBArg0ZMe8Fh9BA+YTI5mQiN65
KAKe9OyYgTYrjQISZLyrmgDLoGIi4oAewpCI6HGjR6nEsaPaT2VjjgXZVULNyUTjXQvELBjHyLGT
aSf/O25gFqJIchPp7MaR7MhBcuTId79XJuWzjrAUaiP4BRGw1S63Gp0Qc84LFuAfXFLQvfFOmIB7
Pei6dYvMgGnitF7ARAwi4th8NIZBForaHBBNZxdNgAVg0Dn+mGUtd4qOFXmNiTvj10yEHzqiZukO
POucpRIR8sMG51N2Ihzba6SoSrfsP6PLx2RS2ckgibh0950ZrpeZ2wlS+MmD3n8thmR+6YALKC71
hni8aQDHTnGptxFF+WXWnMFNLC763qUIPdy6mQwJSqaLy9655DmyBWzpW7IlC+NwSgTs6zvCJxXR
XqT4XAzIlLgHW4Qh3IqaoQHLEWdiJeAQECCYWDNzxTtkKGkXIphE2T0tIpd4r3l8oAsNmosPd0go
mWpWbvEPq+4puoBDsjhwVWIsXGHBAOGYnoekKvzMnbCdyy5A60amo6M7AJ9GQyOP5EHvN8xPBjGz
t6QYDll0Op4IWgYdzDTu2wLGTEwEnRM58SSL8DCeEJFibmHWzMkiLNLzdqLlTEdNgAV9MbUA7JPc
fIgwdQ+odnZXpX4ARI9X+kupA+CAG4T7nZl+nIT6NgEvsn/gbegQH92P8cjkf828h4LRSIAPMfIA
zrGiPHtTlVComLzn+7fYwJzNLK3UIX6QCGM6C5aQo9JhRc7KqO5nbcS4keHNY9Ze/3dXQJl+KFg9
UAp5Msi1g1Qfu4MPiEUiggWipvV///6f/oL91qMRIjkYwTXADzZJVo2zh4gB1KsiUt9PJgBJ5TtW
3pR+Q8CRGRVV8tH7lw2ZnAVZJOru/+XKJG6E+5JZ+gCAG+GC1ozXJ6ZsKmo1r9zFzMUEPpEFrpGm
TZL3YBoDXtMamIuSj97/arcE3SVNrrUUal0rKKAV4MgMSdkyy1PDJGXfD5PBsvHvnyEghDXCTTtH
sgAbdEe8wMi4NbupOXlwfb/AEqgdQK14TmQJFSoOdPREVMmdIrh24ju/CQxvDBpMKwLDKmdcxP0r
n2lNL50AiGGgNbmdB17Yg233RrkZDxzMHgUldkLQPnCmT6qgv3Cx199dUC9zYrdx8qHY1IZwKA7y
zDgPCk7E7uKbM2ZQkR1CJ962bA9sJ/CRC5Asg2AUvIBoE4c+5Ci8PjA7b3vGEOVfupt9CjP1NbDg
gXiwiaLvinLwlPBrIde5vgJ0hmQUEa37QHEIqmX0NZUYcxvjVPzmMXbug9rEYojn0UGOARXk2Exo
7w2uJAV8X62j4N5zHzcAvM6D92PzS8UYBFtg2QLbISggQLTDmG8Kv9uA6AbVJokkdrKhwgucolAH
MIc2UAcGjuzkzzmn9Llv9ZrnKN1rwKfTAzYMEIeB8ByzWAXFBSOLO4qk2z32+51SO/N0zimV0uzf
wylkTQ5sxJHVP/sgmoH4nzuFTnogp932S2aD+U3C+MG/uSfOHGxbs3Qz5K+gx3bAuWJdH2YxzoZe
a3Sr6e4qE1NnZBcCBk/QDzgRxPbz4dmcUslzBx9aOhKV3ApWBQz3SmOpIM55j3sV4dAJohxrc+Zw
+1TLxoFEYDA7fpA92hgLeNE1U7cau2EkgmIbLGBuu+YBZKBx7Nw9c267hLpaXoTh6Hl0rnBKnKmW
ngnGIld0gnvmBL4afOFEFJtiVjJcWDDKEx1fixJJsdwDp/3t262nUZs4vFgR8wAYCT+7IkCzKnWB
I+PUF9ijZErev4mvQ8SJKTcJaIpQXG4fEfkMlAbdHQXIDYjFj1YSMAs3oP/gFQxUrsUHe4PgGsoX
+D5xMc9j0T1xR4JVRhtEpLbvzMAIs64JKK+LT8XIclfIo/AKzFhsC8+ECbseaA6CenxpqiQie34X
bjSgCEKqJyNl1kcSEYQfuNYMc8LJVQSYNeQbSQZtpgjYIgjfBvxgRcTSv3FNkUSgQhGZWBPeVog4
mkGolzVsjJmwqB4PkegPM3UAIIAtLvgRcfVMqEAWUa3HdnQWEoUYVfEBI1QLq0lNhwuYg0JMgGgP
mMlEDNvJMbl00aUbrQgudHTGCWZE+oUFr7UZf3iADVuEWDMATi6rxmC2Li77eUExxZxziTiRALk7
COot0tozl782HgZww69xrjNd4hdWbg+9U3EjSgYb68fR+MiZwmGRcUBpOuUVWsStZgS4I3+oyiKK
p5EG1BjHwYBPmkvoECEgF7MLGQNxowE8xo8e3QtE+HO3ru+uuNkGkWANjOvJ2r7fYf7yH2zf5F3N
QOsioZkgeoSA7JIRGp5+3HcMrbH8xA8YWctNxiiVk1r7/VZCjvMZP+BS5CVvRPgHMB+fXWuRA/AA
dzIa8qFRVx27Hc1D0frv1Ib/fuuel0YpqgXpt2EmDpxL6Y86LOKXED5xz0r+knx4DMjR01yq82Zb
BMzuMfQziSbQyJ5avtPx66cv/4uywYj3SE5HVfOm7chkCiza2uUgk4VQGVHXfimPFHL8HpIeVGf+
MI9wP4pnOtO9agNdmwmGiPBS2pRs+YpCEVXDbD05XRQBbFJdy80y0ojA83WmIUFOKdmEzCEWUbjW
pZozNRidUIabRsStv0usxTc9NAH+Xy9EZQ0fCDmauj1TiUeAxQGSyakGOvEmU/9+f5Who/UwEwdp
KgIEazRMpMRBsdOH7Wlr/UzD7GDj3sfMchTJVb3g/rVFcSS3cEiDJy/wrfn9fsdAHmjkBzwUdrgh
kM0T2+UWR0SyoI0MDwrOk0WOL/QiwjLM3LpO3h1QRMmP6k5dv/SnW02zEO34c95jRFA2xbdwxvPP
Ym0waXnPERGPVl038dX99EqICEp3zbmZliminKSLmBsA3q/1znEcxJzSwzq3o6XDZ9r9/VnIurQc
1NEdLX1+m/wY8cYWm8UuXhGLrIyR75Yj4mDohXxpwSHaLXxzfO5aQ3x1r6G7WvfpFfIcVvIZp1mA
DSVK8S27fvokugXeeYKoYCIpPuJE0LmoaKPgBzbx96/DP0DAyO+1dUklVk5wTUTE8d7M8G6JiDe+
EAcsk7w7wZrFFD327wkqURIxOydFgP1nE/xJQzkDTxWB4F/yqPer3dAMpsTERs1rZSWCZXJIvJAA
HrjOofNEm3EBb4CJ4ee8JUCpcUj5QNnnV/kdQq3fbmF2bBrXmqU55F9Kl/4UKWWwn8XG5ontWGQH
UKnC2lfwDoWIK+yTu4Bvys2aLMKVeELtKT9aEXXDTyESXpnBngywnra4H7G8ph9PeDcMUNKV6GLs
t4ngZjxwMmURtTEqK+LUKFBrORZdAcwWzeEQi0QGogKItogUNMfHUhogU0pLDyFq0uAv5hkOPBRP
Zh2YmoiOAoV+mrf3O158cnDsRS8+6bdhtvl4XDT97U46ZCowypeHav8B3zIHTv8DvmUOlv/He8u8
0oEf7y1ZNq5484q0BTltb3ZHYxzpT8xNMrHH8jCA0JtbjTskBbhvqgtXp/SYKWcTwVfRsRDlsVbZ
iHJDAGQIV85AAyMp5zKI8ArBnjNjFVDpWcYxnvz6fj//HhMcB2YTUbvbiYC5GCKWw1cBx02mjl+l
0gr7VQfzPk01i0mUlNPcs/6+v9jF75ywsHHS9psGO+PruE80jEkP9u+25y5pOOGUTErW7/2qgHCM
iaB37Pi2CZ1kI5YinqCHpsXvDhFUIGy02M787hCANWU9FtrEgBpzokVQNakkAhwyz0kWgelVM9oh
4tJy5drgj+Wri0VAbxO5+R1URPAIgVAzy9MpAikLYz8DzWXIlzIf1u2Gb48yEsAjku22M04CQjo3
0OPM+qG7cvKY99sNhEQYs3CWB19Ejx2GWPQZfXiQDDOejaOVt2cGpIeo5glc5mBw+Dy5IuDo28Vw
bs0g2IUR7rWVyVsQEaQzu6fchVMeAyOLAC4i0uSYMzLbhZ3cCcq80ysgi6heZKxFu/lRoZdINeWE
GmUR9Yy7iXoxUWwGolqWeWA9s3ZW4YD0SkRKq82aWfhG6cUEQCnXyKMRdDKf7994z6OjTxCgyG3k
NjItcGQRfrIKXxY8d8kUsE0thIRmRHivSBYRvAeFWVDqAEWILEym2FZE94yddsKFCYwvv1qaHaVn
RRGRfo5fYEDwBB7ED/pwEWx6uxfYnQKlP3Xjos4/p1+iitjjyatK2m3+x3r+Ozqr34XbD2eUlTWk
J1c6CS09HfFWIy9TRi4iHt0D9SZ4NKjpceMVccD2oWScUBE9P/o+JRpH3S+JmFyMdcmNVUTpzI1L
Z5kpEIE1vA3XcD250YroXnCngWeC54MHwU3ymPcfgA+4QiVSYsdQRIOIDyC1oZxUEcCBEQlnZumS
kmyZjAiMwCjKsDXIIq6o++wOG3OpY5sMi8I7sSIuDx81P8Ad2+FYIRCtTxbg/crxiwZKzERM7GGI
IJu4d0tQuj/6pWzWHZU2ycPeP+Yeq+ksjcLJDIleNCHgtmJNrogwy2jjM8lztRFOhL0TcTG+nISl
Qejz8amddAFz9NfHzqjz+NK5+luJKQ8DEx3oP+iTkGSsojFKUwZnU632d0NY5rktqdDjPsE3tYAb
+un/AQAA//8=</cx:binary>
              </cx:geoCache>
            </cx:geography>
          </cx:layoutPr>
        </cx:series>
      </cx:plotAreaRegion>
    </cx:plotArea>
  </cx:chart>
</cx:chartSpace>
</file>

<file path=ppt/charts/colors1.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4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31"/>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dk1">
            <a:lumMod val="50000"/>
            <a:lumOff val="50000"/>
          </a:scheme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RO"/>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4DABF946-E9A6-D045-ADBE-3FA452CF680F}" type="datetimeFigureOut">
              <a:rPr lang="en-RO" smtClean="0"/>
              <a:t>05/08/2025</a:t>
            </a:fld>
            <a:endParaRPr lang="en-RO"/>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RO"/>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RO"/>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28FF7CC6-C56B-E34B-9A16-8F294AC5515F}" type="slidenum">
              <a:rPr lang="en-RO" smtClean="0"/>
              <a:t>‹#›</a:t>
            </a:fld>
            <a:endParaRPr lang="en-RO"/>
          </a:p>
        </p:txBody>
      </p:sp>
    </p:spTree>
    <p:extLst>
      <p:ext uri="{BB962C8B-B14F-4D97-AF65-F5344CB8AC3E}">
        <p14:creationId xmlns:p14="http://schemas.microsoft.com/office/powerpoint/2010/main" val="12935862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5"/>
          </p:nvPr>
        </p:nvSpPr>
        <p:spPr/>
        <p:txBody>
          <a:bodyPr/>
          <a:lstStyle/>
          <a:p>
            <a:fld id="{28FF7CC6-C56B-E34B-9A16-8F294AC5515F}" type="slidenum">
              <a:rPr lang="en-RO" smtClean="0"/>
              <a:t>2</a:t>
            </a:fld>
            <a:endParaRPr lang="en-RO"/>
          </a:p>
        </p:txBody>
      </p:sp>
    </p:spTree>
    <p:extLst>
      <p:ext uri="{BB962C8B-B14F-4D97-AF65-F5344CB8AC3E}">
        <p14:creationId xmlns:p14="http://schemas.microsoft.com/office/powerpoint/2010/main" val="36607976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5"/>
          </p:nvPr>
        </p:nvSpPr>
        <p:spPr/>
        <p:txBody>
          <a:bodyPr/>
          <a:lstStyle/>
          <a:p>
            <a:fld id="{28FF7CC6-C56B-E34B-9A16-8F294AC5515F}" type="slidenum">
              <a:rPr lang="en-RO" smtClean="0"/>
              <a:t>3</a:t>
            </a:fld>
            <a:endParaRPr lang="en-RO"/>
          </a:p>
        </p:txBody>
      </p:sp>
    </p:spTree>
    <p:extLst>
      <p:ext uri="{BB962C8B-B14F-4D97-AF65-F5344CB8AC3E}">
        <p14:creationId xmlns:p14="http://schemas.microsoft.com/office/powerpoint/2010/main" val="26758379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ga7443ca9f7_0_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5" name="Google Shape;225;ga7443ca9f7_0_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095563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61C9CC5-8F69-C515-494B-241CD8362682}"/>
              </a:ext>
            </a:extLst>
          </p:cNvPr>
          <p:cNvPicPr>
            <a:picLocks noChangeAspect="1"/>
          </p:cNvPicPr>
          <p:nvPr userDrawn="1"/>
        </p:nvPicPr>
        <p:blipFill>
          <a:blip r:embed="rId2"/>
          <a:stretch>
            <a:fillRect/>
          </a:stretch>
        </p:blipFill>
        <p:spPr>
          <a:xfrm>
            <a:off x="19050" y="6350"/>
            <a:ext cx="12153900" cy="6845300"/>
          </a:xfrm>
          <a:prstGeom prst="rect">
            <a:avLst/>
          </a:prstGeom>
        </p:spPr>
      </p:pic>
      <p:pic>
        <p:nvPicPr>
          <p:cNvPr id="8" name="Picture 7">
            <a:extLst>
              <a:ext uri="{FF2B5EF4-FFF2-40B4-BE49-F238E27FC236}">
                <a16:creationId xmlns:a16="http://schemas.microsoft.com/office/drawing/2014/main" id="{615B2D36-07D2-670A-7323-5F16D5630C9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99516" y="414618"/>
            <a:ext cx="2680529" cy="1683123"/>
          </a:xfrm>
          <a:prstGeom prst="rect">
            <a:avLst/>
          </a:prstGeom>
        </p:spPr>
      </p:pic>
      <p:sp>
        <p:nvSpPr>
          <p:cNvPr id="12" name="Text Placeholder 11">
            <a:extLst>
              <a:ext uri="{FF2B5EF4-FFF2-40B4-BE49-F238E27FC236}">
                <a16:creationId xmlns:a16="http://schemas.microsoft.com/office/drawing/2014/main" id="{32D42430-A5FF-1BFE-16F3-E74F1E7F244C}"/>
              </a:ext>
            </a:extLst>
          </p:cNvPr>
          <p:cNvSpPr>
            <a:spLocks noGrp="1"/>
          </p:cNvSpPr>
          <p:nvPr>
            <p:ph type="body" sz="quarter" idx="10" hasCustomPrompt="1"/>
          </p:nvPr>
        </p:nvSpPr>
        <p:spPr>
          <a:xfrm>
            <a:off x="719847" y="3085202"/>
            <a:ext cx="7013575" cy="1285875"/>
          </a:xfrm>
        </p:spPr>
        <p:txBody>
          <a:bodyPr>
            <a:normAutofit/>
          </a:bodyPr>
          <a:lstStyle>
            <a:lvl1pPr marL="0" indent="0">
              <a:buNone/>
              <a:defRPr sz="4000" b="0" i="0">
                <a:solidFill>
                  <a:schemeClr val="bg1"/>
                </a:solidFill>
                <a:latin typeface="Raleway" pitchFamily="2" charset="77"/>
              </a:defRPr>
            </a:lvl1pPr>
            <a:lvl2pPr marL="457200" indent="0">
              <a:buNone/>
              <a:defRPr b="1">
                <a:solidFill>
                  <a:schemeClr val="bg1"/>
                </a:solidFill>
                <a:latin typeface=""/>
              </a:defRPr>
            </a:lvl2pPr>
            <a:lvl3pPr marL="914400" indent="0">
              <a:buNone/>
              <a:defRPr b="1">
                <a:solidFill>
                  <a:schemeClr val="bg1"/>
                </a:solidFill>
                <a:latin typeface=""/>
              </a:defRPr>
            </a:lvl3pPr>
            <a:lvl4pPr marL="1371600" indent="0">
              <a:buNone/>
              <a:defRPr b="1">
                <a:solidFill>
                  <a:schemeClr val="bg1"/>
                </a:solidFill>
                <a:latin typeface=""/>
              </a:defRPr>
            </a:lvl4pPr>
            <a:lvl5pPr marL="1828800" indent="0">
              <a:buNone/>
              <a:defRPr b="1">
                <a:solidFill>
                  <a:schemeClr val="bg1"/>
                </a:solidFill>
                <a:latin typeface=""/>
              </a:defRPr>
            </a:lvl5pPr>
          </a:lstStyle>
          <a:p>
            <a:pPr lvl="0"/>
            <a:r>
              <a:rPr lang="en-GB"/>
              <a:t>CLICK TO EDIT PRESENTATION TITLE</a:t>
            </a:r>
            <a:endParaRPr lang="en-RO"/>
          </a:p>
        </p:txBody>
      </p:sp>
      <p:sp>
        <p:nvSpPr>
          <p:cNvPr id="14" name="Text Placeholder 13">
            <a:extLst>
              <a:ext uri="{FF2B5EF4-FFF2-40B4-BE49-F238E27FC236}">
                <a16:creationId xmlns:a16="http://schemas.microsoft.com/office/drawing/2014/main" id="{19F1C765-1AAD-9930-1EFB-CFE4A150E4C7}"/>
              </a:ext>
            </a:extLst>
          </p:cNvPr>
          <p:cNvSpPr>
            <a:spLocks noGrp="1"/>
          </p:cNvSpPr>
          <p:nvPr>
            <p:ph type="body" sz="quarter" idx="11" hasCustomPrompt="1"/>
          </p:nvPr>
        </p:nvSpPr>
        <p:spPr>
          <a:xfrm>
            <a:off x="719138" y="4652963"/>
            <a:ext cx="7013575" cy="523630"/>
          </a:xfrm>
        </p:spPr>
        <p:txBody>
          <a:bodyPr>
            <a:normAutofit/>
          </a:bodyPr>
          <a:lstStyle>
            <a:lvl1pPr marL="0" indent="0">
              <a:buNone/>
              <a:defRPr sz="2400" b="0" i="0">
                <a:solidFill>
                  <a:schemeClr val="bg1"/>
                </a:solidFill>
                <a:latin typeface="Raleway" pitchFamily="2" charset="77"/>
              </a:defRPr>
            </a:lvl1pPr>
            <a:lvl2pPr marL="457200" indent="0">
              <a:buNone/>
              <a:defRPr>
                <a:solidFill>
                  <a:schemeClr val="bg1"/>
                </a:solidFill>
                <a:latin typeface=""/>
              </a:defRPr>
            </a:lvl2pPr>
            <a:lvl3pPr marL="914400" indent="0">
              <a:buNone/>
              <a:defRPr>
                <a:solidFill>
                  <a:schemeClr val="bg1"/>
                </a:solidFill>
                <a:latin typeface=""/>
              </a:defRPr>
            </a:lvl3pPr>
            <a:lvl4pPr marL="1371600" indent="0">
              <a:buNone/>
              <a:defRPr>
                <a:solidFill>
                  <a:schemeClr val="bg1"/>
                </a:solidFill>
                <a:latin typeface=""/>
              </a:defRPr>
            </a:lvl4pPr>
            <a:lvl5pPr marL="1828800" indent="0">
              <a:buNone/>
              <a:defRPr>
                <a:solidFill>
                  <a:schemeClr val="bg1"/>
                </a:solidFill>
                <a:latin typeface=""/>
              </a:defRPr>
            </a:lvl5pPr>
          </a:lstStyle>
          <a:p>
            <a:pPr lvl="0"/>
            <a:r>
              <a:rPr lang="en-GB"/>
              <a:t>Click to Edit Presenter Name Surname</a:t>
            </a:r>
            <a:endParaRPr lang="en-RO"/>
          </a:p>
        </p:txBody>
      </p:sp>
      <p:sp>
        <p:nvSpPr>
          <p:cNvPr id="15" name="Text Placeholder 13">
            <a:extLst>
              <a:ext uri="{FF2B5EF4-FFF2-40B4-BE49-F238E27FC236}">
                <a16:creationId xmlns:a16="http://schemas.microsoft.com/office/drawing/2014/main" id="{A65A89AE-C54D-6E1A-8658-A16630236AFC}"/>
              </a:ext>
            </a:extLst>
          </p:cNvPr>
          <p:cNvSpPr>
            <a:spLocks noGrp="1"/>
          </p:cNvSpPr>
          <p:nvPr>
            <p:ph type="body" sz="quarter" idx="12" hasCustomPrompt="1"/>
          </p:nvPr>
        </p:nvSpPr>
        <p:spPr>
          <a:xfrm>
            <a:off x="719138" y="5277996"/>
            <a:ext cx="7013575" cy="523630"/>
          </a:xfrm>
        </p:spPr>
        <p:txBody>
          <a:bodyPr>
            <a:normAutofit/>
          </a:bodyPr>
          <a:lstStyle>
            <a:lvl1pPr marL="0" indent="0">
              <a:buNone/>
              <a:defRPr sz="2400" b="0" i="0">
                <a:solidFill>
                  <a:schemeClr val="accent1">
                    <a:lumMod val="60000"/>
                    <a:lumOff val="40000"/>
                  </a:schemeClr>
                </a:solidFill>
                <a:latin typeface="Raleway" pitchFamily="2" charset="77"/>
              </a:defRPr>
            </a:lvl1pPr>
            <a:lvl2pPr marL="457200" indent="0">
              <a:buNone/>
              <a:defRPr>
                <a:solidFill>
                  <a:schemeClr val="bg1"/>
                </a:solidFill>
                <a:latin typeface=""/>
              </a:defRPr>
            </a:lvl2pPr>
            <a:lvl3pPr marL="914400" indent="0">
              <a:buNone/>
              <a:defRPr>
                <a:solidFill>
                  <a:schemeClr val="bg1"/>
                </a:solidFill>
                <a:latin typeface=""/>
              </a:defRPr>
            </a:lvl3pPr>
            <a:lvl4pPr marL="1371600" indent="0">
              <a:buNone/>
              <a:defRPr>
                <a:solidFill>
                  <a:schemeClr val="bg1"/>
                </a:solidFill>
                <a:latin typeface=""/>
              </a:defRPr>
            </a:lvl4pPr>
            <a:lvl5pPr marL="1828800" indent="0">
              <a:buNone/>
              <a:defRPr>
                <a:solidFill>
                  <a:schemeClr val="bg1"/>
                </a:solidFill>
                <a:latin typeface=""/>
              </a:defRPr>
            </a:lvl5pPr>
          </a:lstStyle>
          <a:p>
            <a:pPr lvl="0"/>
            <a:r>
              <a:rPr lang="en-GB"/>
              <a:t>Click to Edit Job Description / Date</a:t>
            </a:r>
            <a:endParaRPr lang="en-RO"/>
          </a:p>
        </p:txBody>
      </p:sp>
    </p:spTree>
    <p:extLst>
      <p:ext uri="{BB962C8B-B14F-4D97-AF65-F5344CB8AC3E}">
        <p14:creationId xmlns:p14="http://schemas.microsoft.com/office/powerpoint/2010/main" val="13655897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838200" y="1524167"/>
            <a:ext cx="3849547" cy="4351338"/>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6" y="6318245"/>
            <a:ext cx="403412"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9" name="Picture Placeholder 18">
            <a:extLst>
              <a:ext uri="{FF2B5EF4-FFF2-40B4-BE49-F238E27FC236}">
                <a16:creationId xmlns:a16="http://schemas.microsoft.com/office/drawing/2014/main" id="{FA1BF709-66DC-7384-5D01-2DE99C667F32}"/>
              </a:ext>
            </a:extLst>
          </p:cNvPr>
          <p:cNvSpPr>
            <a:spLocks noGrp="1"/>
          </p:cNvSpPr>
          <p:nvPr>
            <p:ph type="pic" sz="quarter" idx="13"/>
          </p:nvPr>
        </p:nvSpPr>
        <p:spPr>
          <a:xfrm>
            <a:off x="5173439" y="1497456"/>
            <a:ext cx="6773792" cy="4378036"/>
          </a:xfrm>
          <a:custGeom>
            <a:avLst/>
            <a:gdLst>
              <a:gd name="connsiteX0" fmla="*/ 526847 w 5316105"/>
              <a:gd name="connsiteY0" fmla="*/ 0 h 3435904"/>
              <a:gd name="connsiteX1" fmla="*/ 3962609 w 5316105"/>
              <a:gd name="connsiteY1" fmla="*/ 0 h 3435904"/>
              <a:gd name="connsiteX2" fmla="*/ 4981251 w 5316105"/>
              <a:gd name="connsiteY2" fmla="*/ 0 h 3435904"/>
              <a:gd name="connsiteX3" fmla="*/ 5314567 w 5316105"/>
              <a:gd name="connsiteY3" fmla="*/ 288370 h 3435904"/>
              <a:gd name="connsiteX4" fmla="*/ 5316105 w 5316105"/>
              <a:gd name="connsiteY4" fmla="*/ 330944 h 3435904"/>
              <a:gd name="connsiteX5" fmla="*/ 5316105 w 5316105"/>
              <a:gd name="connsiteY5" fmla="*/ 374646 h 3435904"/>
              <a:gd name="connsiteX6" fmla="*/ 5125397 w 5316105"/>
              <a:gd name="connsiteY6" fmla="*/ 3125050 h 3435904"/>
              <a:gd name="connsiteX7" fmla="*/ 4854222 w 5316105"/>
              <a:gd name="connsiteY7" fmla="*/ 3431975 h 3435904"/>
              <a:gd name="connsiteX8" fmla="*/ 4813358 w 5316105"/>
              <a:gd name="connsiteY8" fmla="*/ 3435904 h 3435904"/>
              <a:gd name="connsiteX9" fmla="*/ 313321 w 5316105"/>
              <a:gd name="connsiteY9" fmla="*/ 3435904 h 3435904"/>
              <a:gd name="connsiteX10" fmla="*/ 264105 w 5316105"/>
              <a:gd name="connsiteY10" fmla="*/ 3430722 h 3435904"/>
              <a:gd name="connsiteX11" fmla="*/ 1763 w 5316105"/>
              <a:gd name="connsiteY11" fmla="*/ 3149828 h 3435904"/>
              <a:gd name="connsiteX12" fmla="*/ 0 w 5316105"/>
              <a:gd name="connsiteY12" fmla="*/ 3100602 h 3435904"/>
              <a:gd name="connsiteX13" fmla="*/ 0 w 5316105"/>
              <a:gd name="connsiteY13" fmla="*/ 3067123 h 3435904"/>
              <a:gd name="connsiteX14" fmla="*/ 190955 w 5316105"/>
              <a:gd name="connsiteY14" fmla="*/ 313148 h 3435904"/>
              <a:gd name="connsiteX15" fmla="*/ 526847 w 5316105"/>
              <a:gd name="connsiteY15" fmla="*/ 0 h 343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16105" h="3435904">
                <a:moveTo>
                  <a:pt x="526847" y="0"/>
                </a:moveTo>
                <a:lnTo>
                  <a:pt x="3962609" y="0"/>
                </a:lnTo>
                <a:lnTo>
                  <a:pt x="4981251" y="0"/>
                </a:lnTo>
                <a:cubicBezTo>
                  <a:pt x="5151948" y="0"/>
                  <a:pt x="5291373" y="126442"/>
                  <a:pt x="5314567" y="288370"/>
                </a:cubicBezTo>
                <a:lnTo>
                  <a:pt x="5316105" y="330944"/>
                </a:lnTo>
                <a:lnTo>
                  <a:pt x="5316105" y="374646"/>
                </a:lnTo>
                <a:lnTo>
                  <a:pt x="5125397" y="3125050"/>
                </a:lnTo>
                <a:cubicBezTo>
                  <a:pt x="5114689" y="3279351"/>
                  <a:pt x="5000981" y="3403379"/>
                  <a:pt x="4854222" y="3431975"/>
                </a:cubicBezTo>
                <a:lnTo>
                  <a:pt x="4813358" y="3435904"/>
                </a:lnTo>
                <a:lnTo>
                  <a:pt x="313321" y="3435904"/>
                </a:lnTo>
                <a:lnTo>
                  <a:pt x="264105" y="3430722"/>
                </a:lnTo>
                <a:cubicBezTo>
                  <a:pt x="126925" y="3401347"/>
                  <a:pt x="21609" y="3288623"/>
                  <a:pt x="1763" y="3149828"/>
                </a:cubicBezTo>
                <a:lnTo>
                  <a:pt x="0" y="3100602"/>
                </a:lnTo>
                <a:lnTo>
                  <a:pt x="0" y="3067123"/>
                </a:lnTo>
                <a:lnTo>
                  <a:pt x="190955" y="313148"/>
                </a:lnTo>
                <a:cubicBezTo>
                  <a:pt x="203193" y="136804"/>
                  <a:pt x="349962" y="0"/>
                  <a:pt x="526847" y="0"/>
                </a:cubicBez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10" name="Round Same-side Corner of Rectangle 9">
            <a:extLst>
              <a:ext uri="{FF2B5EF4-FFF2-40B4-BE49-F238E27FC236}">
                <a16:creationId xmlns:a16="http://schemas.microsoft.com/office/drawing/2014/main" id="{E0E3B0D8-73B7-EB19-BA68-3DE8FC94B3F5}"/>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pic>
        <p:nvPicPr>
          <p:cNvPr id="4" name="Content Placeholder 9" descr="Logo&#10;&#10;Description automatically generated">
            <a:extLst>
              <a:ext uri="{FF2B5EF4-FFF2-40B4-BE49-F238E27FC236}">
                <a16:creationId xmlns:a16="http://schemas.microsoft.com/office/drawing/2014/main" id="{5B8C74E2-31A0-7E5C-7208-D953A5CD4358}"/>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1738832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11" name="Picture Placeholder 10">
            <a:extLst>
              <a:ext uri="{FF2B5EF4-FFF2-40B4-BE49-F238E27FC236}">
                <a16:creationId xmlns:a16="http://schemas.microsoft.com/office/drawing/2014/main" id="{956A4350-665C-1B21-1989-9C963D3E26E3}"/>
              </a:ext>
            </a:extLst>
          </p:cNvPr>
          <p:cNvSpPr>
            <a:spLocks noGrp="1"/>
          </p:cNvSpPr>
          <p:nvPr>
            <p:ph type="pic" sz="quarter" idx="13"/>
          </p:nvPr>
        </p:nvSpPr>
        <p:spPr>
          <a:xfrm rot="5400000">
            <a:off x="-222959" y="659992"/>
            <a:ext cx="5698019" cy="4378036"/>
          </a:xfrm>
          <a:custGeom>
            <a:avLst/>
            <a:gdLst>
              <a:gd name="connsiteX0" fmla="*/ 0 w 5698019"/>
              <a:gd name="connsiteY0" fmla="*/ 4378036 h 4378036"/>
              <a:gd name="connsiteX1" fmla="*/ 0 w 5698019"/>
              <a:gd name="connsiteY1" fmla="*/ 0 h 4378036"/>
              <a:gd name="connsiteX2" fmla="*/ 3973392 w 5698019"/>
              <a:gd name="connsiteY2" fmla="*/ 0 h 4378036"/>
              <a:gd name="connsiteX3" fmla="*/ 5271348 w 5698019"/>
              <a:gd name="connsiteY3" fmla="*/ 0 h 4378036"/>
              <a:gd name="connsiteX4" fmla="*/ 5696060 w 5698019"/>
              <a:gd name="connsiteY4" fmla="*/ 367442 h 4378036"/>
              <a:gd name="connsiteX5" fmla="*/ 5698019 w 5698019"/>
              <a:gd name="connsiteY5" fmla="*/ 421690 h 4378036"/>
              <a:gd name="connsiteX6" fmla="*/ 5698019 w 5698019"/>
              <a:gd name="connsiteY6" fmla="*/ 477375 h 4378036"/>
              <a:gd name="connsiteX7" fmla="*/ 5455019 w 5698019"/>
              <a:gd name="connsiteY7" fmla="*/ 3981945 h 4378036"/>
              <a:gd name="connsiteX8" fmla="*/ 5109487 w 5698019"/>
              <a:gd name="connsiteY8" fmla="*/ 4373029 h 4378036"/>
              <a:gd name="connsiteX9" fmla="*/ 5057418 w 5698019"/>
              <a:gd name="connsiteY9" fmla="*/ 4378036 h 437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98019" h="4378036">
                <a:moveTo>
                  <a:pt x="0" y="4378036"/>
                </a:moveTo>
                <a:lnTo>
                  <a:pt x="0" y="0"/>
                </a:lnTo>
                <a:lnTo>
                  <a:pt x="3973392" y="0"/>
                </a:lnTo>
                <a:lnTo>
                  <a:pt x="5271348" y="0"/>
                </a:lnTo>
                <a:cubicBezTo>
                  <a:pt x="5488850" y="0"/>
                  <a:pt x="5666506" y="161113"/>
                  <a:pt x="5696060" y="367442"/>
                </a:cubicBezTo>
                <a:lnTo>
                  <a:pt x="5698019" y="421690"/>
                </a:lnTo>
                <a:lnTo>
                  <a:pt x="5698019" y="477375"/>
                </a:lnTo>
                <a:lnTo>
                  <a:pt x="5455019" y="3981945"/>
                </a:lnTo>
                <a:cubicBezTo>
                  <a:pt x="5441375" y="4178556"/>
                  <a:pt x="5296488" y="4336592"/>
                  <a:pt x="5109487" y="4373029"/>
                </a:cubicBezTo>
                <a:lnTo>
                  <a:pt x="5057418" y="4378036"/>
                </a:ln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5359078" y="365125"/>
            <a:ext cx="5994722" cy="1400067"/>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5371391" y="2539154"/>
            <a:ext cx="5994722" cy="3155554"/>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6" y="6318245"/>
            <a:ext cx="403412"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2" name="Text Placeholder 10">
            <a:extLst>
              <a:ext uri="{FF2B5EF4-FFF2-40B4-BE49-F238E27FC236}">
                <a16:creationId xmlns:a16="http://schemas.microsoft.com/office/drawing/2014/main" id="{D07A997D-27FD-77BA-57AE-7299451BA8B8}"/>
              </a:ext>
            </a:extLst>
          </p:cNvPr>
          <p:cNvSpPr>
            <a:spLocks noGrp="1"/>
          </p:cNvSpPr>
          <p:nvPr>
            <p:ph type="body" sz="quarter" idx="14" hasCustomPrompt="1"/>
          </p:nvPr>
        </p:nvSpPr>
        <p:spPr>
          <a:xfrm>
            <a:off x="5277997" y="1955323"/>
            <a:ext cx="5045075"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Content Placeholder 9" descr="Logo&#10;&#10;Description automatically generated">
            <a:extLst>
              <a:ext uri="{FF2B5EF4-FFF2-40B4-BE49-F238E27FC236}">
                <a16:creationId xmlns:a16="http://schemas.microsoft.com/office/drawing/2014/main" id="{EC937F6F-65F2-B487-6832-5BFC87748A42}"/>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8839486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11" name="Picture Placeholder 10">
            <a:extLst>
              <a:ext uri="{FF2B5EF4-FFF2-40B4-BE49-F238E27FC236}">
                <a16:creationId xmlns:a16="http://schemas.microsoft.com/office/drawing/2014/main" id="{956A4350-665C-1B21-1989-9C963D3E26E3}"/>
              </a:ext>
            </a:extLst>
          </p:cNvPr>
          <p:cNvSpPr>
            <a:spLocks noGrp="1"/>
          </p:cNvSpPr>
          <p:nvPr>
            <p:ph type="pic" sz="quarter" idx="13"/>
          </p:nvPr>
        </p:nvSpPr>
        <p:spPr>
          <a:xfrm rot="5400000">
            <a:off x="6459492" y="659994"/>
            <a:ext cx="5698019" cy="4378036"/>
          </a:xfrm>
          <a:custGeom>
            <a:avLst/>
            <a:gdLst>
              <a:gd name="connsiteX0" fmla="*/ 0 w 5698019"/>
              <a:gd name="connsiteY0" fmla="*/ 4378036 h 4378036"/>
              <a:gd name="connsiteX1" fmla="*/ 0 w 5698019"/>
              <a:gd name="connsiteY1" fmla="*/ 0 h 4378036"/>
              <a:gd name="connsiteX2" fmla="*/ 3973392 w 5698019"/>
              <a:gd name="connsiteY2" fmla="*/ 0 h 4378036"/>
              <a:gd name="connsiteX3" fmla="*/ 5271348 w 5698019"/>
              <a:gd name="connsiteY3" fmla="*/ 0 h 4378036"/>
              <a:gd name="connsiteX4" fmla="*/ 5696060 w 5698019"/>
              <a:gd name="connsiteY4" fmla="*/ 367442 h 4378036"/>
              <a:gd name="connsiteX5" fmla="*/ 5698019 w 5698019"/>
              <a:gd name="connsiteY5" fmla="*/ 421690 h 4378036"/>
              <a:gd name="connsiteX6" fmla="*/ 5698019 w 5698019"/>
              <a:gd name="connsiteY6" fmla="*/ 477375 h 4378036"/>
              <a:gd name="connsiteX7" fmla="*/ 5455019 w 5698019"/>
              <a:gd name="connsiteY7" fmla="*/ 3981945 h 4378036"/>
              <a:gd name="connsiteX8" fmla="*/ 5109487 w 5698019"/>
              <a:gd name="connsiteY8" fmla="*/ 4373029 h 4378036"/>
              <a:gd name="connsiteX9" fmla="*/ 5057418 w 5698019"/>
              <a:gd name="connsiteY9" fmla="*/ 4378036 h 437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98019" h="4378036">
                <a:moveTo>
                  <a:pt x="0" y="4378036"/>
                </a:moveTo>
                <a:lnTo>
                  <a:pt x="0" y="0"/>
                </a:lnTo>
                <a:lnTo>
                  <a:pt x="3973392" y="0"/>
                </a:lnTo>
                <a:lnTo>
                  <a:pt x="5271348" y="0"/>
                </a:lnTo>
                <a:cubicBezTo>
                  <a:pt x="5488850" y="0"/>
                  <a:pt x="5666506" y="161113"/>
                  <a:pt x="5696060" y="367442"/>
                </a:cubicBezTo>
                <a:lnTo>
                  <a:pt x="5698019" y="421690"/>
                </a:lnTo>
                <a:lnTo>
                  <a:pt x="5698019" y="477375"/>
                </a:lnTo>
                <a:lnTo>
                  <a:pt x="5455019" y="3981945"/>
                </a:lnTo>
                <a:cubicBezTo>
                  <a:pt x="5441375" y="4178556"/>
                  <a:pt x="5296488" y="4336592"/>
                  <a:pt x="5109487" y="4373029"/>
                </a:cubicBezTo>
                <a:lnTo>
                  <a:pt x="5057418" y="4378036"/>
                </a:ln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65510" y="365125"/>
            <a:ext cx="5823691" cy="1400067"/>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877823" y="2362156"/>
            <a:ext cx="5823691" cy="3332551"/>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4" y="6318245"/>
            <a:ext cx="403413" cy="365125"/>
          </a:xfrm>
        </p:spPr>
        <p:txBody>
          <a:bodyPr/>
          <a:lstStyle>
            <a:lvl1pPr>
              <a:defRPr>
                <a:solidFill>
                  <a:schemeClr val="bg1"/>
                </a:solidFill>
                <a:latin typeface=""/>
              </a:defRPr>
            </a:lvl1pPr>
          </a:lstStyle>
          <a:p>
            <a:fld id="{1D1C8182-8BBE-B542-ADE5-8820B104469B}" type="slidenum">
              <a:rPr lang="en-RO" smtClean="0"/>
              <a:pPr/>
              <a:t>‹#›</a:t>
            </a:fld>
            <a:endParaRPr lang="en-RO"/>
          </a:p>
        </p:txBody>
      </p:sp>
      <p:sp>
        <p:nvSpPr>
          <p:cNvPr id="10" name="Round Same-side Corner of Rectangle 9">
            <a:extLst>
              <a:ext uri="{FF2B5EF4-FFF2-40B4-BE49-F238E27FC236}">
                <a16:creationId xmlns:a16="http://schemas.microsoft.com/office/drawing/2014/main" id="{1484630A-50FF-906C-E37C-ADE237AB8EEB}"/>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2" name="Text Placeholder 10">
            <a:extLst>
              <a:ext uri="{FF2B5EF4-FFF2-40B4-BE49-F238E27FC236}">
                <a16:creationId xmlns:a16="http://schemas.microsoft.com/office/drawing/2014/main" id="{8522A39D-C883-FA06-4B8D-B5DC04C98CE8}"/>
              </a:ext>
            </a:extLst>
          </p:cNvPr>
          <p:cNvSpPr>
            <a:spLocks noGrp="1"/>
          </p:cNvSpPr>
          <p:nvPr>
            <p:ph type="body" sz="quarter" idx="14" hasCustomPrompt="1"/>
          </p:nvPr>
        </p:nvSpPr>
        <p:spPr>
          <a:xfrm>
            <a:off x="838200" y="1778326"/>
            <a:ext cx="5045075"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Content Placeholder 9" descr="Logo&#10;&#10;Description automatically generated">
            <a:extLst>
              <a:ext uri="{FF2B5EF4-FFF2-40B4-BE49-F238E27FC236}">
                <a16:creationId xmlns:a16="http://schemas.microsoft.com/office/drawing/2014/main" id="{0F8D562F-43F4-5A5A-2BA5-982B2A4FC670}"/>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20735496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CB15AA48-A9BF-4DE9-1FC8-BA08B70E2B8E}"/>
              </a:ext>
            </a:extLst>
          </p:cNvPr>
          <p:cNvPicPr>
            <a:picLocks noChangeAspect="1"/>
          </p:cNvPicPr>
          <p:nvPr userDrawn="1"/>
        </p:nvPicPr>
        <p:blipFill>
          <a:blip r:embed="rId2"/>
          <a:stretch>
            <a:fillRect/>
          </a:stretch>
        </p:blipFill>
        <p:spPr>
          <a:xfrm>
            <a:off x="2590800" y="12700"/>
            <a:ext cx="9601200" cy="6845300"/>
          </a:xfrm>
          <a:prstGeom prst="rect">
            <a:avLst/>
          </a:prstGeom>
        </p:spPr>
      </p:pic>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14" name="Picture Placeholder 13">
            <a:extLst>
              <a:ext uri="{FF2B5EF4-FFF2-40B4-BE49-F238E27FC236}">
                <a16:creationId xmlns:a16="http://schemas.microsoft.com/office/drawing/2014/main" id="{604920B2-DA0F-9C29-D5F6-150F5320A500}"/>
              </a:ext>
            </a:extLst>
          </p:cNvPr>
          <p:cNvSpPr>
            <a:spLocks noGrp="1"/>
          </p:cNvSpPr>
          <p:nvPr>
            <p:ph type="pic" sz="quarter" idx="13"/>
          </p:nvPr>
        </p:nvSpPr>
        <p:spPr>
          <a:xfrm>
            <a:off x="5615709" y="533976"/>
            <a:ext cx="6169953" cy="5437996"/>
          </a:xfrm>
          <a:custGeom>
            <a:avLst/>
            <a:gdLst>
              <a:gd name="connsiteX0" fmla="*/ 3737681 w 5672232"/>
              <a:gd name="connsiteY0" fmla="*/ 157 h 4999321"/>
              <a:gd name="connsiteX1" fmla="*/ 5672232 w 5672232"/>
              <a:gd name="connsiteY1" fmla="*/ 2899674 h 4999321"/>
              <a:gd name="connsiteX2" fmla="*/ 2759889 w 5672232"/>
              <a:gd name="connsiteY2" fmla="*/ 4999321 h 4999321"/>
              <a:gd name="connsiteX3" fmla="*/ 321856 w 5672232"/>
              <a:gd name="connsiteY3" fmla="*/ 2426996 h 4999321"/>
              <a:gd name="connsiteX4" fmla="*/ 3737681 w 5672232"/>
              <a:gd name="connsiteY4" fmla="*/ 157 h 4999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2232" h="4999321">
                <a:moveTo>
                  <a:pt x="3737681" y="157"/>
                </a:moveTo>
                <a:cubicBezTo>
                  <a:pt x="4828396" y="-13458"/>
                  <a:pt x="5672232" y="860653"/>
                  <a:pt x="5672232" y="2899674"/>
                </a:cubicBezTo>
                <a:cubicBezTo>
                  <a:pt x="5672232" y="4483828"/>
                  <a:pt x="4150261" y="4999321"/>
                  <a:pt x="2759889" y="4999321"/>
                </a:cubicBezTo>
                <a:cubicBezTo>
                  <a:pt x="1369518" y="4999321"/>
                  <a:pt x="-828619" y="4188576"/>
                  <a:pt x="321856" y="2426996"/>
                </a:cubicBezTo>
                <a:cubicBezTo>
                  <a:pt x="1309373" y="915113"/>
                  <a:pt x="2646967" y="13772"/>
                  <a:pt x="3737681" y="157"/>
                </a:cubicBez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13682" y="365125"/>
            <a:ext cx="5875519" cy="1400067"/>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838200" y="2594698"/>
            <a:ext cx="4538472" cy="3100009"/>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5" name="Round Same-side Corner of Rectangle 14">
            <a:extLst>
              <a:ext uri="{FF2B5EF4-FFF2-40B4-BE49-F238E27FC236}">
                <a16:creationId xmlns:a16="http://schemas.microsoft.com/office/drawing/2014/main" id="{33B6CC4F-BCFD-6AD7-5D81-D2153DCCDB4C}"/>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8" name="Text Placeholder 10">
            <a:extLst>
              <a:ext uri="{FF2B5EF4-FFF2-40B4-BE49-F238E27FC236}">
                <a16:creationId xmlns:a16="http://schemas.microsoft.com/office/drawing/2014/main" id="{177D8440-35AC-60F6-4EBB-0B2415578A87}"/>
              </a:ext>
            </a:extLst>
          </p:cNvPr>
          <p:cNvSpPr>
            <a:spLocks noGrp="1"/>
          </p:cNvSpPr>
          <p:nvPr>
            <p:ph type="body" sz="quarter" idx="14" hasCustomPrompt="1"/>
          </p:nvPr>
        </p:nvSpPr>
        <p:spPr>
          <a:xfrm>
            <a:off x="838200" y="2010868"/>
            <a:ext cx="5045075"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Content Placeholder 9" descr="Logo&#10;&#10;Description automatically generated">
            <a:extLst>
              <a:ext uri="{FF2B5EF4-FFF2-40B4-BE49-F238E27FC236}">
                <a16:creationId xmlns:a16="http://schemas.microsoft.com/office/drawing/2014/main" id="{8B94579A-9CE7-FA0A-F753-F44381DD6818}"/>
              </a:ext>
            </a:extLst>
          </p:cNvPr>
          <p:cNvPicPr>
            <a:picLocks noChangeAspect="1"/>
          </p:cNvPicPr>
          <p:nvPr userDrawn="1"/>
        </p:nvPicPr>
        <p:blipFill>
          <a:blip r:embed="rId3"/>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11251402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14" name="Picture Placeholder 13">
            <a:extLst>
              <a:ext uri="{FF2B5EF4-FFF2-40B4-BE49-F238E27FC236}">
                <a16:creationId xmlns:a16="http://schemas.microsoft.com/office/drawing/2014/main" id="{604920B2-DA0F-9C29-D5F6-150F5320A500}"/>
              </a:ext>
            </a:extLst>
          </p:cNvPr>
          <p:cNvSpPr>
            <a:spLocks noGrp="1"/>
          </p:cNvSpPr>
          <p:nvPr>
            <p:ph type="pic" sz="quarter" idx="13"/>
          </p:nvPr>
        </p:nvSpPr>
        <p:spPr>
          <a:xfrm flipH="1">
            <a:off x="519249" y="533976"/>
            <a:ext cx="6169953" cy="5437996"/>
          </a:xfrm>
          <a:custGeom>
            <a:avLst/>
            <a:gdLst>
              <a:gd name="connsiteX0" fmla="*/ 3737681 w 5672232"/>
              <a:gd name="connsiteY0" fmla="*/ 157 h 4999321"/>
              <a:gd name="connsiteX1" fmla="*/ 5672232 w 5672232"/>
              <a:gd name="connsiteY1" fmla="*/ 2899674 h 4999321"/>
              <a:gd name="connsiteX2" fmla="*/ 2759889 w 5672232"/>
              <a:gd name="connsiteY2" fmla="*/ 4999321 h 4999321"/>
              <a:gd name="connsiteX3" fmla="*/ 321856 w 5672232"/>
              <a:gd name="connsiteY3" fmla="*/ 2426996 h 4999321"/>
              <a:gd name="connsiteX4" fmla="*/ 3737681 w 5672232"/>
              <a:gd name="connsiteY4" fmla="*/ 157 h 4999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2232" h="4999321">
                <a:moveTo>
                  <a:pt x="3737681" y="157"/>
                </a:moveTo>
                <a:cubicBezTo>
                  <a:pt x="4828396" y="-13458"/>
                  <a:pt x="5672232" y="860653"/>
                  <a:pt x="5672232" y="2899674"/>
                </a:cubicBezTo>
                <a:cubicBezTo>
                  <a:pt x="5672232" y="4483828"/>
                  <a:pt x="4150261" y="4999321"/>
                  <a:pt x="2759889" y="4999321"/>
                </a:cubicBezTo>
                <a:cubicBezTo>
                  <a:pt x="1369518" y="4999321"/>
                  <a:pt x="-828619" y="4188576"/>
                  <a:pt x="321856" y="2426996"/>
                </a:cubicBezTo>
                <a:cubicBezTo>
                  <a:pt x="1309373" y="915113"/>
                  <a:pt x="2646967" y="13772"/>
                  <a:pt x="3737681" y="157"/>
                </a:cubicBez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6008943" y="365125"/>
            <a:ext cx="5994722" cy="1400067"/>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6854807" y="2422242"/>
            <a:ext cx="4669879" cy="3272466"/>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Text Placeholder 10">
            <a:extLst>
              <a:ext uri="{FF2B5EF4-FFF2-40B4-BE49-F238E27FC236}">
                <a16:creationId xmlns:a16="http://schemas.microsoft.com/office/drawing/2014/main" id="{A2751307-0040-BFB6-82CA-2AD21D28DCFE}"/>
              </a:ext>
            </a:extLst>
          </p:cNvPr>
          <p:cNvSpPr>
            <a:spLocks noGrp="1"/>
          </p:cNvSpPr>
          <p:nvPr>
            <p:ph type="body" sz="quarter" idx="14" hasCustomPrompt="1"/>
          </p:nvPr>
        </p:nvSpPr>
        <p:spPr>
          <a:xfrm>
            <a:off x="6823896" y="1838411"/>
            <a:ext cx="5045075"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Content Placeholder 9" descr="Logo&#10;&#10;Description automatically generated">
            <a:extLst>
              <a:ext uri="{FF2B5EF4-FFF2-40B4-BE49-F238E27FC236}">
                <a16:creationId xmlns:a16="http://schemas.microsoft.com/office/drawing/2014/main" id="{A12A4CE0-C35F-B917-C4C0-9034B18BC7CF}"/>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41262799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0C810760-117A-74C2-61E4-8D6BF183F641}"/>
              </a:ext>
            </a:extLst>
          </p:cNvPr>
          <p:cNvSpPr>
            <a:spLocks noGrp="1"/>
          </p:cNvSpPr>
          <p:nvPr>
            <p:ph type="pic" sz="quarter" idx="13"/>
          </p:nvPr>
        </p:nvSpPr>
        <p:spPr>
          <a:xfrm>
            <a:off x="5587720" y="0"/>
            <a:ext cx="6610630" cy="6858000"/>
          </a:xfrm>
          <a:custGeom>
            <a:avLst/>
            <a:gdLst>
              <a:gd name="connsiteX0" fmla="*/ 1281105 w 6610630"/>
              <a:gd name="connsiteY0" fmla="*/ 0 h 6858000"/>
              <a:gd name="connsiteX1" fmla="*/ 6610630 w 6610630"/>
              <a:gd name="connsiteY1" fmla="*/ 0 h 6858000"/>
              <a:gd name="connsiteX2" fmla="*/ 6610630 w 6610630"/>
              <a:gd name="connsiteY2" fmla="*/ 6858000 h 6858000"/>
              <a:gd name="connsiteX3" fmla="*/ 1281105 w 6610630"/>
              <a:gd name="connsiteY3" fmla="*/ 6858000 h 6858000"/>
              <a:gd name="connsiteX4" fmla="*/ 1249515 w 6610630"/>
              <a:gd name="connsiteY4" fmla="*/ 6822444 h 6858000"/>
              <a:gd name="connsiteX5" fmla="*/ 0 w 6610630"/>
              <a:gd name="connsiteY5" fmla="*/ 3429000 h 6858000"/>
              <a:gd name="connsiteX6" fmla="*/ 1249515 w 6610630"/>
              <a:gd name="connsiteY6" fmla="*/ 3555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0630" h="6858000">
                <a:moveTo>
                  <a:pt x="1281105" y="0"/>
                </a:moveTo>
                <a:lnTo>
                  <a:pt x="6610630" y="0"/>
                </a:lnTo>
                <a:lnTo>
                  <a:pt x="6610630" y="6858000"/>
                </a:lnTo>
                <a:lnTo>
                  <a:pt x="1281105" y="6858000"/>
                </a:lnTo>
                <a:lnTo>
                  <a:pt x="1249515" y="6822444"/>
                </a:lnTo>
                <a:cubicBezTo>
                  <a:pt x="468917" y="5900271"/>
                  <a:pt x="0" y="4718024"/>
                  <a:pt x="0" y="3429000"/>
                </a:cubicBezTo>
                <a:cubicBezTo>
                  <a:pt x="0" y="2139976"/>
                  <a:pt x="468917" y="957728"/>
                  <a:pt x="1249515" y="35556"/>
                </a:cubicBez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10873" y="365125"/>
            <a:ext cx="5497330" cy="1400067"/>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799652" y="2445744"/>
            <a:ext cx="4385806" cy="3248963"/>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4" name="Round Same-side Corner of Rectangle 13">
            <a:extLst>
              <a:ext uri="{FF2B5EF4-FFF2-40B4-BE49-F238E27FC236}">
                <a16:creationId xmlns:a16="http://schemas.microsoft.com/office/drawing/2014/main" id="{615A328B-188D-6A02-DD00-2045CD8B5D4A}"/>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5" name="Text Placeholder 10">
            <a:extLst>
              <a:ext uri="{FF2B5EF4-FFF2-40B4-BE49-F238E27FC236}">
                <a16:creationId xmlns:a16="http://schemas.microsoft.com/office/drawing/2014/main" id="{99FA521E-719F-E26C-6B72-9C64B5E3C23B}"/>
              </a:ext>
            </a:extLst>
          </p:cNvPr>
          <p:cNvSpPr>
            <a:spLocks noGrp="1"/>
          </p:cNvSpPr>
          <p:nvPr>
            <p:ph type="body" sz="quarter" idx="14" hasCustomPrompt="1"/>
          </p:nvPr>
        </p:nvSpPr>
        <p:spPr>
          <a:xfrm>
            <a:off x="838201" y="1765192"/>
            <a:ext cx="4471930"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Content Placeholder 9" descr="Logo&#10;&#10;Description automatically generated">
            <a:extLst>
              <a:ext uri="{FF2B5EF4-FFF2-40B4-BE49-F238E27FC236}">
                <a16:creationId xmlns:a16="http://schemas.microsoft.com/office/drawing/2014/main" id="{D8175807-14F4-42FC-9282-434B2C2D2344}"/>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42868765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10873" y="365125"/>
            <a:ext cx="5497330" cy="1400067"/>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799652" y="2130326"/>
            <a:ext cx="4385806" cy="3564382"/>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4" name="Round Same-side Corner of Rectangle 13">
            <a:extLst>
              <a:ext uri="{FF2B5EF4-FFF2-40B4-BE49-F238E27FC236}">
                <a16:creationId xmlns:a16="http://schemas.microsoft.com/office/drawing/2014/main" id="{615A328B-188D-6A02-DD00-2045CD8B5D4A}"/>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6" name="Picture Placeholder 15">
            <a:extLst>
              <a:ext uri="{FF2B5EF4-FFF2-40B4-BE49-F238E27FC236}">
                <a16:creationId xmlns:a16="http://schemas.microsoft.com/office/drawing/2014/main" id="{FA644EC8-A7B2-A037-6F2B-D3B461169B99}"/>
              </a:ext>
            </a:extLst>
          </p:cNvPr>
          <p:cNvSpPr>
            <a:spLocks noGrp="1"/>
          </p:cNvSpPr>
          <p:nvPr>
            <p:ph type="pic" sz="quarter" idx="15"/>
          </p:nvPr>
        </p:nvSpPr>
        <p:spPr>
          <a:xfrm>
            <a:off x="6654799" y="0"/>
            <a:ext cx="5122230" cy="6126163"/>
          </a:xfrm>
          <a:custGeom>
            <a:avLst/>
            <a:gdLst>
              <a:gd name="connsiteX0" fmla="*/ 0 w 5122230"/>
              <a:gd name="connsiteY0" fmla="*/ 444500 h 6126163"/>
              <a:gd name="connsiteX1" fmla="*/ 2411413 w 5122230"/>
              <a:gd name="connsiteY1" fmla="*/ 444500 h 6126163"/>
              <a:gd name="connsiteX2" fmla="*/ 2411413 w 5122230"/>
              <a:gd name="connsiteY2" fmla="*/ 6126163 h 6126163"/>
              <a:gd name="connsiteX3" fmla="*/ 0 w 5122230"/>
              <a:gd name="connsiteY3" fmla="*/ 6126163 h 6126163"/>
              <a:gd name="connsiteX4" fmla="*/ 3569465 w 5122230"/>
              <a:gd name="connsiteY4" fmla="*/ 147918 h 6126163"/>
              <a:gd name="connsiteX5" fmla="*/ 5122230 w 5122230"/>
              <a:gd name="connsiteY5" fmla="*/ 147918 h 6126163"/>
              <a:gd name="connsiteX6" fmla="*/ 5122230 w 5122230"/>
              <a:gd name="connsiteY6" fmla="*/ 5842626 h 6126163"/>
              <a:gd name="connsiteX7" fmla="*/ 3569465 w 5122230"/>
              <a:gd name="connsiteY7" fmla="*/ 5842626 h 6126163"/>
              <a:gd name="connsiteX8" fmla="*/ 2478796 w 5122230"/>
              <a:gd name="connsiteY8" fmla="*/ 0 h 6126163"/>
              <a:gd name="connsiteX9" fmla="*/ 3491736 w 5122230"/>
              <a:gd name="connsiteY9" fmla="*/ 0 h 6126163"/>
              <a:gd name="connsiteX10" fmla="*/ 3491736 w 5122230"/>
              <a:gd name="connsiteY10" fmla="*/ 5694708 h 6126163"/>
              <a:gd name="connsiteX11" fmla="*/ 2478796 w 5122230"/>
              <a:gd name="connsiteY11" fmla="*/ 5694708 h 6126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22230" h="6126163">
                <a:moveTo>
                  <a:pt x="0" y="444500"/>
                </a:moveTo>
                <a:lnTo>
                  <a:pt x="2411413" y="444500"/>
                </a:lnTo>
                <a:lnTo>
                  <a:pt x="2411413" y="6126163"/>
                </a:lnTo>
                <a:lnTo>
                  <a:pt x="0" y="6126163"/>
                </a:lnTo>
                <a:close/>
                <a:moveTo>
                  <a:pt x="3569465" y="147918"/>
                </a:moveTo>
                <a:lnTo>
                  <a:pt x="5122230" y="147918"/>
                </a:lnTo>
                <a:lnTo>
                  <a:pt x="5122230" y="5842626"/>
                </a:lnTo>
                <a:lnTo>
                  <a:pt x="3569465" y="5842626"/>
                </a:lnTo>
                <a:close/>
                <a:moveTo>
                  <a:pt x="2478796" y="0"/>
                </a:moveTo>
                <a:lnTo>
                  <a:pt x="3491736" y="0"/>
                </a:lnTo>
                <a:lnTo>
                  <a:pt x="3491736" y="5694708"/>
                </a:lnTo>
                <a:lnTo>
                  <a:pt x="2478796" y="5694708"/>
                </a:ln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pic>
        <p:nvPicPr>
          <p:cNvPr id="4" name="Content Placeholder 9" descr="Logo&#10;&#10;Description automatically generated">
            <a:extLst>
              <a:ext uri="{FF2B5EF4-FFF2-40B4-BE49-F238E27FC236}">
                <a16:creationId xmlns:a16="http://schemas.microsoft.com/office/drawing/2014/main" id="{3EBCCB9A-82B7-4E80-CC4A-FD6800DC6531}"/>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41036589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F011220-DAC9-2C3C-C5AD-5E8BED515A32}"/>
              </a:ext>
            </a:extLst>
          </p:cNvPr>
          <p:cNvSpPr/>
          <p:nvPr userDrawn="1"/>
        </p:nvSpPr>
        <p:spPr>
          <a:xfrm rot="10800000" flipH="1">
            <a:off x="-39229" y="0"/>
            <a:ext cx="4596993" cy="6864275"/>
          </a:xfrm>
          <a:custGeom>
            <a:avLst/>
            <a:gdLst>
              <a:gd name="connsiteX0" fmla="*/ 3315888 w 4596993"/>
              <a:gd name="connsiteY0" fmla="*/ 6864275 h 6864275"/>
              <a:gd name="connsiteX1" fmla="*/ 3347478 w 4596993"/>
              <a:gd name="connsiteY1" fmla="*/ 6828719 h 6864275"/>
              <a:gd name="connsiteX2" fmla="*/ 4596993 w 4596993"/>
              <a:gd name="connsiteY2" fmla="*/ 3435275 h 6864275"/>
              <a:gd name="connsiteX3" fmla="*/ 3347478 w 4596993"/>
              <a:gd name="connsiteY3" fmla="*/ 41831 h 6864275"/>
              <a:gd name="connsiteX4" fmla="*/ 3315888 w 4596993"/>
              <a:gd name="connsiteY4" fmla="*/ 6275 h 6864275"/>
              <a:gd name="connsiteX5" fmla="*/ 0 w 4596993"/>
              <a:gd name="connsiteY5" fmla="*/ 0 h 6864275"/>
              <a:gd name="connsiteX6" fmla="*/ 0 w 4596993"/>
              <a:gd name="connsiteY6" fmla="*/ 6858024 h 686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6993" h="6864275">
                <a:moveTo>
                  <a:pt x="3315888" y="6864275"/>
                </a:moveTo>
                <a:lnTo>
                  <a:pt x="3347478" y="6828719"/>
                </a:lnTo>
                <a:cubicBezTo>
                  <a:pt x="4128076" y="5906546"/>
                  <a:pt x="4596993" y="4724299"/>
                  <a:pt x="4596993" y="3435275"/>
                </a:cubicBezTo>
                <a:cubicBezTo>
                  <a:pt x="4596993" y="2146251"/>
                  <a:pt x="4128076" y="964003"/>
                  <a:pt x="3347478" y="41831"/>
                </a:cubicBezTo>
                <a:lnTo>
                  <a:pt x="3315888" y="6275"/>
                </a:lnTo>
                <a:lnTo>
                  <a:pt x="0" y="0"/>
                </a:lnTo>
                <a:lnTo>
                  <a:pt x="0" y="685802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482278" y="2535090"/>
            <a:ext cx="3707758" cy="1608647"/>
          </a:xfrm>
        </p:spPr>
        <p:txBody>
          <a:bodyPr anchor="ctr">
            <a:noAutofit/>
          </a:bodyPr>
          <a:lstStyle>
            <a:lvl1pPr>
              <a:defRPr sz="3600" b="0" i="0">
                <a:solidFill>
                  <a:schemeClr val="bg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5560056" y="2199774"/>
            <a:ext cx="5389207" cy="3564382"/>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Text Placeholder 10">
            <a:extLst>
              <a:ext uri="{FF2B5EF4-FFF2-40B4-BE49-F238E27FC236}">
                <a16:creationId xmlns:a16="http://schemas.microsoft.com/office/drawing/2014/main" id="{A33E65FE-8C9B-0DC0-C776-353216E6A221}"/>
              </a:ext>
            </a:extLst>
          </p:cNvPr>
          <p:cNvSpPr>
            <a:spLocks noGrp="1"/>
          </p:cNvSpPr>
          <p:nvPr>
            <p:ph type="body" sz="quarter" idx="14" hasCustomPrompt="1"/>
          </p:nvPr>
        </p:nvSpPr>
        <p:spPr>
          <a:xfrm>
            <a:off x="5546812" y="1529030"/>
            <a:ext cx="5045075"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Picture 3" descr="Logo, company name&#10;&#10;Description automatically generated">
            <a:extLst>
              <a:ext uri="{FF2B5EF4-FFF2-40B4-BE49-F238E27FC236}">
                <a16:creationId xmlns:a16="http://schemas.microsoft.com/office/drawing/2014/main" id="{34886534-58D9-34F2-C894-A05F547B7E0D}"/>
              </a:ext>
            </a:extLst>
          </p:cNvPr>
          <p:cNvPicPr>
            <a:picLocks noChangeAspect="1"/>
          </p:cNvPicPr>
          <p:nvPr userDrawn="1"/>
        </p:nvPicPr>
        <p:blipFill>
          <a:blip r:embed="rId2"/>
          <a:stretch>
            <a:fillRect/>
          </a:stretch>
        </p:blipFill>
        <p:spPr>
          <a:xfrm>
            <a:off x="143715" y="5584273"/>
            <a:ext cx="1444793" cy="1444793"/>
          </a:xfrm>
          <a:prstGeom prst="rect">
            <a:avLst/>
          </a:prstGeom>
        </p:spPr>
      </p:pic>
    </p:spTree>
    <p:extLst>
      <p:ext uri="{BB962C8B-B14F-4D97-AF65-F5344CB8AC3E}">
        <p14:creationId xmlns:p14="http://schemas.microsoft.com/office/powerpoint/2010/main" val="20992701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28158D1-75B9-B0B6-F957-E0109C368DD2}"/>
              </a:ext>
            </a:extLst>
          </p:cNvPr>
          <p:cNvPicPr>
            <a:picLocks noChangeAspect="1"/>
          </p:cNvPicPr>
          <p:nvPr userDrawn="1"/>
        </p:nvPicPr>
        <p:blipFill>
          <a:blip r:embed="rId2"/>
          <a:stretch>
            <a:fillRect/>
          </a:stretch>
        </p:blipFill>
        <p:spPr>
          <a:xfrm>
            <a:off x="2590800" y="6350"/>
            <a:ext cx="9601200" cy="6845300"/>
          </a:xfrm>
          <a:prstGeom prst="rect">
            <a:avLst/>
          </a:prstGeom>
        </p:spPr>
      </p:pic>
      <p:sp>
        <p:nvSpPr>
          <p:cNvPr id="13" name="Freeform 12">
            <a:extLst>
              <a:ext uri="{FF2B5EF4-FFF2-40B4-BE49-F238E27FC236}">
                <a16:creationId xmlns:a16="http://schemas.microsoft.com/office/drawing/2014/main" id="{6F011220-DAC9-2C3C-C5AD-5E8BED515A32}"/>
              </a:ext>
            </a:extLst>
          </p:cNvPr>
          <p:cNvSpPr/>
          <p:nvPr userDrawn="1"/>
        </p:nvSpPr>
        <p:spPr>
          <a:xfrm rot="10800000" flipH="1">
            <a:off x="-39229" y="0"/>
            <a:ext cx="4596993" cy="6864275"/>
          </a:xfrm>
          <a:custGeom>
            <a:avLst/>
            <a:gdLst>
              <a:gd name="connsiteX0" fmla="*/ 3315888 w 4596993"/>
              <a:gd name="connsiteY0" fmla="*/ 6864275 h 6864275"/>
              <a:gd name="connsiteX1" fmla="*/ 3347478 w 4596993"/>
              <a:gd name="connsiteY1" fmla="*/ 6828719 h 6864275"/>
              <a:gd name="connsiteX2" fmla="*/ 4596993 w 4596993"/>
              <a:gd name="connsiteY2" fmla="*/ 3435275 h 6864275"/>
              <a:gd name="connsiteX3" fmla="*/ 3347478 w 4596993"/>
              <a:gd name="connsiteY3" fmla="*/ 41831 h 6864275"/>
              <a:gd name="connsiteX4" fmla="*/ 3315888 w 4596993"/>
              <a:gd name="connsiteY4" fmla="*/ 6275 h 6864275"/>
              <a:gd name="connsiteX5" fmla="*/ 0 w 4596993"/>
              <a:gd name="connsiteY5" fmla="*/ 0 h 6864275"/>
              <a:gd name="connsiteX6" fmla="*/ 0 w 4596993"/>
              <a:gd name="connsiteY6" fmla="*/ 6858024 h 686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6993" h="6864275">
                <a:moveTo>
                  <a:pt x="3315888" y="6864275"/>
                </a:moveTo>
                <a:lnTo>
                  <a:pt x="3347478" y="6828719"/>
                </a:lnTo>
                <a:cubicBezTo>
                  <a:pt x="4128076" y="5906546"/>
                  <a:pt x="4596993" y="4724299"/>
                  <a:pt x="4596993" y="3435275"/>
                </a:cubicBezTo>
                <a:cubicBezTo>
                  <a:pt x="4596993" y="2146251"/>
                  <a:pt x="4128076" y="964003"/>
                  <a:pt x="3347478" y="41831"/>
                </a:cubicBezTo>
                <a:lnTo>
                  <a:pt x="3315888" y="6275"/>
                </a:lnTo>
                <a:lnTo>
                  <a:pt x="0" y="0"/>
                </a:lnTo>
                <a:lnTo>
                  <a:pt x="0" y="685802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482278" y="2535090"/>
            <a:ext cx="3707758" cy="1608647"/>
          </a:xfrm>
        </p:spPr>
        <p:txBody>
          <a:bodyPr anchor="ctr">
            <a:noAutofit/>
          </a:bodyPr>
          <a:lstStyle>
            <a:lvl1pPr>
              <a:defRPr sz="3600" b="0" i="0">
                <a:solidFill>
                  <a:schemeClr val="bg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5560056" y="2199774"/>
            <a:ext cx="5389207" cy="3564382"/>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Text Placeholder 10">
            <a:extLst>
              <a:ext uri="{FF2B5EF4-FFF2-40B4-BE49-F238E27FC236}">
                <a16:creationId xmlns:a16="http://schemas.microsoft.com/office/drawing/2014/main" id="{A33E65FE-8C9B-0DC0-C776-353216E6A221}"/>
              </a:ext>
            </a:extLst>
          </p:cNvPr>
          <p:cNvSpPr>
            <a:spLocks noGrp="1"/>
          </p:cNvSpPr>
          <p:nvPr>
            <p:ph type="body" sz="quarter" idx="14" hasCustomPrompt="1"/>
          </p:nvPr>
        </p:nvSpPr>
        <p:spPr>
          <a:xfrm>
            <a:off x="5546812" y="1529030"/>
            <a:ext cx="5045075"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Picture 3" descr="Logo, company name&#10;&#10;Description automatically generated">
            <a:extLst>
              <a:ext uri="{FF2B5EF4-FFF2-40B4-BE49-F238E27FC236}">
                <a16:creationId xmlns:a16="http://schemas.microsoft.com/office/drawing/2014/main" id="{34886534-58D9-34F2-C894-A05F547B7E0D}"/>
              </a:ext>
            </a:extLst>
          </p:cNvPr>
          <p:cNvPicPr>
            <a:picLocks noChangeAspect="1"/>
          </p:cNvPicPr>
          <p:nvPr userDrawn="1"/>
        </p:nvPicPr>
        <p:blipFill>
          <a:blip r:embed="rId3"/>
          <a:stretch>
            <a:fillRect/>
          </a:stretch>
        </p:blipFill>
        <p:spPr>
          <a:xfrm>
            <a:off x="143715" y="5584273"/>
            <a:ext cx="1444793" cy="1444793"/>
          </a:xfrm>
          <a:prstGeom prst="rect">
            <a:avLst/>
          </a:prstGeom>
        </p:spPr>
      </p:pic>
    </p:spTree>
    <p:extLst>
      <p:ext uri="{BB962C8B-B14F-4D97-AF65-F5344CB8AC3E}">
        <p14:creationId xmlns:p14="http://schemas.microsoft.com/office/powerpoint/2010/main" val="17742003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6" y="6318245"/>
            <a:ext cx="403412"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1" name="Picture Placeholder 8">
            <a:extLst>
              <a:ext uri="{FF2B5EF4-FFF2-40B4-BE49-F238E27FC236}">
                <a16:creationId xmlns:a16="http://schemas.microsoft.com/office/drawing/2014/main" id="{E2191B05-DADD-8FB9-62FD-532B6348E428}"/>
              </a:ext>
            </a:extLst>
          </p:cNvPr>
          <p:cNvSpPr>
            <a:spLocks noGrp="1"/>
          </p:cNvSpPr>
          <p:nvPr>
            <p:ph type="pic" sz="quarter" idx="10"/>
          </p:nvPr>
        </p:nvSpPr>
        <p:spPr>
          <a:xfrm>
            <a:off x="3317421" y="609600"/>
            <a:ext cx="3676650" cy="5200649"/>
          </a:xfrm>
          <a:pattFill prst="pct5">
            <a:fgClr>
              <a:schemeClr val="accent1"/>
            </a:fgClr>
            <a:bgClr>
              <a:schemeClr val="bg1"/>
            </a:bgClr>
          </a:pattFill>
        </p:spPr>
      </p:sp>
      <p:sp>
        <p:nvSpPr>
          <p:cNvPr id="12" name="Picture Placeholder 9">
            <a:extLst>
              <a:ext uri="{FF2B5EF4-FFF2-40B4-BE49-F238E27FC236}">
                <a16:creationId xmlns:a16="http://schemas.microsoft.com/office/drawing/2014/main" id="{BC6AA04F-13C1-AD39-987A-7D0D2AAAE3C3}"/>
              </a:ext>
            </a:extLst>
          </p:cNvPr>
          <p:cNvSpPr>
            <a:spLocks noGrp="1"/>
          </p:cNvSpPr>
          <p:nvPr>
            <p:ph type="pic" sz="quarter" idx="11"/>
          </p:nvPr>
        </p:nvSpPr>
        <p:spPr>
          <a:xfrm>
            <a:off x="7146471" y="609600"/>
            <a:ext cx="4461273" cy="2171700"/>
          </a:xfrm>
          <a:pattFill prst="pct5">
            <a:fgClr>
              <a:schemeClr val="accent1"/>
            </a:fgClr>
            <a:bgClr>
              <a:schemeClr val="bg1"/>
            </a:bgClr>
          </a:pattFill>
        </p:spPr>
      </p:sp>
      <p:sp>
        <p:nvSpPr>
          <p:cNvPr id="14" name="Picture Placeholder 10">
            <a:extLst>
              <a:ext uri="{FF2B5EF4-FFF2-40B4-BE49-F238E27FC236}">
                <a16:creationId xmlns:a16="http://schemas.microsoft.com/office/drawing/2014/main" id="{15DF6086-D5FC-F9E8-EBB0-42637BCF5E70}"/>
              </a:ext>
            </a:extLst>
          </p:cNvPr>
          <p:cNvSpPr>
            <a:spLocks noGrp="1"/>
          </p:cNvSpPr>
          <p:nvPr>
            <p:ph type="pic" sz="quarter" idx="13"/>
          </p:nvPr>
        </p:nvSpPr>
        <p:spPr>
          <a:xfrm>
            <a:off x="7146471" y="2915974"/>
            <a:ext cx="4461273" cy="2894275"/>
          </a:xfrm>
          <a:pattFill prst="pct5">
            <a:fgClr>
              <a:schemeClr val="accent1"/>
            </a:fgClr>
            <a:bgClr>
              <a:schemeClr val="bg1"/>
            </a:bgClr>
          </a:pattFill>
        </p:spPr>
      </p:sp>
      <p:sp>
        <p:nvSpPr>
          <p:cNvPr id="17" name="Title 1">
            <a:extLst>
              <a:ext uri="{FF2B5EF4-FFF2-40B4-BE49-F238E27FC236}">
                <a16:creationId xmlns:a16="http://schemas.microsoft.com/office/drawing/2014/main" id="{6949990A-5BF8-694E-5F13-420AB4CEFE9E}"/>
              </a:ext>
            </a:extLst>
          </p:cNvPr>
          <p:cNvSpPr>
            <a:spLocks noGrp="1"/>
          </p:cNvSpPr>
          <p:nvPr>
            <p:ph type="title" hasCustomPrompt="1"/>
          </p:nvPr>
        </p:nvSpPr>
        <p:spPr>
          <a:xfrm>
            <a:off x="678671" y="632475"/>
            <a:ext cx="2354148" cy="1904350"/>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cxnSp>
        <p:nvCxnSpPr>
          <p:cNvPr id="23" name="Straight Connector 22">
            <a:extLst>
              <a:ext uri="{FF2B5EF4-FFF2-40B4-BE49-F238E27FC236}">
                <a16:creationId xmlns:a16="http://schemas.microsoft.com/office/drawing/2014/main" id="{75F30679-5078-6077-6E96-09C7D8F37A71}"/>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pic>
        <p:nvPicPr>
          <p:cNvPr id="2" name="Content Placeholder 9" descr="Logo&#10;&#10;Description automatically generated">
            <a:extLst>
              <a:ext uri="{FF2B5EF4-FFF2-40B4-BE49-F238E27FC236}">
                <a16:creationId xmlns:a16="http://schemas.microsoft.com/office/drawing/2014/main" id="{B9713FE2-6167-0373-B20A-2013283A7261}"/>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19726170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118EC0E-B0F1-BE34-C83E-22EC40F67DB4}"/>
              </a:ext>
            </a:extLst>
          </p:cNvPr>
          <p:cNvPicPr>
            <a:picLocks noChangeAspect="1"/>
          </p:cNvPicPr>
          <p:nvPr userDrawn="1"/>
        </p:nvPicPr>
        <p:blipFill>
          <a:blip r:embed="rId2">
            <a:alphaModFix/>
          </a:blip>
          <a:stretch>
            <a:fillRect/>
          </a:stretch>
        </p:blipFill>
        <p:spPr>
          <a:xfrm>
            <a:off x="2590800" y="12700"/>
            <a:ext cx="9601200" cy="6845300"/>
          </a:xfrm>
          <a:prstGeom prst="rect">
            <a:avLst/>
          </a:prstGeom>
        </p:spPr>
      </p:pic>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Round Same-side Corner of Rectangle 9">
            <a:extLst>
              <a:ext uri="{FF2B5EF4-FFF2-40B4-BE49-F238E27FC236}">
                <a16:creationId xmlns:a16="http://schemas.microsoft.com/office/drawing/2014/main" id="{895C77DB-2F91-1844-3513-C04DED213A12}"/>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pic>
        <p:nvPicPr>
          <p:cNvPr id="4" name="Content Placeholder 9" descr="Logo&#10;&#10;Description automatically generated">
            <a:extLst>
              <a:ext uri="{FF2B5EF4-FFF2-40B4-BE49-F238E27FC236}">
                <a16:creationId xmlns:a16="http://schemas.microsoft.com/office/drawing/2014/main" id="{1FA5DBDB-3F49-DE9D-A6E5-154A1719B273}"/>
              </a:ext>
            </a:extLst>
          </p:cNvPr>
          <p:cNvPicPr>
            <a:picLocks noChangeAspect="1"/>
          </p:cNvPicPr>
          <p:nvPr userDrawn="1"/>
        </p:nvPicPr>
        <p:blipFill>
          <a:blip r:embed="rId3"/>
          <a:stretch>
            <a:fillRect/>
          </a:stretch>
        </p:blipFill>
        <p:spPr>
          <a:xfrm>
            <a:off x="207653" y="6110992"/>
            <a:ext cx="1221061" cy="630298"/>
          </a:xfrm>
          <a:prstGeom prst="rect">
            <a:avLst/>
          </a:prstGeom>
        </p:spPr>
      </p:pic>
    </p:spTree>
    <p:extLst>
      <p:ext uri="{BB962C8B-B14F-4D97-AF65-F5344CB8AC3E}">
        <p14:creationId xmlns:p14="http://schemas.microsoft.com/office/powerpoint/2010/main" val="40883362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E2191B05-DADD-8FB9-62FD-532B6348E428}"/>
              </a:ext>
            </a:extLst>
          </p:cNvPr>
          <p:cNvSpPr>
            <a:spLocks noGrp="1"/>
          </p:cNvSpPr>
          <p:nvPr>
            <p:ph type="pic" sz="quarter" idx="10"/>
          </p:nvPr>
        </p:nvSpPr>
        <p:spPr>
          <a:xfrm>
            <a:off x="0" y="0"/>
            <a:ext cx="12192000" cy="6858000"/>
          </a:xfrm>
          <a:pattFill prst="pct5">
            <a:fgClr>
              <a:schemeClr val="accent1"/>
            </a:fgClr>
            <a:bgClr>
              <a:schemeClr val="bg1"/>
            </a:bgClr>
          </a:pattFill>
        </p:spPr>
      </p:sp>
    </p:spTree>
    <p:extLst>
      <p:ext uri="{BB962C8B-B14F-4D97-AF65-F5344CB8AC3E}">
        <p14:creationId xmlns:p14="http://schemas.microsoft.com/office/powerpoint/2010/main" val="20127007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597D9C2-0FAC-062D-1F53-4C07F10AD61E}"/>
              </a:ext>
            </a:extLst>
          </p:cNvPr>
          <p:cNvSpPr>
            <a:spLocks noGrp="1"/>
          </p:cNvSpPr>
          <p:nvPr>
            <p:ph type="dt" sz="half" idx="10"/>
          </p:nvPr>
        </p:nvSpPr>
        <p:spPr/>
        <p:txBody>
          <a:bodyPr/>
          <a:lstStyle>
            <a:lvl1pPr>
              <a:defRPr b="0" i="0">
                <a:latin typeface="Raleway" pitchFamily="2" charset="77"/>
              </a:defRPr>
            </a:lvl1pPr>
          </a:lstStyle>
          <a:p>
            <a:endParaRPr lang="en-RO"/>
          </a:p>
        </p:txBody>
      </p:sp>
      <p:sp>
        <p:nvSpPr>
          <p:cNvPr id="3" name="Footer Placeholder 2">
            <a:extLst>
              <a:ext uri="{FF2B5EF4-FFF2-40B4-BE49-F238E27FC236}">
                <a16:creationId xmlns:a16="http://schemas.microsoft.com/office/drawing/2014/main" id="{37240306-7147-9B3A-DEDB-E6C2FBF954AF}"/>
              </a:ext>
            </a:extLst>
          </p:cNvPr>
          <p:cNvSpPr>
            <a:spLocks noGrp="1"/>
          </p:cNvSpPr>
          <p:nvPr>
            <p:ph type="ftr" sz="quarter" idx="11"/>
          </p:nvPr>
        </p:nvSpPr>
        <p:spPr/>
        <p:txBody>
          <a:bodyPr/>
          <a:lstStyle>
            <a:lvl1pPr>
              <a:defRPr b="0" i="0">
                <a:latin typeface="Raleway" pitchFamily="2" charset="77"/>
              </a:defRPr>
            </a:lvl1pPr>
          </a:lstStyle>
          <a:p>
            <a:endParaRPr lang="en-RO"/>
          </a:p>
        </p:txBody>
      </p:sp>
      <p:sp>
        <p:nvSpPr>
          <p:cNvPr id="4" name="Slide Number Placeholder 3">
            <a:extLst>
              <a:ext uri="{FF2B5EF4-FFF2-40B4-BE49-F238E27FC236}">
                <a16:creationId xmlns:a16="http://schemas.microsoft.com/office/drawing/2014/main" id="{3F58FB0D-E2BA-C1D5-4170-651E1F151788}"/>
              </a:ext>
            </a:extLst>
          </p:cNvPr>
          <p:cNvSpPr>
            <a:spLocks noGrp="1"/>
          </p:cNvSpPr>
          <p:nvPr>
            <p:ph type="sldNum" sz="quarter" idx="12"/>
          </p:nvPr>
        </p:nvSpPr>
        <p:spPr/>
        <p:txBody>
          <a:bodyPr/>
          <a:lstStyle>
            <a:lvl1pPr>
              <a:defRPr b="0" i="0">
                <a:latin typeface="Raleway" pitchFamily="2" charset="77"/>
              </a:defRPr>
            </a:lvl1pPr>
          </a:lstStyle>
          <a:p>
            <a:fld id="{1D1C8182-8BBE-B542-ADE5-8820B104469B}" type="slidenum">
              <a:rPr lang="en-RO" smtClean="0"/>
              <a:pPr/>
              <a:t>‹#›</a:t>
            </a:fld>
            <a:endParaRPr lang="en-RO"/>
          </a:p>
        </p:txBody>
      </p:sp>
    </p:spTree>
    <p:extLst>
      <p:ext uri="{BB962C8B-B14F-4D97-AF65-F5344CB8AC3E}">
        <p14:creationId xmlns:p14="http://schemas.microsoft.com/office/powerpoint/2010/main" val="20587755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0CFD8F8-E616-FC46-8FC6-6EAF571DA103}"/>
              </a:ext>
            </a:extLst>
          </p:cNvPr>
          <p:cNvSpPr/>
          <p:nvPr userDrawn="1"/>
        </p:nvSpPr>
        <p:spPr>
          <a:xfrm>
            <a:off x="11634788" y="0"/>
            <a:ext cx="557212" cy="6858000"/>
          </a:xfrm>
          <a:prstGeom prst="rect">
            <a:avLst/>
          </a:prstGeom>
          <a:solidFill>
            <a:srgbClr val="E2E9F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RO" sz="1600" err="1">
              <a:solidFill>
                <a:schemeClr val="bg1"/>
              </a:solidFill>
            </a:endParaRPr>
          </a:p>
        </p:txBody>
      </p:sp>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2. Slide Title">
            <a:extLst>
              <a:ext uri="{FF2B5EF4-FFF2-40B4-BE49-F238E27FC236}">
                <a16:creationId xmlns:a16="http://schemas.microsoft.com/office/drawing/2014/main" id="{98FF70AE-7EF6-4E5B-9FFE-B44C852C9FBA}"/>
              </a:ext>
            </a:extLst>
          </p:cNvPr>
          <p:cNvSpPr>
            <a:spLocks noGrp="1"/>
          </p:cNvSpPr>
          <p:nvPr>
            <p:ph type="title"/>
            <p:custDataLst>
              <p:tags r:id="rId2"/>
            </p:custDataLst>
          </p:nvPr>
        </p:nvSpPr>
        <p:spPr>
          <a:xfrm>
            <a:off x="554736" y="197613"/>
            <a:ext cx="11082528" cy="470898"/>
          </a:xfrm>
          <a:prstGeom prst="rect">
            <a:avLst/>
          </a:prstGeom>
        </p:spPr>
        <p:txBody>
          <a:bodyPr vert="horz" wrap="square" lIns="0" tIns="0" rIns="0" bIns="0" rtlCol="0" anchor="t" anchorCtr="0">
            <a:spAutoFit/>
          </a:bodyPr>
          <a:lstStyle>
            <a:lvl1pPr>
              <a:defRPr sz="3400" b="0" i="0">
                <a:solidFill>
                  <a:srgbClr val="E2E9F7"/>
                </a:solidFill>
                <a:latin typeface="Raleway" pitchFamily="2" charset="77"/>
                <a:ea typeface="+mj-ea"/>
                <a:cs typeface="+mj-cs"/>
              </a:defRPr>
            </a:lvl1pPr>
          </a:lstStyle>
          <a:p>
            <a:pPr lvl="0"/>
            <a:r>
              <a:rPr lang="en-US"/>
              <a:t>Click to edit Master title style</a:t>
            </a:r>
          </a:p>
        </p:txBody>
      </p:sp>
      <p:sp>
        <p:nvSpPr>
          <p:cNvPr id="9"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1816486" y="41597"/>
            <a:ext cx="3843338" cy="110800"/>
          </a:xfrm>
          <a:prstGeom prst="rect">
            <a:avLst/>
          </a:prstGeom>
          <a:ln w="6350">
            <a:noFill/>
            <a:miter lim="800000"/>
          </a:ln>
        </p:spPr>
        <p:txBody>
          <a:bodyPr vert="horz" wrap="square" lIns="0" tIns="0" rIns="0" bIns="0" rtlCol="0">
            <a:spAutoFit/>
          </a:bodyPr>
          <a:lstStyle>
            <a:lvl1pPr>
              <a:defRPr lang="en-US" sz="800" b="0" i="0" dirty="0">
                <a:solidFill>
                  <a:srgbClr val="0080C6"/>
                </a:solidFill>
                <a:latin typeface="Raleway" pitchFamily="2" charset="77"/>
                <a:ea typeface="+mn-ea"/>
                <a:cs typeface="+mn-cs"/>
              </a:defRPr>
            </a:lvl1pPr>
          </a:lstStyle>
          <a:p>
            <a:pPr lvl="0">
              <a:buNone/>
            </a:pPr>
            <a:r>
              <a:rPr lang="en-US"/>
              <a:t>Add tracker</a:t>
            </a:r>
          </a:p>
        </p:txBody>
      </p:sp>
      <p:sp>
        <p:nvSpPr>
          <p:cNvPr id="3" name="TextBox 2">
            <a:extLst>
              <a:ext uri="{FF2B5EF4-FFF2-40B4-BE49-F238E27FC236}">
                <a16:creationId xmlns:a16="http://schemas.microsoft.com/office/drawing/2014/main" id="{190E412B-DC55-B545-9A21-B85AE3435848}"/>
              </a:ext>
            </a:extLst>
          </p:cNvPr>
          <p:cNvSpPr txBox="1"/>
          <p:nvPr userDrawn="1"/>
        </p:nvSpPr>
        <p:spPr>
          <a:xfrm>
            <a:off x="1699404" y="645255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RO" sz="1600"/>
          </a:p>
        </p:txBody>
      </p:sp>
      <p:sp>
        <p:nvSpPr>
          <p:cNvPr id="10" name="Slide Number">
            <a:extLst>
              <a:ext uri="{FF2B5EF4-FFF2-40B4-BE49-F238E27FC236}">
                <a16:creationId xmlns:a16="http://schemas.microsoft.com/office/drawing/2014/main" id="{483A3A10-724E-CE4E-9F58-2447AAEE2379}"/>
              </a:ext>
            </a:extLst>
          </p:cNvPr>
          <p:cNvSpPr>
            <a:spLocks noChangeArrowheads="1"/>
          </p:cNvSpPr>
          <p:nvPr userDrawn="1">
            <p:custDataLst>
              <p:tags r:id="rId4"/>
            </p:custDataLst>
          </p:nvPr>
        </p:nvSpPr>
        <p:spPr bwMode="black">
          <a:xfrm>
            <a:off x="11650710" y="6443367"/>
            <a:ext cx="390460" cy="360063"/>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2800" b="0" i="0" smtClean="0">
                <a:solidFill>
                  <a:schemeClr val="bg1"/>
                </a:solidFill>
                <a:latin typeface="Raleway" pitchFamily="2" charset="77"/>
                <a:ea typeface="+mn-ea"/>
                <a:cs typeface="+mn-cs"/>
              </a:rPr>
              <a:pPr algn="r" defTabSz="610744" fontAlgn="auto">
                <a:spcBef>
                  <a:spcPts val="0"/>
                </a:spcBef>
                <a:spcAft>
                  <a:spcPts val="0"/>
                </a:spcAft>
                <a:defRPr/>
              </a:pPr>
              <a:t>‹#›</a:t>
            </a:fld>
            <a:endParaRPr lang="en-US" sz="2800" b="0" i="0">
              <a:solidFill>
                <a:schemeClr val="bg1"/>
              </a:solidFill>
              <a:latin typeface="Raleway" pitchFamily="2" charset="77"/>
              <a:ea typeface="+mn-ea"/>
              <a:cs typeface="+mn-cs"/>
            </a:endParaRPr>
          </a:p>
        </p:txBody>
      </p:sp>
      <p:pic>
        <p:nvPicPr>
          <p:cNvPr id="13" name="Picture 12">
            <a:extLst>
              <a:ext uri="{FF2B5EF4-FFF2-40B4-BE49-F238E27FC236}">
                <a16:creationId xmlns:a16="http://schemas.microsoft.com/office/drawing/2014/main" id="{5208E011-20E7-E042-8138-08447FF3ED00}"/>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396918" y="6404770"/>
            <a:ext cx="1970121" cy="398660"/>
          </a:xfrm>
          <a:prstGeom prst="rect">
            <a:avLst/>
          </a:prstGeom>
        </p:spPr>
      </p:pic>
    </p:spTree>
    <p:extLst>
      <p:ext uri="{BB962C8B-B14F-4D97-AF65-F5344CB8AC3E}">
        <p14:creationId xmlns:p14="http://schemas.microsoft.com/office/powerpoint/2010/main" val="20949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ctr">
            <a:noAutofit/>
          </a:bodyPr>
          <a:lstStyle>
            <a:lvl1pPr>
              <a:defRPr sz="32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10" name="Round Same-side Corner of Rectangle 9">
            <a:extLst>
              <a:ext uri="{FF2B5EF4-FFF2-40B4-BE49-F238E27FC236}">
                <a16:creationId xmlns:a16="http://schemas.microsoft.com/office/drawing/2014/main" id="{895C77DB-2F91-1844-3513-C04DED213A12}"/>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cxnSp>
        <p:nvCxnSpPr>
          <p:cNvPr id="19" name="Straight Connector 18">
            <a:extLst>
              <a:ext uri="{FF2B5EF4-FFF2-40B4-BE49-F238E27FC236}">
                <a16:creationId xmlns:a16="http://schemas.microsoft.com/office/drawing/2014/main" id="{242BF4A7-EB4E-8366-4011-2F4543630FB7}"/>
              </a:ext>
            </a:extLst>
          </p:cNvPr>
          <p:cNvCxnSpPr>
            <a:cxnSpLocks/>
            <a:stCxn id="4" idx="3"/>
          </p:cNvCxnSpPr>
          <p:nvPr userDrawn="1"/>
        </p:nvCxnSpPr>
        <p:spPr>
          <a:xfrm>
            <a:off x="1476827" y="6325233"/>
            <a:ext cx="10150397" cy="8718"/>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07E39F92-E663-E16B-FEC9-67531DD05AF3}"/>
              </a:ext>
            </a:extLst>
          </p:cNvPr>
          <p:cNvSpPr/>
          <p:nvPr userDrawn="1"/>
        </p:nvSpPr>
        <p:spPr>
          <a:xfrm>
            <a:off x="11580935" y="6149775"/>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1" name="Slide Number Placeholder 5">
            <a:extLst>
              <a:ext uri="{FF2B5EF4-FFF2-40B4-BE49-F238E27FC236}">
                <a16:creationId xmlns:a16="http://schemas.microsoft.com/office/drawing/2014/main" id="{D8E448CD-E58E-55FC-226B-4A95825EAC1A}"/>
              </a:ext>
            </a:extLst>
          </p:cNvPr>
          <p:cNvSpPr>
            <a:spLocks noGrp="1"/>
          </p:cNvSpPr>
          <p:nvPr>
            <p:ph type="sldNum" sz="quarter" idx="12"/>
          </p:nvPr>
        </p:nvSpPr>
        <p:spPr>
          <a:xfrm>
            <a:off x="11580934" y="6151389"/>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23" name="Text Placeholder 18">
            <a:extLst>
              <a:ext uri="{FF2B5EF4-FFF2-40B4-BE49-F238E27FC236}">
                <a16:creationId xmlns:a16="http://schemas.microsoft.com/office/drawing/2014/main" id="{9E97F523-5539-3815-536C-9FF0121C4C3B}"/>
              </a:ext>
            </a:extLst>
          </p:cNvPr>
          <p:cNvSpPr>
            <a:spLocks noGrp="1"/>
          </p:cNvSpPr>
          <p:nvPr>
            <p:ph type="body" sz="quarter" idx="13" hasCustomPrompt="1"/>
          </p:nvPr>
        </p:nvSpPr>
        <p:spPr>
          <a:xfrm>
            <a:off x="6118225" y="6490940"/>
            <a:ext cx="5235575" cy="288925"/>
          </a:xfrm>
        </p:spPr>
        <p:txBody>
          <a:bodyPr/>
          <a:lstStyle>
            <a:lvl1pPr algn="r">
              <a:defRPr sz="1400" b="0" i="0">
                <a:solidFill>
                  <a:schemeClr val="accent1"/>
                </a:solidFill>
                <a:latin typeface="Raleway" pitchFamily="2" charset="77"/>
              </a:defRPr>
            </a:lvl1pPr>
          </a:lstStyle>
          <a:p>
            <a:pPr lvl="0"/>
            <a:r>
              <a:rPr lang="en-GB"/>
              <a:t>Click to edit confidentiality level</a:t>
            </a:r>
          </a:p>
        </p:txBody>
      </p:sp>
      <p:pic>
        <p:nvPicPr>
          <p:cNvPr id="4" name="Picture 3">
            <a:extLst>
              <a:ext uri="{FF2B5EF4-FFF2-40B4-BE49-F238E27FC236}">
                <a16:creationId xmlns:a16="http://schemas.microsoft.com/office/drawing/2014/main" id="{72D56D06-2CED-FB94-4585-75CBF76A8F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1012" y="5940384"/>
            <a:ext cx="1225815" cy="769698"/>
          </a:xfrm>
          <a:prstGeom prst="rect">
            <a:avLst/>
          </a:prstGeom>
        </p:spPr>
      </p:pic>
    </p:spTree>
    <p:extLst>
      <p:ext uri="{BB962C8B-B14F-4D97-AF65-F5344CB8AC3E}">
        <p14:creationId xmlns:p14="http://schemas.microsoft.com/office/powerpoint/2010/main" val="185695406"/>
      </p:ext>
    </p:extLst>
  </p:cSld>
  <p:clrMapOvr>
    <a:masterClrMapping/>
  </p:clrMapOvr>
  <p:extLst>
    <p:ext uri="{DCECCB84-F9BA-43D5-87BE-67443E8EF086}">
      <p15:sldGuideLst xmlns:p15="http://schemas.microsoft.com/office/powerpoint/2012/main">
        <p15:guide id="1" orient="horz" pos="2160">
          <p15:clr>
            <a:srgbClr val="FBAE40"/>
          </p15:clr>
        </p15:guide>
        <p15:guide id="2" pos="52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pic>
        <p:nvPicPr>
          <p:cNvPr id="5" name="Picture 4" descr="A picture containing light&#10;&#10;Description automatically generated">
            <a:extLst>
              <a:ext uri="{FF2B5EF4-FFF2-40B4-BE49-F238E27FC236}">
                <a16:creationId xmlns:a16="http://schemas.microsoft.com/office/drawing/2014/main" id="{26E51F96-8A5E-7FC5-4CB7-9042629F4F2A}"/>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10709631" y="5369818"/>
            <a:ext cx="920660" cy="1410047"/>
          </a:xfrm>
          <a:prstGeom prst="rect">
            <a:avLst/>
          </a:prstGeom>
        </p:spPr>
      </p:pic>
      <p:cxnSp>
        <p:nvCxnSpPr>
          <p:cNvPr id="7" name="Straight Connector 6">
            <a:extLst>
              <a:ext uri="{FF2B5EF4-FFF2-40B4-BE49-F238E27FC236}">
                <a16:creationId xmlns:a16="http://schemas.microsoft.com/office/drawing/2014/main" id="{C3CA5994-50B0-B3EE-D8B0-4CCB3DB69B85}"/>
              </a:ext>
            </a:extLst>
          </p:cNvPr>
          <p:cNvCxnSpPr>
            <a:cxnSpLocks/>
            <a:stCxn id="4" idx="3"/>
          </p:cNvCxnSpPr>
          <p:nvPr userDrawn="1"/>
        </p:nvCxnSpPr>
        <p:spPr>
          <a:xfrm>
            <a:off x="1476827" y="6325233"/>
            <a:ext cx="9546773" cy="8718"/>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149775"/>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ctr">
            <a:noAutofit/>
          </a:bodyPr>
          <a:lstStyle>
            <a:lvl1pPr>
              <a:defRPr sz="3200" b="0" i="0">
                <a:solidFill>
                  <a:schemeClr val="accent1"/>
                </a:solidFill>
                <a:latin typeface="Raleway" pitchFamily="2" charset="77"/>
              </a:defRPr>
            </a:lvl1pPr>
          </a:lstStyle>
          <a:p>
            <a:r>
              <a:rPr lang="en-GB"/>
              <a:t>CLICK TO EDIT MASTER TITLE STYLE</a:t>
            </a:r>
            <a:endParaRPr lang="en-RO"/>
          </a:p>
        </p:txBody>
      </p:sp>
      <p:sp>
        <p:nvSpPr>
          <p:cNvPr id="3" name="Content Placeholder 2" hidden="1">
            <a:extLst>
              <a:ext uri="{FF2B5EF4-FFF2-40B4-BE49-F238E27FC236}">
                <a16:creationId xmlns:a16="http://schemas.microsoft.com/office/drawing/2014/main" id="{1BD6C6B7-3A39-E88B-FB10-9C3B2A17D58F}"/>
              </a:ext>
            </a:extLst>
          </p:cNvPr>
          <p:cNvSpPr>
            <a:spLocks noGrp="1"/>
          </p:cNvSpPr>
          <p:nvPr>
            <p:ph idx="1"/>
          </p:nvPr>
        </p:nvSpPr>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151389"/>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Round Same-side Corner of Rectangle 9">
            <a:extLst>
              <a:ext uri="{FF2B5EF4-FFF2-40B4-BE49-F238E27FC236}">
                <a16:creationId xmlns:a16="http://schemas.microsoft.com/office/drawing/2014/main" id="{895C77DB-2F91-1844-3513-C04DED213A12}"/>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9" name="Text Placeholder 18">
            <a:extLst>
              <a:ext uri="{FF2B5EF4-FFF2-40B4-BE49-F238E27FC236}">
                <a16:creationId xmlns:a16="http://schemas.microsoft.com/office/drawing/2014/main" id="{2A87831A-A8BD-DD0F-E62B-82B74AD7487C}"/>
              </a:ext>
            </a:extLst>
          </p:cNvPr>
          <p:cNvSpPr>
            <a:spLocks noGrp="1"/>
          </p:cNvSpPr>
          <p:nvPr>
            <p:ph type="body" sz="quarter" idx="13" hasCustomPrompt="1"/>
          </p:nvPr>
        </p:nvSpPr>
        <p:spPr>
          <a:xfrm>
            <a:off x="5788025" y="6490940"/>
            <a:ext cx="5235575" cy="288925"/>
          </a:xfrm>
        </p:spPr>
        <p:txBody>
          <a:bodyPr/>
          <a:lstStyle>
            <a:lvl1pPr algn="r">
              <a:defRPr sz="1400">
                <a:solidFill>
                  <a:schemeClr val="accent1"/>
                </a:solidFill>
              </a:defRPr>
            </a:lvl1pPr>
          </a:lstStyle>
          <a:p>
            <a:pPr lvl="0"/>
            <a:r>
              <a:rPr lang="en-GB"/>
              <a:t>Click to edit confidentiality level</a:t>
            </a:r>
          </a:p>
        </p:txBody>
      </p:sp>
      <p:pic>
        <p:nvPicPr>
          <p:cNvPr id="4" name="Picture 3">
            <a:extLst>
              <a:ext uri="{FF2B5EF4-FFF2-40B4-BE49-F238E27FC236}">
                <a16:creationId xmlns:a16="http://schemas.microsoft.com/office/drawing/2014/main" id="{AC3F09C2-4E01-7F26-AD2F-59108C9F41B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51012" y="5940384"/>
            <a:ext cx="1225815" cy="769698"/>
          </a:xfrm>
          <a:prstGeom prst="rect">
            <a:avLst/>
          </a:prstGeom>
        </p:spPr>
      </p:pic>
    </p:spTree>
    <p:extLst>
      <p:ext uri="{BB962C8B-B14F-4D97-AF65-F5344CB8AC3E}">
        <p14:creationId xmlns:p14="http://schemas.microsoft.com/office/powerpoint/2010/main" val="3273872512"/>
      </p:ext>
    </p:extLst>
  </p:cSld>
  <p:clrMapOvr>
    <a:masterClrMapping/>
  </p:clrMapOvr>
  <p:extLst>
    <p:ext uri="{DCECCB84-F9BA-43D5-87BE-67443E8EF086}">
      <p15:sldGuideLst xmlns:p15="http://schemas.microsoft.com/office/powerpoint/2012/main">
        <p15:guide id="1" orient="horz" pos="2160">
          <p15:clr>
            <a:srgbClr val="FBAE40"/>
          </p15:clr>
        </p15:guide>
        <p15:guide id="2" pos="52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4" y="6318245"/>
            <a:ext cx="40341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Round Same-side Corner of Rectangle 9">
            <a:extLst>
              <a:ext uri="{FF2B5EF4-FFF2-40B4-BE49-F238E27FC236}">
                <a16:creationId xmlns:a16="http://schemas.microsoft.com/office/drawing/2014/main" id="{895C77DB-2F91-1844-3513-C04DED213A12}"/>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pic>
        <p:nvPicPr>
          <p:cNvPr id="4" name="Content Placeholder 9" descr="Logo&#10;&#10;Description automatically generated">
            <a:extLst>
              <a:ext uri="{FF2B5EF4-FFF2-40B4-BE49-F238E27FC236}">
                <a16:creationId xmlns:a16="http://schemas.microsoft.com/office/drawing/2014/main" id="{56908AD9-DB36-A1A8-B379-16551AF64E29}"/>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14516342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838200" y="1322111"/>
            <a:ext cx="3403294" cy="3569378"/>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4" y="6318245"/>
            <a:ext cx="40341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Round Same-side Corner of Rectangle 9">
            <a:extLst>
              <a:ext uri="{FF2B5EF4-FFF2-40B4-BE49-F238E27FC236}">
                <a16:creationId xmlns:a16="http://schemas.microsoft.com/office/drawing/2014/main" id="{895C77DB-2F91-1844-3513-C04DED213A12}"/>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5" name="Oval 14">
            <a:extLst>
              <a:ext uri="{FF2B5EF4-FFF2-40B4-BE49-F238E27FC236}">
                <a16:creationId xmlns:a16="http://schemas.microsoft.com/office/drawing/2014/main" id="{416C350C-B7B0-C46C-4B40-A446A0ECDC4E}"/>
              </a:ext>
            </a:extLst>
          </p:cNvPr>
          <p:cNvSpPr/>
          <p:nvPr userDrawn="1"/>
        </p:nvSpPr>
        <p:spPr>
          <a:xfrm>
            <a:off x="5155894" y="2296310"/>
            <a:ext cx="2595179" cy="259517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5" name="Picture Placeholder 4">
            <a:extLst>
              <a:ext uri="{FF2B5EF4-FFF2-40B4-BE49-F238E27FC236}">
                <a16:creationId xmlns:a16="http://schemas.microsoft.com/office/drawing/2014/main" id="{96A690A9-7F1E-AF4F-3C86-A69FD3D6AD56}"/>
              </a:ext>
            </a:extLst>
          </p:cNvPr>
          <p:cNvSpPr>
            <a:spLocks noGrp="1"/>
          </p:cNvSpPr>
          <p:nvPr>
            <p:ph type="pic" sz="quarter" idx="13"/>
          </p:nvPr>
        </p:nvSpPr>
        <p:spPr>
          <a:xfrm>
            <a:off x="5013881" y="2178090"/>
            <a:ext cx="2577351" cy="2577351"/>
          </a:xfrm>
          <a:prstGeom prst="ellipse">
            <a:avLst/>
          </a:prstGeom>
          <a:pattFill prst="pct5">
            <a:fgClr>
              <a:schemeClr val="accent1"/>
            </a:fgClr>
            <a:bgClr>
              <a:schemeClr val="bg1"/>
            </a:bgClr>
          </a:pattFill>
        </p:spPr>
        <p:txBody>
          <a:bodyPr/>
          <a:lstStyle>
            <a:lvl1pPr>
              <a:defRPr b="0" i="0">
                <a:latin typeface="Raleway" pitchFamily="2" charset="77"/>
              </a:defRPr>
            </a:lvl1pPr>
          </a:lstStyle>
          <a:p>
            <a:endParaRPr lang="en-RO"/>
          </a:p>
        </p:txBody>
      </p:sp>
      <p:sp>
        <p:nvSpPr>
          <p:cNvPr id="37" name="Text Placeholder 36">
            <a:extLst>
              <a:ext uri="{FF2B5EF4-FFF2-40B4-BE49-F238E27FC236}">
                <a16:creationId xmlns:a16="http://schemas.microsoft.com/office/drawing/2014/main" id="{BD0B0046-28B6-23AE-3197-9E66E2FC653F}"/>
              </a:ext>
            </a:extLst>
          </p:cNvPr>
          <p:cNvSpPr>
            <a:spLocks noGrp="1"/>
          </p:cNvSpPr>
          <p:nvPr>
            <p:ph type="body" sz="quarter" idx="18" hasCustomPrompt="1"/>
          </p:nvPr>
        </p:nvSpPr>
        <p:spPr>
          <a:xfrm>
            <a:off x="8089386" y="2601126"/>
            <a:ext cx="3113663" cy="457200"/>
          </a:xfrm>
        </p:spPr>
        <p:txBody>
          <a:bodyPr anchor="ctr">
            <a:noAutofit/>
          </a:bodyPr>
          <a:lstStyle>
            <a:lvl1pPr algn="l">
              <a:lnSpc>
                <a:spcPct val="50000"/>
              </a:lnSpc>
              <a:defRPr b="0" i="0">
                <a:solidFill>
                  <a:schemeClr val="accent1"/>
                </a:solidFill>
                <a:latin typeface="Raleway" pitchFamily="2" charset="77"/>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LICK TO EDIT</a:t>
            </a:r>
          </a:p>
          <a:p>
            <a:pPr lvl="0"/>
            <a:r>
              <a:rPr lang="en-GB"/>
              <a:t>NAME</a:t>
            </a:r>
            <a:endParaRPr lang="en-RO"/>
          </a:p>
        </p:txBody>
      </p:sp>
      <p:sp>
        <p:nvSpPr>
          <p:cNvPr id="39" name="Text Placeholder 38">
            <a:extLst>
              <a:ext uri="{FF2B5EF4-FFF2-40B4-BE49-F238E27FC236}">
                <a16:creationId xmlns:a16="http://schemas.microsoft.com/office/drawing/2014/main" id="{5CBCBC4C-84AA-49F0-A910-C19CF96136F4}"/>
              </a:ext>
            </a:extLst>
          </p:cNvPr>
          <p:cNvSpPr>
            <a:spLocks noGrp="1"/>
          </p:cNvSpPr>
          <p:nvPr>
            <p:ph type="body" sz="quarter" idx="19"/>
          </p:nvPr>
        </p:nvSpPr>
        <p:spPr>
          <a:xfrm>
            <a:off x="8060677" y="3131526"/>
            <a:ext cx="3165511" cy="1936225"/>
          </a:xfrm>
        </p:spPr>
        <p:txBody>
          <a:bodyPr>
            <a:noAutofit/>
          </a:bodyPr>
          <a:lstStyle>
            <a:lvl1pPr algn="l">
              <a:defRPr sz="1400" b="0" i="0">
                <a:latin typeface="Raleway" pitchFamily="2" charset="77"/>
              </a:defRPr>
            </a:lvl1pPr>
          </a:lstStyle>
          <a:p>
            <a:pPr lvl="0"/>
            <a:r>
              <a:rPr lang="en-GB"/>
              <a:t>Click to edit Master text style</a:t>
            </a:r>
            <a:endParaRPr lang="en-RO"/>
          </a:p>
        </p:txBody>
      </p:sp>
      <p:pic>
        <p:nvPicPr>
          <p:cNvPr id="4" name="Content Placeholder 9" descr="Logo&#10;&#10;Description automatically generated">
            <a:extLst>
              <a:ext uri="{FF2B5EF4-FFF2-40B4-BE49-F238E27FC236}">
                <a16:creationId xmlns:a16="http://schemas.microsoft.com/office/drawing/2014/main" id="{8AD8A024-DCE5-789A-32A5-D0F0BCAA0D95}"/>
              </a:ext>
            </a:extLst>
          </p:cNvPr>
          <p:cNvPicPr>
            <a:picLocks noChangeAspect="1"/>
          </p:cNvPicPr>
          <p:nvPr userDrawn="1"/>
        </p:nvPicPr>
        <p:blipFill>
          <a:blip r:embed="rId2"/>
          <a:stretch>
            <a:fillRect/>
          </a:stretch>
        </p:blipFill>
        <p:spPr>
          <a:xfrm>
            <a:off x="207653" y="6110992"/>
            <a:ext cx="1221061" cy="630298"/>
          </a:xfrm>
          <a:prstGeom prst="rect">
            <a:avLst/>
          </a:prstGeom>
        </p:spPr>
      </p:pic>
    </p:spTree>
    <p:extLst>
      <p:ext uri="{BB962C8B-B14F-4D97-AF65-F5344CB8AC3E}">
        <p14:creationId xmlns:p14="http://schemas.microsoft.com/office/powerpoint/2010/main" val="3694163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838200" y="1322111"/>
            <a:ext cx="10515600" cy="769695"/>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4" y="6318245"/>
            <a:ext cx="40341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Round Same-side Corner of Rectangle 9">
            <a:extLst>
              <a:ext uri="{FF2B5EF4-FFF2-40B4-BE49-F238E27FC236}">
                <a16:creationId xmlns:a16="http://schemas.microsoft.com/office/drawing/2014/main" id="{895C77DB-2F91-1844-3513-C04DED213A12}"/>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1" name="Oval 10">
            <a:extLst>
              <a:ext uri="{FF2B5EF4-FFF2-40B4-BE49-F238E27FC236}">
                <a16:creationId xmlns:a16="http://schemas.microsoft.com/office/drawing/2014/main" id="{7CA79227-61FB-60BC-D801-B04B51A8AECE}"/>
              </a:ext>
            </a:extLst>
          </p:cNvPr>
          <p:cNvSpPr/>
          <p:nvPr userDrawn="1"/>
        </p:nvSpPr>
        <p:spPr>
          <a:xfrm>
            <a:off x="2908452" y="2483595"/>
            <a:ext cx="1531345" cy="153134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2" name="Oval 11">
            <a:extLst>
              <a:ext uri="{FF2B5EF4-FFF2-40B4-BE49-F238E27FC236}">
                <a16:creationId xmlns:a16="http://schemas.microsoft.com/office/drawing/2014/main" id="{6F00E9A9-1C07-CC9B-6AD4-CA5B51D220CE}"/>
              </a:ext>
            </a:extLst>
          </p:cNvPr>
          <p:cNvSpPr/>
          <p:nvPr userDrawn="1"/>
        </p:nvSpPr>
        <p:spPr>
          <a:xfrm>
            <a:off x="5277078" y="2296308"/>
            <a:ext cx="1531345" cy="153134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3" name="Oval 12">
            <a:extLst>
              <a:ext uri="{FF2B5EF4-FFF2-40B4-BE49-F238E27FC236}">
                <a16:creationId xmlns:a16="http://schemas.microsoft.com/office/drawing/2014/main" id="{0BF37728-4C18-0518-C46C-2B78F10E96D4}"/>
              </a:ext>
            </a:extLst>
          </p:cNvPr>
          <p:cNvSpPr/>
          <p:nvPr userDrawn="1"/>
        </p:nvSpPr>
        <p:spPr>
          <a:xfrm>
            <a:off x="7656721" y="2461561"/>
            <a:ext cx="1531345" cy="153134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4" name="Oval 13">
            <a:extLst>
              <a:ext uri="{FF2B5EF4-FFF2-40B4-BE49-F238E27FC236}">
                <a16:creationId xmlns:a16="http://schemas.microsoft.com/office/drawing/2014/main" id="{6BE6C9C5-D23D-6B3F-F4CE-55A755C421FC}"/>
              </a:ext>
            </a:extLst>
          </p:cNvPr>
          <p:cNvSpPr/>
          <p:nvPr userDrawn="1"/>
        </p:nvSpPr>
        <p:spPr>
          <a:xfrm>
            <a:off x="9639757" y="2307324"/>
            <a:ext cx="1531345" cy="153134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5" name="Oval 14">
            <a:extLst>
              <a:ext uri="{FF2B5EF4-FFF2-40B4-BE49-F238E27FC236}">
                <a16:creationId xmlns:a16="http://schemas.microsoft.com/office/drawing/2014/main" id="{416C350C-B7B0-C46C-4B40-A446A0ECDC4E}"/>
              </a:ext>
            </a:extLst>
          </p:cNvPr>
          <p:cNvSpPr/>
          <p:nvPr userDrawn="1"/>
        </p:nvSpPr>
        <p:spPr>
          <a:xfrm>
            <a:off x="1013551" y="2483595"/>
            <a:ext cx="1531345" cy="153134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5" name="Picture Placeholder 4">
            <a:extLst>
              <a:ext uri="{FF2B5EF4-FFF2-40B4-BE49-F238E27FC236}">
                <a16:creationId xmlns:a16="http://schemas.microsoft.com/office/drawing/2014/main" id="{96A690A9-7F1E-AF4F-3C86-A69FD3D6AD56}"/>
              </a:ext>
            </a:extLst>
          </p:cNvPr>
          <p:cNvSpPr>
            <a:spLocks noGrp="1"/>
          </p:cNvSpPr>
          <p:nvPr>
            <p:ph type="pic" sz="quarter" idx="13"/>
          </p:nvPr>
        </p:nvSpPr>
        <p:spPr>
          <a:xfrm>
            <a:off x="871538" y="2365375"/>
            <a:ext cx="1520825" cy="1520825"/>
          </a:xfrm>
          <a:prstGeom prst="ellipse">
            <a:avLst/>
          </a:prstGeom>
          <a:pattFill prst="pct5">
            <a:fgClr>
              <a:schemeClr val="accent1"/>
            </a:fgClr>
            <a:bgClr>
              <a:schemeClr val="bg1"/>
            </a:bgClr>
          </a:pattFill>
        </p:spPr>
        <p:txBody>
          <a:bodyPr/>
          <a:lstStyle>
            <a:lvl1pPr>
              <a:defRPr b="0" i="0">
                <a:latin typeface="Raleway" pitchFamily="2" charset="77"/>
              </a:defRPr>
            </a:lvl1pPr>
          </a:lstStyle>
          <a:p>
            <a:endParaRPr lang="en-RO"/>
          </a:p>
        </p:txBody>
      </p:sp>
      <p:sp>
        <p:nvSpPr>
          <p:cNvPr id="32" name="Picture Placeholder 4">
            <a:extLst>
              <a:ext uri="{FF2B5EF4-FFF2-40B4-BE49-F238E27FC236}">
                <a16:creationId xmlns:a16="http://schemas.microsoft.com/office/drawing/2014/main" id="{29E5580F-D364-0A14-A3C7-D66146A0483A}"/>
              </a:ext>
            </a:extLst>
          </p:cNvPr>
          <p:cNvSpPr>
            <a:spLocks noGrp="1"/>
          </p:cNvSpPr>
          <p:nvPr>
            <p:ph type="pic" sz="quarter" idx="14"/>
          </p:nvPr>
        </p:nvSpPr>
        <p:spPr>
          <a:xfrm>
            <a:off x="3063895" y="2365375"/>
            <a:ext cx="1520825" cy="1520825"/>
          </a:xfrm>
          <a:prstGeom prst="ellipse">
            <a:avLst/>
          </a:prstGeom>
          <a:pattFill prst="pct5">
            <a:fgClr>
              <a:schemeClr val="accent1"/>
            </a:fgClr>
            <a:bgClr>
              <a:schemeClr val="bg1"/>
            </a:bgClr>
          </a:pattFill>
        </p:spPr>
        <p:txBody>
          <a:bodyPr/>
          <a:lstStyle>
            <a:lvl1pPr>
              <a:defRPr b="0" i="0">
                <a:latin typeface="Raleway" pitchFamily="2" charset="77"/>
              </a:defRPr>
            </a:lvl1pPr>
          </a:lstStyle>
          <a:p>
            <a:endParaRPr lang="en-RO"/>
          </a:p>
        </p:txBody>
      </p:sp>
      <p:sp>
        <p:nvSpPr>
          <p:cNvPr id="33" name="Picture Placeholder 4">
            <a:extLst>
              <a:ext uri="{FF2B5EF4-FFF2-40B4-BE49-F238E27FC236}">
                <a16:creationId xmlns:a16="http://schemas.microsoft.com/office/drawing/2014/main" id="{51967D3B-48B4-8538-CCBB-CCA897624E66}"/>
              </a:ext>
            </a:extLst>
          </p:cNvPr>
          <p:cNvSpPr>
            <a:spLocks noGrp="1"/>
          </p:cNvSpPr>
          <p:nvPr>
            <p:ph type="pic" sz="quarter" idx="15"/>
          </p:nvPr>
        </p:nvSpPr>
        <p:spPr>
          <a:xfrm>
            <a:off x="5245235" y="2365375"/>
            <a:ext cx="1520825" cy="1520825"/>
          </a:xfrm>
          <a:prstGeom prst="ellipse">
            <a:avLst/>
          </a:prstGeom>
          <a:pattFill prst="pct5">
            <a:fgClr>
              <a:schemeClr val="accent1"/>
            </a:fgClr>
            <a:bgClr>
              <a:schemeClr val="bg1"/>
            </a:bgClr>
          </a:pattFill>
        </p:spPr>
        <p:txBody>
          <a:bodyPr/>
          <a:lstStyle>
            <a:lvl1pPr>
              <a:defRPr b="0" i="0">
                <a:latin typeface="Raleway" pitchFamily="2" charset="77"/>
              </a:defRPr>
            </a:lvl1pPr>
          </a:lstStyle>
          <a:p>
            <a:endParaRPr lang="en-RO"/>
          </a:p>
        </p:txBody>
      </p:sp>
      <p:sp>
        <p:nvSpPr>
          <p:cNvPr id="34" name="Picture Placeholder 4">
            <a:extLst>
              <a:ext uri="{FF2B5EF4-FFF2-40B4-BE49-F238E27FC236}">
                <a16:creationId xmlns:a16="http://schemas.microsoft.com/office/drawing/2014/main" id="{AEB554A5-4FBF-D942-8EE0-DE15D55B40CF}"/>
              </a:ext>
            </a:extLst>
          </p:cNvPr>
          <p:cNvSpPr>
            <a:spLocks noGrp="1"/>
          </p:cNvSpPr>
          <p:nvPr>
            <p:ph type="pic" sz="quarter" idx="16"/>
          </p:nvPr>
        </p:nvSpPr>
        <p:spPr>
          <a:xfrm>
            <a:off x="7569794" y="2365375"/>
            <a:ext cx="1520825" cy="1520825"/>
          </a:xfrm>
          <a:prstGeom prst="ellipse">
            <a:avLst/>
          </a:prstGeom>
          <a:pattFill prst="pct5">
            <a:fgClr>
              <a:schemeClr val="accent1"/>
            </a:fgClr>
            <a:bgClr>
              <a:schemeClr val="bg1"/>
            </a:bgClr>
          </a:pattFill>
        </p:spPr>
        <p:txBody>
          <a:bodyPr/>
          <a:lstStyle>
            <a:lvl1pPr>
              <a:defRPr b="0" i="0">
                <a:latin typeface="Raleway" pitchFamily="2" charset="77"/>
              </a:defRPr>
            </a:lvl1pPr>
          </a:lstStyle>
          <a:p>
            <a:endParaRPr lang="en-RO"/>
          </a:p>
        </p:txBody>
      </p:sp>
      <p:sp>
        <p:nvSpPr>
          <p:cNvPr id="35" name="Picture Placeholder 4">
            <a:extLst>
              <a:ext uri="{FF2B5EF4-FFF2-40B4-BE49-F238E27FC236}">
                <a16:creationId xmlns:a16="http://schemas.microsoft.com/office/drawing/2014/main" id="{B7D5DE5E-7754-E619-0B37-872156ACC6E1}"/>
              </a:ext>
            </a:extLst>
          </p:cNvPr>
          <p:cNvSpPr>
            <a:spLocks noGrp="1"/>
          </p:cNvSpPr>
          <p:nvPr>
            <p:ph type="pic" sz="quarter" idx="17"/>
          </p:nvPr>
        </p:nvSpPr>
        <p:spPr>
          <a:xfrm>
            <a:off x="9806218" y="2365375"/>
            <a:ext cx="1520825" cy="1520825"/>
          </a:xfrm>
          <a:prstGeom prst="ellipse">
            <a:avLst/>
          </a:prstGeom>
          <a:pattFill prst="pct5">
            <a:fgClr>
              <a:schemeClr val="accent1"/>
            </a:fgClr>
            <a:bgClr>
              <a:schemeClr val="bg1"/>
            </a:bgClr>
          </a:pattFill>
        </p:spPr>
        <p:txBody>
          <a:bodyPr/>
          <a:lstStyle>
            <a:lvl1pPr>
              <a:defRPr b="0" i="0">
                <a:latin typeface="Raleway" pitchFamily="2" charset="77"/>
              </a:defRPr>
            </a:lvl1pPr>
          </a:lstStyle>
          <a:p>
            <a:endParaRPr lang="en-RO"/>
          </a:p>
        </p:txBody>
      </p:sp>
      <p:sp>
        <p:nvSpPr>
          <p:cNvPr id="37" name="Text Placeholder 36">
            <a:extLst>
              <a:ext uri="{FF2B5EF4-FFF2-40B4-BE49-F238E27FC236}">
                <a16:creationId xmlns:a16="http://schemas.microsoft.com/office/drawing/2014/main" id="{BD0B0046-28B6-23AE-3197-9E66E2FC653F}"/>
              </a:ext>
            </a:extLst>
          </p:cNvPr>
          <p:cNvSpPr>
            <a:spLocks noGrp="1"/>
          </p:cNvSpPr>
          <p:nvPr>
            <p:ph type="body" sz="quarter" idx="18" hasCustomPrompt="1"/>
          </p:nvPr>
        </p:nvSpPr>
        <p:spPr>
          <a:xfrm>
            <a:off x="828809" y="4196078"/>
            <a:ext cx="1716087" cy="457200"/>
          </a:xfrm>
        </p:spPr>
        <p:txBody>
          <a:bodyPr anchor="ctr">
            <a:noAutofit/>
          </a:bodyPr>
          <a:lstStyle>
            <a:lvl1pPr algn="ctr">
              <a:lnSpc>
                <a:spcPct val="50000"/>
              </a:lnSpc>
              <a:defRPr b="0" i="0">
                <a:solidFill>
                  <a:schemeClr val="accent1"/>
                </a:solidFill>
                <a:latin typeface="Raleway" pitchFamily="2" charset="77"/>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LICK TO EDIT</a:t>
            </a:r>
          </a:p>
          <a:p>
            <a:pPr lvl="0"/>
            <a:r>
              <a:rPr lang="en-GB"/>
              <a:t>NAME</a:t>
            </a:r>
            <a:endParaRPr lang="en-RO"/>
          </a:p>
        </p:txBody>
      </p:sp>
      <p:sp>
        <p:nvSpPr>
          <p:cNvPr id="39" name="Text Placeholder 38">
            <a:extLst>
              <a:ext uri="{FF2B5EF4-FFF2-40B4-BE49-F238E27FC236}">
                <a16:creationId xmlns:a16="http://schemas.microsoft.com/office/drawing/2014/main" id="{5CBCBC4C-84AA-49F0-A910-C19CF96136F4}"/>
              </a:ext>
            </a:extLst>
          </p:cNvPr>
          <p:cNvSpPr>
            <a:spLocks noGrp="1"/>
          </p:cNvSpPr>
          <p:nvPr>
            <p:ph type="body" sz="quarter" idx="19"/>
          </p:nvPr>
        </p:nvSpPr>
        <p:spPr>
          <a:xfrm>
            <a:off x="800100" y="4726479"/>
            <a:ext cx="1744663" cy="1223962"/>
          </a:xfrm>
        </p:spPr>
        <p:txBody>
          <a:bodyPr>
            <a:noAutofit/>
          </a:bodyPr>
          <a:lstStyle>
            <a:lvl1pPr algn="ctr">
              <a:defRPr sz="1400" b="0" i="0">
                <a:latin typeface="Raleway" pitchFamily="2" charset="77"/>
              </a:defRPr>
            </a:lvl1pPr>
          </a:lstStyle>
          <a:p>
            <a:pPr lvl="0"/>
            <a:r>
              <a:rPr lang="en-GB"/>
              <a:t>Click to edit Master text style</a:t>
            </a:r>
            <a:endParaRPr lang="en-RO"/>
          </a:p>
        </p:txBody>
      </p:sp>
      <p:sp>
        <p:nvSpPr>
          <p:cNvPr id="40" name="Text Placeholder 36">
            <a:extLst>
              <a:ext uri="{FF2B5EF4-FFF2-40B4-BE49-F238E27FC236}">
                <a16:creationId xmlns:a16="http://schemas.microsoft.com/office/drawing/2014/main" id="{63738E05-8F5B-F454-58D8-D6EA20194B47}"/>
              </a:ext>
            </a:extLst>
          </p:cNvPr>
          <p:cNvSpPr>
            <a:spLocks noGrp="1"/>
          </p:cNvSpPr>
          <p:nvPr>
            <p:ph type="body" sz="quarter" idx="20" hasCustomPrompt="1"/>
          </p:nvPr>
        </p:nvSpPr>
        <p:spPr>
          <a:xfrm>
            <a:off x="2868633" y="4196078"/>
            <a:ext cx="1716087" cy="457200"/>
          </a:xfrm>
        </p:spPr>
        <p:txBody>
          <a:bodyPr anchor="ctr">
            <a:noAutofit/>
          </a:bodyPr>
          <a:lstStyle>
            <a:lvl1pPr algn="ctr">
              <a:lnSpc>
                <a:spcPct val="50000"/>
              </a:lnSpc>
              <a:defRPr b="0" i="0">
                <a:solidFill>
                  <a:schemeClr val="accent1"/>
                </a:solidFill>
                <a:latin typeface="Raleway" pitchFamily="2" charset="77"/>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LICK TO EDIT</a:t>
            </a:r>
          </a:p>
          <a:p>
            <a:pPr lvl="0"/>
            <a:r>
              <a:rPr lang="en-GB"/>
              <a:t>NAME</a:t>
            </a:r>
            <a:endParaRPr lang="en-RO"/>
          </a:p>
        </p:txBody>
      </p:sp>
      <p:sp>
        <p:nvSpPr>
          <p:cNvPr id="41" name="Text Placeholder 38">
            <a:extLst>
              <a:ext uri="{FF2B5EF4-FFF2-40B4-BE49-F238E27FC236}">
                <a16:creationId xmlns:a16="http://schemas.microsoft.com/office/drawing/2014/main" id="{9C8F02F5-F650-27B8-3E40-D12788190A99}"/>
              </a:ext>
            </a:extLst>
          </p:cNvPr>
          <p:cNvSpPr>
            <a:spLocks noGrp="1"/>
          </p:cNvSpPr>
          <p:nvPr>
            <p:ph type="body" sz="quarter" idx="21"/>
          </p:nvPr>
        </p:nvSpPr>
        <p:spPr>
          <a:xfrm>
            <a:off x="2839924" y="4726479"/>
            <a:ext cx="1744663" cy="1223962"/>
          </a:xfrm>
        </p:spPr>
        <p:txBody>
          <a:bodyPr>
            <a:noAutofit/>
          </a:bodyPr>
          <a:lstStyle>
            <a:lvl1pPr algn="ctr">
              <a:defRPr sz="1400" b="0" i="0">
                <a:latin typeface="Raleway" pitchFamily="2" charset="77"/>
              </a:defRPr>
            </a:lvl1pPr>
          </a:lstStyle>
          <a:p>
            <a:pPr lvl="0"/>
            <a:r>
              <a:rPr lang="en-GB"/>
              <a:t>Click to edit Master text style</a:t>
            </a:r>
            <a:endParaRPr lang="en-RO"/>
          </a:p>
        </p:txBody>
      </p:sp>
      <p:sp>
        <p:nvSpPr>
          <p:cNvPr id="42" name="Text Placeholder 36">
            <a:extLst>
              <a:ext uri="{FF2B5EF4-FFF2-40B4-BE49-F238E27FC236}">
                <a16:creationId xmlns:a16="http://schemas.microsoft.com/office/drawing/2014/main" id="{3114EFB6-6EA5-C8AD-C8F1-7B78A337ADE5}"/>
              </a:ext>
            </a:extLst>
          </p:cNvPr>
          <p:cNvSpPr>
            <a:spLocks noGrp="1"/>
          </p:cNvSpPr>
          <p:nvPr>
            <p:ph type="body" sz="quarter" idx="22" hasCustomPrompt="1"/>
          </p:nvPr>
        </p:nvSpPr>
        <p:spPr>
          <a:xfrm>
            <a:off x="5092336" y="4196078"/>
            <a:ext cx="1716087" cy="457200"/>
          </a:xfrm>
        </p:spPr>
        <p:txBody>
          <a:bodyPr anchor="ctr">
            <a:noAutofit/>
          </a:bodyPr>
          <a:lstStyle>
            <a:lvl1pPr algn="ctr">
              <a:lnSpc>
                <a:spcPct val="50000"/>
              </a:lnSpc>
              <a:defRPr b="0" i="0">
                <a:solidFill>
                  <a:schemeClr val="accent1"/>
                </a:solidFill>
                <a:latin typeface="Raleway" pitchFamily="2" charset="77"/>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LICK TO EDIT</a:t>
            </a:r>
          </a:p>
          <a:p>
            <a:pPr lvl="0"/>
            <a:r>
              <a:rPr lang="en-GB"/>
              <a:t>NAME</a:t>
            </a:r>
            <a:endParaRPr lang="en-RO"/>
          </a:p>
        </p:txBody>
      </p:sp>
      <p:sp>
        <p:nvSpPr>
          <p:cNvPr id="43" name="Text Placeholder 38">
            <a:extLst>
              <a:ext uri="{FF2B5EF4-FFF2-40B4-BE49-F238E27FC236}">
                <a16:creationId xmlns:a16="http://schemas.microsoft.com/office/drawing/2014/main" id="{13F23B62-42CD-59DE-3E7A-B146DD9A2F17}"/>
              </a:ext>
            </a:extLst>
          </p:cNvPr>
          <p:cNvSpPr>
            <a:spLocks noGrp="1"/>
          </p:cNvSpPr>
          <p:nvPr>
            <p:ph type="body" sz="quarter" idx="23"/>
          </p:nvPr>
        </p:nvSpPr>
        <p:spPr>
          <a:xfrm>
            <a:off x="5063627" y="4726479"/>
            <a:ext cx="1744663" cy="1223962"/>
          </a:xfrm>
        </p:spPr>
        <p:txBody>
          <a:bodyPr>
            <a:noAutofit/>
          </a:bodyPr>
          <a:lstStyle>
            <a:lvl1pPr algn="ctr">
              <a:defRPr sz="1400" b="0" i="0">
                <a:latin typeface="Raleway" pitchFamily="2" charset="77"/>
              </a:defRPr>
            </a:lvl1pPr>
          </a:lstStyle>
          <a:p>
            <a:pPr lvl="0"/>
            <a:r>
              <a:rPr lang="en-GB"/>
              <a:t>Click to edit Master text style</a:t>
            </a:r>
            <a:endParaRPr lang="en-RO"/>
          </a:p>
        </p:txBody>
      </p:sp>
      <p:sp>
        <p:nvSpPr>
          <p:cNvPr id="44" name="Text Placeholder 36">
            <a:extLst>
              <a:ext uri="{FF2B5EF4-FFF2-40B4-BE49-F238E27FC236}">
                <a16:creationId xmlns:a16="http://schemas.microsoft.com/office/drawing/2014/main" id="{3B3C2F5D-2662-2874-A416-37116900CA9E}"/>
              </a:ext>
            </a:extLst>
          </p:cNvPr>
          <p:cNvSpPr>
            <a:spLocks noGrp="1"/>
          </p:cNvSpPr>
          <p:nvPr>
            <p:ph type="body" sz="quarter" idx="24" hasCustomPrompt="1"/>
          </p:nvPr>
        </p:nvSpPr>
        <p:spPr>
          <a:xfrm>
            <a:off x="7471979" y="4196078"/>
            <a:ext cx="1716087" cy="457200"/>
          </a:xfrm>
        </p:spPr>
        <p:txBody>
          <a:bodyPr anchor="ctr">
            <a:noAutofit/>
          </a:bodyPr>
          <a:lstStyle>
            <a:lvl1pPr algn="ctr">
              <a:lnSpc>
                <a:spcPct val="50000"/>
              </a:lnSpc>
              <a:defRPr b="0" i="0">
                <a:solidFill>
                  <a:schemeClr val="accent1"/>
                </a:solidFill>
                <a:latin typeface="Raleway" pitchFamily="2" charset="77"/>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LICK TO EDIT</a:t>
            </a:r>
          </a:p>
          <a:p>
            <a:pPr lvl="0"/>
            <a:r>
              <a:rPr lang="en-GB"/>
              <a:t>NAME</a:t>
            </a:r>
            <a:endParaRPr lang="en-RO"/>
          </a:p>
        </p:txBody>
      </p:sp>
      <p:sp>
        <p:nvSpPr>
          <p:cNvPr id="45" name="Text Placeholder 38">
            <a:extLst>
              <a:ext uri="{FF2B5EF4-FFF2-40B4-BE49-F238E27FC236}">
                <a16:creationId xmlns:a16="http://schemas.microsoft.com/office/drawing/2014/main" id="{762FAD40-C167-D254-A805-7B51F8AA3E0D}"/>
              </a:ext>
            </a:extLst>
          </p:cNvPr>
          <p:cNvSpPr>
            <a:spLocks noGrp="1"/>
          </p:cNvSpPr>
          <p:nvPr>
            <p:ph type="body" sz="quarter" idx="25"/>
          </p:nvPr>
        </p:nvSpPr>
        <p:spPr>
          <a:xfrm>
            <a:off x="7443270" y="4726479"/>
            <a:ext cx="1744663" cy="1223962"/>
          </a:xfrm>
        </p:spPr>
        <p:txBody>
          <a:bodyPr>
            <a:noAutofit/>
          </a:bodyPr>
          <a:lstStyle>
            <a:lvl1pPr algn="ctr">
              <a:defRPr sz="1400" b="0" i="0">
                <a:latin typeface="Raleway" pitchFamily="2" charset="77"/>
              </a:defRPr>
            </a:lvl1pPr>
          </a:lstStyle>
          <a:p>
            <a:pPr lvl="0"/>
            <a:r>
              <a:rPr lang="en-GB"/>
              <a:t>Click to edit Master text style</a:t>
            </a:r>
            <a:endParaRPr lang="en-RO"/>
          </a:p>
        </p:txBody>
      </p:sp>
      <p:sp>
        <p:nvSpPr>
          <p:cNvPr id="46" name="Text Placeholder 36">
            <a:extLst>
              <a:ext uri="{FF2B5EF4-FFF2-40B4-BE49-F238E27FC236}">
                <a16:creationId xmlns:a16="http://schemas.microsoft.com/office/drawing/2014/main" id="{5E9C4030-5B81-96D1-01CB-CCA320BE3602}"/>
              </a:ext>
            </a:extLst>
          </p:cNvPr>
          <p:cNvSpPr>
            <a:spLocks noGrp="1"/>
          </p:cNvSpPr>
          <p:nvPr>
            <p:ph type="body" sz="quarter" idx="26" hasCustomPrompt="1"/>
          </p:nvPr>
        </p:nvSpPr>
        <p:spPr>
          <a:xfrm>
            <a:off x="9806218" y="4196078"/>
            <a:ext cx="1716087" cy="457200"/>
          </a:xfrm>
        </p:spPr>
        <p:txBody>
          <a:bodyPr anchor="ctr">
            <a:noAutofit/>
          </a:bodyPr>
          <a:lstStyle>
            <a:lvl1pPr algn="ctr">
              <a:lnSpc>
                <a:spcPct val="50000"/>
              </a:lnSpc>
              <a:defRPr b="0" i="0">
                <a:solidFill>
                  <a:schemeClr val="accent1"/>
                </a:solidFill>
                <a:latin typeface="Raleway" pitchFamily="2" charset="77"/>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LICK TO EDIT</a:t>
            </a:r>
          </a:p>
          <a:p>
            <a:pPr lvl="0"/>
            <a:r>
              <a:rPr lang="en-GB"/>
              <a:t>NAME</a:t>
            </a:r>
            <a:endParaRPr lang="en-RO"/>
          </a:p>
        </p:txBody>
      </p:sp>
      <p:sp>
        <p:nvSpPr>
          <p:cNvPr id="47" name="Text Placeholder 38">
            <a:extLst>
              <a:ext uri="{FF2B5EF4-FFF2-40B4-BE49-F238E27FC236}">
                <a16:creationId xmlns:a16="http://schemas.microsoft.com/office/drawing/2014/main" id="{7D541862-D42E-1B01-03B3-E1C5B09B2697}"/>
              </a:ext>
            </a:extLst>
          </p:cNvPr>
          <p:cNvSpPr>
            <a:spLocks noGrp="1"/>
          </p:cNvSpPr>
          <p:nvPr>
            <p:ph type="body" sz="quarter" idx="27"/>
          </p:nvPr>
        </p:nvSpPr>
        <p:spPr>
          <a:xfrm>
            <a:off x="9777509" y="4726479"/>
            <a:ext cx="1744663" cy="1223962"/>
          </a:xfrm>
        </p:spPr>
        <p:txBody>
          <a:bodyPr>
            <a:noAutofit/>
          </a:bodyPr>
          <a:lstStyle>
            <a:lvl1pPr algn="ctr">
              <a:defRPr sz="1400" b="0" i="0">
                <a:latin typeface="Raleway" pitchFamily="2" charset="77"/>
              </a:defRPr>
            </a:lvl1pPr>
          </a:lstStyle>
          <a:p>
            <a:pPr lvl="0"/>
            <a:r>
              <a:rPr lang="en-GB"/>
              <a:t>Click to edit Master text style</a:t>
            </a:r>
            <a:endParaRPr lang="en-RO"/>
          </a:p>
        </p:txBody>
      </p:sp>
      <p:pic>
        <p:nvPicPr>
          <p:cNvPr id="4" name="Content Placeholder 9" descr="Logo&#10;&#10;Description automatically generated">
            <a:extLst>
              <a:ext uri="{FF2B5EF4-FFF2-40B4-BE49-F238E27FC236}">
                <a16:creationId xmlns:a16="http://schemas.microsoft.com/office/drawing/2014/main" id="{F2E0FFA0-A195-F4BF-4416-9A90ADEE2C6B}"/>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20189043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838200" y="1292235"/>
            <a:ext cx="10515600" cy="1257116"/>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6" y="6318245"/>
            <a:ext cx="403412"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0" name="Round Same-side Corner of Rectangle 9">
            <a:extLst>
              <a:ext uri="{FF2B5EF4-FFF2-40B4-BE49-F238E27FC236}">
                <a16:creationId xmlns:a16="http://schemas.microsoft.com/office/drawing/2014/main" id="{895C77DB-2F91-1844-3513-C04DED213A12}"/>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1" name="Picture Placeholder 3">
            <a:extLst>
              <a:ext uri="{FF2B5EF4-FFF2-40B4-BE49-F238E27FC236}">
                <a16:creationId xmlns:a16="http://schemas.microsoft.com/office/drawing/2014/main" id="{0F050AED-C15E-824D-5B19-81C82DE9437F}"/>
              </a:ext>
            </a:extLst>
          </p:cNvPr>
          <p:cNvSpPr>
            <a:spLocks noGrp="1"/>
          </p:cNvSpPr>
          <p:nvPr>
            <p:ph type="pic" sz="quarter" idx="10"/>
          </p:nvPr>
        </p:nvSpPr>
        <p:spPr>
          <a:xfrm>
            <a:off x="999827" y="3111104"/>
            <a:ext cx="3051755" cy="1830167"/>
          </a:xfrm>
          <a:pattFill prst="pct5">
            <a:fgClr>
              <a:schemeClr val="accent1"/>
            </a:fgClr>
            <a:bgClr>
              <a:schemeClr val="bg1"/>
            </a:bgClr>
          </a:pattFill>
        </p:spPr>
      </p:sp>
      <p:sp>
        <p:nvSpPr>
          <p:cNvPr id="12" name="Picture Placeholder 4">
            <a:extLst>
              <a:ext uri="{FF2B5EF4-FFF2-40B4-BE49-F238E27FC236}">
                <a16:creationId xmlns:a16="http://schemas.microsoft.com/office/drawing/2014/main" id="{1FD98743-6109-1FC9-A476-C1DE4B1DF6B4}"/>
              </a:ext>
            </a:extLst>
          </p:cNvPr>
          <p:cNvSpPr>
            <a:spLocks noGrp="1"/>
          </p:cNvSpPr>
          <p:nvPr>
            <p:ph type="pic" sz="quarter" idx="11"/>
          </p:nvPr>
        </p:nvSpPr>
        <p:spPr>
          <a:xfrm>
            <a:off x="4257841" y="3113221"/>
            <a:ext cx="3372859" cy="1825933"/>
          </a:xfrm>
          <a:pattFill prst="pct5">
            <a:fgClr>
              <a:schemeClr val="accent1"/>
            </a:fgClr>
            <a:bgClr>
              <a:schemeClr val="bg1"/>
            </a:bgClr>
          </a:pattFill>
        </p:spPr>
      </p:sp>
      <p:sp>
        <p:nvSpPr>
          <p:cNvPr id="13" name="Picture Placeholder 8">
            <a:extLst>
              <a:ext uri="{FF2B5EF4-FFF2-40B4-BE49-F238E27FC236}">
                <a16:creationId xmlns:a16="http://schemas.microsoft.com/office/drawing/2014/main" id="{DD0D713B-A960-5AD3-525F-53F9A7C32500}"/>
              </a:ext>
            </a:extLst>
          </p:cNvPr>
          <p:cNvSpPr>
            <a:spLocks noGrp="1"/>
          </p:cNvSpPr>
          <p:nvPr>
            <p:ph type="pic" sz="quarter" idx="13"/>
          </p:nvPr>
        </p:nvSpPr>
        <p:spPr>
          <a:xfrm>
            <a:off x="7836959" y="3111104"/>
            <a:ext cx="3051755" cy="1830167"/>
          </a:xfrm>
          <a:pattFill prst="pct5">
            <a:fgClr>
              <a:schemeClr val="accent1"/>
            </a:fgClr>
            <a:bgClr>
              <a:schemeClr val="bg1"/>
            </a:bgClr>
          </a:pattFill>
        </p:spPr>
      </p:sp>
      <p:sp>
        <p:nvSpPr>
          <p:cNvPr id="14" name="Shape 34">
            <a:extLst>
              <a:ext uri="{FF2B5EF4-FFF2-40B4-BE49-F238E27FC236}">
                <a16:creationId xmlns:a16="http://schemas.microsoft.com/office/drawing/2014/main" id="{E19344EB-D3DE-5E66-BF1F-421BE49A001A}"/>
              </a:ext>
            </a:extLst>
          </p:cNvPr>
          <p:cNvSpPr/>
          <p:nvPr userDrawn="1"/>
        </p:nvSpPr>
        <p:spPr>
          <a:xfrm>
            <a:off x="980777" y="2659621"/>
            <a:ext cx="1270272" cy="353447"/>
          </a:xfrm>
          <a:prstGeom prst="roundRect">
            <a:avLst>
              <a:gd name="adj" fmla="val 50000"/>
            </a:avLst>
          </a:prstGeom>
          <a:solidFill>
            <a:srgbClr val="007BBF"/>
          </a:solidFill>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gn="l">
              <a:defRPr sz="2600" spc="546">
                <a:solidFill>
                  <a:srgbClr val="53585F"/>
                </a:solidFill>
                <a:latin typeface="Lato Semibold"/>
                <a:ea typeface="Lato Semibold"/>
                <a:cs typeface="Lato Semibold"/>
                <a:sym typeface="Lato Semibold"/>
              </a:defRPr>
            </a:lvl1pPr>
          </a:lstStyle>
          <a:p>
            <a:pPr algn="ctr"/>
            <a:r>
              <a:rPr lang="id-ID" sz="1300" b="0" i="0" spc="260">
                <a:solidFill>
                  <a:schemeClr val="bg1"/>
                </a:solidFill>
                <a:latin typeface="Raleway" pitchFamily="2" charset="77"/>
                <a:ea typeface="Lato Semibold" panose="020F0502020204030203" pitchFamily="34" charset="0"/>
                <a:cs typeface="Lato Semibold" panose="020F0502020204030203" pitchFamily="34" charset="0"/>
              </a:rPr>
              <a:t>2012</a:t>
            </a:r>
          </a:p>
        </p:txBody>
      </p:sp>
      <p:sp>
        <p:nvSpPr>
          <p:cNvPr id="15" name="Shape 34">
            <a:extLst>
              <a:ext uri="{FF2B5EF4-FFF2-40B4-BE49-F238E27FC236}">
                <a16:creationId xmlns:a16="http://schemas.microsoft.com/office/drawing/2014/main" id="{57F16E23-954D-04B4-A22C-80E1905649B1}"/>
              </a:ext>
            </a:extLst>
          </p:cNvPr>
          <p:cNvSpPr/>
          <p:nvPr userDrawn="1"/>
        </p:nvSpPr>
        <p:spPr>
          <a:xfrm>
            <a:off x="4238791" y="2659621"/>
            <a:ext cx="1270272" cy="353447"/>
          </a:xfrm>
          <a:prstGeom prst="roundRect">
            <a:avLst>
              <a:gd name="adj" fmla="val 50000"/>
            </a:avLst>
          </a:prstGeom>
          <a:solidFill>
            <a:srgbClr val="007BBF"/>
          </a:solidFill>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gn="l">
              <a:defRPr sz="2600" spc="546">
                <a:solidFill>
                  <a:srgbClr val="53585F"/>
                </a:solidFill>
                <a:latin typeface="Lato Semibold"/>
                <a:ea typeface="Lato Semibold"/>
                <a:cs typeface="Lato Semibold"/>
                <a:sym typeface="Lato Semibold"/>
              </a:defRPr>
            </a:lvl1pPr>
          </a:lstStyle>
          <a:p>
            <a:pPr algn="ctr"/>
            <a:r>
              <a:rPr lang="id-ID" sz="1300" b="0" i="0" spc="260">
                <a:solidFill>
                  <a:schemeClr val="bg1"/>
                </a:solidFill>
                <a:latin typeface="Raleway" pitchFamily="2" charset="77"/>
                <a:ea typeface="Lato Semibold" panose="020F0502020204030203" pitchFamily="34" charset="0"/>
                <a:cs typeface="Lato Semibold" panose="020F0502020204030203" pitchFamily="34" charset="0"/>
              </a:rPr>
              <a:t>201</a:t>
            </a:r>
            <a:r>
              <a:rPr lang="en-US" sz="1300" b="0" i="0" spc="260">
                <a:solidFill>
                  <a:schemeClr val="bg1"/>
                </a:solidFill>
                <a:latin typeface="Raleway" pitchFamily="2" charset="77"/>
                <a:ea typeface="Lato Semibold" panose="020F0502020204030203" pitchFamily="34" charset="0"/>
                <a:cs typeface="Lato Semibold" panose="020F0502020204030203" pitchFamily="34" charset="0"/>
              </a:rPr>
              <a:t>4</a:t>
            </a:r>
            <a:endParaRPr lang="id-ID" sz="1300" b="0" i="0" spc="260">
              <a:solidFill>
                <a:schemeClr val="bg1"/>
              </a:solidFill>
              <a:latin typeface="Raleway" pitchFamily="2" charset="77"/>
              <a:ea typeface="Lato Semibold" panose="020F0502020204030203" pitchFamily="34" charset="0"/>
              <a:cs typeface="Lato Semibold" panose="020F0502020204030203" pitchFamily="34" charset="0"/>
            </a:endParaRPr>
          </a:p>
        </p:txBody>
      </p:sp>
      <p:sp>
        <p:nvSpPr>
          <p:cNvPr id="16" name="Shape 34">
            <a:extLst>
              <a:ext uri="{FF2B5EF4-FFF2-40B4-BE49-F238E27FC236}">
                <a16:creationId xmlns:a16="http://schemas.microsoft.com/office/drawing/2014/main" id="{404D15FB-14E0-E32A-B026-94228C6BDAB3}"/>
              </a:ext>
            </a:extLst>
          </p:cNvPr>
          <p:cNvSpPr/>
          <p:nvPr userDrawn="1"/>
        </p:nvSpPr>
        <p:spPr>
          <a:xfrm>
            <a:off x="7810441" y="2659621"/>
            <a:ext cx="1270272" cy="353447"/>
          </a:xfrm>
          <a:prstGeom prst="roundRect">
            <a:avLst>
              <a:gd name="adj" fmla="val 50000"/>
            </a:avLst>
          </a:prstGeom>
          <a:solidFill>
            <a:srgbClr val="007BBF"/>
          </a:solidFill>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gn="l">
              <a:defRPr sz="2600" spc="546">
                <a:solidFill>
                  <a:srgbClr val="53585F"/>
                </a:solidFill>
                <a:latin typeface="Lato Semibold"/>
                <a:ea typeface="Lato Semibold"/>
                <a:cs typeface="Lato Semibold"/>
                <a:sym typeface="Lato Semibold"/>
              </a:defRPr>
            </a:lvl1pPr>
          </a:lstStyle>
          <a:p>
            <a:pPr algn="ctr"/>
            <a:r>
              <a:rPr lang="id-ID" sz="1300" b="0" i="0" spc="260">
                <a:solidFill>
                  <a:schemeClr val="bg1"/>
                </a:solidFill>
                <a:latin typeface="Raleway" pitchFamily="2" charset="77"/>
                <a:ea typeface="Lato Semibold" panose="020F0502020204030203" pitchFamily="34" charset="0"/>
                <a:cs typeface="Lato Semibold" panose="020F0502020204030203" pitchFamily="34" charset="0"/>
              </a:rPr>
              <a:t>201</a:t>
            </a:r>
            <a:r>
              <a:rPr lang="en-US" sz="1300" b="0" i="0" spc="260">
                <a:solidFill>
                  <a:schemeClr val="bg1"/>
                </a:solidFill>
                <a:latin typeface="Raleway" pitchFamily="2" charset="77"/>
                <a:ea typeface="Lato Semibold" panose="020F0502020204030203" pitchFamily="34" charset="0"/>
                <a:cs typeface="Lato Semibold" panose="020F0502020204030203" pitchFamily="34" charset="0"/>
              </a:rPr>
              <a:t>8</a:t>
            </a:r>
            <a:endParaRPr lang="id-ID" sz="1300" b="0" i="0" spc="260">
              <a:solidFill>
                <a:schemeClr val="bg1"/>
              </a:solidFill>
              <a:latin typeface="Raleway" pitchFamily="2" charset="77"/>
              <a:ea typeface="Lato Semibold" panose="020F0502020204030203" pitchFamily="34" charset="0"/>
              <a:cs typeface="Lato Semibold" panose="020F0502020204030203" pitchFamily="34" charset="0"/>
            </a:endParaRPr>
          </a:p>
        </p:txBody>
      </p:sp>
      <p:sp>
        <p:nvSpPr>
          <p:cNvPr id="17" name="TextBox 16">
            <a:extLst>
              <a:ext uri="{FF2B5EF4-FFF2-40B4-BE49-F238E27FC236}">
                <a16:creationId xmlns:a16="http://schemas.microsoft.com/office/drawing/2014/main" id="{5E436E64-592F-A463-5A93-4F2FCFA777F4}"/>
              </a:ext>
            </a:extLst>
          </p:cNvPr>
          <p:cNvSpPr txBox="1"/>
          <p:nvPr userDrawn="1"/>
        </p:nvSpPr>
        <p:spPr>
          <a:xfrm>
            <a:off x="888974" y="5139723"/>
            <a:ext cx="3162608" cy="726802"/>
          </a:xfrm>
          <a:prstGeom prst="rect">
            <a:avLst/>
          </a:prstGeom>
          <a:noFill/>
        </p:spPr>
        <p:txBody>
          <a:bodyPr wrap="square" rtlCol="0">
            <a:spAutoFit/>
          </a:bodyPr>
          <a:lstStyle/>
          <a:p>
            <a:pPr>
              <a:lnSpc>
                <a:spcPts val="1700"/>
              </a:lnSpc>
            </a:pPr>
            <a:r>
              <a:rPr lang="id-ID" sz="1140" b="0" i="0" spc="-40">
                <a:solidFill>
                  <a:schemeClr val="tx1">
                    <a:lumMod val="75000"/>
                    <a:lumOff val="25000"/>
                  </a:schemeClr>
                </a:solidFill>
                <a:latin typeface="Raleway" pitchFamily="2" charset="77"/>
                <a:ea typeface="Lato regular" panose="020F0502020204030203" pitchFamily="34" charset="0"/>
                <a:cs typeface="Lato regular" panose="020F0502020204030203" pitchFamily="34" charset="0"/>
              </a:rPr>
              <a:t>Dan bek that mdan bek.lorem ipsum dolor sit amet alelon minting hana so tegu eh pue hom hai nyan</a:t>
            </a:r>
          </a:p>
        </p:txBody>
      </p:sp>
      <p:sp>
        <p:nvSpPr>
          <p:cNvPr id="18" name="TextBox 17">
            <a:extLst>
              <a:ext uri="{FF2B5EF4-FFF2-40B4-BE49-F238E27FC236}">
                <a16:creationId xmlns:a16="http://schemas.microsoft.com/office/drawing/2014/main" id="{08CD4ECF-CF4E-790A-C270-F558CC882B4D}"/>
              </a:ext>
            </a:extLst>
          </p:cNvPr>
          <p:cNvSpPr txBox="1"/>
          <p:nvPr userDrawn="1"/>
        </p:nvSpPr>
        <p:spPr>
          <a:xfrm>
            <a:off x="4156356" y="5139723"/>
            <a:ext cx="3654085" cy="528350"/>
          </a:xfrm>
          <a:prstGeom prst="rect">
            <a:avLst/>
          </a:prstGeom>
          <a:noFill/>
        </p:spPr>
        <p:txBody>
          <a:bodyPr wrap="square" rtlCol="0">
            <a:spAutoFit/>
          </a:bodyPr>
          <a:lstStyle/>
          <a:p>
            <a:pPr>
              <a:lnSpc>
                <a:spcPts val="1700"/>
              </a:lnSpc>
            </a:pPr>
            <a:r>
              <a:rPr lang="id-ID" sz="1140" b="0" i="0" spc="-40">
                <a:solidFill>
                  <a:schemeClr val="tx1">
                    <a:lumMod val="75000"/>
                    <a:lumOff val="25000"/>
                  </a:schemeClr>
                </a:solidFill>
                <a:latin typeface="Raleway" pitchFamily="2" charset="77"/>
                <a:ea typeface="Lato regular" panose="020F0502020204030203" pitchFamily="34" charset="0"/>
                <a:cs typeface="Lato regular" panose="020F0502020204030203" pitchFamily="34" charset="0"/>
              </a:rPr>
              <a:t>Dan bek that mdan bek.lorem ipsum dolor sit amet alelon minting hana so tegu eh pue hom hai nyan</a:t>
            </a:r>
          </a:p>
        </p:txBody>
      </p:sp>
      <p:sp>
        <p:nvSpPr>
          <p:cNvPr id="19" name="TextBox 18">
            <a:extLst>
              <a:ext uri="{FF2B5EF4-FFF2-40B4-BE49-F238E27FC236}">
                <a16:creationId xmlns:a16="http://schemas.microsoft.com/office/drawing/2014/main" id="{FAF6F93F-A3FF-CDCF-3AD6-B7086421F90D}"/>
              </a:ext>
            </a:extLst>
          </p:cNvPr>
          <p:cNvSpPr txBox="1"/>
          <p:nvPr userDrawn="1"/>
        </p:nvSpPr>
        <p:spPr>
          <a:xfrm>
            <a:off x="7735812" y="5139723"/>
            <a:ext cx="3162608" cy="726802"/>
          </a:xfrm>
          <a:prstGeom prst="rect">
            <a:avLst/>
          </a:prstGeom>
          <a:noFill/>
        </p:spPr>
        <p:txBody>
          <a:bodyPr wrap="square" rtlCol="0">
            <a:spAutoFit/>
          </a:bodyPr>
          <a:lstStyle/>
          <a:p>
            <a:pPr>
              <a:lnSpc>
                <a:spcPts val="1700"/>
              </a:lnSpc>
            </a:pPr>
            <a:r>
              <a:rPr lang="id-ID" sz="1140" b="0" i="0" spc="-40">
                <a:solidFill>
                  <a:schemeClr val="tx1">
                    <a:lumMod val="75000"/>
                    <a:lumOff val="25000"/>
                  </a:schemeClr>
                </a:solidFill>
                <a:latin typeface="Raleway" pitchFamily="2" charset="77"/>
                <a:ea typeface="Lato regular" panose="020F0502020204030203" pitchFamily="34" charset="0"/>
                <a:cs typeface="Lato regular" panose="020F0502020204030203" pitchFamily="34" charset="0"/>
              </a:rPr>
              <a:t>Dan bek that mdan bek.lorem ipsum dolor sit amet alelon minting hana so tegu eh pue hom hai nyan</a:t>
            </a:r>
          </a:p>
        </p:txBody>
      </p:sp>
      <p:pic>
        <p:nvPicPr>
          <p:cNvPr id="4" name="Content Placeholder 9" descr="Logo&#10;&#10;Description automatically generated">
            <a:extLst>
              <a:ext uri="{FF2B5EF4-FFF2-40B4-BE49-F238E27FC236}">
                <a16:creationId xmlns:a16="http://schemas.microsoft.com/office/drawing/2014/main" id="{F7E2C7E3-5BB9-0AD4-D87C-9F16946182F9}"/>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9586947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6308202" y="1524167"/>
            <a:ext cx="5045597" cy="4351338"/>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8" name="Picture Placeholder 17">
            <a:extLst>
              <a:ext uri="{FF2B5EF4-FFF2-40B4-BE49-F238E27FC236}">
                <a16:creationId xmlns:a16="http://schemas.microsoft.com/office/drawing/2014/main" id="{270F0D55-CB3D-698D-A72F-B17772024DE1}"/>
              </a:ext>
            </a:extLst>
          </p:cNvPr>
          <p:cNvSpPr>
            <a:spLocks noGrp="1"/>
          </p:cNvSpPr>
          <p:nvPr>
            <p:ph type="pic" sz="quarter" idx="13"/>
          </p:nvPr>
        </p:nvSpPr>
        <p:spPr>
          <a:xfrm>
            <a:off x="0" y="1469189"/>
            <a:ext cx="5883273" cy="4406317"/>
          </a:xfrm>
          <a:custGeom>
            <a:avLst/>
            <a:gdLst>
              <a:gd name="connsiteX0" fmla="*/ 0 w 5883273"/>
              <a:gd name="connsiteY0" fmla="*/ 0 h 4406317"/>
              <a:gd name="connsiteX1" fmla="*/ 5451266 w 5883273"/>
              <a:gd name="connsiteY1" fmla="*/ 0 h 4406317"/>
              <a:gd name="connsiteX2" fmla="*/ 5882228 w 5883273"/>
              <a:gd name="connsiteY2" fmla="*/ 460952 h 4406317"/>
              <a:gd name="connsiteX3" fmla="*/ 5636212 w 5883273"/>
              <a:gd name="connsiteY3" fmla="*/ 4004995 h 4406317"/>
              <a:gd name="connsiteX4" fmla="*/ 5288284 w 5883273"/>
              <a:gd name="connsiteY4" fmla="*/ 4398345 h 4406317"/>
              <a:gd name="connsiteX5" fmla="*/ 5205282 w 5883273"/>
              <a:gd name="connsiteY5" fmla="*/ 4406317 h 4406317"/>
              <a:gd name="connsiteX6" fmla="*/ 0 w 5883273"/>
              <a:gd name="connsiteY6" fmla="*/ 4406317 h 4406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83273" h="4406317">
                <a:moveTo>
                  <a:pt x="0" y="0"/>
                </a:moveTo>
                <a:lnTo>
                  <a:pt x="5451266" y="0"/>
                </a:lnTo>
                <a:cubicBezTo>
                  <a:pt x="5701565" y="0"/>
                  <a:pt x="5899458" y="211650"/>
                  <a:pt x="5882228" y="460952"/>
                </a:cubicBezTo>
                <a:lnTo>
                  <a:pt x="5636212" y="4004995"/>
                </a:lnTo>
                <a:cubicBezTo>
                  <a:pt x="5622474" y="4202745"/>
                  <a:pt x="5476582" y="4361697"/>
                  <a:pt x="5288284" y="4398345"/>
                </a:cubicBezTo>
                <a:lnTo>
                  <a:pt x="5205282" y="4406317"/>
                </a:lnTo>
                <a:lnTo>
                  <a:pt x="0" y="4406317"/>
                </a:ln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23" name="Round Same-side Corner of Rectangle 22">
            <a:extLst>
              <a:ext uri="{FF2B5EF4-FFF2-40B4-BE49-F238E27FC236}">
                <a16:creationId xmlns:a16="http://schemas.microsoft.com/office/drawing/2014/main" id="{BCEB2BFD-2528-8E25-AB10-08B61CC51013}"/>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pic>
        <p:nvPicPr>
          <p:cNvPr id="4" name="Content Placeholder 9" descr="Logo&#10;&#10;Description automatically generated">
            <a:extLst>
              <a:ext uri="{FF2B5EF4-FFF2-40B4-BE49-F238E27FC236}">
                <a16:creationId xmlns:a16="http://schemas.microsoft.com/office/drawing/2014/main" id="{483EF1A3-4C0A-D269-AAA9-09F56D826E72}"/>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6363064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838200" y="2005069"/>
            <a:ext cx="5045597" cy="3870435"/>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80934" y="6318245"/>
            <a:ext cx="38320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8" name="Picture Placeholder 17">
            <a:extLst>
              <a:ext uri="{FF2B5EF4-FFF2-40B4-BE49-F238E27FC236}">
                <a16:creationId xmlns:a16="http://schemas.microsoft.com/office/drawing/2014/main" id="{270F0D55-CB3D-698D-A72F-B17772024DE1}"/>
              </a:ext>
            </a:extLst>
          </p:cNvPr>
          <p:cNvSpPr>
            <a:spLocks noGrp="1"/>
          </p:cNvSpPr>
          <p:nvPr>
            <p:ph type="pic" sz="quarter" idx="13"/>
          </p:nvPr>
        </p:nvSpPr>
        <p:spPr>
          <a:xfrm flipH="1">
            <a:off x="6308727" y="1469189"/>
            <a:ext cx="5883273" cy="4406317"/>
          </a:xfrm>
          <a:custGeom>
            <a:avLst/>
            <a:gdLst>
              <a:gd name="connsiteX0" fmla="*/ 0 w 5883273"/>
              <a:gd name="connsiteY0" fmla="*/ 0 h 4406317"/>
              <a:gd name="connsiteX1" fmla="*/ 5451266 w 5883273"/>
              <a:gd name="connsiteY1" fmla="*/ 0 h 4406317"/>
              <a:gd name="connsiteX2" fmla="*/ 5882228 w 5883273"/>
              <a:gd name="connsiteY2" fmla="*/ 460952 h 4406317"/>
              <a:gd name="connsiteX3" fmla="*/ 5636212 w 5883273"/>
              <a:gd name="connsiteY3" fmla="*/ 4004995 h 4406317"/>
              <a:gd name="connsiteX4" fmla="*/ 5288284 w 5883273"/>
              <a:gd name="connsiteY4" fmla="*/ 4398345 h 4406317"/>
              <a:gd name="connsiteX5" fmla="*/ 5205282 w 5883273"/>
              <a:gd name="connsiteY5" fmla="*/ 4406317 h 4406317"/>
              <a:gd name="connsiteX6" fmla="*/ 0 w 5883273"/>
              <a:gd name="connsiteY6" fmla="*/ 4406317 h 4406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83273" h="4406317">
                <a:moveTo>
                  <a:pt x="0" y="0"/>
                </a:moveTo>
                <a:lnTo>
                  <a:pt x="5451266" y="0"/>
                </a:lnTo>
                <a:cubicBezTo>
                  <a:pt x="5701565" y="0"/>
                  <a:pt x="5899458" y="211650"/>
                  <a:pt x="5882228" y="460952"/>
                </a:cubicBezTo>
                <a:lnTo>
                  <a:pt x="5636212" y="4004995"/>
                </a:lnTo>
                <a:cubicBezTo>
                  <a:pt x="5622474" y="4202745"/>
                  <a:pt x="5476582" y="4361697"/>
                  <a:pt x="5288284" y="4398345"/>
                </a:cubicBezTo>
                <a:lnTo>
                  <a:pt x="5205282" y="4406317"/>
                </a:lnTo>
                <a:lnTo>
                  <a:pt x="0" y="4406317"/>
                </a:ln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10" name="Round Same-side Corner of Rectangle 9">
            <a:extLst>
              <a:ext uri="{FF2B5EF4-FFF2-40B4-BE49-F238E27FC236}">
                <a16:creationId xmlns:a16="http://schemas.microsoft.com/office/drawing/2014/main" id="{0F9DB782-BE20-3C11-229C-36C619B311AB}"/>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11" name="Text Placeholder 10">
            <a:extLst>
              <a:ext uri="{FF2B5EF4-FFF2-40B4-BE49-F238E27FC236}">
                <a16:creationId xmlns:a16="http://schemas.microsoft.com/office/drawing/2014/main" id="{8ECD17CD-2DA6-199A-49FE-E55015122BE7}"/>
              </a:ext>
            </a:extLst>
          </p:cNvPr>
          <p:cNvSpPr>
            <a:spLocks noGrp="1"/>
          </p:cNvSpPr>
          <p:nvPr>
            <p:ph type="body" sz="quarter" idx="14" hasCustomPrompt="1"/>
          </p:nvPr>
        </p:nvSpPr>
        <p:spPr>
          <a:xfrm>
            <a:off x="838200" y="1468438"/>
            <a:ext cx="5045075" cy="393700"/>
          </a:xfrm>
          <a:prstGeom prst="roundRect">
            <a:avLst>
              <a:gd name="adj" fmla="val 50000"/>
            </a:avLst>
          </a:prstGeom>
          <a:solidFill>
            <a:srgbClr val="007BBF"/>
          </a:solidFill>
        </p:spPr>
        <p:txBody>
          <a:bodyPr anchor="ctr"/>
          <a:lstStyle>
            <a:lvl1pPr>
              <a:defRPr b="0" i="0">
                <a:solidFill>
                  <a:schemeClr val="bg1"/>
                </a:solidFill>
                <a:latin typeface="Raleway" pitchFamily="2" charset="77"/>
              </a:defRPr>
            </a:lvl1pPr>
          </a:lstStyle>
          <a:p>
            <a:pPr lvl="0"/>
            <a:r>
              <a:rPr lang="en-GB"/>
              <a:t>CLICK TO EDIT SUBTITLE</a:t>
            </a:r>
            <a:endParaRPr lang="en-RO"/>
          </a:p>
        </p:txBody>
      </p:sp>
      <p:pic>
        <p:nvPicPr>
          <p:cNvPr id="4" name="Content Placeholder 9" descr="Logo&#10;&#10;Description automatically generated">
            <a:extLst>
              <a:ext uri="{FF2B5EF4-FFF2-40B4-BE49-F238E27FC236}">
                <a16:creationId xmlns:a16="http://schemas.microsoft.com/office/drawing/2014/main" id="{E43937E0-7294-95D6-5668-EF6DE9C4C5F7}"/>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28204548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C3CA5994-50B0-B3EE-D8B0-4CCB3DB69B85}"/>
              </a:ext>
            </a:extLst>
          </p:cNvPr>
          <p:cNvCxnSpPr>
            <a:cxnSpLocks/>
          </p:cNvCxnSpPr>
          <p:nvPr userDrawn="1"/>
        </p:nvCxnSpPr>
        <p:spPr>
          <a:xfrm>
            <a:off x="1692613" y="6508376"/>
            <a:ext cx="9934611" cy="0"/>
          </a:xfrm>
          <a:prstGeom prst="line">
            <a:avLst/>
          </a:prstGeom>
          <a:ln w="12700">
            <a:solidFill>
              <a:srgbClr val="007BBF"/>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01E029BE-D034-8DFE-BB27-E70D2B608903}"/>
              </a:ext>
            </a:extLst>
          </p:cNvPr>
          <p:cNvSpPr/>
          <p:nvPr userDrawn="1"/>
        </p:nvSpPr>
        <p:spPr>
          <a:xfrm>
            <a:off x="11580935" y="6306670"/>
            <a:ext cx="403412" cy="403412"/>
          </a:xfrm>
          <a:prstGeom prst="ellipse">
            <a:avLst/>
          </a:prstGeom>
          <a:solidFill>
            <a:srgbClr val="017B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 name="Title 1">
            <a:extLst>
              <a:ext uri="{FF2B5EF4-FFF2-40B4-BE49-F238E27FC236}">
                <a16:creationId xmlns:a16="http://schemas.microsoft.com/office/drawing/2014/main" id="{AB9298A4-0412-B95E-52AE-D0E61F5210C3}"/>
              </a:ext>
            </a:extLst>
          </p:cNvPr>
          <p:cNvSpPr>
            <a:spLocks noGrp="1"/>
          </p:cNvSpPr>
          <p:nvPr>
            <p:ph type="title" hasCustomPrompt="1"/>
          </p:nvPr>
        </p:nvSpPr>
        <p:spPr>
          <a:xfrm>
            <a:off x="838200" y="365126"/>
            <a:ext cx="10515600" cy="630298"/>
          </a:xfrm>
        </p:spPr>
        <p:txBody>
          <a:bodyPr anchor="t">
            <a:noAutofit/>
          </a:bodyPr>
          <a:lstStyle>
            <a:lvl1pPr>
              <a:defRPr sz="3600" b="0" i="0">
                <a:solidFill>
                  <a:schemeClr val="accent1"/>
                </a:solidFill>
                <a:latin typeface="Raleway" pitchFamily="2" charset="77"/>
              </a:defRPr>
            </a:lvl1pPr>
          </a:lstStyle>
          <a:p>
            <a:r>
              <a:rPr lang="en-GB"/>
              <a:t>CLICK TO EDIT MASTER TITLE STYLE</a:t>
            </a:r>
            <a:endParaRPr lang="en-RO"/>
          </a:p>
        </p:txBody>
      </p:sp>
      <p:sp>
        <p:nvSpPr>
          <p:cNvPr id="3" name="Content Placeholder 2">
            <a:extLst>
              <a:ext uri="{FF2B5EF4-FFF2-40B4-BE49-F238E27FC236}">
                <a16:creationId xmlns:a16="http://schemas.microsoft.com/office/drawing/2014/main" id="{1BD6C6B7-3A39-E88B-FB10-9C3B2A17D58F}"/>
              </a:ext>
            </a:extLst>
          </p:cNvPr>
          <p:cNvSpPr>
            <a:spLocks noGrp="1"/>
          </p:cNvSpPr>
          <p:nvPr>
            <p:ph idx="1"/>
          </p:nvPr>
        </p:nvSpPr>
        <p:spPr>
          <a:xfrm>
            <a:off x="7504253" y="1524167"/>
            <a:ext cx="3849547" cy="4351338"/>
          </a:xfrm>
        </p:spPr>
        <p:txBody>
          <a:bodyPr>
            <a:noAutofit/>
          </a:bodyPr>
          <a:lstStyle>
            <a:lvl1pPr marL="0" indent="0">
              <a:buNone/>
              <a:defRPr sz="1600" b="0" i="0">
                <a:solidFill>
                  <a:schemeClr val="tx1">
                    <a:lumMod val="75000"/>
                    <a:lumOff val="25000"/>
                  </a:schemeClr>
                </a:solidFill>
                <a:latin typeface="Raleway" pitchFamily="2" charset="77"/>
              </a:defRPr>
            </a:lvl1pPr>
            <a:lvl2pPr>
              <a:defRPr sz="1400" b="0" i="0">
                <a:solidFill>
                  <a:schemeClr val="tx1">
                    <a:lumMod val="75000"/>
                    <a:lumOff val="25000"/>
                  </a:schemeClr>
                </a:solidFill>
                <a:latin typeface="Raleway" pitchFamily="2" charset="77"/>
              </a:defRPr>
            </a:lvl2pPr>
            <a:lvl3pPr>
              <a:defRPr sz="1200" b="0" i="0">
                <a:solidFill>
                  <a:schemeClr val="tx1">
                    <a:lumMod val="75000"/>
                    <a:lumOff val="25000"/>
                  </a:schemeClr>
                </a:solidFill>
                <a:latin typeface="Raleway" pitchFamily="2" charset="77"/>
              </a:defRPr>
            </a:lvl3pPr>
            <a:lvl4pPr>
              <a:defRPr sz="1100" b="0" i="0">
                <a:solidFill>
                  <a:schemeClr val="tx1">
                    <a:lumMod val="75000"/>
                    <a:lumOff val="25000"/>
                  </a:schemeClr>
                </a:solidFill>
                <a:latin typeface="Raleway" pitchFamily="2" charset="77"/>
              </a:defRPr>
            </a:lvl4pPr>
            <a:lvl5pPr>
              <a:defRPr sz="1100" b="0" i="0">
                <a:solidFill>
                  <a:schemeClr val="tx1">
                    <a:lumMod val="75000"/>
                    <a:lumOff val="25000"/>
                  </a:schemeClr>
                </a:solidFill>
                <a:latin typeface="Raleway" pitchFamily="2" charset="77"/>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6" name="Slide Number Placeholder 5">
            <a:extLst>
              <a:ext uri="{FF2B5EF4-FFF2-40B4-BE49-F238E27FC236}">
                <a16:creationId xmlns:a16="http://schemas.microsoft.com/office/drawing/2014/main" id="{9ED1521C-E25B-EF71-9EF4-9C657BCFE401}"/>
              </a:ext>
            </a:extLst>
          </p:cNvPr>
          <p:cNvSpPr>
            <a:spLocks noGrp="1"/>
          </p:cNvSpPr>
          <p:nvPr>
            <p:ph type="sldNum" sz="quarter" idx="12"/>
          </p:nvPr>
        </p:nvSpPr>
        <p:spPr>
          <a:xfrm>
            <a:off x="11560724" y="6318245"/>
            <a:ext cx="403413" cy="365125"/>
          </a:xfrm>
        </p:spPr>
        <p:txBody>
          <a:bodyPr/>
          <a:lstStyle>
            <a:lvl1pPr algn="ctr">
              <a:defRPr>
                <a:solidFill>
                  <a:schemeClr val="bg1"/>
                </a:solidFill>
                <a:latin typeface=""/>
              </a:defRPr>
            </a:lvl1pPr>
          </a:lstStyle>
          <a:p>
            <a:fld id="{1D1C8182-8BBE-B542-ADE5-8820B104469B}" type="slidenum">
              <a:rPr lang="en-RO" smtClean="0"/>
              <a:pPr/>
              <a:t>‹#›</a:t>
            </a:fld>
            <a:endParaRPr lang="en-RO"/>
          </a:p>
        </p:txBody>
      </p:sp>
      <p:sp>
        <p:nvSpPr>
          <p:cNvPr id="19" name="Picture Placeholder 18">
            <a:extLst>
              <a:ext uri="{FF2B5EF4-FFF2-40B4-BE49-F238E27FC236}">
                <a16:creationId xmlns:a16="http://schemas.microsoft.com/office/drawing/2014/main" id="{FA1BF709-66DC-7384-5D01-2DE99C667F32}"/>
              </a:ext>
            </a:extLst>
          </p:cNvPr>
          <p:cNvSpPr>
            <a:spLocks noGrp="1"/>
          </p:cNvSpPr>
          <p:nvPr>
            <p:ph type="pic" sz="quarter" idx="13"/>
          </p:nvPr>
        </p:nvSpPr>
        <p:spPr>
          <a:xfrm>
            <a:off x="566715" y="1497456"/>
            <a:ext cx="6773792" cy="4378036"/>
          </a:xfrm>
          <a:custGeom>
            <a:avLst/>
            <a:gdLst>
              <a:gd name="connsiteX0" fmla="*/ 526847 w 5316105"/>
              <a:gd name="connsiteY0" fmla="*/ 0 h 3435904"/>
              <a:gd name="connsiteX1" fmla="*/ 3962609 w 5316105"/>
              <a:gd name="connsiteY1" fmla="*/ 0 h 3435904"/>
              <a:gd name="connsiteX2" fmla="*/ 4981251 w 5316105"/>
              <a:gd name="connsiteY2" fmla="*/ 0 h 3435904"/>
              <a:gd name="connsiteX3" fmla="*/ 5314567 w 5316105"/>
              <a:gd name="connsiteY3" fmla="*/ 288370 h 3435904"/>
              <a:gd name="connsiteX4" fmla="*/ 5316105 w 5316105"/>
              <a:gd name="connsiteY4" fmla="*/ 330944 h 3435904"/>
              <a:gd name="connsiteX5" fmla="*/ 5316105 w 5316105"/>
              <a:gd name="connsiteY5" fmla="*/ 374646 h 3435904"/>
              <a:gd name="connsiteX6" fmla="*/ 5125397 w 5316105"/>
              <a:gd name="connsiteY6" fmla="*/ 3125050 h 3435904"/>
              <a:gd name="connsiteX7" fmla="*/ 4854222 w 5316105"/>
              <a:gd name="connsiteY7" fmla="*/ 3431975 h 3435904"/>
              <a:gd name="connsiteX8" fmla="*/ 4813358 w 5316105"/>
              <a:gd name="connsiteY8" fmla="*/ 3435904 h 3435904"/>
              <a:gd name="connsiteX9" fmla="*/ 313321 w 5316105"/>
              <a:gd name="connsiteY9" fmla="*/ 3435904 h 3435904"/>
              <a:gd name="connsiteX10" fmla="*/ 264105 w 5316105"/>
              <a:gd name="connsiteY10" fmla="*/ 3430722 h 3435904"/>
              <a:gd name="connsiteX11" fmla="*/ 1763 w 5316105"/>
              <a:gd name="connsiteY11" fmla="*/ 3149828 h 3435904"/>
              <a:gd name="connsiteX12" fmla="*/ 0 w 5316105"/>
              <a:gd name="connsiteY12" fmla="*/ 3100602 h 3435904"/>
              <a:gd name="connsiteX13" fmla="*/ 0 w 5316105"/>
              <a:gd name="connsiteY13" fmla="*/ 3067123 h 3435904"/>
              <a:gd name="connsiteX14" fmla="*/ 190955 w 5316105"/>
              <a:gd name="connsiteY14" fmla="*/ 313148 h 3435904"/>
              <a:gd name="connsiteX15" fmla="*/ 526847 w 5316105"/>
              <a:gd name="connsiteY15" fmla="*/ 0 h 343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16105" h="3435904">
                <a:moveTo>
                  <a:pt x="526847" y="0"/>
                </a:moveTo>
                <a:lnTo>
                  <a:pt x="3962609" y="0"/>
                </a:lnTo>
                <a:lnTo>
                  <a:pt x="4981251" y="0"/>
                </a:lnTo>
                <a:cubicBezTo>
                  <a:pt x="5151948" y="0"/>
                  <a:pt x="5291373" y="126442"/>
                  <a:pt x="5314567" y="288370"/>
                </a:cubicBezTo>
                <a:lnTo>
                  <a:pt x="5316105" y="330944"/>
                </a:lnTo>
                <a:lnTo>
                  <a:pt x="5316105" y="374646"/>
                </a:lnTo>
                <a:lnTo>
                  <a:pt x="5125397" y="3125050"/>
                </a:lnTo>
                <a:cubicBezTo>
                  <a:pt x="5114689" y="3279351"/>
                  <a:pt x="5000981" y="3403379"/>
                  <a:pt x="4854222" y="3431975"/>
                </a:cubicBezTo>
                <a:lnTo>
                  <a:pt x="4813358" y="3435904"/>
                </a:lnTo>
                <a:lnTo>
                  <a:pt x="313321" y="3435904"/>
                </a:lnTo>
                <a:lnTo>
                  <a:pt x="264105" y="3430722"/>
                </a:lnTo>
                <a:cubicBezTo>
                  <a:pt x="126925" y="3401347"/>
                  <a:pt x="21609" y="3288623"/>
                  <a:pt x="1763" y="3149828"/>
                </a:cubicBezTo>
                <a:lnTo>
                  <a:pt x="0" y="3100602"/>
                </a:lnTo>
                <a:lnTo>
                  <a:pt x="0" y="3067123"/>
                </a:lnTo>
                <a:lnTo>
                  <a:pt x="190955" y="313148"/>
                </a:lnTo>
                <a:cubicBezTo>
                  <a:pt x="203193" y="136804"/>
                  <a:pt x="349962" y="0"/>
                  <a:pt x="526847" y="0"/>
                </a:cubicBezTo>
                <a:close/>
              </a:path>
            </a:pathLst>
          </a:custGeom>
          <a:pattFill prst="pct5">
            <a:fgClr>
              <a:schemeClr val="accent1"/>
            </a:fgClr>
            <a:bgClr>
              <a:schemeClr val="bg1"/>
            </a:bgClr>
          </a:pattFill>
        </p:spPr>
        <p:txBody>
          <a:bodyPr wrap="square">
            <a:noAutofit/>
          </a:bodyPr>
          <a:lstStyle>
            <a:lvl1pPr>
              <a:defRPr b="0" i="0">
                <a:latin typeface="Raleway" pitchFamily="2" charset="77"/>
              </a:defRPr>
            </a:lvl1pPr>
          </a:lstStyle>
          <a:p>
            <a:endParaRPr lang="en-RO"/>
          </a:p>
        </p:txBody>
      </p:sp>
      <p:sp>
        <p:nvSpPr>
          <p:cNvPr id="21" name="Round Same-side Corner of Rectangle 20">
            <a:extLst>
              <a:ext uri="{FF2B5EF4-FFF2-40B4-BE49-F238E27FC236}">
                <a16:creationId xmlns:a16="http://schemas.microsoft.com/office/drawing/2014/main" id="{61FB8074-4BD8-E800-F3A8-A43B6DD738EC}"/>
              </a:ext>
            </a:extLst>
          </p:cNvPr>
          <p:cNvSpPr/>
          <p:nvPr userDrawn="1"/>
        </p:nvSpPr>
        <p:spPr>
          <a:xfrm rot="5400000">
            <a:off x="164144" y="280449"/>
            <a:ext cx="471364" cy="799652"/>
          </a:xfrm>
          <a:prstGeom prst="round2SameRect">
            <a:avLst>
              <a:gd name="adj1" fmla="val 50000"/>
              <a:gd name="adj2" fmla="val 0"/>
            </a:avLst>
          </a:prstGeom>
          <a:solidFill>
            <a:srgbClr val="007B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RO"/>
          </a:p>
        </p:txBody>
      </p:sp>
      <p:pic>
        <p:nvPicPr>
          <p:cNvPr id="4" name="Content Placeholder 9" descr="Logo&#10;&#10;Description automatically generated">
            <a:extLst>
              <a:ext uri="{FF2B5EF4-FFF2-40B4-BE49-F238E27FC236}">
                <a16:creationId xmlns:a16="http://schemas.microsoft.com/office/drawing/2014/main" id="{ED20DC08-FE9A-BDF0-DEA8-8FA8E4891D1E}"/>
              </a:ext>
            </a:extLst>
          </p:cNvPr>
          <p:cNvPicPr>
            <a:picLocks noChangeAspect="1"/>
          </p:cNvPicPr>
          <p:nvPr userDrawn="1"/>
        </p:nvPicPr>
        <p:blipFill>
          <a:blip r:embed="rId2"/>
          <a:stretch>
            <a:fillRect/>
          </a:stretch>
        </p:blipFill>
        <p:spPr>
          <a:xfrm>
            <a:off x="207653" y="6122143"/>
            <a:ext cx="1221061" cy="630298"/>
          </a:xfrm>
          <a:prstGeom prst="rect">
            <a:avLst/>
          </a:prstGeom>
        </p:spPr>
      </p:pic>
    </p:spTree>
    <p:extLst>
      <p:ext uri="{BB962C8B-B14F-4D97-AF65-F5344CB8AC3E}">
        <p14:creationId xmlns:p14="http://schemas.microsoft.com/office/powerpoint/2010/main" val="3425262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066C26-E44F-99C6-ED28-9D9A0518459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RO"/>
          </a:p>
        </p:txBody>
      </p:sp>
      <p:sp>
        <p:nvSpPr>
          <p:cNvPr id="3" name="Text Placeholder 2">
            <a:extLst>
              <a:ext uri="{FF2B5EF4-FFF2-40B4-BE49-F238E27FC236}">
                <a16:creationId xmlns:a16="http://schemas.microsoft.com/office/drawing/2014/main" id="{A254EE8C-9037-0311-FA6E-8625185DF86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RO"/>
          </a:p>
        </p:txBody>
      </p:sp>
      <p:sp>
        <p:nvSpPr>
          <p:cNvPr id="4" name="Date Placeholder 3">
            <a:extLst>
              <a:ext uri="{FF2B5EF4-FFF2-40B4-BE49-F238E27FC236}">
                <a16:creationId xmlns:a16="http://schemas.microsoft.com/office/drawing/2014/main" id="{97014609-2069-31D9-EB28-D5EE2043A84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Raleway" pitchFamily="2" charset="77"/>
              </a:defRPr>
            </a:lvl1pPr>
          </a:lstStyle>
          <a:p>
            <a:endParaRPr lang="en-RO"/>
          </a:p>
        </p:txBody>
      </p:sp>
      <p:sp>
        <p:nvSpPr>
          <p:cNvPr id="5" name="Footer Placeholder 4">
            <a:extLst>
              <a:ext uri="{FF2B5EF4-FFF2-40B4-BE49-F238E27FC236}">
                <a16:creationId xmlns:a16="http://schemas.microsoft.com/office/drawing/2014/main" id="{4C6DED9F-9736-585A-4416-8306B609A64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Raleway" pitchFamily="2" charset="77"/>
              </a:defRPr>
            </a:lvl1pPr>
          </a:lstStyle>
          <a:p>
            <a:endParaRPr lang="en-RO"/>
          </a:p>
        </p:txBody>
      </p:sp>
      <p:sp>
        <p:nvSpPr>
          <p:cNvPr id="6" name="Slide Number Placeholder 5">
            <a:extLst>
              <a:ext uri="{FF2B5EF4-FFF2-40B4-BE49-F238E27FC236}">
                <a16:creationId xmlns:a16="http://schemas.microsoft.com/office/drawing/2014/main" id="{D55AABB6-C0A0-6B7E-A311-1589B930117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Raleway" pitchFamily="2" charset="77"/>
              </a:defRPr>
            </a:lvl1pPr>
          </a:lstStyle>
          <a:p>
            <a:fld id="{1D1C8182-8BBE-B542-ADE5-8820B104469B}" type="slidenum">
              <a:rPr lang="en-RO" smtClean="0"/>
              <a:pPr/>
              <a:t>‹#›</a:t>
            </a:fld>
            <a:endParaRPr lang="en-RO"/>
          </a:p>
        </p:txBody>
      </p:sp>
    </p:spTree>
    <p:extLst>
      <p:ext uri="{BB962C8B-B14F-4D97-AF65-F5344CB8AC3E}">
        <p14:creationId xmlns:p14="http://schemas.microsoft.com/office/powerpoint/2010/main" val="146842106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75" r:id="rId3"/>
    <p:sldLayoutId id="2147483678" r:id="rId4"/>
    <p:sldLayoutId id="2147483679" r:id="rId5"/>
    <p:sldLayoutId id="2147483674" r:id="rId6"/>
    <p:sldLayoutId id="2147483660" r:id="rId7"/>
    <p:sldLayoutId id="2147483661" r:id="rId8"/>
    <p:sldLayoutId id="2147483662" r:id="rId9"/>
    <p:sldLayoutId id="2147483665" r:id="rId10"/>
    <p:sldLayoutId id="2147483663" r:id="rId11"/>
    <p:sldLayoutId id="2147483664" r:id="rId12"/>
    <p:sldLayoutId id="2147483671" r:id="rId13"/>
    <p:sldLayoutId id="2147483672" r:id="rId14"/>
    <p:sldLayoutId id="2147483666" r:id="rId15"/>
    <p:sldLayoutId id="2147483673" r:id="rId16"/>
    <p:sldLayoutId id="2147483682" r:id="rId17"/>
    <p:sldLayoutId id="2147483670" r:id="rId18"/>
    <p:sldLayoutId id="2147483676" r:id="rId19"/>
    <p:sldLayoutId id="2147483677" r:id="rId20"/>
    <p:sldLayoutId id="2147483655" r:id="rId21"/>
    <p:sldLayoutId id="2147483680" r:id="rId22"/>
    <p:sldLayoutId id="2147483681" r:id="rId23"/>
    <p:sldLayoutId id="2147483683" r:id="rId24"/>
  </p:sldLayoutIdLst>
  <p:hf hdr="0" ftr="0" dt="0"/>
  <p:txStyles>
    <p:titleStyle>
      <a:lvl1pPr algn="l" defTabSz="914400" rtl="0" eaLnBrk="1" latinLnBrk="0" hangingPunct="1">
        <a:lnSpc>
          <a:spcPct val="90000"/>
        </a:lnSpc>
        <a:spcBef>
          <a:spcPct val="0"/>
        </a:spcBef>
        <a:buNone/>
        <a:defRPr sz="3600" b="0" i="0" kern="1200">
          <a:solidFill>
            <a:schemeClr val="accent1"/>
          </a:solidFill>
          <a:latin typeface="Raleway" pitchFamily="2" charset="77"/>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b="0" i="0" kern="1200">
          <a:solidFill>
            <a:schemeClr val="tx1">
              <a:lumMod val="75000"/>
              <a:lumOff val="25000"/>
            </a:schemeClr>
          </a:solidFill>
          <a:latin typeface="Raleway"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lumMod val="75000"/>
              <a:lumOff val="25000"/>
            </a:schemeClr>
          </a:solidFill>
          <a:latin typeface="Raleway"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lumMod val="75000"/>
              <a:lumOff val="25000"/>
            </a:schemeClr>
          </a:solidFill>
          <a:latin typeface="Raleway"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b="0" i="0" kern="1200">
          <a:solidFill>
            <a:schemeClr val="tx1">
              <a:lumMod val="75000"/>
              <a:lumOff val="25000"/>
            </a:schemeClr>
          </a:solidFill>
          <a:latin typeface="Raleway"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b="0" i="0" kern="1200">
          <a:solidFill>
            <a:schemeClr val="tx1">
              <a:lumMod val="75000"/>
              <a:lumOff val="25000"/>
            </a:schemeClr>
          </a:solidFill>
          <a:latin typeface="Raleway"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microsoft.com/office/2014/relationships/chartEx" Target="../charts/chartEx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2CD3024-0AA7-7C5B-6304-5FF398F3820A}"/>
              </a:ext>
            </a:extLst>
          </p:cNvPr>
          <p:cNvPicPr>
            <a:picLocks noChangeAspect="1"/>
          </p:cNvPicPr>
          <p:nvPr/>
        </p:nvPicPr>
        <p:blipFill>
          <a:blip r:embed="rId2"/>
          <a:stretch>
            <a:fillRect/>
          </a:stretch>
        </p:blipFill>
        <p:spPr>
          <a:xfrm>
            <a:off x="0" y="336532"/>
            <a:ext cx="12153900" cy="6845300"/>
          </a:xfrm>
          <a:prstGeom prst="rect">
            <a:avLst/>
          </a:prstGeom>
        </p:spPr>
      </p:pic>
      <p:sp>
        <p:nvSpPr>
          <p:cNvPr id="8" name="TextBox 7">
            <a:extLst>
              <a:ext uri="{FF2B5EF4-FFF2-40B4-BE49-F238E27FC236}">
                <a16:creationId xmlns:a16="http://schemas.microsoft.com/office/drawing/2014/main" id="{C82B697F-0C3B-87C2-25B1-F38697C9C5B3}"/>
              </a:ext>
            </a:extLst>
          </p:cNvPr>
          <p:cNvSpPr txBox="1"/>
          <p:nvPr/>
        </p:nvSpPr>
        <p:spPr>
          <a:xfrm>
            <a:off x="507196" y="2312632"/>
            <a:ext cx="10666610" cy="1446550"/>
          </a:xfrm>
          <a:prstGeom prst="rect">
            <a:avLst/>
          </a:prstGeom>
          <a:noFill/>
        </p:spPr>
        <p:txBody>
          <a:bodyPr wrap="square" rtlCol="0">
            <a:spAutoFit/>
          </a:bodyPr>
          <a:lstStyle/>
          <a:p>
            <a:r>
              <a:rPr lang="en-US" sz="4400" b="1" dirty="0">
                <a:solidFill>
                  <a:schemeClr val="bg1"/>
                </a:solidFill>
                <a:latin typeface="Raleway" pitchFamily="2" charset="77"/>
                <a:ea typeface="+mj-lt"/>
                <a:cs typeface="+mj-lt"/>
              </a:rPr>
              <a:t>mRNA-based vaccines initiatives in LMICs (-May 2025)</a:t>
            </a:r>
            <a:endParaRPr lang="en-RO" sz="4400" b="1" dirty="0">
              <a:solidFill>
                <a:schemeClr val="bg1"/>
              </a:solidFill>
              <a:latin typeface=""/>
            </a:endParaRPr>
          </a:p>
        </p:txBody>
      </p:sp>
      <p:sp>
        <p:nvSpPr>
          <p:cNvPr id="9" name="TextBox 8">
            <a:extLst>
              <a:ext uri="{FF2B5EF4-FFF2-40B4-BE49-F238E27FC236}">
                <a16:creationId xmlns:a16="http://schemas.microsoft.com/office/drawing/2014/main" id="{7A456ED9-D24C-4CFB-7028-AB2906F42B25}"/>
              </a:ext>
            </a:extLst>
          </p:cNvPr>
          <p:cNvSpPr txBox="1"/>
          <p:nvPr/>
        </p:nvSpPr>
        <p:spPr>
          <a:xfrm>
            <a:off x="719847" y="4066161"/>
            <a:ext cx="8881353" cy="400110"/>
          </a:xfrm>
          <a:prstGeom prst="rect">
            <a:avLst/>
          </a:prstGeom>
          <a:noFill/>
        </p:spPr>
        <p:txBody>
          <a:bodyPr wrap="square" rtlCol="0">
            <a:spAutoFit/>
          </a:bodyPr>
          <a:lstStyle/>
          <a:p>
            <a:r>
              <a:rPr lang="en-US" sz="2000">
                <a:solidFill>
                  <a:schemeClr val="bg1"/>
                </a:solidFill>
                <a:latin typeface="Raleway" pitchFamily="2" charset="77"/>
              </a:rPr>
              <a:t> May 2025</a:t>
            </a:r>
            <a:endParaRPr lang="en-US" sz="2000" dirty="0">
              <a:solidFill>
                <a:schemeClr val="bg1"/>
              </a:solidFill>
              <a:latin typeface="Raleway" pitchFamily="2" charset="77"/>
            </a:endParaRPr>
          </a:p>
        </p:txBody>
      </p:sp>
    </p:spTree>
    <p:extLst>
      <p:ext uri="{BB962C8B-B14F-4D97-AF65-F5344CB8AC3E}">
        <p14:creationId xmlns:p14="http://schemas.microsoft.com/office/powerpoint/2010/main" val="40967373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5" name="Group 84">
            <a:extLst>
              <a:ext uri="{FF2B5EF4-FFF2-40B4-BE49-F238E27FC236}">
                <a16:creationId xmlns:a16="http://schemas.microsoft.com/office/drawing/2014/main" id="{99F90C93-5629-4503-FF5A-EB3C8222D6F8}"/>
              </a:ext>
            </a:extLst>
          </p:cNvPr>
          <p:cNvGrpSpPr/>
          <p:nvPr/>
        </p:nvGrpSpPr>
        <p:grpSpPr>
          <a:xfrm>
            <a:off x="170128" y="1428597"/>
            <a:ext cx="4583648" cy="4983333"/>
            <a:chOff x="5620084" y="2410755"/>
            <a:chExt cx="2476167" cy="2981180"/>
          </a:xfrm>
        </p:grpSpPr>
        <p:grpSp>
          <p:nvGrpSpPr>
            <p:cNvPr id="86" name="Group 523">
              <a:extLst>
                <a:ext uri="{FF2B5EF4-FFF2-40B4-BE49-F238E27FC236}">
                  <a16:creationId xmlns:a16="http://schemas.microsoft.com/office/drawing/2014/main" id="{53CE88EB-B5AE-B028-8057-1D382B140258}"/>
                </a:ext>
              </a:extLst>
            </p:cNvPr>
            <p:cNvGrpSpPr/>
            <p:nvPr/>
          </p:nvGrpSpPr>
          <p:grpSpPr>
            <a:xfrm>
              <a:off x="5620084" y="2410755"/>
              <a:ext cx="2476167" cy="2732401"/>
              <a:chOff x="5620084" y="2410755"/>
              <a:chExt cx="2476167" cy="2732401"/>
            </a:xfrm>
          </p:grpSpPr>
          <p:grpSp>
            <p:nvGrpSpPr>
              <p:cNvPr id="88" name="Group 525">
                <a:extLst>
                  <a:ext uri="{FF2B5EF4-FFF2-40B4-BE49-F238E27FC236}">
                    <a16:creationId xmlns:a16="http://schemas.microsoft.com/office/drawing/2014/main" id="{5A160072-0A10-CBA1-48D6-838752ACE22F}"/>
                  </a:ext>
                </a:extLst>
              </p:cNvPr>
              <p:cNvGrpSpPr/>
              <p:nvPr/>
            </p:nvGrpSpPr>
            <p:grpSpPr>
              <a:xfrm>
                <a:off x="7263235" y="4119890"/>
                <a:ext cx="690146" cy="624158"/>
                <a:chOff x="7263235" y="4119890"/>
                <a:chExt cx="690146" cy="624158"/>
              </a:xfrm>
            </p:grpSpPr>
            <p:sp>
              <p:nvSpPr>
                <p:cNvPr id="153" name="Freeform 100">
                  <a:extLst>
                    <a:ext uri="{FF2B5EF4-FFF2-40B4-BE49-F238E27FC236}">
                      <a16:creationId xmlns:a16="http://schemas.microsoft.com/office/drawing/2014/main" id="{1D00B7B1-784A-A87B-ADCD-E5B910FEC263}"/>
                    </a:ext>
                  </a:extLst>
                </p:cNvPr>
                <p:cNvSpPr>
                  <a:spLocks noEditPoints="1"/>
                </p:cNvSpPr>
                <p:nvPr/>
              </p:nvSpPr>
              <p:spPr bwMode="auto">
                <a:xfrm>
                  <a:off x="7702419" y="4211836"/>
                  <a:ext cx="250962" cy="487861"/>
                </a:xfrm>
                <a:custGeom>
                  <a:avLst/>
                  <a:gdLst>
                    <a:gd name="T0" fmla="*/ 212 w 232"/>
                    <a:gd name="T1" fmla="*/ 163 h 451"/>
                    <a:gd name="T2" fmla="*/ 160 w 232"/>
                    <a:gd name="T3" fmla="*/ 44 h 451"/>
                    <a:gd name="T4" fmla="*/ 195 w 232"/>
                    <a:gd name="T5" fmla="*/ 7 h 451"/>
                    <a:gd name="T6" fmla="*/ 197 w 232"/>
                    <a:gd name="T7" fmla="*/ 9 h 451"/>
                    <a:gd name="T8" fmla="*/ 202 w 232"/>
                    <a:gd name="T9" fmla="*/ 16 h 451"/>
                    <a:gd name="T10" fmla="*/ 206 w 232"/>
                    <a:gd name="T11" fmla="*/ 26 h 451"/>
                    <a:gd name="T12" fmla="*/ 212 w 232"/>
                    <a:gd name="T13" fmla="*/ 33 h 451"/>
                    <a:gd name="T14" fmla="*/ 218 w 232"/>
                    <a:gd name="T15" fmla="*/ 51 h 451"/>
                    <a:gd name="T16" fmla="*/ 223 w 232"/>
                    <a:gd name="T17" fmla="*/ 75 h 451"/>
                    <a:gd name="T18" fmla="*/ 227 w 232"/>
                    <a:gd name="T19" fmla="*/ 100 h 451"/>
                    <a:gd name="T20" fmla="*/ 230 w 232"/>
                    <a:gd name="T21" fmla="*/ 118 h 451"/>
                    <a:gd name="T22" fmla="*/ 215 w 232"/>
                    <a:gd name="T23" fmla="*/ 122 h 451"/>
                    <a:gd name="T24" fmla="*/ 204 w 232"/>
                    <a:gd name="T25" fmla="*/ 117 h 451"/>
                    <a:gd name="T26" fmla="*/ 205 w 232"/>
                    <a:gd name="T27" fmla="*/ 134 h 451"/>
                    <a:gd name="T28" fmla="*/ 206 w 232"/>
                    <a:gd name="T29" fmla="*/ 154 h 451"/>
                    <a:gd name="T30" fmla="*/ 198 w 232"/>
                    <a:gd name="T31" fmla="*/ 177 h 451"/>
                    <a:gd name="T32" fmla="*/ 192 w 232"/>
                    <a:gd name="T33" fmla="*/ 215 h 451"/>
                    <a:gd name="T34" fmla="*/ 170 w 232"/>
                    <a:gd name="T35" fmla="*/ 276 h 451"/>
                    <a:gd name="T36" fmla="*/ 158 w 232"/>
                    <a:gd name="T37" fmla="*/ 322 h 451"/>
                    <a:gd name="T38" fmla="*/ 138 w 232"/>
                    <a:gd name="T39" fmla="*/ 385 h 451"/>
                    <a:gd name="T40" fmla="*/ 123 w 232"/>
                    <a:gd name="T41" fmla="*/ 425 h 451"/>
                    <a:gd name="T42" fmla="*/ 111 w 232"/>
                    <a:gd name="T43" fmla="*/ 436 h 451"/>
                    <a:gd name="T44" fmla="*/ 61 w 232"/>
                    <a:gd name="T45" fmla="*/ 450 h 451"/>
                    <a:gd name="T46" fmla="*/ 35 w 232"/>
                    <a:gd name="T47" fmla="*/ 437 h 451"/>
                    <a:gd name="T48" fmla="*/ 27 w 232"/>
                    <a:gd name="T49" fmla="*/ 432 h 451"/>
                    <a:gd name="T50" fmla="*/ 14 w 232"/>
                    <a:gd name="T51" fmla="*/ 402 h 451"/>
                    <a:gd name="T52" fmla="*/ 17 w 232"/>
                    <a:gd name="T53" fmla="*/ 377 h 451"/>
                    <a:gd name="T54" fmla="*/ 5 w 232"/>
                    <a:gd name="T55" fmla="*/ 356 h 451"/>
                    <a:gd name="T56" fmla="*/ 3 w 232"/>
                    <a:gd name="T57" fmla="*/ 335 h 451"/>
                    <a:gd name="T58" fmla="*/ 4 w 232"/>
                    <a:gd name="T59" fmla="*/ 324 h 451"/>
                    <a:gd name="T60" fmla="*/ 14 w 232"/>
                    <a:gd name="T61" fmla="*/ 303 h 451"/>
                    <a:gd name="T62" fmla="*/ 30 w 232"/>
                    <a:gd name="T63" fmla="*/ 278 h 451"/>
                    <a:gd name="T64" fmla="*/ 40 w 232"/>
                    <a:gd name="T65" fmla="*/ 255 h 451"/>
                    <a:gd name="T66" fmla="*/ 39 w 232"/>
                    <a:gd name="T67" fmla="*/ 239 h 451"/>
                    <a:gd name="T68" fmla="*/ 28 w 232"/>
                    <a:gd name="T69" fmla="*/ 209 h 451"/>
                    <a:gd name="T70" fmla="*/ 28 w 232"/>
                    <a:gd name="T71" fmla="*/ 171 h 451"/>
                    <a:gd name="T72" fmla="*/ 40 w 232"/>
                    <a:gd name="T73" fmla="*/ 150 h 451"/>
                    <a:gd name="T74" fmla="*/ 41 w 232"/>
                    <a:gd name="T75" fmla="*/ 135 h 451"/>
                    <a:gd name="T76" fmla="*/ 66 w 232"/>
                    <a:gd name="T77" fmla="*/ 128 h 451"/>
                    <a:gd name="T78" fmla="*/ 76 w 232"/>
                    <a:gd name="T79" fmla="*/ 131 h 451"/>
                    <a:gd name="T80" fmla="*/ 88 w 232"/>
                    <a:gd name="T81" fmla="*/ 122 h 451"/>
                    <a:gd name="T82" fmla="*/ 92 w 232"/>
                    <a:gd name="T83" fmla="*/ 121 h 451"/>
                    <a:gd name="T84" fmla="*/ 101 w 232"/>
                    <a:gd name="T85" fmla="*/ 128 h 451"/>
                    <a:gd name="T86" fmla="*/ 102 w 232"/>
                    <a:gd name="T87" fmla="*/ 121 h 451"/>
                    <a:gd name="T88" fmla="*/ 110 w 232"/>
                    <a:gd name="T89" fmla="*/ 110 h 451"/>
                    <a:gd name="T90" fmla="*/ 120 w 232"/>
                    <a:gd name="T91" fmla="*/ 114 h 451"/>
                    <a:gd name="T92" fmla="*/ 125 w 232"/>
                    <a:gd name="T93" fmla="*/ 106 h 451"/>
                    <a:gd name="T94" fmla="*/ 132 w 232"/>
                    <a:gd name="T95" fmla="*/ 91 h 451"/>
                    <a:gd name="T96" fmla="*/ 139 w 232"/>
                    <a:gd name="T97" fmla="*/ 98 h 451"/>
                    <a:gd name="T98" fmla="*/ 151 w 232"/>
                    <a:gd name="T99" fmla="*/ 87 h 451"/>
                    <a:gd name="T100" fmla="*/ 151 w 232"/>
                    <a:gd name="T101" fmla="*/ 84 h 451"/>
                    <a:gd name="T102" fmla="*/ 145 w 232"/>
                    <a:gd name="T103" fmla="*/ 77 h 451"/>
                    <a:gd name="T104" fmla="*/ 154 w 232"/>
                    <a:gd name="T105" fmla="*/ 71 h 451"/>
                    <a:gd name="T106" fmla="*/ 154 w 232"/>
                    <a:gd name="T107" fmla="*/ 64 h 451"/>
                    <a:gd name="T108" fmla="*/ 153 w 232"/>
                    <a:gd name="T109" fmla="*/ 50 h 451"/>
                    <a:gd name="T110" fmla="*/ 159 w 232"/>
                    <a:gd name="T111" fmla="*/ 57 h 451"/>
                    <a:gd name="T112" fmla="*/ 168 w 232"/>
                    <a:gd name="T113" fmla="*/ 50 h 451"/>
                    <a:gd name="T114" fmla="*/ 179 w 232"/>
                    <a:gd name="T115" fmla="*/ 44 h 451"/>
                    <a:gd name="T116" fmla="*/ 183 w 232"/>
                    <a:gd name="T117" fmla="*/ 26 h 451"/>
                    <a:gd name="T118" fmla="*/ 179 w 232"/>
                    <a:gd name="T119" fmla="*/ 16 h 451"/>
                    <a:gd name="T120" fmla="*/ 187 w 232"/>
                    <a:gd name="T121" fmla="*/ 12 h 451"/>
                    <a:gd name="T122" fmla="*/ 190 w 232"/>
                    <a:gd name="T123" fmla="*/ 3 h 451"/>
                    <a:gd name="T124" fmla="*/ 197 w 232"/>
                    <a:gd name="T125" fmla="*/ 3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451">
                      <a:moveTo>
                        <a:pt x="210" y="167"/>
                      </a:moveTo>
                      <a:lnTo>
                        <a:pt x="210" y="166"/>
                      </a:lnTo>
                      <a:lnTo>
                        <a:pt x="210" y="163"/>
                      </a:lnTo>
                      <a:lnTo>
                        <a:pt x="211" y="163"/>
                      </a:lnTo>
                      <a:lnTo>
                        <a:pt x="211" y="162"/>
                      </a:lnTo>
                      <a:lnTo>
                        <a:pt x="211" y="161"/>
                      </a:lnTo>
                      <a:lnTo>
                        <a:pt x="212" y="160"/>
                      </a:lnTo>
                      <a:lnTo>
                        <a:pt x="213" y="156"/>
                      </a:lnTo>
                      <a:lnTo>
                        <a:pt x="215" y="156"/>
                      </a:lnTo>
                      <a:lnTo>
                        <a:pt x="215" y="155"/>
                      </a:lnTo>
                      <a:lnTo>
                        <a:pt x="215" y="154"/>
                      </a:lnTo>
                      <a:lnTo>
                        <a:pt x="216" y="154"/>
                      </a:lnTo>
                      <a:lnTo>
                        <a:pt x="216" y="155"/>
                      </a:lnTo>
                      <a:lnTo>
                        <a:pt x="215" y="157"/>
                      </a:lnTo>
                      <a:lnTo>
                        <a:pt x="213" y="160"/>
                      </a:lnTo>
                      <a:lnTo>
                        <a:pt x="212" y="163"/>
                      </a:lnTo>
                      <a:lnTo>
                        <a:pt x="211" y="164"/>
                      </a:lnTo>
                      <a:lnTo>
                        <a:pt x="210" y="167"/>
                      </a:lnTo>
                      <a:close/>
                      <a:moveTo>
                        <a:pt x="163" y="42"/>
                      </a:moveTo>
                      <a:lnTo>
                        <a:pt x="165" y="42"/>
                      </a:lnTo>
                      <a:lnTo>
                        <a:pt x="165" y="43"/>
                      </a:lnTo>
                      <a:lnTo>
                        <a:pt x="165" y="44"/>
                      </a:lnTo>
                      <a:lnTo>
                        <a:pt x="165" y="45"/>
                      </a:lnTo>
                      <a:lnTo>
                        <a:pt x="165" y="47"/>
                      </a:lnTo>
                      <a:lnTo>
                        <a:pt x="166" y="47"/>
                      </a:lnTo>
                      <a:lnTo>
                        <a:pt x="165" y="47"/>
                      </a:lnTo>
                      <a:lnTo>
                        <a:pt x="163" y="47"/>
                      </a:lnTo>
                      <a:lnTo>
                        <a:pt x="162" y="47"/>
                      </a:lnTo>
                      <a:lnTo>
                        <a:pt x="161" y="47"/>
                      </a:lnTo>
                      <a:lnTo>
                        <a:pt x="160" y="47"/>
                      </a:lnTo>
                      <a:lnTo>
                        <a:pt x="160" y="45"/>
                      </a:lnTo>
                      <a:lnTo>
                        <a:pt x="160" y="44"/>
                      </a:lnTo>
                      <a:lnTo>
                        <a:pt x="160" y="43"/>
                      </a:lnTo>
                      <a:lnTo>
                        <a:pt x="160" y="42"/>
                      </a:lnTo>
                      <a:lnTo>
                        <a:pt x="161" y="42"/>
                      </a:lnTo>
                      <a:lnTo>
                        <a:pt x="162" y="42"/>
                      </a:lnTo>
                      <a:lnTo>
                        <a:pt x="162" y="41"/>
                      </a:lnTo>
                      <a:lnTo>
                        <a:pt x="162" y="40"/>
                      </a:lnTo>
                      <a:lnTo>
                        <a:pt x="163" y="40"/>
                      </a:lnTo>
                      <a:lnTo>
                        <a:pt x="165" y="41"/>
                      </a:lnTo>
                      <a:lnTo>
                        <a:pt x="163" y="41"/>
                      </a:lnTo>
                      <a:lnTo>
                        <a:pt x="163" y="42"/>
                      </a:lnTo>
                      <a:close/>
                      <a:moveTo>
                        <a:pt x="197" y="5"/>
                      </a:moveTo>
                      <a:lnTo>
                        <a:pt x="196" y="6"/>
                      </a:lnTo>
                      <a:lnTo>
                        <a:pt x="197" y="7"/>
                      </a:lnTo>
                      <a:lnTo>
                        <a:pt x="197" y="8"/>
                      </a:lnTo>
                      <a:lnTo>
                        <a:pt x="196" y="7"/>
                      </a:lnTo>
                      <a:lnTo>
                        <a:pt x="195" y="7"/>
                      </a:lnTo>
                      <a:lnTo>
                        <a:pt x="195" y="8"/>
                      </a:lnTo>
                      <a:lnTo>
                        <a:pt x="194" y="7"/>
                      </a:lnTo>
                      <a:lnTo>
                        <a:pt x="194" y="6"/>
                      </a:lnTo>
                      <a:lnTo>
                        <a:pt x="194" y="7"/>
                      </a:lnTo>
                      <a:lnTo>
                        <a:pt x="192" y="7"/>
                      </a:lnTo>
                      <a:lnTo>
                        <a:pt x="194" y="8"/>
                      </a:lnTo>
                      <a:lnTo>
                        <a:pt x="192" y="9"/>
                      </a:lnTo>
                      <a:lnTo>
                        <a:pt x="194" y="9"/>
                      </a:lnTo>
                      <a:lnTo>
                        <a:pt x="195" y="9"/>
                      </a:lnTo>
                      <a:lnTo>
                        <a:pt x="194" y="10"/>
                      </a:lnTo>
                      <a:lnTo>
                        <a:pt x="195" y="10"/>
                      </a:lnTo>
                      <a:lnTo>
                        <a:pt x="196" y="10"/>
                      </a:lnTo>
                      <a:lnTo>
                        <a:pt x="196" y="12"/>
                      </a:lnTo>
                      <a:lnTo>
                        <a:pt x="197" y="12"/>
                      </a:lnTo>
                      <a:lnTo>
                        <a:pt x="197" y="10"/>
                      </a:lnTo>
                      <a:lnTo>
                        <a:pt x="197" y="9"/>
                      </a:lnTo>
                      <a:lnTo>
                        <a:pt x="198" y="9"/>
                      </a:lnTo>
                      <a:lnTo>
                        <a:pt x="198" y="10"/>
                      </a:lnTo>
                      <a:lnTo>
                        <a:pt x="198" y="12"/>
                      </a:lnTo>
                      <a:lnTo>
                        <a:pt x="199" y="12"/>
                      </a:lnTo>
                      <a:lnTo>
                        <a:pt x="199" y="13"/>
                      </a:lnTo>
                      <a:lnTo>
                        <a:pt x="199" y="14"/>
                      </a:lnTo>
                      <a:lnTo>
                        <a:pt x="201" y="14"/>
                      </a:lnTo>
                      <a:lnTo>
                        <a:pt x="201" y="13"/>
                      </a:lnTo>
                      <a:lnTo>
                        <a:pt x="202" y="13"/>
                      </a:lnTo>
                      <a:lnTo>
                        <a:pt x="202" y="14"/>
                      </a:lnTo>
                      <a:lnTo>
                        <a:pt x="203" y="14"/>
                      </a:lnTo>
                      <a:lnTo>
                        <a:pt x="203" y="15"/>
                      </a:lnTo>
                      <a:lnTo>
                        <a:pt x="202" y="15"/>
                      </a:lnTo>
                      <a:lnTo>
                        <a:pt x="201" y="15"/>
                      </a:lnTo>
                      <a:lnTo>
                        <a:pt x="202" y="15"/>
                      </a:lnTo>
                      <a:lnTo>
                        <a:pt x="202" y="16"/>
                      </a:lnTo>
                      <a:lnTo>
                        <a:pt x="203" y="16"/>
                      </a:lnTo>
                      <a:lnTo>
                        <a:pt x="203" y="15"/>
                      </a:lnTo>
                      <a:lnTo>
                        <a:pt x="204" y="17"/>
                      </a:lnTo>
                      <a:lnTo>
                        <a:pt x="204" y="19"/>
                      </a:lnTo>
                      <a:lnTo>
                        <a:pt x="204" y="20"/>
                      </a:lnTo>
                      <a:lnTo>
                        <a:pt x="203" y="19"/>
                      </a:lnTo>
                      <a:lnTo>
                        <a:pt x="203" y="17"/>
                      </a:lnTo>
                      <a:lnTo>
                        <a:pt x="203" y="19"/>
                      </a:lnTo>
                      <a:lnTo>
                        <a:pt x="204" y="20"/>
                      </a:lnTo>
                      <a:lnTo>
                        <a:pt x="203" y="21"/>
                      </a:lnTo>
                      <a:lnTo>
                        <a:pt x="203" y="22"/>
                      </a:lnTo>
                      <a:lnTo>
                        <a:pt x="203" y="23"/>
                      </a:lnTo>
                      <a:lnTo>
                        <a:pt x="204" y="23"/>
                      </a:lnTo>
                      <a:lnTo>
                        <a:pt x="205" y="23"/>
                      </a:lnTo>
                      <a:lnTo>
                        <a:pt x="206" y="24"/>
                      </a:lnTo>
                      <a:lnTo>
                        <a:pt x="206" y="26"/>
                      </a:lnTo>
                      <a:lnTo>
                        <a:pt x="206" y="27"/>
                      </a:lnTo>
                      <a:lnTo>
                        <a:pt x="206" y="28"/>
                      </a:lnTo>
                      <a:lnTo>
                        <a:pt x="208" y="28"/>
                      </a:lnTo>
                      <a:lnTo>
                        <a:pt x="208" y="27"/>
                      </a:lnTo>
                      <a:lnTo>
                        <a:pt x="208" y="26"/>
                      </a:lnTo>
                      <a:lnTo>
                        <a:pt x="209" y="26"/>
                      </a:lnTo>
                      <a:lnTo>
                        <a:pt x="209" y="27"/>
                      </a:lnTo>
                      <a:lnTo>
                        <a:pt x="210" y="27"/>
                      </a:lnTo>
                      <a:lnTo>
                        <a:pt x="210" y="28"/>
                      </a:lnTo>
                      <a:lnTo>
                        <a:pt x="211" y="28"/>
                      </a:lnTo>
                      <a:lnTo>
                        <a:pt x="210" y="29"/>
                      </a:lnTo>
                      <a:lnTo>
                        <a:pt x="211" y="29"/>
                      </a:lnTo>
                      <a:lnTo>
                        <a:pt x="211" y="30"/>
                      </a:lnTo>
                      <a:lnTo>
                        <a:pt x="212" y="30"/>
                      </a:lnTo>
                      <a:lnTo>
                        <a:pt x="212" y="31"/>
                      </a:lnTo>
                      <a:lnTo>
                        <a:pt x="212" y="33"/>
                      </a:lnTo>
                      <a:lnTo>
                        <a:pt x="213" y="33"/>
                      </a:lnTo>
                      <a:lnTo>
                        <a:pt x="213" y="34"/>
                      </a:lnTo>
                      <a:lnTo>
                        <a:pt x="215" y="35"/>
                      </a:lnTo>
                      <a:lnTo>
                        <a:pt x="215" y="37"/>
                      </a:lnTo>
                      <a:lnTo>
                        <a:pt x="215" y="40"/>
                      </a:lnTo>
                      <a:lnTo>
                        <a:pt x="215" y="41"/>
                      </a:lnTo>
                      <a:lnTo>
                        <a:pt x="215" y="42"/>
                      </a:lnTo>
                      <a:lnTo>
                        <a:pt x="216" y="43"/>
                      </a:lnTo>
                      <a:lnTo>
                        <a:pt x="216" y="44"/>
                      </a:lnTo>
                      <a:lnTo>
                        <a:pt x="216" y="45"/>
                      </a:lnTo>
                      <a:lnTo>
                        <a:pt x="217" y="45"/>
                      </a:lnTo>
                      <a:lnTo>
                        <a:pt x="218" y="45"/>
                      </a:lnTo>
                      <a:lnTo>
                        <a:pt x="218" y="47"/>
                      </a:lnTo>
                      <a:lnTo>
                        <a:pt x="217" y="48"/>
                      </a:lnTo>
                      <a:lnTo>
                        <a:pt x="218" y="50"/>
                      </a:lnTo>
                      <a:lnTo>
                        <a:pt x="218" y="51"/>
                      </a:lnTo>
                      <a:lnTo>
                        <a:pt x="219" y="51"/>
                      </a:lnTo>
                      <a:lnTo>
                        <a:pt x="219" y="52"/>
                      </a:lnTo>
                      <a:lnTo>
                        <a:pt x="219" y="54"/>
                      </a:lnTo>
                      <a:lnTo>
                        <a:pt x="219" y="55"/>
                      </a:lnTo>
                      <a:lnTo>
                        <a:pt x="219" y="56"/>
                      </a:lnTo>
                      <a:lnTo>
                        <a:pt x="220" y="57"/>
                      </a:lnTo>
                      <a:lnTo>
                        <a:pt x="220" y="58"/>
                      </a:lnTo>
                      <a:lnTo>
                        <a:pt x="220" y="59"/>
                      </a:lnTo>
                      <a:lnTo>
                        <a:pt x="222" y="66"/>
                      </a:lnTo>
                      <a:lnTo>
                        <a:pt x="222" y="69"/>
                      </a:lnTo>
                      <a:lnTo>
                        <a:pt x="222" y="70"/>
                      </a:lnTo>
                      <a:lnTo>
                        <a:pt x="222" y="71"/>
                      </a:lnTo>
                      <a:lnTo>
                        <a:pt x="222" y="72"/>
                      </a:lnTo>
                      <a:lnTo>
                        <a:pt x="222" y="73"/>
                      </a:lnTo>
                      <a:lnTo>
                        <a:pt x="222" y="75"/>
                      </a:lnTo>
                      <a:lnTo>
                        <a:pt x="223" y="75"/>
                      </a:lnTo>
                      <a:lnTo>
                        <a:pt x="223" y="76"/>
                      </a:lnTo>
                      <a:lnTo>
                        <a:pt x="223" y="77"/>
                      </a:lnTo>
                      <a:lnTo>
                        <a:pt x="223" y="79"/>
                      </a:lnTo>
                      <a:lnTo>
                        <a:pt x="223" y="80"/>
                      </a:lnTo>
                      <a:lnTo>
                        <a:pt x="222" y="80"/>
                      </a:lnTo>
                      <a:lnTo>
                        <a:pt x="223" y="82"/>
                      </a:lnTo>
                      <a:lnTo>
                        <a:pt x="223" y="83"/>
                      </a:lnTo>
                      <a:lnTo>
                        <a:pt x="223" y="86"/>
                      </a:lnTo>
                      <a:lnTo>
                        <a:pt x="224" y="89"/>
                      </a:lnTo>
                      <a:lnTo>
                        <a:pt x="224" y="90"/>
                      </a:lnTo>
                      <a:lnTo>
                        <a:pt x="224" y="91"/>
                      </a:lnTo>
                      <a:lnTo>
                        <a:pt x="223" y="91"/>
                      </a:lnTo>
                      <a:lnTo>
                        <a:pt x="224" y="92"/>
                      </a:lnTo>
                      <a:lnTo>
                        <a:pt x="225" y="93"/>
                      </a:lnTo>
                      <a:lnTo>
                        <a:pt x="225" y="94"/>
                      </a:lnTo>
                      <a:lnTo>
                        <a:pt x="227" y="100"/>
                      </a:lnTo>
                      <a:lnTo>
                        <a:pt x="227" y="101"/>
                      </a:lnTo>
                      <a:lnTo>
                        <a:pt x="230" y="103"/>
                      </a:lnTo>
                      <a:lnTo>
                        <a:pt x="230" y="104"/>
                      </a:lnTo>
                      <a:lnTo>
                        <a:pt x="230" y="105"/>
                      </a:lnTo>
                      <a:lnTo>
                        <a:pt x="231" y="105"/>
                      </a:lnTo>
                      <a:lnTo>
                        <a:pt x="231" y="106"/>
                      </a:lnTo>
                      <a:lnTo>
                        <a:pt x="232" y="107"/>
                      </a:lnTo>
                      <a:lnTo>
                        <a:pt x="232" y="110"/>
                      </a:lnTo>
                      <a:lnTo>
                        <a:pt x="231" y="110"/>
                      </a:lnTo>
                      <a:lnTo>
                        <a:pt x="231" y="111"/>
                      </a:lnTo>
                      <a:lnTo>
                        <a:pt x="231" y="112"/>
                      </a:lnTo>
                      <a:lnTo>
                        <a:pt x="231" y="113"/>
                      </a:lnTo>
                      <a:lnTo>
                        <a:pt x="231" y="114"/>
                      </a:lnTo>
                      <a:lnTo>
                        <a:pt x="230" y="115"/>
                      </a:lnTo>
                      <a:lnTo>
                        <a:pt x="230" y="117"/>
                      </a:lnTo>
                      <a:lnTo>
                        <a:pt x="230" y="118"/>
                      </a:lnTo>
                      <a:lnTo>
                        <a:pt x="230" y="119"/>
                      </a:lnTo>
                      <a:lnTo>
                        <a:pt x="226" y="124"/>
                      </a:lnTo>
                      <a:lnTo>
                        <a:pt x="226" y="125"/>
                      </a:lnTo>
                      <a:lnTo>
                        <a:pt x="224" y="128"/>
                      </a:lnTo>
                      <a:lnTo>
                        <a:pt x="223" y="129"/>
                      </a:lnTo>
                      <a:lnTo>
                        <a:pt x="223" y="131"/>
                      </a:lnTo>
                      <a:lnTo>
                        <a:pt x="222" y="131"/>
                      </a:lnTo>
                      <a:lnTo>
                        <a:pt x="220" y="131"/>
                      </a:lnTo>
                      <a:lnTo>
                        <a:pt x="220" y="129"/>
                      </a:lnTo>
                      <a:lnTo>
                        <a:pt x="219" y="128"/>
                      </a:lnTo>
                      <a:lnTo>
                        <a:pt x="217" y="127"/>
                      </a:lnTo>
                      <a:lnTo>
                        <a:pt x="217" y="126"/>
                      </a:lnTo>
                      <a:lnTo>
                        <a:pt x="217" y="124"/>
                      </a:lnTo>
                      <a:lnTo>
                        <a:pt x="216" y="124"/>
                      </a:lnTo>
                      <a:lnTo>
                        <a:pt x="216" y="122"/>
                      </a:lnTo>
                      <a:lnTo>
                        <a:pt x="215" y="122"/>
                      </a:lnTo>
                      <a:lnTo>
                        <a:pt x="215" y="121"/>
                      </a:lnTo>
                      <a:lnTo>
                        <a:pt x="215" y="120"/>
                      </a:lnTo>
                      <a:lnTo>
                        <a:pt x="215" y="119"/>
                      </a:lnTo>
                      <a:lnTo>
                        <a:pt x="215" y="118"/>
                      </a:lnTo>
                      <a:lnTo>
                        <a:pt x="213" y="118"/>
                      </a:lnTo>
                      <a:lnTo>
                        <a:pt x="212" y="117"/>
                      </a:lnTo>
                      <a:lnTo>
                        <a:pt x="213" y="115"/>
                      </a:lnTo>
                      <a:lnTo>
                        <a:pt x="212" y="113"/>
                      </a:lnTo>
                      <a:lnTo>
                        <a:pt x="213" y="113"/>
                      </a:lnTo>
                      <a:lnTo>
                        <a:pt x="212" y="112"/>
                      </a:lnTo>
                      <a:lnTo>
                        <a:pt x="211" y="113"/>
                      </a:lnTo>
                      <a:lnTo>
                        <a:pt x="210" y="113"/>
                      </a:lnTo>
                      <a:lnTo>
                        <a:pt x="208" y="113"/>
                      </a:lnTo>
                      <a:lnTo>
                        <a:pt x="206" y="113"/>
                      </a:lnTo>
                      <a:lnTo>
                        <a:pt x="206" y="114"/>
                      </a:lnTo>
                      <a:lnTo>
                        <a:pt x="204" y="117"/>
                      </a:lnTo>
                      <a:lnTo>
                        <a:pt x="205" y="119"/>
                      </a:lnTo>
                      <a:lnTo>
                        <a:pt x="205" y="120"/>
                      </a:lnTo>
                      <a:lnTo>
                        <a:pt x="205" y="121"/>
                      </a:lnTo>
                      <a:lnTo>
                        <a:pt x="204" y="121"/>
                      </a:lnTo>
                      <a:lnTo>
                        <a:pt x="205" y="121"/>
                      </a:lnTo>
                      <a:lnTo>
                        <a:pt x="205" y="122"/>
                      </a:lnTo>
                      <a:lnTo>
                        <a:pt x="205" y="124"/>
                      </a:lnTo>
                      <a:lnTo>
                        <a:pt x="206" y="125"/>
                      </a:lnTo>
                      <a:lnTo>
                        <a:pt x="206" y="126"/>
                      </a:lnTo>
                      <a:lnTo>
                        <a:pt x="206" y="127"/>
                      </a:lnTo>
                      <a:lnTo>
                        <a:pt x="208" y="128"/>
                      </a:lnTo>
                      <a:lnTo>
                        <a:pt x="206" y="129"/>
                      </a:lnTo>
                      <a:lnTo>
                        <a:pt x="206" y="131"/>
                      </a:lnTo>
                      <a:lnTo>
                        <a:pt x="205" y="132"/>
                      </a:lnTo>
                      <a:lnTo>
                        <a:pt x="205" y="133"/>
                      </a:lnTo>
                      <a:lnTo>
                        <a:pt x="205" y="134"/>
                      </a:lnTo>
                      <a:lnTo>
                        <a:pt x="206" y="135"/>
                      </a:lnTo>
                      <a:lnTo>
                        <a:pt x="209" y="136"/>
                      </a:lnTo>
                      <a:lnTo>
                        <a:pt x="210" y="138"/>
                      </a:lnTo>
                      <a:lnTo>
                        <a:pt x="211" y="138"/>
                      </a:lnTo>
                      <a:lnTo>
                        <a:pt x="211" y="139"/>
                      </a:lnTo>
                      <a:lnTo>
                        <a:pt x="210" y="142"/>
                      </a:lnTo>
                      <a:lnTo>
                        <a:pt x="210" y="143"/>
                      </a:lnTo>
                      <a:lnTo>
                        <a:pt x="210" y="145"/>
                      </a:lnTo>
                      <a:lnTo>
                        <a:pt x="211" y="145"/>
                      </a:lnTo>
                      <a:lnTo>
                        <a:pt x="211" y="146"/>
                      </a:lnTo>
                      <a:lnTo>
                        <a:pt x="211" y="147"/>
                      </a:lnTo>
                      <a:lnTo>
                        <a:pt x="211" y="148"/>
                      </a:lnTo>
                      <a:lnTo>
                        <a:pt x="211" y="149"/>
                      </a:lnTo>
                      <a:lnTo>
                        <a:pt x="209" y="152"/>
                      </a:lnTo>
                      <a:lnTo>
                        <a:pt x="208" y="153"/>
                      </a:lnTo>
                      <a:lnTo>
                        <a:pt x="206" y="154"/>
                      </a:lnTo>
                      <a:lnTo>
                        <a:pt x="206" y="156"/>
                      </a:lnTo>
                      <a:lnTo>
                        <a:pt x="208" y="157"/>
                      </a:lnTo>
                      <a:lnTo>
                        <a:pt x="209" y="159"/>
                      </a:lnTo>
                      <a:lnTo>
                        <a:pt x="210" y="159"/>
                      </a:lnTo>
                      <a:lnTo>
                        <a:pt x="209" y="159"/>
                      </a:lnTo>
                      <a:lnTo>
                        <a:pt x="206" y="160"/>
                      </a:lnTo>
                      <a:lnTo>
                        <a:pt x="205" y="160"/>
                      </a:lnTo>
                      <a:lnTo>
                        <a:pt x="204" y="160"/>
                      </a:lnTo>
                      <a:lnTo>
                        <a:pt x="203" y="160"/>
                      </a:lnTo>
                      <a:lnTo>
                        <a:pt x="203" y="161"/>
                      </a:lnTo>
                      <a:lnTo>
                        <a:pt x="201" y="166"/>
                      </a:lnTo>
                      <a:lnTo>
                        <a:pt x="199" y="169"/>
                      </a:lnTo>
                      <a:lnTo>
                        <a:pt x="197" y="173"/>
                      </a:lnTo>
                      <a:lnTo>
                        <a:pt x="197" y="175"/>
                      </a:lnTo>
                      <a:lnTo>
                        <a:pt x="197" y="176"/>
                      </a:lnTo>
                      <a:lnTo>
                        <a:pt x="198" y="177"/>
                      </a:lnTo>
                      <a:lnTo>
                        <a:pt x="199" y="185"/>
                      </a:lnTo>
                      <a:lnTo>
                        <a:pt x="199" y="188"/>
                      </a:lnTo>
                      <a:lnTo>
                        <a:pt x="199" y="190"/>
                      </a:lnTo>
                      <a:lnTo>
                        <a:pt x="198" y="194"/>
                      </a:lnTo>
                      <a:lnTo>
                        <a:pt x="196" y="198"/>
                      </a:lnTo>
                      <a:lnTo>
                        <a:pt x="196" y="199"/>
                      </a:lnTo>
                      <a:lnTo>
                        <a:pt x="196" y="201"/>
                      </a:lnTo>
                      <a:lnTo>
                        <a:pt x="197" y="201"/>
                      </a:lnTo>
                      <a:lnTo>
                        <a:pt x="197" y="202"/>
                      </a:lnTo>
                      <a:lnTo>
                        <a:pt x="196" y="202"/>
                      </a:lnTo>
                      <a:lnTo>
                        <a:pt x="196" y="204"/>
                      </a:lnTo>
                      <a:lnTo>
                        <a:pt x="195" y="210"/>
                      </a:lnTo>
                      <a:lnTo>
                        <a:pt x="195" y="211"/>
                      </a:lnTo>
                      <a:lnTo>
                        <a:pt x="194" y="211"/>
                      </a:lnTo>
                      <a:lnTo>
                        <a:pt x="194" y="212"/>
                      </a:lnTo>
                      <a:lnTo>
                        <a:pt x="192" y="215"/>
                      </a:lnTo>
                      <a:lnTo>
                        <a:pt x="191" y="218"/>
                      </a:lnTo>
                      <a:lnTo>
                        <a:pt x="189" y="224"/>
                      </a:lnTo>
                      <a:lnTo>
                        <a:pt x="187" y="230"/>
                      </a:lnTo>
                      <a:lnTo>
                        <a:pt x="185" y="232"/>
                      </a:lnTo>
                      <a:lnTo>
                        <a:pt x="182" y="241"/>
                      </a:lnTo>
                      <a:lnTo>
                        <a:pt x="179" y="252"/>
                      </a:lnTo>
                      <a:lnTo>
                        <a:pt x="177" y="258"/>
                      </a:lnTo>
                      <a:lnTo>
                        <a:pt x="177" y="259"/>
                      </a:lnTo>
                      <a:lnTo>
                        <a:pt x="176" y="262"/>
                      </a:lnTo>
                      <a:lnTo>
                        <a:pt x="176" y="261"/>
                      </a:lnTo>
                      <a:lnTo>
                        <a:pt x="175" y="261"/>
                      </a:lnTo>
                      <a:lnTo>
                        <a:pt x="176" y="262"/>
                      </a:lnTo>
                      <a:lnTo>
                        <a:pt x="176" y="264"/>
                      </a:lnTo>
                      <a:lnTo>
                        <a:pt x="173" y="269"/>
                      </a:lnTo>
                      <a:lnTo>
                        <a:pt x="172" y="274"/>
                      </a:lnTo>
                      <a:lnTo>
                        <a:pt x="170" y="276"/>
                      </a:lnTo>
                      <a:lnTo>
                        <a:pt x="169" y="281"/>
                      </a:lnTo>
                      <a:lnTo>
                        <a:pt x="166" y="294"/>
                      </a:lnTo>
                      <a:lnTo>
                        <a:pt x="165" y="294"/>
                      </a:lnTo>
                      <a:lnTo>
                        <a:pt x="165" y="295"/>
                      </a:lnTo>
                      <a:lnTo>
                        <a:pt x="166" y="295"/>
                      </a:lnTo>
                      <a:lnTo>
                        <a:pt x="166" y="296"/>
                      </a:lnTo>
                      <a:lnTo>
                        <a:pt x="165" y="296"/>
                      </a:lnTo>
                      <a:lnTo>
                        <a:pt x="165" y="297"/>
                      </a:lnTo>
                      <a:lnTo>
                        <a:pt x="165" y="299"/>
                      </a:lnTo>
                      <a:lnTo>
                        <a:pt x="165" y="300"/>
                      </a:lnTo>
                      <a:lnTo>
                        <a:pt x="163" y="301"/>
                      </a:lnTo>
                      <a:lnTo>
                        <a:pt x="162" y="303"/>
                      </a:lnTo>
                      <a:lnTo>
                        <a:pt x="162" y="304"/>
                      </a:lnTo>
                      <a:lnTo>
                        <a:pt x="162" y="308"/>
                      </a:lnTo>
                      <a:lnTo>
                        <a:pt x="161" y="309"/>
                      </a:lnTo>
                      <a:lnTo>
                        <a:pt x="158" y="322"/>
                      </a:lnTo>
                      <a:lnTo>
                        <a:pt x="153" y="331"/>
                      </a:lnTo>
                      <a:lnTo>
                        <a:pt x="148" y="341"/>
                      </a:lnTo>
                      <a:lnTo>
                        <a:pt x="148" y="343"/>
                      </a:lnTo>
                      <a:lnTo>
                        <a:pt x="147" y="345"/>
                      </a:lnTo>
                      <a:lnTo>
                        <a:pt x="146" y="355"/>
                      </a:lnTo>
                      <a:lnTo>
                        <a:pt x="145" y="356"/>
                      </a:lnTo>
                      <a:lnTo>
                        <a:pt x="145" y="359"/>
                      </a:lnTo>
                      <a:lnTo>
                        <a:pt x="144" y="363"/>
                      </a:lnTo>
                      <a:lnTo>
                        <a:pt x="142" y="366"/>
                      </a:lnTo>
                      <a:lnTo>
                        <a:pt x="142" y="371"/>
                      </a:lnTo>
                      <a:lnTo>
                        <a:pt x="138" y="383"/>
                      </a:lnTo>
                      <a:lnTo>
                        <a:pt x="138" y="381"/>
                      </a:lnTo>
                      <a:lnTo>
                        <a:pt x="137" y="383"/>
                      </a:lnTo>
                      <a:lnTo>
                        <a:pt x="137" y="384"/>
                      </a:lnTo>
                      <a:lnTo>
                        <a:pt x="138" y="384"/>
                      </a:lnTo>
                      <a:lnTo>
                        <a:pt x="138" y="385"/>
                      </a:lnTo>
                      <a:lnTo>
                        <a:pt x="137" y="392"/>
                      </a:lnTo>
                      <a:lnTo>
                        <a:pt x="134" y="397"/>
                      </a:lnTo>
                      <a:lnTo>
                        <a:pt x="134" y="398"/>
                      </a:lnTo>
                      <a:lnTo>
                        <a:pt x="133" y="398"/>
                      </a:lnTo>
                      <a:lnTo>
                        <a:pt x="133" y="399"/>
                      </a:lnTo>
                      <a:lnTo>
                        <a:pt x="133" y="400"/>
                      </a:lnTo>
                      <a:lnTo>
                        <a:pt x="132" y="401"/>
                      </a:lnTo>
                      <a:lnTo>
                        <a:pt x="130" y="406"/>
                      </a:lnTo>
                      <a:lnTo>
                        <a:pt x="128" y="406"/>
                      </a:lnTo>
                      <a:lnTo>
                        <a:pt x="128" y="408"/>
                      </a:lnTo>
                      <a:lnTo>
                        <a:pt x="128" y="413"/>
                      </a:lnTo>
                      <a:lnTo>
                        <a:pt x="125" y="420"/>
                      </a:lnTo>
                      <a:lnTo>
                        <a:pt x="125" y="421"/>
                      </a:lnTo>
                      <a:lnTo>
                        <a:pt x="125" y="422"/>
                      </a:lnTo>
                      <a:lnTo>
                        <a:pt x="124" y="423"/>
                      </a:lnTo>
                      <a:lnTo>
                        <a:pt x="123" y="425"/>
                      </a:lnTo>
                      <a:lnTo>
                        <a:pt x="123" y="426"/>
                      </a:lnTo>
                      <a:lnTo>
                        <a:pt x="123" y="428"/>
                      </a:lnTo>
                      <a:lnTo>
                        <a:pt x="121" y="428"/>
                      </a:lnTo>
                      <a:lnTo>
                        <a:pt x="121" y="427"/>
                      </a:lnTo>
                      <a:lnTo>
                        <a:pt x="121" y="428"/>
                      </a:lnTo>
                      <a:lnTo>
                        <a:pt x="121" y="429"/>
                      </a:lnTo>
                      <a:lnTo>
                        <a:pt x="120" y="430"/>
                      </a:lnTo>
                      <a:lnTo>
                        <a:pt x="119" y="430"/>
                      </a:lnTo>
                      <a:lnTo>
                        <a:pt x="119" y="432"/>
                      </a:lnTo>
                      <a:lnTo>
                        <a:pt x="117" y="433"/>
                      </a:lnTo>
                      <a:lnTo>
                        <a:pt x="116" y="433"/>
                      </a:lnTo>
                      <a:lnTo>
                        <a:pt x="115" y="434"/>
                      </a:lnTo>
                      <a:lnTo>
                        <a:pt x="113" y="434"/>
                      </a:lnTo>
                      <a:lnTo>
                        <a:pt x="113" y="435"/>
                      </a:lnTo>
                      <a:lnTo>
                        <a:pt x="112" y="435"/>
                      </a:lnTo>
                      <a:lnTo>
                        <a:pt x="111" y="436"/>
                      </a:lnTo>
                      <a:lnTo>
                        <a:pt x="110" y="436"/>
                      </a:lnTo>
                      <a:lnTo>
                        <a:pt x="108" y="437"/>
                      </a:lnTo>
                      <a:lnTo>
                        <a:pt x="106" y="437"/>
                      </a:lnTo>
                      <a:lnTo>
                        <a:pt x="106" y="436"/>
                      </a:lnTo>
                      <a:lnTo>
                        <a:pt x="103" y="436"/>
                      </a:lnTo>
                      <a:lnTo>
                        <a:pt x="99" y="436"/>
                      </a:lnTo>
                      <a:lnTo>
                        <a:pt x="95" y="437"/>
                      </a:lnTo>
                      <a:lnTo>
                        <a:pt x="88" y="440"/>
                      </a:lnTo>
                      <a:lnTo>
                        <a:pt x="84" y="442"/>
                      </a:lnTo>
                      <a:lnTo>
                        <a:pt x="80" y="444"/>
                      </a:lnTo>
                      <a:lnTo>
                        <a:pt x="76" y="448"/>
                      </a:lnTo>
                      <a:lnTo>
                        <a:pt x="75" y="448"/>
                      </a:lnTo>
                      <a:lnTo>
                        <a:pt x="73" y="450"/>
                      </a:lnTo>
                      <a:lnTo>
                        <a:pt x="71" y="450"/>
                      </a:lnTo>
                      <a:lnTo>
                        <a:pt x="62" y="450"/>
                      </a:lnTo>
                      <a:lnTo>
                        <a:pt x="61" y="450"/>
                      </a:lnTo>
                      <a:lnTo>
                        <a:pt x="61" y="451"/>
                      </a:lnTo>
                      <a:lnTo>
                        <a:pt x="60" y="450"/>
                      </a:lnTo>
                      <a:lnTo>
                        <a:pt x="60" y="449"/>
                      </a:lnTo>
                      <a:lnTo>
                        <a:pt x="59" y="449"/>
                      </a:lnTo>
                      <a:lnTo>
                        <a:pt x="59" y="448"/>
                      </a:lnTo>
                      <a:lnTo>
                        <a:pt x="55" y="447"/>
                      </a:lnTo>
                      <a:lnTo>
                        <a:pt x="54" y="446"/>
                      </a:lnTo>
                      <a:lnTo>
                        <a:pt x="53" y="444"/>
                      </a:lnTo>
                      <a:lnTo>
                        <a:pt x="53" y="443"/>
                      </a:lnTo>
                      <a:lnTo>
                        <a:pt x="51" y="442"/>
                      </a:lnTo>
                      <a:lnTo>
                        <a:pt x="48" y="441"/>
                      </a:lnTo>
                      <a:lnTo>
                        <a:pt x="47" y="441"/>
                      </a:lnTo>
                      <a:lnTo>
                        <a:pt x="44" y="440"/>
                      </a:lnTo>
                      <a:lnTo>
                        <a:pt x="40" y="440"/>
                      </a:lnTo>
                      <a:lnTo>
                        <a:pt x="35" y="439"/>
                      </a:lnTo>
                      <a:lnTo>
                        <a:pt x="35" y="437"/>
                      </a:lnTo>
                      <a:lnTo>
                        <a:pt x="34" y="436"/>
                      </a:lnTo>
                      <a:lnTo>
                        <a:pt x="33" y="435"/>
                      </a:lnTo>
                      <a:lnTo>
                        <a:pt x="34" y="435"/>
                      </a:lnTo>
                      <a:lnTo>
                        <a:pt x="34" y="436"/>
                      </a:lnTo>
                      <a:lnTo>
                        <a:pt x="35" y="437"/>
                      </a:lnTo>
                      <a:lnTo>
                        <a:pt x="37" y="437"/>
                      </a:lnTo>
                      <a:lnTo>
                        <a:pt x="38" y="437"/>
                      </a:lnTo>
                      <a:lnTo>
                        <a:pt x="37" y="436"/>
                      </a:lnTo>
                      <a:lnTo>
                        <a:pt x="35" y="435"/>
                      </a:lnTo>
                      <a:lnTo>
                        <a:pt x="34" y="435"/>
                      </a:lnTo>
                      <a:lnTo>
                        <a:pt x="33" y="435"/>
                      </a:lnTo>
                      <a:lnTo>
                        <a:pt x="32" y="434"/>
                      </a:lnTo>
                      <a:lnTo>
                        <a:pt x="31" y="433"/>
                      </a:lnTo>
                      <a:lnTo>
                        <a:pt x="30" y="432"/>
                      </a:lnTo>
                      <a:lnTo>
                        <a:pt x="28" y="432"/>
                      </a:lnTo>
                      <a:lnTo>
                        <a:pt x="27" y="432"/>
                      </a:lnTo>
                      <a:lnTo>
                        <a:pt x="25" y="430"/>
                      </a:lnTo>
                      <a:lnTo>
                        <a:pt x="25" y="429"/>
                      </a:lnTo>
                      <a:lnTo>
                        <a:pt x="25" y="427"/>
                      </a:lnTo>
                      <a:lnTo>
                        <a:pt x="25" y="426"/>
                      </a:lnTo>
                      <a:lnTo>
                        <a:pt x="23" y="422"/>
                      </a:lnTo>
                      <a:lnTo>
                        <a:pt x="21" y="421"/>
                      </a:lnTo>
                      <a:lnTo>
                        <a:pt x="23" y="418"/>
                      </a:lnTo>
                      <a:lnTo>
                        <a:pt x="21" y="416"/>
                      </a:lnTo>
                      <a:lnTo>
                        <a:pt x="20" y="415"/>
                      </a:lnTo>
                      <a:lnTo>
                        <a:pt x="20" y="414"/>
                      </a:lnTo>
                      <a:lnTo>
                        <a:pt x="19" y="413"/>
                      </a:lnTo>
                      <a:lnTo>
                        <a:pt x="18" y="412"/>
                      </a:lnTo>
                      <a:lnTo>
                        <a:pt x="17" y="411"/>
                      </a:lnTo>
                      <a:lnTo>
                        <a:pt x="16" y="409"/>
                      </a:lnTo>
                      <a:lnTo>
                        <a:pt x="14" y="407"/>
                      </a:lnTo>
                      <a:lnTo>
                        <a:pt x="14" y="402"/>
                      </a:lnTo>
                      <a:lnTo>
                        <a:pt x="14" y="397"/>
                      </a:lnTo>
                      <a:lnTo>
                        <a:pt x="13" y="393"/>
                      </a:lnTo>
                      <a:lnTo>
                        <a:pt x="14" y="392"/>
                      </a:lnTo>
                      <a:lnTo>
                        <a:pt x="14" y="391"/>
                      </a:lnTo>
                      <a:lnTo>
                        <a:pt x="14" y="390"/>
                      </a:lnTo>
                      <a:lnTo>
                        <a:pt x="13" y="388"/>
                      </a:lnTo>
                      <a:lnTo>
                        <a:pt x="13" y="387"/>
                      </a:lnTo>
                      <a:lnTo>
                        <a:pt x="13" y="384"/>
                      </a:lnTo>
                      <a:lnTo>
                        <a:pt x="14" y="383"/>
                      </a:lnTo>
                      <a:lnTo>
                        <a:pt x="17" y="381"/>
                      </a:lnTo>
                      <a:lnTo>
                        <a:pt x="17" y="380"/>
                      </a:lnTo>
                      <a:lnTo>
                        <a:pt x="17" y="379"/>
                      </a:lnTo>
                      <a:lnTo>
                        <a:pt x="17" y="378"/>
                      </a:lnTo>
                      <a:lnTo>
                        <a:pt x="18" y="378"/>
                      </a:lnTo>
                      <a:lnTo>
                        <a:pt x="18" y="377"/>
                      </a:lnTo>
                      <a:lnTo>
                        <a:pt x="17" y="377"/>
                      </a:lnTo>
                      <a:lnTo>
                        <a:pt x="16" y="376"/>
                      </a:lnTo>
                      <a:lnTo>
                        <a:pt x="16" y="374"/>
                      </a:lnTo>
                      <a:lnTo>
                        <a:pt x="14" y="373"/>
                      </a:lnTo>
                      <a:lnTo>
                        <a:pt x="13" y="373"/>
                      </a:lnTo>
                      <a:lnTo>
                        <a:pt x="13" y="372"/>
                      </a:lnTo>
                      <a:lnTo>
                        <a:pt x="13" y="371"/>
                      </a:lnTo>
                      <a:lnTo>
                        <a:pt x="13" y="369"/>
                      </a:lnTo>
                      <a:lnTo>
                        <a:pt x="12" y="365"/>
                      </a:lnTo>
                      <a:lnTo>
                        <a:pt x="12" y="364"/>
                      </a:lnTo>
                      <a:lnTo>
                        <a:pt x="11" y="363"/>
                      </a:lnTo>
                      <a:lnTo>
                        <a:pt x="9" y="362"/>
                      </a:lnTo>
                      <a:lnTo>
                        <a:pt x="9" y="360"/>
                      </a:lnTo>
                      <a:lnTo>
                        <a:pt x="7" y="359"/>
                      </a:lnTo>
                      <a:lnTo>
                        <a:pt x="6" y="358"/>
                      </a:lnTo>
                      <a:lnTo>
                        <a:pt x="5" y="357"/>
                      </a:lnTo>
                      <a:lnTo>
                        <a:pt x="5" y="356"/>
                      </a:lnTo>
                      <a:lnTo>
                        <a:pt x="5" y="355"/>
                      </a:lnTo>
                      <a:lnTo>
                        <a:pt x="4" y="353"/>
                      </a:lnTo>
                      <a:lnTo>
                        <a:pt x="4" y="351"/>
                      </a:lnTo>
                      <a:lnTo>
                        <a:pt x="4" y="350"/>
                      </a:lnTo>
                      <a:lnTo>
                        <a:pt x="4" y="349"/>
                      </a:lnTo>
                      <a:lnTo>
                        <a:pt x="3" y="349"/>
                      </a:lnTo>
                      <a:lnTo>
                        <a:pt x="3" y="348"/>
                      </a:lnTo>
                      <a:lnTo>
                        <a:pt x="3" y="346"/>
                      </a:lnTo>
                      <a:lnTo>
                        <a:pt x="3" y="345"/>
                      </a:lnTo>
                      <a:lnTo>
                        <a:pt x="3" y="342"/>
                      </a:lnTo>
                      <a:lnTo>
                        <a:pt x="2" y="341"/>
                      </a:lnTo>
                      <a:lnTo>
                        <a:pt x="2" y="338"/>
                      </a:lnTo>
                      <a:lnTo>
                        <a:pt x="2" y="337"/>
                      </a:lnTo>
                      <a:lnTo>
                        <a:pt x="0" y="336"/>
                      </a:lnTo>
                      <a:lnTo>
                        <a:pt x="2" y="335"/>
                      </a:lnTo>
                      <a:lnTo>
                        <a:pt x="3" y="335"/>
                      </a:lnTo>
                      <a:lnTo>
                        <a:pt x="3" y="336"/>
                      </a:lnTo>
                      <a:lnTo>
                        <a:pt x="3" y="335"/>
                      </a:lnTo>
                      <a:lnTo>
                        <a:pt x="3" y="334"/>
                      </a:lnTo>
                      <a:lnTo>
                        <a:pt x="2" y="334"/>
                      </a:lnTo>
                      <a:lnTo>
                        <a:pt x="2" y="332"/>
                      </a:lnTo>
                      <a:lnTo>
                        <a:pt x="2" y="329"/>
                      </a:lnTo>
                      <a:lnTo>
                        <a:pt x="2" y="328"/>
                      </a:lnTo>
                      <a:lnTo>
                        <a:pt x="2" y="327"/>
                      </a:lnTo>
                      <a:lnTo>
                        <a:pt x="3" y="327"/>
                      </a:lnTo>
                      <a:lnTo>
                        <a:pt x="3" y="325"/>
                      </a:lnTo>
                      <a:lnTo>
                        <a:pt x="3" y="324"/>
                      </a:lnTo>
                      <a:lnTo>
                        <a:pt x="3" y="323"/>
                      </a:lnTo>
                      <a:lnTo>
                        <a:pt x="4" y="323"/>
                      </a:lnTo>
                      <a:lnTo>
                        <a:pt x="4" y="324"/>
                      </a:lnTo>
                      <a:lnTo>
                        <a:pt x="4" y="325"/>
                      </a:lnTo>
                      <a:lnTo>
                        <a:pt x="4" y="324"/>
                      </a:lnTo>
                      <a:lnTo>
                        <a:pt x="4" y="323"/>
                      </a:lnTo>
                      <a:lnTo>
                        <a:pt x="4" y="321"/>
                      </a:lnTo>
                      <a:lnTo>
                        <a:pt x="5" y="320"/>
                      </a:lnTo>
                      <a:lnTo>
                        <a:pt x="7" y="317"/>
                      </a:lnTo>
                      <a:lnTo>
                        <a:pt x="7" y="316"/>
                      </a:lnTo>
                      <a:lnTo>
                        <a:pt x="9" y="316"/>
                      </a:lnTo>
                      <a:lnTo>
                        <a:pt x="9" y="308"/>
                      </a:lnTo>
                      <a:lnTo>
                        <a:pt x="9" y="307"/>
                      </a:lnTo>
                      <a:lnTo>
                        <a:pt x="10" y="306"/>
                      </a:lnTo>
                      <a:lnTo>
                        <a:pt x="10" y="304"/>
                      </a:lnTo>
                      <a:lnTo>
                        <a:pt x="10" y="306"/>
                      </a:lnTo>
                      <a:lnTo>
                        <a:pt x="11" y="306"/>
                      </a:lnTo>
                      <a:lnTo>
                        <a:pt x="11" y="304"/>
                      </a:lnTo>
                      <a:lnTo>
                        <a:pt x="12" y="304"/>
                      </a:lnTo>
                      <a:lnTo>
                        <a:pt x="12" y="303"/>
                      </a:lnTo>
                      <a:lnTo>
                        <a:pt x="14" y="303"/>
                      </a:lnTo>
                      <a:lnTo>
                        <a:pt x="16" y="303"/>
                      </a:lnTo>
                      <a:lnTo>
                        <a:pt x="17" y="303"/>
                      </a:lnTo>
                      <a:lnTo>
                        <a:pt x="18" y="303"/>
                      </a:lnTo>
                      <a:lnTo>
                        <a:pt x="19" y="302"/>
                      </a:lnTo>
                      <a:lnTo>
                        <a:pt x="20" y="301"/>
                      </a:lnTo>
                      <a:lnTo>
                        <a:pt x="20" y="300"/>
                      </a:lnTo>
                      <a:lnTo>
                        <a:pt x="21" y="296"/>
                      </a:lnTo>
                      <a:lnTo>
                        <a:pt x="23" y="290"/>
                      </a:lnTo>
                      <a:lnTo>
                        <a:pt x="25" y="287"/>
                      </a:lnTo>
                      <a:lnTo>
                        <a:pt x="25" y="286"/>
                      </a:lnTo>
                      <a:lnTo>
                        <a:pt x="26" y="286"/>
                      </a:lnTo>
                      <a:lnTo>
                        <a:pt x="27" y="285"/>
                      </a:lnTo>
                      <a:lnTo>
                        <a:pt x="28" y="282"/>
                      </a:lnTo>
                      <a:lnTo>
                        <a:pt x="28" y="281"/>
                      </a:lnTo>
                      <a:lnTo>
                        <a:pt x="30" y="279"/>
                      </a:lnTo>
                      <a:lnTo>
                        <a:pt x="30" y="278"/>
                      </a:lnTo>
                      <a:lnTo>
                        <a:pt x="31" y="276"/>
                      </a:lnTo>
                      <a:lnTo>
                        <a:pt x="31" y="278"/>
                      </a:lnTo>
                      <a:lnTo>
                        <a:pt x="32" y="275"/>
                      </a:lnTo>
                      <a:lnTo>
                        <a:pt x="33" y="274"/>
                      </a:lnTo>
                      <a:lnTo>
                        <a:pt x="34" y="273"/>
                      </a:lnTo>
                      <a:lnTo>
                        <a:pt x="34" y="272"/>
                      </a:lnTo>
                      <a:lnTo>
                        <a:pt x="37" y="267"/>
                      </a:lnTo>
                      <a:lnTo>
                        <a:pt x="37" y="266"/>
                      </a:lnTo>
                      <a:lnTo>
                        <a:pt x="39" y="264"/>
                      </a:lnTo>
                      <a:lnTo>
                        <a:pt x="40" y="262"/>
                      </a:lnTo>
                      <a:lnTo>
                        <a:pt x="40" y="261"/>
                      </a:lnTo>
                      <a:lnTo>
                        <a:pt x="41" y="260"/>
                      </a:lnTo>
                      <a:lnTo>
                        <a:pt x="41" y="258"/>
                      </a:lnTo>
                      <a:lnTo>
                        <a:pt x="41" y="257"/>
                      </a:lnTo>
                      <a:lnTo>
                        <a:pt x="40" y="257"/>
                      </a:lnTo>
                      <a:lnTo>
                        <a:pt x="40" y="255"/>
                      </a:lnTo>
                      <a:lnTo>
                        <a:pt x="39" y="255"/>
                      </a:lnTo>
                      <a:lnTo>
                        <a:pt x="38" y="254"/>
                      </a:lnTo>
                      <a:lnTo>
                        <a:pt x="38" y="253"/>
                      </a:lnTo>
                      <a:lnTo>
                        <a:pt x="39" y="252"/>
                      </a:lnTo>
                      <a:lnTo>
                        <a:pt x="39" y="251"/>
                      </a:lnTo>
                      <a:lnTo>
                        <a:pt x="39" y="250"/>
                      </a:lnTo>
                      <a:lnTo>
                        <a:pt x="39" y="248"/>
                      </a:lnTo>
                      <a:lnTo>
                        <a:pt x="39" y="247"/>
                      </a:lnTo>
                      <a:lnTo>
                        <a:pt x="40" y="247"/>
                      </a:lnTo>
                      <a:lnTo>
                        <a:pt x="40" y="246"/>
                      </a:lnTo>
                      <a:lnTo>
                        <a:pt x="41" y="246"/>
                      </a:lnTo>
                      <a:lnTo>
                        <a:pt x="41" y="245"/>
                      </a:lnTo>
                      <a:lnTo>
                        <a:pt x="41" y="244"/>
                      </a:lnTo>
                      <a:lnTo>
                        <a:pt x="40" y="241"/>
                      </a:lnTo>
                      <a:lnTo>
                        <a:pt x="40" y="240"/>
                      </a:lnTo>
                      <a:lnTo>
                        <a:pt x="39" y="239"/>
                      </a:lnTo>
                      <a:lnTo>
                        <a:pt x="38" y="238"/>
                      </a:lnTo>
                      <a:lnTo>
                        <a:pt x="38" y="237"/>
                      </a:lnTo>
                      <a:lnTo>
                        <a:pt x="37" y="236"/>
                      </a:lnTo>
                      <a:lnTo>
                        <a:pt x="34" y="232"/>
                      </a:lnTo>
                      <a:lnTo>
                        <a:pt x="33" y="231"/>
                      </a:lnTo>
                      <a:lnTo>
                        <a:pt x="33" y="230"/>
                      </a:lnTo>
                      <a:lnTo>
                        <a:pt x="33" y="227"/>
                      </a:lnTo>
                      <a:lnTo>
                        <a:pt x="34" y="226"/>
                      </a:lnTo>
                      <a:lnTo>
                        <a:pt x="34" y="225"/>
                      </a:lnTo>
                      <a:lnTo>
                        <a:pt x="34" y="224"/>
                      </a:lnTo>
                      <a:lnTo>
                        <a:pt x="34" y="223"/>
                      </a:lnTo>
                      <a:lnTo>
                        <a:pt x="34" y="222"/>
                      </a:lnTo>
                      <a:lnTo>
                        <a:pt x="33" y="219"/>
                      </a:lnTo>
                      <a:lnTo>
                        <a:pt x="32" y="215"/>
                      </a:lnTo>
                      <a:lnTo>
                        <a:pt x="30" y="212"/>
                      </a:lnTo>
                      <a:lnTo>
                        <a:pt x="28" y="209"/>
                      </a:lnTo>
                      <a:lnTo>
                        <a:pt x="27" y="208"/>
                      </a:lnTo>
                      <a:lnTo>
                        <a:pt x="27" y="202"/>
                      </a:lnTo>
                      <a:lnTo>
                        <a:pt x="26" y="195"/>
                      </a:lnTo>
                      <a:lnTo>
                        <a:pt x="26" y="192"/>
                      </a:lnTo>
                      <a:lnTo>
                        <a:pt x="27" y="189"/>
                      </a:lnTo>
                      <a:lnTo>
                        <a:pt x="27" y="188"/>
                      </a:lnTo>
                      <a:lnTo>
                        <a:pt x="27" y="187"/>
                      </a:lnTo>
                      <a:lnTo>
                        <a:pt x="27" y="185"/>
                      </a:lnTo>
                      <a:lnTo>
                        <a:pt x="26" y="184"/>
                      </a:lnTo>
                      <a:lnTo>
                        <a:pt x="25" y="182"/>
                      </a:lnTo>
                      <a:lnTo>
                        <a:pt x="24" y="181"/>
                      </a:lnTo>
                      <a:lnTo>
                        <a:pt x="24" y="180"/>
                      </a:lnTo>
                      <a:lnTo>
                        <a:pt x="25" y="177"/>
                      </a:lnTo>
                      <a:lnTo>
                        <a:pt x="26" y="174"/>
                      </a:lnTo>
                      <a:lnTo>
                        <a:pt x="27" y="173"/>
                      </a:lnTo>
                      <a:lnTo>
                        <a:pt x="28" y="171"/>
                      </a:lnTo>
                      <a:lnTo>
                        <a:pt x="31" y="168"/>
                      </a:lnTo>
                      <a:lnTo>
                        <a:pt x="31" y="167"/>
                      </a:lnTo>
                      <a:lnTo>
                        <a:pt x="32" y="167"/>
                      </a:lnTo>
                      <a:lnTo>
                        <a:pt x="32" y="166"/>
                      </a:lnTo>
                      <a:lnTo>
                        <a:pt x="33" y="164"/>
                      </a:lnTo>
                      <a:lnTo>
                        <a:pt x="34" y="161"/>
                      </a:lnTo>
                      <a:lnTo>
                        <a:pt x="35" y="160"/>
                      </a:lnTo>
                      <a:lnTo>
                        <a:pt x="35" y="159"/>
                      </a:lnTo>
                      <a:lnTo>
                        <a:pt x="37" y="159"/>
                      </a:lnTo>
                      <a:lnTo>
                        <a:pt x="37" y="157"/>
                      </a:lnTo>
                      <a:lnTo>
                        <a:pt x="38" y="156"/>
                      </a:lnTo>
                      <a:lnTo>
                        <a:pt x="39" y="155"/>
                      </a:lnTo>
                      <a:lnTo>
                        <a:pt x="40" y="154"/>
                      </a:lnTo>
                      <a:lnTo>
                        <a:pt x="40" y="153"/>
                      </a:lnTo>
                      <a:lnTo>
                        <a:pt x="41" y="150"/>
                      </a:lnTo>
                      <a:lnTo>
                        <a:pt x="40" y="150"/>
                      </a:lnTo>
                      <a:lnTo>
                        <a:pt x="40" y="149"/>
                      </a:lnTo>
                      <a:lnTo>
                        <a:pt x="40" y="148"/>
                      </a:lnTo>
                      <a:lnTo>
                        <a:pt x="40" y="147"/>
                      </a:lnTo>
                      <a:lnTo>
                        <a:pt x="41" y="147"/>
                      </a:lnTo>
                      <a:lnTo>
                        <a:pt x="41" y="148"/>
                      </a:lnTo>
                      <a:lnTo>
                        <a:pt x="41" y="147"/>
                      </a:lnTo>
                      <a:lnTo>
                        <a:pt x="41" y="146"/>
                      </a:lnTo>
                      <a:lnTo>
                        <a:pt x="41" y="145"/>
                      </a:lnTo>
                      <a:lnTo>
                        <a:pt x="40" y="142"/>
                      </a:lnTo>
                      <a:lnTo>
                        <a:pt x="40" y="141"/>
                      </a:lnTo>
                      <a:lnTo>
                        <a:pt x="40" y="140"/>
                      </a:lnTo>
                      <a:lnTo>
                        <a:pt x="40" y="139"/>
                      </a:lnTo>
                      <a:lnTo>
                        <a:pt x="41" y="139"/>
                      </a:lnTo>
                      <a:lnTo>
                        <a:pt x="41" y="138"/>
                      </a:lnTo>
                      <a:lnTo>
                        <a:pt x="41" y="136"/>
                      </a:lnTo>
                      <a:lnTo>
                        <a:pt x="41" y="135"/>
                      </a:lnTo>
                      <a:lnTo>
                        <a:pt x="42" y="135"/>
                      </a:lnTo>
                      <a:lnTo>
                        <a:pt x="44" y="135"/>
                      </a:lnTo>
                      <a:lnTo>
                        <a:pt x="51" y="136"/>
                      </a:lnTo>
                      <a:lnTo>
                        <a:pt x="52" y="135"/>
                      </a:lnTo>
                      <a:lnTo>
                        <a:pt x="53" y="136"/>
                      </a:lnTo>
                      <a:lnTo>
                        <a:pt x="54" y="136"/>
                      </a:lnTo>
                      <a:lnTo>
                        <a:pt x="55" y="136"/>
                      </a:lnTo>
                      <a:lnTo>
                        <a:pt x="55" y="135"/>
                      </a:lnTo>
                      <a:lnTo>
                        <a:pt x="56" y="135"/>
                      </a:lnTo>
                      <a:lnTo>
                        <a:pt x="57" y="135"/>
                      </a:lnTo>
                      <a:lnTo>
                        <a:pt x="59" y="134"/>
                      </a:lnTo>
                      <a:lnTo>
                        <a:pt x="60" y="133"/>
                      </a:lnTo>
                      <a:lnTo>
                        <a:pt x="61" y="131"/>
                      </a:lnTo>
                      <a:lnTo>
                        <a:pt x="62" y="131"/>
                      </a:lnTo>
                      <a:lnTo>
                        <a:pt x="63" y="129"/>
                      </a:lnTo>
                      <a:lnTo>
                        <a:pt x="66" y="128"/>
                      </a:lnTo>
                      <a:lnTo>
                        <a:pt x="67" y="127"/>
                      </a:lnTo>
                      <a:lnTo>
                        <a:pt x="67" y="128"/>
                      </a:lnTo>
                      <a:lnTo>
                        <a:pt x="67" y="129"/>
                      </a:lnTo>
                      <a:lnTo>
                        <a:pt x="68" y="131"/>
                      </a:lnTo>
                      <a:lnTo>
                        <a:pt x="68" y="132"/>
                      </a:lnTo>
                      <a:lnTo>
                        <a:pt x="68" y="133"/>
                      </a:lnTo>
                      <a:lnTo>
                        <a:pt x="69" y="133"/>
                      </a:lnTo>
                      <a:lnTo>
                        <a:pt x="69" y="132"/>
                      </a:lnTo>
                      <a:lnTo>
                        <a:pt x="70" y="132"/>
                      </a:lnTo>
                      <a:lnTo>
                        <a:pt x="71" y="132"/>
                      </a:lnTo>
                      <a:lnTo>
                        <a:pt x="71" y="131"/>
                      </a:lnTo>
                      <a:lnTo>
                        <a:pt x="70" y="131"/>
                      </a:lnTo>
                      <a:lnTo>
                        <a:pt x="70" y="129"/>
                      </a:lnTo>
                      <a:lnTo>
                        <a:pt x="76" y="128"/>
                      </a:lnTo>
                      <a:lnTo>
                        <a:pt x="77" y="129"/>
                      </a:lnTo>
                      <a:lnTo>
                        <a:pt x="76" y="131"/>
                      </a:lnTo>
                      <a:lnTo>
                        <a:pt x="77" y="131"/>
                      </a:lnTo>
                      <a:lnTo>
                        <a:pt x="77" y="132"/>
                      </a:lnTo>
                      <a:lnTo>
                        <a:pt x="78" y="131"/>
                      </a:lnTo>
                      <a:lnTo>
                        <a:pt x="77" y="129"/>
                      </a:lnTo>
                      <a:lnTo>
                        <a:pt x="77" y="128"/>
                      </a:lnTo>
                      <a:lnTo>
                        <a:pt x="78" y="128"/>
                      </a:lnTo>
                      <a:lnTo>
                        <a:pt x="78" y="127"/>
                      </a:lnTo>
                      <a:lnTo>
                        <a:pt x="78" y="126"/>
                      </a:lnTo>
                      <a:lnTo>
                        <a:pt x="78" y="125"/>
                      </a:lnTo>
                      <a:lnTo>
                        <a:pt x="80" y="124"/>
                      </a:lnTo>
                      <a:lnTo>
                        <a:pt x="81" y="122"/>
                      </a:lnTo>
                      <a:lnTo>
                        <a:pt x="82" y="124"/>
                      </a:lnTo>
                      <a:lnTo>
                        <a:pt x="83" y="124"/>
                      </a:lnTo>
                      <a:lnTo>
                        <a:pt x="84" y="124"/>
                      </a:lnTo>
                      <a:lnTo>
                        <a:pt x="87" y="122"/>
                      </a:lnTo>
                      <a:lnTo>
                        <a:pt x="88" y="122"/>
                      </a:lnTo>
                      <a:lnTo>
                        <a:pt x="89" y="122"/>
                      </a:lnTo>
                      <a:lnTo>
                        <a:pt x="89" y="124"/>
                      </a:lnTo>
                      <a:lnTo>
                        <a:pt x="89" y="125"/>
                      </a:lnTo>
                      <a:lnTo>
                        <a:pt x="90" y="125"/>
                      </a:lnTo>
                      <a:lnTo>
                        <a:pt x="91" y="126"/>
                      </a:lnTo>
                      <a:lnTo>
                        <a:pt x="92" y="126"/>
                      </a:lnTo>
                      <a:lnTo>
                        <a:pt x="92" y="125"/>
                      </a:lnTo>
                      <a:lnTo>
                        <a:pt x="91" y="125"/>
                      </a:lnTo>
                      <a:lnTo>
                        <a:pt x="91" y="124"/>
                      </a:lnTo>
                      <a:lnTo>
                        <a:pt x="92" y="124"/>
                      </a:lnTo>
                      <a:lnTo>
                        <a:pt x="92" y="122"/>
                      </a:lnTo>
                      <a:lnTo>
                        <a:pt x="91" y="124"/>
                      </a:lnTo>
                      <a:lnTo>
                        <a:pt x="90" y="124"/>
                      </a:lnTo>
                      <a:lnTo>
                        <a:pt x="91" y="122"/>
                      </a:lnTo>
                      <a:lnTo>
                        <a:pt x="91" y="121"/>
                      </a:lnTo>
                      <a:lnTo>
                        <a:pt x="92" y="121"/>
                      </a:lnTo>
                      <a:lnTo>
                        <a:pt x="94" y="121"/>
                      </a:lnTo>
                      <a:lnTo>
                        <a:pt x="94" y="120"/>
                      </a:lnTo>
                      <a:lnTo>
                        <a:pt x="95" y="120"/>
                      </a:lnTo>
                      <a:lnTo>
                        <a:pt x="96" y="120"/>
                      </a:lnTo>
                      <a:lnTo>
                        <a:pt x="97" y="120"/>
                      </a:lnTo>
                      <a:lnTo>
                        <a:pt x="97" y="121"/>
                      </a:lnTo>
                      <a:lnTo>
                        <a:pt x="98" y="122"/>
                      </a:lnTo>
                      <a:lnTo>
                        <a:pt x="97" y="122"/>
                      </a:lnTo>
                      <a:lnTo>
                        <a:pt x="97" y="124"/>
                      </a:lnTo>
                      <a:lnTo>
                        <a:pt x="96" y="124"/>
                      </a:lnTo>
                      <a:lnTo>
                        <a:pt x="97" y="125"/>
                      </a:lnTo>
                      <a:lnTo>
                        <a:pt x="98" y="125"/>
                      </a:lnTo>
                      <a:lnTo>
                        <a:pt x="98" y="126"/>
                      </a:lnTo>
                      <a:lnTo>
                        <a:pt x="99" y="128"/>
                      </a:lnTo>
                      <a:lnTo>
                        <a:pt x="101" y="129"/>
                      </a:lnTo>
                      <a:lnTo>
                        <a:pt x="101" y="128"/>
                      </a:lnTo>
                      <a:lnTo>
                        <a:pt x="102" y="128"/>
                      </a:lnTo>
                      <a:lnTo>
                        <a:pt x="102" y="127"/>
                      </a:lnTo>
                      <a:lnTo>
                        <a:pt x="103" y="127"/>
                      </a:lnTo>
                      <a:lnTo>
                        <a:pt x="104" y="127"/>
                      </a:lnTo>
                      <a:lnTo>
                        <a:pt x="104" y="128"/>
                      </a:lnTo>
                      <a:lnTo>
                        <a:pt x="105" y="128"/>
                      </a:lnTo>
                      <a:lnTo>
                        <a:pt x="105" y="127"/>
                      </a:lnTo>
                      <a:lnTo>
                        <a:pt x="104" y="126"/>
                      </a:lnTo>
                      <a:lnTo>
                        <a:pt x="103" y="126"/>
                      </a:lnTo>
                      <a:lnTo>
                        <a:pt x="102" y="125"/>
                      </a:lnTo>
                      <a:lnTo>
                        <a:pt x="101" y="125"/>
                      </a:lnTo>
                      <a:lnTo>
                        <a:pt x="99" y="125"/>
                      </a:lnTo>
                      <a:lnTo>
                        <a:pt x="99" y="124"/>
                      </a:lnTo>
                      <a:lnTo>
                        <a:pt x="101" y="124"/>
                      </a:lnTo>
                      <a:lnTo>
                        <a:pt x="101" y="122"/>
                      </a:lnTo>
                      <a:lnTo>
                        <a:pt x="102" y="121"/>
                      </a:lnTo>
                      <a:lnTo>
                        <a:pt x="101" y="121"/>
                      </a:lnTo>
                      <a:lnTo>
                        <a:pt x="99" y="121"/>
                      </a:lnTo>
                      <a:lnTo>
                        <a:pt x="99" y="120"/>
                      </a:lnTo>
                      <a:lnTo>
                        <a:pt x="101" y="119"/>
                      </a:lnTo>
                      <a:lnTo>
                        <a:pt x="101" y="118"/>
                      </a:lnTo>
                      <a:lnTo>
                        <a:pt x="103" y="117"/>
                      </a:lnTo>
                      <a:lnTo>
                        <a:pt x="104" y="114"/>
                      </a:lnTo>
                      <a:lnTo>
                        <a:pt x="105" y="113"/>
                      </a:lnTo>
                      <a:lnTo>
                        <a:pt x="105" y="114"/>
                      </a:lnTo>
                      <a:lnTo>
                        <a:pt x="106" y="113"/>
                      </a:lnTo>
                      <a:lnTo>
                        <a:pt x="108" y="112"/>
                      </a:lnTo>
                      <a:lnTo>
                        <a:pt x="109" y="112"/>
                      </a:lnTo>
                      <a:lnTo>
                        <a:pt x="110" y="111"/>
                      </a:lnTo>
                      <a:lnTo>
                        <a:pt x="111" y="111"/>
                      </a:lnTo>
                      <a:lnTo>
                        <a:pt x="110" y="111"/>
                      </a:lnTo>
                      <a:lnTo>
                        <a:pt x="110" y="110"/>
                      </a:lnTo>
                      <a:lnTo>
                        <a:pt x="112" y="110"/>
                      </a:lnTo>
                      <a:lnTo>
                        <a:pt x="116" y="107"/>
                      </a:lnTo>
                      <a:lnTo>
                        <a:pt x="118" y="105"/>
                      </a:lnTo>
                      <a:lnTo>
                        <a:pt x="119" y="105"/>
                      </a:lnTo>
                      <a:lnTo>
                        <a:pt x="120" y="104"/>
                      </a:lnTo>
                      <a:lnTo>
                        <a:pt x="120" y="105"/>
                      </a:lnTo>
                      <a:lnTo>
                        <a:pt x="120" y="106"/>
                      </a:lnTo>
                      <a:lnTo>
                        <a:pt x="121" y="106"/>
                      </a:lnTo>
                      <a:lnTo>
                        <a:pt x="121" y="107"/>
                      </a:lnTo>
                      <a:lnTo>
                        <a:pt x="123" y="107"/>
                      </a:lnTo>
                      <a:lnTo>
                        <a:pt x="124" y="108"/>
                      </a:lnTo>
                      <a:lnTo>
                        <a:pt x="124" y="110"/>
                      </a:lnTo>
                      <a:lnTo>
                        <a:pt x="123" y="110"/>
                      </a:lnTo>
                      <a:lnTo>
                        <a:pt x="123" y="111"/>
                      </a:lnTo>
                      <a:lnTo>
                        <a:pt x="121" y="111"/>
                      </a:lnTo>
                      <a:lnTo>
                        <a:pt x="120" y="114"/>
                      </a:lnTo>
                      <a:lnTo>
                        <a:pt x="120" y="115"/>
                      </a:lnTo>
                      <a:lnTo>
                        <a:pt x="121" y="114"/>
                      </a:lnTo>
                      <a:lnTo>
                        <a:pt x="121" y="113"/>
                      </a:lnTo>
                      <a:lnTo>
                        <a:pt x="123" y="113"/>
                      </a:lnTo>
                      <a:lnTo>
                        <a:pt x="124" y="113"/>
                      </a:lnTo>
                      <a:lnTo>
                        <a:pt x="125" y="113"/>
                      </a:lnTo>
                      <a:lnTo>
                        <a:pt x="126" y="112"/>
                      </a:lnTo>
                      <a:lnTo>
                        <a:pt x="127" y="113"/>
                      </a:lnTo>
                      <a:lnTo>
                        <a:pt x="128" y="112"/>
                      </a:lnTo>
                      <a:lnTo>
                        <a:pt x="128" y="111"/>
                      </a:lnTo>
                      <a:lnTo>
                        <a:pt x="127" y="111"/>
                      </a:lnTo>
                      <a:lnTo>
                        <a:pt x="127" y="110"/>
                      </a:lnTo>
                      <a:lnTo>
                        <a:pt x="127" y="107"/>
                      </a:lnTo>
                      <a:lnTo>
                        <a:pt x="126" y="107"/>
                      </a:lnTo>
                      <a:lnTo>
                        <a:pt x="125" y="107"/>
                      </a:lnTo>
                      <a:lnTo>
                        <a:pt x="125" y="106"/>
                      </a:lnTo>
                      <a:lnTo>
                        <a:pt x="124" y="106"/>
                      </a:lnTo>
                      <a:lnTo>
                        <a:pt x="124" y="105"/>
                      </a:lnTo>
                      <a:lnTo>
                        <a:pt x="124" y="104"/>
                      </a:lnTo>
                      <a:lnTo>
                        <a:pt x="125" y="103"/>
                      </a:lnTo>
                      <a:lnTo>
                        <a:pt x="125" y="101"/>
                      </a:lnTo>
                      <a:lnTo>
                        <a:pt x="127" y="100"/>
                      </a:lnTo>
                      <a:lnTo>
                        <a:pt x="128" y="99"/>
                      </a:lnTo>
                      <a:lnTo>
                        <a:pt x="128" y="98"/>
                      </a:lnTo>
                      <a:lnTo>
                        <a:pt x="130" y="97"/>
                      </a:lnTo>
                      <a:lnTo>
                        <a:pt x="131" y="96"/>
                      </a:lnTo>
                      <a:lnTo>
                        <a:pt x="132" y="94"/>
                      </a:lnTo>
                      <a:lnTo>
                        <a:pt x="133" y="94"/>
                      </a:lnTo>
                      <a:lnTo>
                        <a:pt x="133" y="93"/>
                      </a:lnTo>
                      <a:lnTo>
                        <a:pt x="132" y="93"/>
                      </a:lnTo>
                      <a:lnTo>
                        <a:pt x="131" y="93"/>
                      </a:lnTo>
                      <a:lnTo>
                        <a:pt x="132" y="91"/>
                      </a:lnTo>
                      <a:lnTo>
                        <a:pt x="135" y="87"/>
                      </a:lnTo>
                      <a:lnTo>
                        <a:pt x="137" y="87"/>
                      </a:lnTo>
                      <a:lnTo>
                        <a:pt x="138" y="89"/>
                      </a:lnTo>
                      <a:lnTo>
                        <a:pt x="138" y="91"/>
                      </a:lnTo>
                      <a:lnTo>
                        <a:pt x="138" y="92"/>
                      </a:lnTo>
                      <a:lnTo>
                        <a:pt x="138" y="93"/>
                      </a:lnTo>
                      <a:lnTo>
                        <a:pt x="135" y="96"/>
                      </a:lnTo>
                      <a:lnTo>
                        <a:pt x="135" y="97"/>
                      </a:lnTo>
                      <a:lnTo>
                        <a:pt x="134" y="100"/>
                      </a:lnTo>
                      <a:lnTo>
                        <a:pt x="134" y="101"/>
                      </a:lnTo>
                      <a:lnTo>
                        <a:pt x="135" y="101"/>
                      </a:lnTo>
                      <a:lnTo>
                        <a:pt x="137" y="100"/>
                      </a:lnTo>
                      <a:lnTo>
                        <a:pt x="138" y="99"/>
                      </a:lnTo>
                      <a:lnTo>
                        <a:pt x="138" y="98"/>
                      </a:lnTo>
                      <a:lnTo>
                        <a:pt x="139" y="97"/>
                      </a:lnTo>
                      <a:lnTo>
                        <a:pt x="139" y="98"/>
                      </a:lnTo>
                      <a:lnTo>
                        <a:pt x="139" y="97"/>
                      </a:lnTo>
                      <a:lnTo>
                        <a:pt x="140" y="96"/>
                      </a:lnTo>
                      <a:lnTo>
                        <a:pt x="142" y="91"/>
                      </a:lnTo>
                      <a:lnTo>
                        <a:pt x="142" y="90"/>
                      </a:lnTo>
                      <a:lnTo>
                        <a:pt x="144" y="89"/>
                      </a:lnTo>
                      <a:lnTo>
                        <a:pt x="144" y="87"/>
                      </a:lnTo>
                      <a:lnTo>
                        <a:pt x="145" y="87"/>
                      </a:lnTo>
                      <a:lnTo>
                        <a:pt x="145" y="86"/>
                      </a:lnTo>
                      <a:lnTo>
                        <a:pt x="146" y="86"/>
                      </a:lnTo>
                      <a:lnTo>
                        <a:pt x="146" y="85"/>
                      </a:lnTo>
                      <a:lnTo>
                        <a:pt x="147" y="85"/>
                      </a:lnTo>
                      <a:lnTo>
                        <a:pt x="147" y="84"/>
                      </a:lnTo>
                      <a:lnTo>
                        <a:pt x="148" y="86"/>
                      </a:lnTo>
                      <a:lnTo>
                        <a:pt x="149" y="86"/>
                      </a:lnTo>
                      <a:lnTo>
                        <a:pt x="151" y="86"/>
                      </a:lnTo>
                      <a:lnTo>
                        <a:pt x="151" y="87"/>
                      </a:lnTo>
                      <a:lnTo>
                        <a:pt x="151" y="89"/>
                      </a:lnTo>
                      <a:lnTo>
                        <a:pt x="152" y="87"/>
                      </a:lnTo>
                      <a:lnTo>
                        <a:pt x="151" y="86"/>
                      </a:lnTo>
                      <a:lnTo>
                        <a:pt x="152" y="86"/>
                      </a:lnTo>
                      <a:lnTo>
                        <a:pt x="153" y="86"/>
                      </a:lnTo>
                      <a:lnTo>
                        <a:pt x="153" y="87"/>
                      </a:lnTo>
                      <a:lnTo>
                        <a:pt x="153" y="90"/>
                      </a:lnTo>
                      <a:lnTo>
                        <a:pt x="153" y="91"/>
                      </a:lnTo>
                      <a:lnTo>
                        <a:pt x="154" y="90"/>
                      </a:lnTo>
                      <a:lnTo>
                        <a:pt x="154" y="89"/>
                      </a:lnTo>
                      <a:lnTo>
                        <a:pt x="154" y="87"/>
                      </a:lnTo>
                      <a:lnTo>
                        <a:pt x="154" y="86"/>
                      </a:lnTo>
                      <a:lnTo>
                        <a:pt x="153" y="85"/>
                      </a:lnTo>
                      <a:lnTo>
                        <a:pt x="152" y="85"/>
                      </a:lnTo>
                      <a:lnTo>
                        <a:pt x="152" y="84"/>
                      </a:lnTo>
                      <a:lnTo>
                        <a:pt x="151" y="84"/>
                      </a:lnTo>
                      <a:lnTo>
                        <a:pt x="149" y="85"/>
                      </a:lnTo>
                      <a:lnTo>
                        <a:pt x="148" y="85"/>
                      </a:lnTo>
                      <a:lnTo>
                        <a:pt x="148" y="84"/>
                      </a:lnTo>
                      <a:lnTo>
                        <a:pt x="147" y="84"/>
                      </a:lnTo>
                      <a:lnTo>
                        <a:pt x="147" y="83"/>
                      </a:lnTo>
                      <a:lnTo>
                        <a:pt x="146" y="84"/>
                      </a:lnTo>
                      <a:lnTo>
                        <a:pt x="146" y="85"/>
                      </a:lnTo>
                      <a:lnTo>
                        <a:pt x="145" y="85"/>
                      </a:lnTo>
                      <a:lnTo>
                        <a:pt x="145" y="84"/>
                      </a:lnTo>
                      <a:lnTo>
                        <a:pt x="145" y="83"/>
                      </a:lnTo>
                      <a:lnTo>
                        <a:pt x="145" y="82"/>
                      </a:lnTo>
                      <a:lnTo>
                        <a:pt x="144" y="80"/>
                      </a:lnTo>
                      <a:lnTo>
                        <a:pt x="145" y="80"/>
                      </a:lnTo>
                      <a:lnTo>
                        <a:pt x="144" y="80"/>
                      </a:lnTo>
                      <a:lnTo>
                        <a:pt x="144" y="78"/>
                      </a:lnTo>
                      <a:lnTo>
                        <a:pt x="145" y="77"/>
                      </a:lnTo>
                      <a:lnTo>
                        <a:pt x="145" y="76"/>
                      </a:lnTo>
                      <a:lnTo>
                        <a:pt x="146" y="76"/>
                      </a:lnTo>
                      <a:lnTo>
                        <a:pt x="146" y="75"/>
                      </a:lnTo>
                      <a:lnTo>
                        <a:pt x="146" y="73"/>
                      </a:lnTo>
                      <a:lnTo>
                        <a:pt x="147" y="72"/>
                      </a:lnTo>
                      <a:lnTo>
                        <a:pt x="149" y="73"/>
                      </a:lnTo>
                      <a:lnTo>
                        <a:pt x="151" y="73"/>
                      </a:lnTo>
                      <a:lnTo>
                        <a:pt x="152" y="73"/>
                      </a:lnTo>
                      <a:lnTo>
                        <a:pt x="152" y="72"/>
                      </a:lnTo>
                      <a:lnTo>
                        <a:pt x="152" y="71"/>
                      </a:lnTo>
                      <a:lnTo>
                        <a:pt x="152" y="70"/>
                      </a:lnTo>
                      <a:lnTo>
                        <a:pt x="151" y="69"/>
                      </a:lnTo>
                      <a:lnTo>
                        <a:pt x="152" y="69"/>
                      </a:lnTo>
                      <a:lnTo>
                        <a:pt x="153" y="70"/>
                      </a:lnTo>
                      <a:lnTo>
                        <a:pt x="154" y="70"/>
                      </a:lnTo>
                      <a:lnTo>
                        <a:pt x="154" y="71"/>
                      </a:lnTo>
                      <a:lnTo>
                        <a:pt x="153" y="71"/>
                      </a:lnTo>
                      <a:lnTo>
                        <a:pt x="153" y="72"/>
                      </a:lnTo>
                      <a:lnTo>
                        <a:pt x="153" y="75"/>
                      </a:lnTo>
                      <a:lnTo>
                        <a:pt x="153" y="76"/>
                      </a:lnTo>
                      <a:lnTo>
                        <a:pt x="153" y="75"/>
                      </a:lnTo>
                      <a:lnTo>
                        <a:pt x="154" y="75"/>
                      </a:lnTo>
                      <a:lnTo>
                        <a:pt x="154" y="73"/>
                      </a:lnTo>
                      <a:lnTo>
                        <a:pt x="154" y="72"/>
                      </a:lnTo>
                      <a:lnTo>
                        <a:pt x="155" y="71"/>
                      </a:lnTo>
                      <a:lnTo>
                        <a:pt x="155" y="70"/>
                      </a:lnTo>
                      <a:lnTo>
                        <a:pt x="155" y="69"/>
                      </a:lnTo>
                      <a:lnTo>
                        <a:pt x="154" y="68"/>
                      </a:lnTo>
                      <a:lnTo>
                        <a:pt x="153" y="68"/>
                      </a:lnTo>
                      <a:lnTo>
                        <a:pt x="153" y="66"/>
                      </a:lnTo>
                      <a:lnTo>
                        <a:pt x="152" y="65"/>
                      </a:lnTo>
                      <a:lnTo>
                        <a:pt x="154" y="64"/>
                      </a:lnTo>
                      <a:lnTo>
                        <a:pt x="153" y="63"/>
                      </a:lnTo>
                      <a:lnTo>
                        <a:pt x="152" y="63"/>
                      </a:lnTo>
                      <a:lnTo>
                        <a:pt x="151" y="63"/>
                      </a:lnTo>
                      <a:lnTo>
                        <a:pt x="151" y="61"/>
                      </a:lnTo>
                      <a:lnTo>
                        <a:pt x="149" y="58"/>
                      </a:lnTo>
                      <a:lnTo>
                        <a:pt x="149" y="57"/>
                      </a:lnTo>
                      <a:lnTo>
                        <a:pt x="152" y="56"/>
                      </a:lnTo>
                      <a:lnTo>
                        <a:pt x="151" y="56"/>
                      </a:lnTo>
                      <a:lnTo>
                        <a:pt x="151" y="55"/>
                      </a:lnTo>
                      <a:lnTo>
                        <a:pt x="151" y="54"/>
                      </a:lnTo>
                      <a:lnTo>
                        <a:pt x="151" y="52"/>
                      </a:lnTo>
                      <a:lnTo>
                        <a:pt x="152" y="52"/>
                      </a:lnTo>
                      <a:lnTo>
                        <a:pt x="153" y="51"/>
                      </a:lnTo>
                      <a:lnTo>
                        <a:pt x="153" y="50"/>
                      </a:lnTo>
                      <a:lnTo>
                        <a:pt x="154" y="50"/>
                      </a:lnTo>
                      <a:lnTo>
                        <a:pt x="153" y="50"/>
                      </a:lnTo>
                      <a:lnTo>
                        <a:pt x="153" y="51"/>
                      </a:lnTo>
                      <a:lnTo>
                        <a:pt x="154" y="51"/>
                      </a:lnTo>
                      <a:lnTo>
                        <a:pt x="154" y="52"/>
                      </a:lnTo>
                      <a:lnTo>
                        <a:pt x="154" y="51"/>
                      </a:lnTo>
                      <a:lnTo>
                        <a:pt x="155" y="51"/>
                      </a:lnTo>
                      <a:lnTo>
                        <a:pt x="154" y="50"/>
                      </a:lnTo>
                      <a:lnTo>
                        <a:pt x="155" y="50"/>
                      </a:lnTo>
                      <a:lnTo>
                        <a:pt x="156" y="50"/>
                      </a:lnTo>
                      <a:lnTo>
                        <a:pt x="156" y="51"/>
                      </a:lnTo>
                      <a:lnTo>
                        <a:pt x="156" y="52"/>
                      </a:lnTo>
                      <a:lnTo>
                        <a:pt x="158" y="52"/>
                      </a:lnTo>
                      <a:lnTo>
                        <a:pt x="159" y="54"/>
                      </a:lnTo>
                      <a:lnTo>
                        <a:pt x="159" y="56"/>
                      </a:lnTo>
                      <a:lnTo>
                        <a:pt x="159" y="57"/>
                      </a:lnTo>
                      <a:lnTo>
                        <a:pt x="160" y="57"/>
                      </a:lnTo>
                      <a:lnTo>
                        <a:pt x="159" y="57"/>
                      </a:lnTo>
                      <a:lnTo>
                        <a:pt x="160" y="58"/>
                      </a:lnTo>
                      <a:lnTo>
                        <a:pt x="160" y="59"/>
                      </a:lnTo>
                      <a:lnTo>
                        <a:pt x="161" y="59"/>
                      </a:lnTo>
                      <a:lnTo>
                        <a:pt x="162" y="59"/>
                      </a:lnTo>
                      <a:lnTo>
                        <a:pt x="163" y="59"/>
                      </a:lnTo>
                      <a:lnTo>
                        <a:pt x="163" y="58"/>
                      </a:lnTo>
                      <a:lnTo>
                        <a:pt x="165" y="58"/>
                      </a:lnTo>
                      <a:lnTo>
                        <a:pt x="163" y="57"/>
                      </a:lnTo>
                      <a:lnTo>
                        <a:pt x="165" y="55"/>
                      </a:lnTo>
                      <a:lnTo>
                        <a:pt x="165" y="54"/>
                      </a:lnTo>
                      <a:lnTo>
                        <a:pt x="165" y="52"/>
                      </a:lnTo>
                      <a:lnTo>
                        <a:pt x="165" y="51"/>
                      </a:lnTo>
                      <a:lnTo>
                        <a:pt x="166" y="52"/>
                      </a:lnTo>
                      <a:lnTo>
                        <a:pt x="167" y="51"/>
                      </a:lnTo>
                      <a:lnTo>
                        <a:pt x="167" y="50"/>
                      </a:lnTo>
                      <a:lnTo>
                        <a:pt x="168" y="50"/>
                      </a:lnTo>
                      <a:lnTo>
                        <a:pt x="169" y="50"/>
                      </a:lnTo>
                      <a:lnTo>
                        <a:pt x="170" y="50"/>
                      </a:lnTo>
                      <a:lnTo>
                        <a:pt x="170" y="49"/>
                      </a:lnTo>
                      <a:lnTo>
                        <a:pt x="169" y="48"/>
                      </a:lnTo>
                      <a:lnTo>
                        <a:pt x="169" y="47"/>
                      </a:lnTo>
                      <a:lnTo>
                        <a:pt x="169" y="45"/>
                      </a:lnTo>
                      <a:lnTo>
                        <a:pt x="170" y="47"/>
                      </a:lnTo>
                      <a:lnTo>
                        <a:pt x="170" y="48"/>
                      </a:lnTo>
                      <a:lnTo>
                        <a:pt x="173" y="48"/>
                      </a:lnTo>
                      <a:lnTo>
                        <a:pt x="174" y="48"/>
                      </a:lnTo>
                      <a:lnTo>
                        <a:pt x="175" y="48"/>
                      </a:lnTo>
                      <a:lnTo>
                        <a:pt x="176" y="48"/>
                      </a:lnTo>
                      <a:lnTo>
                        <a:pt x="177" y="47"/>
                      </a:lnTo>
                      <a:lnTo>
                        <a:pt x="179" y="47"/>
                      </a:lnTo>
                      <a:lnTo>
                        <a:pt x="179" y="45"/>
                      </a:lnTo>
                      <a:lnTo>
                        <a:pt x="179" y="44"/>
                      </a:lnTo>
                      <a:lnTo>
                        <a:pt x="179" y="43"/>
                      </a:lnTo>
                      <a:lnTo>
                        <a:pt x="180" y="42"/>
                      </a:lnTo>
                      <a:lnTo>
                        <a:pt x="180" y="41"/>
                      </a:lnTo>
                      <a:lnTo>
                        <a:pt x="180" y="40"/>
                      </a:lnTo>
                      <a:lnTo>
                        <a:pt x="180" y="38"/>
                      </a:lnTo>
                      <a:lnTo>
                        <a:pt x="181" y="36"/>
                      </a:lnTo>
                      <a:lnTo>
                        <a:pt x="181" y="35"/>
                      </a:lnTo>
                      <a:lnTo>
                        <a:pt x="182" y="34"/>
                      </a:lnTo>
                      <a:lnTo>
                        <a:pt x="182" y="33"/>
                      </a:lnTo>
                      <a:lnTo>
                        <a:pt x="183" y="33"/>
                      </a:lnTo>
                      <a:lnTo>
                        <a:pt x="183" y="31"/>
                      </a:lnTo>
                      <a:lnTo>
                        <a:pt x="183" y="30"/>
                      </a:lnTo>
                      <a:lnTo>
                        <a:pt x="184" y="29"/>
                      </a:lnTo>
                      <a:lnTo>
                        <a:pt x="184" y="28"/>
                      </a:lnTo>
                      <a:lnTo>
                        <a:pt x="183" y="27"/>
                      </a:lnTo>
                      <a:lnTo>
                        <a:pt x="183" y="26"/>
                      </a:lnTo>
                      <a:lnTo>
                        <a:pt x="182" y="26"/>
                      </a:lnTo>
                      <a:lnTo>
                        <a:pt x="182" y="24"/>
                      </a:lnTo>
                      <a:lnTo>
                        <a:pt x="182" y="23"/>
                      </a:lnTo>
                      <a:lnTo>
                        <a:pt x="181" y="23"/>
                      </a:lnTo>
                      <a:lnTo>
                        <a:pt x="181" y="22"/>
                      </a:lnTo>
                      <a:lnTo>
                        <a:pt x="182" y="22"/>
                      </a:lnTo>
                      <a:lnTo>
                        <a:pt x="182" y="21"/>
                      </a:lnTo>
                      <a:lnTo>
                        <a:pt x="181" y="21"/>
                      </a:lnTo>
                      <a:lnTo>
                        <a:pt x="182" y="20"/>
                      </a:lnTo>
                      <a:lnTo>
                        <a:pt x="181" y="20"/>
                      </a:lnTo>
                      <a:lnTo>
                        <a:pt x="181" y="19"/>
                      </a:lnTo>
                      <a:lnTo>
                        <a:pt x="180" y="19"/>
                      </a:lnTo>
                      <a:lnTo>
                        <a:pt x="179" y="17"/>
                      </a:lnTo>
                      <a:lnTo>
                        <a:pt x="179" y="16"/>
                      </a:lnTo>
                      <a:lnTo>
                        <a:pt x="179" y="15"/>
                      </a:lnTo>
                      <a:lnTo>
                        <a:pt x="179" y="16"/>
                      </a:lnTo>
                      <a:lnTo>
                        <a:pt x="177" y="15"/>
                      </a:lnTo>
                      <a:lnTo>
                        <a:pt x="177" y="14"/>
                      </a:lnTo>
                      <a:lnTo>
                        <a:pt x="179" y="14"/>
                      </a:lnTo>
                      <a:lnTo>
                        <a:pt x="179" y="15"/>
                      </a:lnTo>
                      <a:lnTo>
                        <a:pt x="180" y="15"/>
                      </a:lnTo>
                      <a:lnTo>
                        <a:pt x="181" y="15"/>
                      </a:lnTo>
                      <a:lnTo>
                        <a:pt x="182" y="15"/>
                      </a:lnTo>
                      <a:lnTo>
                        <a:pt x="182" y="17"/>
                      </a:lnTo>
                      <a:lnTo>
                        <a:pt x="183" y="17"/>
                      </a:lnTo>
                      <a:lnTo>
                        <a:pt x="184" y="16"/>
                      </a:lnTo>
                      <a:lnTo>
                        <a:pt x="184" y="15"/>
                      </a:lnTo>
                      <a:lnTo>
                        <a:pt x="184" y="14"/>
                      </a:lnTo>
                      <a:lnTo>
                        <a:pt x="184" y="13"/>
                      </a:lnTo>
                      <a:lnTo>
                        <a:pt x="185" y="13"/>
                      </a:lnTo>
                      <a:lnTo>
                        <a:pt x="185" y="12"/>
                      </a:lnTo>
                      <a:lnTo>
                        <a:pt x="187" y="12"/>
                      </a:lnTo>
                      <a:lnTo>
                        <a:pt x="188" y="10"/>
                      </a:lnTo>
                      <a:lnTo>
                        <a:pt x="188" y="12"/>
                      </a:lnTo>
                      <a:lnTo>
                        <a:pt x="189" y="10"/>
                      </a:lnTo>
                      <a:lnTo>
                        <a:pt x="189" y="9"/>
                      </a:lnTo>
                      <a:lnTo>
                        <a:pt x="190" y="10"/>
                      </a:lnTo>
                      <a:lnTo>
                        <a:pt x="190" y="9"/>
                      </a:lnTo>
                      <a:lnTo>
                        <a:pt x="191" y="9"/>
                      </a:lnTo>
                      <a:lnTo>
                        <a:pt x="191" y="8"/>
                      </a:lnTo>
                      <a:lnTo>
                        <a:pt x="190" y="8"/>
                      </a:lnTo>
                      <a:lnTo>
                        <a:pt x="191" y="7"/>
                      </a:lnTo>
                      <a:lnTo>
                        <a:pt x="192" y="7"/>
                      </a:lnTo>
                      <a:lnTo>
                        <a:pt x="191" y="6"/>
                      </a:lnTo>
                      <a:lnTo>
                        <a:pt x="190" y="6"/>
                      </a:lnTo>
                      <a:lnTo>
                        <a:pt x="190" y="5"/>
                      </a:lnTo>
                      <a:lnTo>
                        <a:pt x="189" y="5"/>
                      </a:lnTo>
                      <a:lnTo>
                        <a:pt x="190" y="3"/>
                      </a:lnTo>
                      <a:lnTo>
                        <a:pt x="191" y="3"/>
                      </a:lnTo>
                      <a:lnTo>
                        <a:pt x="192" y="6"/>
                      </a:lnTo>
                      <a:lnTo>
                        <a:pt x="192" y="5"/>
                      </a:lnTo>
                      <a:lnTo>
                        <a:pt x="192" y="6"/>
                      </a:lnTo>
                      <a:lnTo>
                        <a:pt x="192" y="5"/>
                      </a:lnTo>
                      <a:lnTo>
                        <a:pt x="192" y="3"/>
                      </a:lnTo>
                      <a:lnTo>
                        <a:pt x="191" y="3"/>
                      </a:lnTo>
                      <a:lnTo>
                        <a:pt x="191" y="2"/>
                      </a:lnTo>
                      <a:lnTo>
                        <a:pt x="192" y="2"/>
                      </a:lnTo>
                      <a:lnTo>
                        <a:pt x="192" y="1"/>
                      </a:lnTo>
                      <a:lnTo>
                        <a:pt x="194" y="0"/>
                      </a:lnTo>
                      <a:lnTo>
                        <a:pt x="195" y="0"/>
                      </a:lnTo>
                      <a:lnTo>
                        <a:pt x="196" y="1"/>
                      </a:lnTo>
                      <a:lnTo>
                        <a:pt x="196" y="2"/>
                      </a:lnTo>
                      <a:lnTo>
                        <a:pt x="196" y="3"/>
                      </a:lnTo>
                      <a:lnTo>
                        <a:pt x="197" y="3"/>
                      </a:lnTo>
                      <a:lnTo>
                        <a:pt x="197" y="5"/>
                      </a:lnTo>
                      <a:close/>
                    </a:path>
                  </a:pathLst>
                </a:custGeom>
                <a:solidFill>
                  <a:srgbClr val="C8C8C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54" name="Freeform 102">
                  <a:extLst>
                    <a:ext uri="{FF2B5EF4-FFF2-40B4-BE49-F238E27FC236}">
                      <a16:creationId xmlns:a16="http://schemas.microsoft.com/office/drawing/2014/main" id="{096BD798-5308-A27F-A6A2-F9D4DEAFB9A8}"/>
                    </a:ext>
                  </a:extLst>
                </p:cNvPr>
                <p:cNvSpPr>
                  <a:spLocks noEditPoints="1"/>
                </p:cNvSpPr>
                <p:nvPr/>
              </p:nvSpPr>
              <p:spPr bwMode="auto">
                <a:xfrm>
                  <a:off x="7263235" y="4157750"/>
                  <a:ext cx="361299" cy="586298"/>
                </a:xfrm>
                <a:custGeom>
                  <a:avLst/>
                  <a:gdLst>
                    <a:gd name="T0" fmla="*/ 302 w 334"/>
                    <a:gd name="T1" fmla="*/ 191 h 542"/>
                    <a:gd name="T2" fmla="*/ 329 w 334"/>
                    <a:gd name="T3" fmla="*/ 8 h 542"/>
                    <a:gd name="T4" fmla="*/ 324 w 334"/>
                    <a:gd name="T5" fmla="*/ 23 h 542"/>
                    <a:gd name="T6" fmla="*/ 323 w 334"/>
                    <a:gd name="T7" fmla="*/ 42 h 542"/>
                    <a:gd name="T8" fmla="*/ 324 w 334"/>
                    <a:gd name="T9" fmla="*/ 60 h 542"/>
                    <a:gd name="T10" fmla="*/ 326 w 334"/>
                    <a:gd name="T11" fmla="*/ 74 h 542"/>
                    <a:gd name="T12" fmla="*/ 326 w 334"/>
                    <a:gd name="T13" fmla="*/ 90 h 542"/>
                    <a:gd name="T14" fmla="*/ 326 w 334"/>
                    <a:gd name="T15" fmla="*/ 116 h 542"/>
                    <a:gd name="T16" fmla="*/ 327 w 334"/>
                    <a:gd name="T17" fmla="*/ 125 h 542"/>
                    <a:gd name="T18" fmla="*/ 334 w 334"/>
                    <a:gd name="T19" fmla="*/ 139 h 542"/>
                    <a:gd name="T20" fmla="*/ 326 w 334"/>
                    <a:gd name="T21" fmla="*/ 150 h 542"/>
                    <a:gd name="T22" fmla="*/ 323 w 334"/>
                    <a:gd name="T23" fmla="*/ 163 h 542"/>
                    <a:gd name="T24" fmla="*/ 302 w 334"/>
                    <a:gd name="T25" fmla="*/ 188 h 542"/>
                    <a:gd name="T26" fmla="*/ 280 w 334"/>
                    <a:gd name="T27" fmla="*/ 206 h 542"/>
                    <a:gd name="T28" fmla="*/ 260 w 334"/>
                    <a:gd name="T29" fmla="*/ 216 h 542"/>
                    <a:gd name="T30" fmla="*/ 226 w 334"/>
                    <a:gd name="T31" fmla="*/ 231 h 542"/>
                    <a:gd name="T32" fmla="*/ 209 w 334"/>
                    <a:gd name="T33" fmla="*/ 239 h 542"/>
                    <a:gd name="T34" fmla="*/ 198 w 334"/>
                    <a:gd name="T35" fmla="*/ 261 h 542"/>
                    <a:gd name="T36" fmla="*/ 190 w 334"/>
                    <a:gd name="T37" fmla="*/ 270 h 542"/>
                    <a:gd name="T38" fmla="*/ 173 w 334"/>
                    <a:gd name="T39" fmla="*/ 279 h 542"/>
                    <a:gd name="T40" fmla="*/ 145 w 334"/>
                    <a:gd name="T41" fmla="*/ 303 h 542"/>
                    <a:gd name="T42" fmla="*/ 140 w 334"/>
                    <a:gd name="T43" fmla="*/ 305 h 542"/>
                    <a:gd name="T44" fmla="*/ 139 w 334"/>
                    <a:gd name="T45" fmla="*/ 323 h 542"/>
                    <a:gd name="T46" fmla="*/ 149 w 334"/>
                    <a:gd name="T47" fmla="*/ 336 h 542"/>
                    <a:gd name="T48" fmla="*/ 152 w 334"/>
                    <a:gd name="T49" fmla="*/ 351 h 542"/>
                    <a:gd name="T50" fmla="*/ 160 w 334"/>
                    <a:gd name="T51" fmla="*/ 391 h 542"/>
                    <a:gd name="T52" fmla="*/ 166 w 334"/>
                    <a:gd name="T53" fmla="*/ 384 h 542"/>
                    <a:gd name="T54" fmla="*/ 162 w 334"/>
                    <a:gd name="T55" fmla="*/ 434 h 542"/>
                    <a:gd name="T56" fmla="*/ 164 w 334"/>
                    <a:gd name="T57" fmla="*/ 436 h 542"/>
                    <a:gd name="T58" fmla="*/ 100 w 334"/>
                    <a:gd name="T59" fmla="*/ 485 h 542"/>
                    <a:gd name="T60" fmla="*/ 77 w 334"/>
                    <a:gd name="T61" fmla="*/ 507 h 542"/>
                    <a:gd name="T62" fmla="*/ 76 w 334"/>
                    <a:gd name="T63" fmla="*/ 519 h 542"/>
                    <a:gd name="T64" fmla="*/ 82 w 334"/>
                    <a:gd name="T65" fmla="*/ 541 h 542"/>
                    <a:gd name="T66" fmla="*/ 55 w 334"/>
                    <a:gd name="T67" fmla="*/ 512 h 542"/>
                    <a:gd name="T68" fmla="*/ 54 w 334"/>
                    <a:gd name="T69" fmla="*/ 455 h 542"/>
                    <a:gd name="T70" fmla="*/ 39 w 334"/>
                    <a:gd name="T71" fmla="*/ 384 h 542"/>
                    <a:gd name="T72" fmla="*/ 67 w 334"/>
                    <a:gd name="T73" fmla="*/ 347 h 542"/>
                    <a:gd name="T74" fmla="*/ 83 w 334"/>
                    <a:gd name="T75" fmla="*/ 312 h 542"/>
                    <a:gd name="T76" fmla="*/ 82 w 334"/>
                    <a:gd name="T77" fmla="*/ 293 h 542"/>
                    <a:gd name="T78" fmla="*/ 81 w 334"/>
                    <a:gd name="T79" fmla="*/ 268 h 542"/>
                    <a:gd name="T80" fmla="*/ 86 w 334"/>
                    <a:gd name="T81" fmla="*/ 249 h 542"/>
                    <a:gd name="T82" fmla="*/ 88 w 334"/>
                    <a:gd name="T83" fmla="*/ 221 h 542"/>
                    <a:gd name="T84" fmla="*/ 77 w 334"/>
                    <a:gd name="T85" fmla="*/ 197 h 542"/>
                    <a:gd name="T86" fmla="*/ 35 w 334"/>
                    <a:gd name="T87" fmla="*/ 181 h 542"/>
                    <a:gd name="T88" fmla="*/ 6 w 334"/>
                    <a:gd name="T89" fmla="*/ 175 h 542"/>
                    <a:gd name="T90" fmla="*/ 9 w 334"/>
                    <a:gd name="T91" fmla="*/ 141 h 542"/>
                    <a:gd name="T92" fmla="*/ 85 w 334"/>
                    <a:gd name="T93" fmla="*/ 115 h 542"/>
                    <a:gd name="T94" fmla="*/ 107 w 334"/>
                    <a:gd name="T95" fmla="*/ 130 h 542"/>
                    <a:gd name="T96" fmla="*/ 135 w 334"/>
                    <a:gd name="T97" fmla="*/ 132 h 542"/>
                    <a:gd name="T98" fmla="*/ 133 w 334"/>
                    <a:gd name="T99" fmla="*/ 160 h 542"/>
                    <a:gd name="T100" fmla="*/ 134 w 334"/>
                    <a:gd name="T101" fmla="*/ 186 h 542"/>
                    <a:gd name="T102" fmla="*/ 154 w 334"/>
                    <a:gd name="T103" fmla="*/ 206 h 542"/>
                    <a:gd name="T104" fmla="*/ 159 w 334"/>
                    <a:gd name="T105" fmla="*/ 199 h 542"/>
                    <a:gd name="T106" fmla="*/ 167 w 334"/>
                    <a:gd name="T107" fmla="*/ 183 h 542"/>
                    <a:gd name="T108" fmla="*/ 177 w 334"/>
                    <a:gd name="T109" fmla="*/ 144 h 542"/>
                    <a:gd name="T110" fmla="*/ 145 w 334"/>
                    <a:gd name="T111" fmla="*/ 91 h 542"/>
                    <a:gd name="T112" fmla="*/ 141 w 334"/>
                    <a:gd name="T113" fmla="*/ 63 h 542"/>
                    <a:gd name="T114" fmla="*/ 167 w 334"/>
                    <a:gd name="T115" fmla="*/ 36 h 542"/>
                    <a:gd name="T116" fmla="*/ 187 w 334"/>
                    <a:gd name="T117" fmla="*/ 35 h 542"/>
                    <a:gd name="T118" fmla="*/ 210 w 334"/>
                    <a:gd name="T119" fmla="*/ 35 h 542"/>
                    <a:gd name="T120" fmla="*/ 239 w 334"/>
                    <a:gd name="T121" fmla="*/ 35 h 542"/>
                    <a:gd name="T122" fmla="*/ 261 w 334"/>
                    <a:gd name="T123" fmla="*/ 30 h 542"/>
                    <a:gd name="T124" fmla="*/ 296 w 334"/>
                    <a:gd name="T125" fmla="*/ 16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4" h="542">
                      <a:moveTo>
                        <a:pt x="85" y="513"/>
                      </a:moveTo>
                      <a:lnTo>
                        <a:pt x="85" y="514"/>
                      </a:lnTo>
                      <a:lnTo>
                        <a:pt x="84" y="514"/>
                      </a:lnTo>
                      <a:lnTo>
                        <a:pt x="84" y="513"/>
                      </a:lnTo>
                      <a:lnTo>
                        <a:pt x="83" y="513"/>
                      </a:lnTo>
                      <a:lnTo>
                        <a:pt x="83" y="514"/>
                      </a:lnTo>
                      <a:lnTo>
                        <a:pt x="83" y="513"/>
                      </a:lnTo>
                      <a:lnTo>
                        <a:pt x="84" y="512"/>
                      </a:lnTo>
                      <a:lnTo>
                        <a:pt x="85" y="512"/>
                      </a:lnTo>
                      <a:lnTo>
                        <a:pt x="85" y="511"/>
                      </a:lnTo>
                      <a:lnTo>
                        <a:pt x="85" y="512"/>
                      </a:lnTo>
                      <a:lnTo>
                        <a:pt x="85" y="513"/>
                      </a:lnTo>
                      <a:close/>
                      <a:moveTo>
                        <a:pt x="163" y="368"/>
                      </a:moveTo>
                      <a:lnTo>
                        <a:pt x="163" y="367"/>
                      </a:lnTo>
                      <a:lnTo>
                        <a:pt x="163" y="365"/>
                      </a:lnTo>
                      <a:lnTo>
                        <a:pt x="164" y="360"/>
                      </a:lnTo>
                      <a:lnTo>
                        <a:pt x="164" y="361"/>
                      </a:lnTo>
                      <a:lnTo>
                        <a:pt x="164" y="364"/>
                      </a:lnTo>
                      <a:lnTo>
                        <a:pt x="163" y="368"/>
                      </a:lnTo>
                      <a:close/>
                      <a:moveTo>
                        <a:pt x="304" y="191"/>
                      </a:moveTo>
                      <a:lnTo>
                        <a:pt x="303" y="192"/>
                      </a:lnTo>
                      <a:lnTo>
                        <a:pt x="303" y="191"/>
                      </a:lnTo>
                      <a:lnTo>
                        <a:pt x="302" y="191"/>
                      </a:lnTo>
                      <a:lnTo>
                        <a:pt x="302" y="190"/>
                      </a:lnTo>
                      <a:lnTo>
                        <a:pt x="302" y="189"/>
                      </a:lnTo>
                      <a:lnTo>
                        <a:pt x="302" y="188"/>
                      </a:lnTo>
                      <a:lnTo>
                        <a:pt x="303" y="188"/>
                      </a:lnTo>
                      <a:lnTo>
                        <a:pt x="304" y="188"/>
                      </a:lnTo>
                      <a:lnTo>
                        <a:pt x="305" y="188"/>
                      </a:lnTo>
                      <a:lnTo>
                        <a:pt x="305" y="189"/>
                      </a:lnTo>
                      <a:lnTo>
                        <a:pt x="304" y="190"/>
                      </a:lnTo>
                      <a:lnTo>
                        <a:pt x="304" y="191"/>
                      </a:lnTo>
                      <a:close/>
                      <a:moveTo>
                        <a:pt x="323" y="1"/>
                      </a:moveTo>
                      <a:lnTo>
                        <a:pt x="324" y="1"/>
                      </a:lnTo>
                      <a:lnTo>
                        <a:pt x="325" y="1"/>
                      </a:lnTo>
                      <a:lnTo>
                        <a:pt x="325" y="2"/>
                      </a:lnTo>
                      <a:lnTo>
                        <a:pt x="324" y="3"/>
                      </a:lnTo>
                      <a:lnTo>
                        <a:pt x="325" y="3"/>
                      </a:lnTo>
                      <a:lnTo>
                        <a:pt x="326" y="3"/>
                      </a:lnTo>
                      <a:lnTo>
                        <a:pt x="326" y="5"/>
                      </a:lnTo>
                      <a:lnTo>
                        <a:pt x="326" y="6"/>
                      </a:lnTo>
                      <a:lnTo>
                        <a:pt x="327" y="6"/>
                      </a:lnTo>
                      <a:lnTo>
                        <a:pt x="327" y="7"/>
                      </a:lnTo>
                      <a:lnTo>
                        <a:pt x="329" y="7"/>
                      </a:lnTo>
                      <a:lnTo>
                        <a:pt x="330" y="7"/>
                      </a:lnTo>
                      <a:lnTo>
                        <a:pt x="329" y="8"/>
                      </a:lnTo>
                      <a:lnTo>
                        <a:pt x="327" y="7"/>
                      </a:lnTo>
                      <a:lnTo>
                        <a:pt x="326" y="8"/>
                      </a:lnTo>
                      <a:lnTo>
                        <a:pt x="324" y="9"/>
                      </a:lnTo>
                      <a:lnTo>
                        <a:pt x="324" y="10"/>
                      </a:lnTo>
                      <a:lnTo>
                        <a:pt x="325" y="10"/>
                      </a:lnTo>
                      <a:lnTo>
                        <a:pt x="327" y="12"/>
                      </a:lnTo>
                      <a:lnTo>
                        <a:pt x="329" y="13"/>
                      </a:lnTo>
                      <a:lnTo>
                        <a:pt x="327" y="13"/>
                      </a:lnTo>
                      <a:lnTo>
                        <a:pt x="326" y="14"/>
                      </a:lnTo>
                      <a:lnTo>
                        <a:pt x="325" y="14"/>
                      </a:lnTo>
                      <a:lnTo>
                        <a:pt x="325" y="15"/>
                      </a:lnTo>
                      <a:lnTo>
                        <a:pt x="324" y="16"/>
                      </a:lnTo>
                      <a:lnTo>
                        <a:pt x="325" y="17"/>
                      </a:lnTo>
                      <a:lnTo>
                        <a:pt x="324" y="18"/>
                      </a:lnTo>
                      <a:lnTo>
                        <a:pt x="325" y="18"/>
                      </a:lnTo>
                      <a:lnTo>
                        <a:pt x="325" y="17"/>
                      </a:lnTo>
                      <a:lnTo>
                        <a:pt x="326" y="17"/>
                      </a:lnTo>
                      <a:lnTo>
                        <a:pt x="326" y="18"/>
                      </a:lnTo>
                      <a:lnTo>
                        <a:pt x="326" y="20"/>
                      </a:lnTo>
                      <a:lnTo>
                        <a:pt x="325" y="21"/>
                      </a:lnTo>
                      <a:lnTo>
                        <a:pt x="324" y="21"/>
                      </a:lnTo>
                      <a:lnTo>
                        <a:pt x="324" y="22"/>
                      </a:lnTo>
                      <a:lnTo>
                        <a:pt x="324" y="23"/>
                      </a:lnTo>
                      <a:lnTo>
                        <a:pt x="324" y="24"/>
                      </a:lnTo>
                      <a:lnTo>
                        <a:pt x="322" y="25"/>
                      </a:lnTo>
                      <a:lnTo>
                        <a:pt x="322" y="27"/>
                      </a:lnTo>
                      <a:lnTo>
                        <a:pt x="320" y="28"/>
                      </a:lnTo>
                      <a:lnTo>
                        <a:pt x="319" y="28"/>
                      </a:lnTo>
                      <a:lnTo>
                        <a:pt x="320" y="29"/>
                      </a:lnTo>
                      <a:lnTo>
                        <a:pt x="320" y="28"/>
                      </a:lnTo>
                      <a:lnTo>
                        <a:pt x="322" y="28"/>
                      </a:lnTo>
                      <a:lnTo>
                        <a:pt x="322" y="29"/>
                      </a:lnTo>
                      <a:lnTo>
                        <a:pt x="323" y="30"/>
                      </a:lnTo>
                      <a:lnTo>
                        <a:pt x="323" y="31"/>
                      </a:lnTo>
                      <a:lnTo>
                        <a:pt x="323" y="32"/>
                      </a:lnTo>
                      <a:lnTo>
                        <a:pt x="323" y="34"/>
                      </a:lnTo>
                      <a:lnTo>
                        <a:pt x="323" y="35"/>
                      </a:lnTo>
                      <a:lnTo>
                        <a:pt x="322" y="35"/>
                      </a:lnTo>
                      <a:lnTo>
                        <a:pt x="322" y="36"/>
                      </a:lnTo>
                      <a:lnTo>
                        <a:pt x="323" y="36"/>
                      </a:lnTo>
                      <a:lnTo>
                        <a:pt x="323" y="37"/>
                      </a:lnTo>
                      <a:lnTo>
                        <a:pt x="322" y="38"/>
                      </a:lnTo>
                      <a:lnTo>
                        <a:pt x="323" y="38"/>
                      </a:lnTo>
                      <a:lnTo>
                        <a:pt x="323" y="39"/>
                      </a:lnTo>
                      <a:lnTo>
                        <a:pt x="323" y="41"/>
                      </a:lnTo>
                      <a:lnTo>
                        <a:pt x="323" y="42"/>
                      </a:lnTo>
                      <a:lnTo>
                        <a:pt x="323" y="43"/>
                      </a:lnTo>
                      <a:lnTo>
                        <a:pt x="324" y="44"/>
                      </a:lnTo>
                      <a:lnTo>
                        <a:pt x="325" y="44"/>
                      </a:lnTo>
                      <a:lnTo>
                        <a:pt x="324" y="45"/>
                      </a:lnTo>
                      <a:lnTo>
                        <a:pt x="324" y="46"/>
                      </a:lnTo>
                      <a:lnTo>
                        <a:pt x="324" y="48"/>
                      </a:lnTo>
                      <a:lnTo>
                        <a:pt x="325" y="49"/>
                      </a:lnTo>
                      <a:lnTo>
                        <a:pt x="325" y="50"/>
                      </a:lnTo>
                      <a:lnTo>
                        <a:pt x="324" y="51"/>
                      </a:lnTo>
                      <a:lnTo>
                        <a:pt x="324" y="52"/>
                      </a:lnTo>
                      <a:lnTo>
                        <a:pt x="324" y="53"/>
                      </a:lnTo>
                      <a:lnTo>
                        <a:pt x="325" y="55"/>
                      </a:lnTo>
                      <a:lnTo>
                        <a:pt x="325" y="56"/>
                      </a:lnTo>
                      <a:lnTo>
                        <a:pt x="325" y="57"/>
                      </a:lnTo>
                      <a:lnTo>
                        <a:pt x="324" y="57"/>
                      </a:lnTo>
                      <a:lnTo>
                        <a:pt x="323" y="57"/>
                      </a:lnTo>
                      <a:lnTo>
                        <a:pt x="323" y="58"/>
                      </a:lnTo>
                      <a:lnTo>
                        <a:pt x="323" y="57"/>
                      </a:lnTo>
                      <a:lnTo>
                        <a:pt x="324" y="58"/>
                      </a:lnTo>
                      <a:lnTo>
                        <a:pt x="324" y="59"/>
                      </a:lnTo>
                      <a:lnTo>
                        <a:pt x="325" y="59"/>
                      </a:lnTo>
                      <a:lnTo>
                        <a:pt x="325" y="60"/>
                      </a:lnTo>
                      <a:lnTo>
                        <a:pt x="324" y="60"/>
                      </a:lnTo>
                      <a:lnTo>
                        <a:pt x="324" y="62"/>
                      </a:lnTo>
                      <a:lnTo>
                        <a:pt x="325" y="62"/>
                      </a:lnTo>
                      <a:lnTo>
                        <a:pt x="326" y="62"/>
                      </a:lnTo>
                      <a:lnTo>
                        <a:pt x="325" y="63"/>
                      </a:lnTo>
                      <a:lnTo>
                        <a:pt x="324" y="63"/>
                      </a:lnTo>
                      <a:lnTo>
                        <a:pt x="324" y="64"/>
                      </a:lnTo>
                      <a:lnTo>
                        <a:pt x="324" y="65"/>
                      </a:lnTo>
                      <a:lnTo>
                        <a:pt x="323" y="65"/>
                      </a:lnTo>
                      <a:lnTo>
                        <a:pt x="324" y="66"/>
                      </a:lnTo>
                      <a:lnTo>
                        <a:pt x="326" y="66"/>
                      </a:lnTo>
                      <a:lnTo>
                        <a:pt x="326" y="69"/>
                      </a:lnTo>
                      <a:lnTo>
                        <a:pt x="326" y="70"/>
                      </a:lnTo>
                      <a:lnTo>
                        <a:pt x="327" y="70"/>
                      </a:lnTo>
                      <a:lnTo>
                        <a:pt x="327" y="71"/>
                      </a:lnTo>
                      <a:lnTo>
                        <a:pt x="326" y="70"/>
                      </a:lnTo>
                      <a:lnTo>
                        <a:pt x="326" y="71"/>
                      </a:lnTo>
                      <a:lnTo>
                        <a:pt x="326" y="72"/>
                      </a:lnTo>
                      <a:lnTo>
                        <a:pt x="327" y="72"/>
                      </a:lnTo>
                      <a:lnTo>
                        <a:pt x="327" y="73"/>
                      </a:lnTo>
                      <a:lnTo>
                        <a:pt x="329" y="73"/>
                      </a:lnTo>
                      <a:lnTo>
                        <a:pt x="329" y="74"/>
                      </a:lnTo>
                      <a:lnTo>
                        <a:pt x="327" y="74"/>
                      </a:lnTo>
                      <a:lnTo>
                        <a:pt x="326" y="74"/>
                      </a:lnTo>
                      <a:lnTo>
                        <a:pt x="326" y="76"/>
                      </a:lnTo>
                      <a:lnTo>
                        <a:pt x="325" y="76"/>
                      </a:lnTo>
                      <a:lnTo>
                        <a:pt x="325" y="77"/>
                      </a:lnTo>
                      <a:lnTo>
                        <a:pt x="325" y="78"/>
                      </a:lnTo>
                      <a:lnTo>
                        <a:pt x="324" y="78"/>
                      </a:lnTo>
                      <a:lnTo>
                        <a:pt x="323" y="78"/>
                      </a:lnTo>
                      <a:lnTo>
                        <a:pt x="322" y="78"/>
                      </a:lnTo>
                      <a:lnTo>
                        <a:pt x="322" y="79"/>
                      </a:lnTo>
                      <a:lnTo>
                        <a:pt x="322" y="80"/>
                      </a:lnTo>
                      <a:lnTo>
                        <a:pt x="323" y="81"/>
                      </a:lnTo>
                      <a:lnTo>
                        <a:pt x="323" y="83"/>
                      </a:lnTo>
                      <a:lnTo>
                        <a:pt x="324" y="81"/>
                      </a:lnTo>
                      <a:lnTo>
                        <a:pt x="324" y="80"/>
                      </a:lnTo>
                      <a:lnTo>
                        <a:pt x="324" y="79"/>
                      </a:lnTo>
                      <a:lnTo>
                        <a:pt x="325" y="80"/>
                      </a:lnTo>
                      <a:lnTo>
                        <a:pt x="326" y="80"/>
                      </a:lnTo>
                      <a:lnTo>
                        <a:pt x="327" y="80"/>
                      </a:lnTo>
                      <a:lnTo>
                        <a:pt x="326" y="81"/>
                      </a:lnTo>
                      <a:lnTo>
                        <a:pt x="326" y="84"/>
                      </a:lnTo>
                      <a:lnTo>
                        <a:pt x="326" y="85"/>
                      </a:lnTo>
                      <a:lnTo>
                        <a:pt x="326" y="86"/>
                      </a:lnTo>
                      <a:lnTo>
                        <a:pt x="326" y="87"/>
                      </a:lnTo>
                      <a:lnTo>
                        <a:pt x="326" y="90"/>
                      </a:lnTo>
                      <a:lnTo>
                        <a:pt x="325" y="91"/>
                      </a:lnTo>
                      <a:lnTo>
                        <a:pt x="326" y="91"/>
                      </a:lnTo>
                      <a:lnTo>
                        <a:pt x="326" y="93"/>
                      </a:lnTo>
                      <a:lnTo>
                        <a:pt x="326" y="94"/>
                      </a:lnTo>
                      <a:lnTo>
                        <a:pt x="325" y="94"/>
                      </a:lnTo>
                      <a:lnTo>
                        <a:pt x="325" y="95"/>
                      </a:lnTo>
                      <a:lnTo>
                        <a:pt x="325" y="97"/>
                      </a:lnTo>
                      <a:lnTo>
                        <a:pt x="325" y="98"/>
                      </a:lnTo>
                      <a:lnTo>
                        <a:pt x="325" y="99"/>
                      </a:lnTo>
                      <a:lnTo>
                        <a:pt x="326" y="99"/>
                      </a:lnTo>
                      <a:lnTo>
                        <a:pt x="326" y="100"/>
                      </a:lnTo>
                      <a:lnTo>
                        <a:pt x="325" y="101"/>
                      </a:lnTo>
                      <a:lnTo>
                        <a:pt x="325" y="102"/>
                      </a:lnTo>
                      <a:lnTo>
                        <a:pt x="326" y="105"/>
                      </a:lnTo>
                      <a:lnTo>
                        <a:pt x="326" y="109"/>
                      </a:lnTo>
                      <a:lnTo>
                        <a:pt x="327" y="109"/>
                      </a:lnTo>
                      <a:lnTo>
                        <a:pt x="327" y="111"/>
                      </a:lnTo>
                      <a:lnTo>
                        <a:pt x="327" y="112"/>
                      </a:lnTo>
                      <a:lnTo>
                        <a:pt x="327" y="113"/>
                      </a:lnTo>
                      <a:lnTo>
                        <a:pt x="329" y="114"/>
                      </a:lnTo>
                      <a:lnTo>
                        <a:pt x="329" y="115"/>
                      </a:lnTo>
                      <a:lnTo>
                        <a:pt x="327" y="116"/>
                      </a:lnTo>
                      <a:lnTo>
                        <a:pt x="326" y="116"/>
                      </a:lnTo>
                      <a:lnTo>
                        <a:pt x="327" y="116"/>
                      </a:lnTo>
                      <a:lnTo>
                        <a:pt x="327" y="118"/>
                      </a:lnTo>
                      <a:lnTo>
                        <a:pt x="326" y="119"/>
                      </a:lnTo>
                      <a:lnTo>
                        <a:pt x="325" y="119"/>
                      </a:lnTo>
                      <a:lnTo>
                        <a:pt x="325" y="120"/>
                      </a:lnTo>
                      <a:lnTo>
                        <a:pt x="325" y="121"/>
                      </a:lnTo>
                      <a:lnTo>
                        <a:pt x="326" y="121"/>
                      </a:lnTo>
                      <a:lnTo>
                        <a:pt x="326" y="120"/>
                      </a:lnTo>
                      <a:lnTo>
                        <a:pt x="326" y="121"/>
                      </a:lnTo>
                      <a:lnTo>
                        <a:pt x="326" y="122"/>
                      </a:lnTo>
                      <a:lnTo>
                        <a:pt x="327" y="122"/>
                      </a:lnTo>
                      <a:lnTo>
                        <a:pt x="327" y="121"/>
                      </a:lnTo>
                      <a:lnTo>
                        <a:pt x="329" y="120"/>
                      </a:lnTo>
                      <a:lnTo>
                        <a:pt x="330" y="120"/>
                      </a:lnTo>
                      <a:lnTo>
                        <a:pt x="331" y="120"/>
                      </a:lnTo>
                      <a:lnTo>
                        <a:pt x="331" y="121"/>
                      </a:lnTo>
                      <a:lnTo>
                        <a:pt x="331" y="122"/>
                      </a:lnTo>
                      <a:lnTo>
                        <a:pt x="331" y="123"/>
                      </a:lnTo>
                      <a:lnTo>
                        <a:pt x="331" y="125"/>
                      </a:lnTo>
                      <a:lnTo>
                        <a:pt x="330" y="126"/>
                      </a:lnTo>
                      <a:lnTo>
                        <a:pt x="329" y="126"/>
                      </a:lnTo>
                      <a:lnTo>
                        <a:pt x="329" y="125"/>
                      </a:lnTo>
                      <a:lnTo>
                        <a:pt x="327" y="125"/>
                      </a:lnTo>
                      <a:lnTo>
                        <a:pt x="329" y="128"/>
                      </a:lnTo>
                      <a:lnTo>
                        <a:pt x="327" y="128"/>
                      </a:lnTo>
                      <a:lnTo>
                        <a:pt x="329" y="129"/>
                      </a:lnTo>
                      <a:lnTo>
                        <a:pt x="327" y="129"/>
                      </a:lnTo>
                      <a:lnTo>
                        <a:pt x="327" y="130"/>
                      </a:lnTo>
                      <a:lnTo>
                        <a:pt x="327" y="132"/>
                      </a:lnTo>
                      <a:lnTo>
                        <a:pt x="329" y="132"/>
                      </a:lnTo>
                      <a:lnTo>
                        <a:pt x="329" y="130"/>
                      </a:lnTo>
                      <a:lnTo>
                        <a:pt x="330" y="128"/>
                      </a:lnTo>
                      <a:lnTo>
                        <a:pt x="332" y="127"/>
                      </a:lnTo>
                      <a:lnTo>
                        <a:pt x="333" y="127"/>
                      </a:lnTo>
                      <a:lnTo>
                        <a:pt x="334" y="128"/>
                      </a:lnTo>
                      <a:lnTo>
                        <a:pt x="334" y="129"/>
                      </a:lnTo>
                      <a:lnTo>
                        <a:pt x="333" y="130"/>
                      </a:lnTo>
                      <a:lnTo>
                        <a:pt x="332" y="130"/>
                      </a:lnTo>
                      <a:lnTo>
                        <a:pt x="332" y="132"/>
                      </a:lnTo>
                      <a:lnTo>
                        <a:pt x="333" y="130"/>
                      </a:lnTo>
                      <a:lnTo>
                        <a:pt x="334" y="130"/>
                      </a:lnTo>
                      <a:lnTo>
                        <a:pt x="334" y="132"/>
                      </a:lnTo>
                      <a:lnTo>
                        <a:pt x="333" y="134"/>
                      </a:lnTo>
                      <a:lnTo>
                        <a:pt x="334" y="135"/>
                      </a:lnTo>
                      <a:lnTo>
                        <a:pt x="334" y="136"/>
                      </a:lnTo>
                      <a:lnTo>
                        <a:pt x="334" y="139"/>
                      </a:lnTo>
                      <a:lnTo>
                        <a:pt x="334" y="140"/>
                      </a:lnTo>
                      <a:lnTo>
                        <a:pt x="332" y="140"/>
                      </a:lnTo>
                      <a:lnTo>
                        <a:pt x="332" y="141"/>
                      </a:lnTo>
                      <a:lnTo>
                        <a:pt x="331" y="142"/>
                      </a:lnTo>
                      <a:lnTo>
                        <a:pt x="330" y="142"/>
                      </a:lnTo>
                      <a:lnTo>
                        <a:pt x="330" y="143"/>
                      </a:lnTo>
                      <a:lnTo>
                        <a:pt x="329" y="143"/>
                      </a:lnTo>
                      <a:lnTo>
                        <a:pt x="329" y="142"/>
                      </a:lnTo>
                      <a:lnTo>
                        <a:pt x="327" y="141"/>
                      </a:lnTo>
                      <a:lnTo>
                        <a:pt x="329" y="142"/>
                      </a:lnTo>
                      <a:lnTo>
                        <a:pt x="329" y="143"/>
                      </a:lnTo>
                      <a:lnTo>
                        <a:pt x="330" y="143"/>
                      </a:lnTo>
                      <a:lnTo>
                        <a:pt x="331" y="143"/>
                      </a:lnTo>
                      <a:lnTo>
                        <a:pt x="331" y="144"/>
                      </a:lnTo>
                      <a:lnTo>
                        <a:pt x="332" y="144"/>
                      </a:lnTo>
                      <a:lnTo>
                        <a:pt x="332" y="146"/>
                      </a:lnTo>
                      <a:lnTo>
                        <a:pt x="331" y="146"/>
                      </a:lnTo>
                      <a:lnTo>
                        <a:pt x="329" y="146"/>
                      </a:lnTo>
                      <a:lnTo>
                        <a:pt x="329" y="147"/>
                      </a:lnTo>
                      <a:lnTo>
                        <a:pt x="330" y="148"/>
                      </a:lnTo>
                      <a:lnTo>
                        <a:pt x="329" y="149"/>
                      </a:lnTo>
                      <a:lnTo>
                        <a:pt x="327" y="149"/>
                      </a:lnTo>
                      <a:lnTo>
                        <a:pt x="326" y="150"/>
                      </a:lnTo>
                      <a:lnTo>
                        <a:pt x="325" y="150"/>
                      </a:lnTo>
                      <a:lnTo>
                        <a:pt x="324" y="150"/>
                      </a:lnTo>
                      <a:lnTo>
                        <a:pt x="324" y="151"/>
                      </a:lnTo>
                      <a:lnTo>
                        <a:pt x="325" y="153"/>
                      </a:lnTo>
                      <a:lnTo>
                        <a:pt x="326" y="153"/>
                      </a:lnTo>
                      <a:lnTo>
                        <a:pt x="326" y="151"/>
                      </a:lnTo>
                      <a:lnTo>
                        <a:pt x="327" y="151"/>
                      </a:lnTo>
                      <a:lnTo>
                        <a:pt x="329" y="151"/>
                      </a:lnTo>
                      <a:lnTo>
                        <a:pt x="329" y="153"/>
                      </a:lnTo>
                      <a:lnTo>
                        <a:pt x="329" y="154"/>
                      </a:lnTo>
                      <a:lnTo>
                        <a:pt x="329" y="155"/>
                      </a:lnTo>
                      <a:lnTo>
                        <a:pt x="329" y="156"/>
                      </a:lnTo>
                      <a:lnTo>
                        <a:pt x="327" y="157"/>
                      </a:lnTo>
                      <a:lnTo>
                        <a:pt x="327" y="158"/>
                      </a:lnTo>
                      <a:lnTo>
                        <a:pt x="326" y="158"/>
                      </a:lnTo>
                      <a:lnTo>
                        <a:pt x="326" y="160"/>
                      </a:lnTo>
                      <a:lnTo>
                        <a:pt x="326" y="161"/>
                      </a:lnTo>
                      <a:lnTo>
                        <a:pt x="325" y="161"/>
                      </a:lnTo>
                      <a:lnTo>
                        <a:pt x="326" y="162"/>
                      </a:lnTo>
                      <a:lnTo>
                        <a:pt x="325" y="162"/>
                      </a:lnTo>
                      <a:lnTo>
                        <a:pt x="325" y="163"/>
                      </a:lnTo>
                      <a:lnTo>
                        <a:pt x="324" y="163"/>
                      </a:lnTo>
                      <a:lnTo>
                        <a:pt x="323" y="163"/>
                      </a:lnTo>
                      <a:lnTo>
                        <a:pt x="323" y="164"/>
                      </a:lnTo>
                      <a:lnTo>
                        <a:pt x="322" y="165"/>
                      </a:lnTo>
                      <a:lnTo>
                        <a:pt x="320" y="165"/>
                      </a:lnTo>
                      <a:lnTo>
                        <a:pt x="319" y="169"/>
                      </a:lnTo>
                      <a:lnTo>
                        <a:pt x="312" y="176"/>
                      </a:lnTo>
                      <a:lnTo>
                        <a:pt x="311" y="176"/>
                      </a:lnTo>
                      <a:lnTo>
                        <a:pt x="311" y="177"/>
                      </a:lnTo>
                      <a:lnTo>
                        <a:pt x="310" y="177"/>
                      </a:lnTo>
                      <a:lnTo>
                        <a:pt x="310" y="178"/>
                      </a:lnTo>
                      <a:lnTo>
                        <a:pt x="309" y="178"/>
                      </a:lnTo>
                      <a:lnTo>
                        <a:pt x="310" y="178"/>
                      </a:lnTo>
                      <a:lnTo>
                        <a:pt x="311" y="177"/>
                      </a:lnTo>
                      <a:lnTo>
                        <a:pt x="311" y="178"/>
                      </a:lnTo>
                      <a:lnTo>
                        <a:pt x="311" y="179"/>
                      </a:lnTo>
                      <a:lnTo>
                        <a:pt x="311" y="181"/>
                      </a:lnTo>
                      <a:lnTo>
                        <a:pt x="310" y="181"/>
                      </a:lnTo>
                      <a:lnTo>
                        <a:pt x="309" y="182"/>
                      </a:lnTo>
                      <a:lnTo>
                        <a:pt x="308" y="184"/>
                      </a:lnTo>
                      <a:lnTo>
                        <a:pt x="308" y="185"/>
                      </a:lnTo>
                      <a:lnTo>
                        <a:pt x="306" y="186"/>
                      </a:lnTo>
                      <a:lnTo>
                        <a:pt x="304" y="186"/>
                      </a:lnTo>
                      <a:lnTo>
                        <a:pt x="303" y="186"/>
                      </a:lnTo>
                      <a:lnTo>
                        <a:pt x="302" y="188"/>
                      </a:lnTo>
                      <a:lnTo>
                        <a:pt x="301" y="188"/>
                      </a:lnTo>
                      <a:lnTo>
                        <a:pt x="301" y="189"/>
                      </a:lnTo>
                      <a:lnTo>
                        <a:pt x="301" y="190"/>
                      </a:lnTo>
                      <a:lnTo>
                        <a:pt x="302" y="191"/>
                      </a:lnTo>
                      <a:lnTo>
                        <a:pt x="302" y="192"/>
                      </a:lnTo>
                      <a:lnTo>
                        <a:pt x="303" y="192"/>
                      </a:lnTo>
                      <a:lnTo>
                        <a:pt x="302" y="193"/>
                      </a:lnTo>
                      <a:lnTo>
                        <a:pt x="301" y="193"/>
                      </a:lnTo>
                      <a:lnTo>
                        <a:pt x="301" y="192"/>
                      </a:lnTo>
                      <a:lnTo>
                        <a:pt x="299" y="192"/>
                      </a:lnTo>
                      <a:lnTo>
                        <a:pt x="299" y="193"/>
                      </a:lnTo>
                      <a:lnTo>
                        <a:pt x="298" y="193"/>
                      </a:lnTo>
                      <a:lnTo>
                        <a:pt x="298" y="195"/>
                      </a:lnTo>
                      <a:lnTo>
                        <a:pt x="298" y="196"/>
                      </a:lnTo>
                      <a:lnTo>
                        <a:pt x="297" y="196"/>
                      </a:lnTo>
                      <a:lnTo>
                        <a:pt x="296" y="197"/>
                      </a:lnTo>
                      <a:lnTo>
                        <a:pt x="295" y="198"/>
                      </a:lnTo>
                      <a:lnTo>
                        <a:pt x="294" y="198"/>
                      </a:lnTo>
                      <a:lnTo>
                        <a:pt x="292" y="199"/>
                      </a:lnTo>
                      <a:lnTo>
                        <a:pt x="287" y="202"/>
                      </a:lnTo>
                      <a:lnTo>
                        <a:pt x="282" y="205"/>
                      </a:lnTo>
                      <a:lnTo>
                        <a:pt x="281" y="206"/>
                      </a:lnTo>
                      <a:lnTo>
                        <a:pt x="280" y="206"/>
                      </a:lnTo>
                      <a:lnTo>
                        <a:pt x="280" y="207"/>
                      </a:lnTo>
                      <a:lnTo>
                        <a:pt x="278" y="207"/>
                      </a:lnTo>
                      <a:lnTo>
                        <a:pt x="278" y="209"/>
                      </a:lnTo>
                      <a:lnTo>
                        <a:pt x="280" y="209"/>
                      </a:lnTo>
                      <a:lnTo>
                        <a:pt x="280" y="210"/>
                      </a:lnTo>
                      <a:lnTo>
                        <a:pt x="278" y="210"/>
                      </a:lnTo>
                      <a:lnTo>
                        <a:pt x="278" y="211"/>
                      </a:lnTo>
                      <a:lnTo>
                        <a:pt x="277" y="211"/>
                      </a:lnTo>
                      <a:lnTo>
                        <a:pt x="276" y="211"/>
                      </a:lnTo>
                      <a:lnTo>
                        <a:pt x="275" y="211"/>
                      </a:lnTo>
                      <a:lnTo>
                        <a:pt x="273" y="212"/>
                      </a:lnTo>
                      <a:lnTo>
                        <a:pt x="271" y="212"/>
                      </a:lnTo>
                      <a:lnTo>
                        <a:pt x="267" y="212"/>
                      </a:lnTo>
                      <a:lnTo>
                        <a:pt x="266" y="212"/>
                      </a:lnTo>
                      <a:lnTo>
                        <a:pt x="266" y="211"/>
                      </a:lnTo>
                      <a:lnTo>
                        <a:pt x="266" y="212"/>
                      </a:lnTo>
                      <a:lnTo>
                        <a:pt x="266" y="213"/>
                      </a:lnTo>
                      <a:lnTo>
                        <a:pt x="265" y="213"/>
                      </a:lnTo>
                      <a:lnTo>
                        <a:pt x="263" y="213"/>
                      </a:lnTo>
                      <a:lnTo>
                        <a:pt x="262" y="214"/>
                      </a:lnTo>
                      <a:lnTo>
                        <a:pt x="261" y="214"/>
                      </a:lnTo>
                      <a:lnTo>
                        <a:pt x="260" y="214"/>
                      </a:lnTo>
                      <a:lnTo>
                        <a:pt x="260" y="216"/>
                      </a:lnTo>
                      <a:lnTo>
                        <a:pt x="252" y="219"/>
                      </a:lnTo>
                      <a:lnTo>
                        <a:pt x="251" y="219"/>
                      </a:lnTo>
                      <a:lnTo>
                        <a:pt x="251" y="220"/>
                      </a:lnTo>
                      <a:lnTo>
                        <a:pt x="249" y="220"/>
                      </a:lnTo>
                      <a:lnTo>
                        <a:pt x="248" y="219"/>
                      </a:lnTo>
                      <a:lnTo>
                        <a:pt x="248" y="217"/>
                      </a:lnTo>
                      <a:lnTo>
                        <a:pt x="247" y="217"/>
                      </a:lnTo>
                      <a:lnTo>
                        <a:pt x="247" y="218"/>
                      </a:lnTo>
                      <a:lnTo>
                        <a:pt x="248" y="218"/>
                      </a:lnTo>
                      <a:lnTo>
                        <a:pt x="248" y="219"/>
                      </a:lnTo>
                      <a:lnTo>
                        <a:pt x="248" y="220"/>
                      </a:lnTo>
                      <a:lnTo>
                        <a:pt x="247" y="220"/>
                      </a:lnTo>
                      <a:lnTo>
                        <a:pt x="246" y="221"/>
                      </a:lnTo>
                      <a:lnTo>
                        <a:pt x="241" y="223"/>
                      </a:lnTo>
                      <a:lnTo>
                        <a:pt x="240" y="223"/>
                      </a:lnTo>
                      <a:lnTo>
                        <a:pt x="235" y="226"/>
                      </a:lnTo>
                      <a:lnTo>
                        <a:pt x="235" y="225"/>
                      </a:lnTo>
                      <a:lnTo>
                        <a:pt x="234" y="226"/>
                      </a:lnTo>
                      <a:lnTo>
                        <a:pt x="233" y="227"/>
                      </a:lnTo>
                      <a:lnTo>
                        <a:pt x="232" y="227"/>
                      </a:lnTo>
                      <a:lnTo>
                        <a:pt x="231" y="227"/>
                      </a:lnTo>
                      <a:lnTo>
                        <a:pt x="231" y="228"/>
                      </a:lnTo>
                      <a:lnTo>
                        <a:pt x="226" y="231"/>
                      </a:lnTo>
                      <a:lnTo>
                        <a:pt x="225" y="232"/>
                      </a:lnTo>
                      <a:lnTo>
                        <a:pt x="224" y="232"/>
                      </a:lnTo>
                      <a:lnTo>
                        <a:pt x="224" y="233"/>
                      </a:lnTo>
                      <a:lnTo>
                        <a:pt x="223" y="233"/>
                      </a:lnTo>
                      <a:lnTo>
                        <a:pt x="221" y="233"/>
                      </a:lnTo>
                      <a:lnTo>
                        <a:pt x="221" y="234"/>
                      </a:lnTo>
                      <a:lnTo>
                        <a:pt x="220" y="234"/>
                      </a:lnTo>
                      <a:lnTo>
                        <a:pt x="219" y="234"/>
                      </a:lnTo>
                      <a:lnTo>
                        <a:pt x="219" y="235"/>
                      </a:lnTo>
                      <a:lnTo>
                        <a:pt x="218" y="237"/>
                      </a:lnTo>
                      <a:lnTo>
                        <a:pt x="216" y="239"/>
                      </a:lnTo>
                      <a:lnTo>
                        <a:pt x="213" y="242"/>
                      </a:lnTo>
                      <a:lnTo>
                        <a:pt x="212" y="244"/>
                      </a:lnTo>
                      <a:lnTo>
                        <a:pt x="212" y="242"/>
                      </a:lnTo>
                      <a:lnTo>
                        <a:pt x="211" y="242"/>
                      </a:lnTo>
                      <a:lnTo>
                        <a:pt x="211" y="241"/>
                      </a:lnTo>
                      <a:lnTo>
                        <a:pt x="210" y="241"/>
                      </a:lnTo>
                      <a:lnTo>
                        <a:pt x="210" y="240"/>
                      </a:lnTo>
                      <a:lnTo>
                        <a:pt x="210" y="239"/>
                      </a:lnTo>
                      <a:lnTo>
                        <a:pt x="209" y="239"/>
                      </a:lnTo>
                      <a:lnTo>
                        <a:pt x="207" y="239"/>
                      </a:lnTo>
                      <a:lnTo>
                        <a:pt x="207" y="240"/>
                      </a:lnTo>
                      <a:lnTo>
                        <a:pt x="209" y="239"/>
                      </a:lnTo>
                      <a:lnTo>
                        <a:pt x="209" y="240"/>
                      </a:lnTo>
                      <a:lnTo>
                        <a:pt x="209" y="241"/>
                      </a:lnTo>
                      <a:lnTo>
                        <a:pt x="210" y="242"/>
                      </a:lnTo>
                      <a:lnTo>
                        <a:pt x="210" y="244"/>
                      </a:lnTo>
                      <a:lnTo>
                        <a:pt x="211" y="244"/>
                      </a:lnTo>
                      <a:lnTo>
                        <a:pt x="212" y="245"/>
                      </a:lnTo>
                      <a:lnTo>
                        <a:pt x="211" y="246"/>
                      </a:lnTo>
                      <a:lnTo>
                        <a:pt x="211" y="247"/>
                      </a:lnTo>
                      <a:lnTo>
                        <a:pt x="210" y="248"/>
                      </a:lnTo>
                      <a:lnTo>
                        <a:pt x="210" y="249"/>
                      </a:lnTo>
                      <a:lnTo>
                        <a:pt x="209" y="249"/>
                      </a:lnTo>
                      <a:lnTo>
                        <a:pt x="207" y="249"/>
                      </a:lnTo>
                      <a:lnTo>
                        <a:pt x="206" y="249"/>
                      </a:lnTo>
                      <a:lnTo>
                        <a:pt x="206" y="251"/>
                      </a:lnTo>
                      <a:lnTo>
                        <a:pt x="207" y="249"/>
                      </a:lnTo>
                      <a:lnTo>
                        <a:pt x="207" y="251"/>
                      </a:lnTo>
                      <a:lnTo>
                        <a:pt x="205" y="253"/>
                      </a:lnTo>
                      <a:lnTo>
                        <a:pt x="204" y="254"/>
                      </a:lnTo>
                      <a:lnTo>
                        <a:pt x="202" y="258"/>
                      </a:lnTo>
                      <a:lnTo>
                        <a:pt x="199" y="259"/>
                      </a:lnTo>
                      <a:lnTo>
                        <a:pt x="198" y="259"/>
                      </a:lnTo>
                      <a:lnTo>
                        <a:pt x="198" y="260"/>
                      </a:lnTo>
                      <a:lnTo>
                        <a:pt x="198" y="261"/>
                      </a:lnTo>
                      <a:lnTo>
                        <a:pt x="197" y="260"/>
                      </a:lnTo>
                      <a:lnTo>
                        <a:pt x="197" y="261"/>
                      </a:lnTo>
                      <a:lnTo>
                        <a:pt x="196" y="261"/>
                      </a:lnTo>
                      <a:lnTo>
                        <a:pt x="196" y="262"/>
                      </a:lnTo>
                      <a:lnTo>
                        <a:pt x="196" y="263"/>
                      </a:lnTo>
                      <a:lnTo>
                        <a:pt x="195" y="266"/>
                      </a:lnTo>
                      <a:lnTo>
                        <a:pt x="194" y="267"/>
                      </a:lnTo>
                      <a:lnTo>
                        <a:pt x="194" y="266"/>
                      </a:lnTo>
                      <a:lnTo>
                        <a:pt x="194" y="267"/>
                      </a:lnTo>
                      <a:lnTo>
                        <a:pt x="192" y="267"/>
                      </a:lnTo>
                      <a:lnTo>
                        <a:pt x="194" y="268"/>
                      </a:lnTo>
                      <a:lnTo>
                        <a:pt x="194" y="267"/>
                      </a:lnTo>
                      <a:lnTo>
                        <a:pt x="194" y="268"/>
                      </a:lnTo>
                      <a:lnTo>
                        <a:pt x="195" y="268"/>
                      </a:lnTo>
                      <a:lnTo>
                        <a:pt x="194" y="269"/>
                      </a:lnTo>
                      <a:lnTo>
                        <a:pt x="192" y="269"/>
                      </a:lnTo>
                      <a:lnTo>
                        <a:pt x="191" y="269"/>
                      </a:lnTo>
                      <a:lnTo>
                        <a:pt x="190" y="269"/>
                      </a:lnTo>
                      <a:lnTo>
                        <a:pt x="190" y="268"/>
                      </a:lnTo>
                      <a:lnTo>
                        <a:pt x="189" y="266"/>
                      </a:lnTo>
                      <a:lnTo>
                        <a:pt x="189" y="267"/>
                      </a:lnTo>
                      <a:lnTo>
                        <a:pt x="189" y="269"/>
                      </a:lnTo>
                      <a:lnTo>
                        <a:pt x="190" y="270"/>
                      </a:lnTo>
                      <a:lnTo>
                        <a:pt x="189" y="272"/>
                      </a:lnTo>
                      <a:lnTo>
                        <a:pt x="190" y="272"/>
                      </a:lnTo>
                      <a:lnTo>
                        <a:pt x="190" y="273"/>
                      </a:lnTo>
                      <a:lnTo>
                        <a:pt x="189" y="273"/>
                      </a:lnTo>
                      <a:lnTo>
                        <a:pt x="189" y="272"/>
                      </a:lnTo>
                      <a:lnTo>
                        <a:pt x="188" y="273"/>
                      </a:lnTo>
                      <a:lnTo>
                        <a:pt x="187" y="273"/>
                      </a:lnTo>
                      <a:lnTo>
                        <a:pt x="185" y="273"/>
                      </a:lnTo>
                      <a:lnTo>
                        <a:pt x="185" y="270"/>
                      </a:lnTo>
                      <a:lnTo>
                        <a:pt x="185" y="269"/>
                      </a:lnTo>
                      <a:lnTo>
                        <a:pt x="184" y="269"/>
                      </a:lnTo>
                      <a:lnTo>
                        <a:pt x="184" y="270"/>
                      </a:lnTo>
                      <a:lnTo>
                        <a:pt x="182" y="273"/>
                      </a:lnTo>
                      <a:lnTo>
                        <a:pt x="182" y="274"/>
                      </a:lnTo>
                      <a:lnTo>
                        <a:pt x="181" y="274"/>
                      </a:lnTo>
                      <a:lnTo>
                        <a:pt x="181" y="273"/>
                      </a:lnTo>
                      <a:lnTo>
                        <a:pt x="180" y="273"/>
                      </a:lnTo>
                      <a:lnTo>
                        <a:pt x="180" y="274"/>
                      </a:lnTo>
                      <a:lnTo>
                        <a:pt x="178" y="275"/>
                      </a:lnTo>
                      <a:lnTo>
                        <a:pt x="177" y="274"/>
                      </a:lnTo>
                      <a:lnTo>
                        <a:pt x="176" y="275"/>
                      </a:lnTo>
                      <a:lnTo>
                        <a:pt x="177" y="275"/>
                      </a:lnTo>
                      <a:lnTo>
                        <a:pt x="173" y="279"/>
                      </a:lnTo>
                      <a:lnTo>
                        <a:pt x="171" y="280"/>
                      </a:lnTo>
                      <a:lnTo>
                        <a:pt x="170" y="280"/>
                      </a:lnTo>
                      <a:lnTo>
                        <a:pt x="170" y="282"/>
                      </a:lnTo>
                      <a:lnTo>
                        <a:pt x="170" y="281"/>
                      </a:lnTo>
                      <a:lnTo>
                        <a:pt x="170" y="282"/>
                      </a:lnTo>
                      <a:lnTo>
                        <a:pt x="169" y="283"/>
                      </a:lnTo>
                      <a:lnTo>
                        <a:pt x="168" y="284"/>
                      </a:lnTo>
                      <a:lnTo>
                        <a:pt x="167" y="287"/>
                      </a:lnTo>
                      <a:lnTo>
                        <a:pt x="166" y="287"/>
                      </a:lnTo>
                      <a:lnTo>
                        <a:pt x="166" y="288"/>
                      </a:lnTo>
                      <a:lnTo>
                        <a:pt x="163" y="290"/>
                      </a:lnTo>
                      <a:lnTo>
                        <a:pt x="161" y="293"/>
                      </a:lnTo>
                      <a:lnTo>
                        <a:pt x="156" y="296"/>
                      </a:lnTo>
                      <a:lnTo>
                        <a:pt x="154" y="300"/>
                      </a:lnTo>
                      <a:lnTo>
                        <a:pt x="153" y="300"/>
                      </a:lnTo>
                      <a:lnTo>
                        <a:pt x="152" y="300"/>
                      </a:lnTo>
                      <a:lnTo>
                        <a:pt x="150" y="302"/>
                      </a:lnTo>
                      <a:lnTo>
                        <a:pt x="149" y="302"/>
                      </a:lnTo>
                      <a:lnTo>
                        <a:pt x="148" y="302"/>
                      </a:lnTo>
                      <a:lnTo>
                        <a:pt x="148" y="303"/>
                      </a:lnTo>
                      <a:lnTo>
                        <a:pt x="146" y="304"/>
                      </a:lnTo>
                      <a:lnTo>
                        <a:pt x="145" y="304"/>
                      </a:lnTo>
                      <a:lnTo>
                        <a:pt x="145" y="303"/>
                      </a:lnTo>
                      <a:lnTo>
                        <a:pt x="145" y="302"/>
                      </a:lnTo>
                      <a:lnTo>
                        <a:pt x="143" y="302"/>
                      </a:lnTo>
                      <a:lnTo>
                        <a:pt x="142" y="301"/>
                      </a:lnTo>
                      <a:lnTo>
                        <a:pt x="141" y="300"/>
                      </a:lnTo>
                      <a:lnTo>
                        <a:pt x="140" y="300"/>
                      </a:lnTo>
                      <a:lnTo>
                        <a:pt x="139" y="297"/>
                      </a:lnTo>
                      <a:lnTo>
                        <a:pt x="139" y="296"/>
                      </a:lnTo>
                      <a:lnTo>
                        <a:pt x="138" y="296"/>
                      </a:lnTo>
                      <a:lnTo>
                        <a:pt x="138" y="295"/>
                      </a:lnTo>
                      <a:lnTo>
                        <a:pt x="137" y="295"/>
                      </a:lnTo>
                      <a:lnTo>
                        <a:pt x="135" y="295"/>
                      </a:lnTo>
                      <a:lnTo>
                        <a:pt x="135" y="296"/>
                      </a:lnTo>
                      <a:lnTo>
                        <a:pt x="137" y="296"/>
                      </a:lnTo>
                      <a:lnTo>
                        <a:pt x="138" y="296"/>
                      </a:lnTo>
                      <a:lnTo>
                        <a:pt x="138" y="297"/>
                      </a:lnTo>
                      <a:lnTo>
                        <a:pt x="139" y="298"/>
                      </a:lnTo>
                      <a:lnTo>
                        <a:pt x="140" y="301"/>
                      </a:lnTo>
                      <a:lnTo>
                        <a:pt x="141" y="301"/>
                      </a:lnTo>
                      <a:lnTo>
                        <a:pt x="142" y="302"/>
                      </a:lnTo>
                      <a:lnTo>
                        <a:pt x="142" y="303"/>
                      </a:lnTo>
                      <a:lnTo>
                        <a:pt x="142" y="304"/>
                      </a:lnTo>
                      <a:lnTo>
                        <a:pt x="141" y="305"/>
                      </a:lnTo>
                      <a:lnTo>
                        <a:pt x="140" y="305"/>
                      </a:lnTo>
                      <a:lnTo>
                        <a:pt x="141" y="305"/>
                      </a:lnTo>
                      <a:lnTo>
                        <a:pt x="142" y="305"/>
                      </a:lnTo>
                      <a:lnTo>
                        <a:pt x="142" y="307"/>
                      </a:lnTo>
                      <a:lnTo>
                        <a:pt x="142" y="308"/>
                      </a:lnTo>
                      <a:lnTo>
                        <a:pt x="142" y="309"/>
                      </a:lnTo>
                      <a:lnTo>
                        <a:pt x="142" y="310"/>
                      </a:lnTo>
                      <a:lnTo>
                        <a:pt x="142" y="311"/>
                      </a:lnTo>
                      <a:lnTo>
                        <a:pt x="142" y="312"/>
                      </a:lnTo>
                      <a:lnTo>
                        <a:pt x="142" y="314"/>
                      </a:lnTo>
                      <a:lnTo>
                        <a:pt x="142" y="315"/>
                      </a:lnTo>
                      <a:lnTo>
                        <a:pt x="141" y="315"/>
                      </a:lnTo>
                      <a:lnTo>
                        <a:pt x="140" y="315"/>
                      </a:lnTo>
                      <a:lnTo>
                        <a:pt x="139" y="315"/>
                      </a:lnTo>
                      <a:lnTo>
                        <a:pt x="139" y="314"/>
                      </a:lnTo>
                      <a:lnTo>
                        <a:pt x="139" y="315"/>
                      </a:lnTo>
                      <a:lnTo>
                        <a:pt x="141" y="316"/>
                      </a:lnTo>
                      <a:lnTo>
                        <a:pt x="141" y="317"/>
                      </a:lnTo>
                      <a:lnTo>
                        <a:pt x="141" y="318"/>
                      </a:lnTo>
                      <a:lnTo>
                        <a:pt x="140" y="319"/>
                      </a:lnTo>
                      <a:lnTo>
                        <a:pt x="140" y="321"/>
                      </a:lnTo>
                      <a:lnTo>
                        <a:pt x="140" y="322"/>
                      </a:lnTo>
                      <a:lnTo>
                        <a:pt x="139" y="322"/>
                      </a:lnTo>
                      <a:lnTo>
                        <a:pt x="139" y="323"/>
                      </a:lnTo>
                      <a:lnTo>
                        <a:pt x="140" y="323"/>
                      </a:lnTo>
                      <a:lnTo>
                        <a:pt x="140" y="324"/>
                      </a:lnTo>
                      <a:lnTo>
                        <a:pt x="141" y="324"/>
                      </a:lnTo>
                      <a:lnTo>
                        <a:pt x="141" y="325"/>
                      </a:lnTo>
                      <a:lnTo>
                        <a:pt x="140" y="325"/>
                      </a:lnTo>
                      <a:lnTo>
                        <a:pt x="139" y="326"/>
                      </a:lnTo>
                      <a:lnTo>
                        <a:pt x="140" y="326"/>
                      </a:lnTo>
                      <a:lnTo>
                        <a:pt x="141" y="326"/>
                      </a:lnTo>
                      <a:lnTo>
                        <a:pt x="141" y="328"/>
                      </a:lnTo>
                      <a:lnTo>
                        <a:pt x="142" y="328"/>
                      </a:lnTo>
                      <a:lnTo>
                        <a:pt x="142" y="329"/>
                      </a:lnTo>
                      <a:lnTo>
                        <a:pt x="143" y="329"/>
                      </a:lnTo>
                      <a:lnTo>
                        <a:pt x="145" y="330"/>
                      </a:lnTo>
                      <a:lnTo>
                        <a:pt x="145" y="331"/>
                      </a:lnTo>
                      <a:lnTo>
                        <a:pt x="146" y="331"/>
                      </a:lnTo>
                      <a:lnTo>
                        <a:pt x="146" y="332"/>
                      </a:lnTo>
                      <a:lnTo>
                        <a:pt x="147" y="332"/>
                      </a:lnTo>
                      <a:lnTo>
                        <a:pt x="148" y="332"/>
                      </a:lnTo>
                      <a:lnTo>
                        <a:pt x="149" y="333"/>
                      </a:lnTo>
                      <a:lnTo>
                        <a:pt x="149" y="335"/>
                      </a:lnTo>
                      <a:lnTo>
                        <a:pt x="150" y="335"/>
                      </a:lnTo>
                      <a:lnTo>
                        <a:pt x="150" y="336"/>
                      </a:lnTo>
                      <a:lnTo>
                        <a:pt x="149" y="336"/>
                      </a:lnTo>
                      <a:lnTo>
                        <a:pt x="149" y="337"/>
                      </a:lnTo>
                      <a:lnTo>
                        <a:pt x="150" y="338"/>
                      </a:lnTo>
                      <a:lnTo>
                        <a:pt x="152" y="338"/>
                      </a:lnTo>
                      <a:lnTo>
                        <a:pt x="150" y="339"/>
                      </a:lnTo>
                      <a:lnTo>
                        <a:pt x="150" y="340"/>
                      </a:lnTo>
                      <a:lnTo>
                        <a:pt x="152" y="339"/>
                      </a:lnTo>
                      <a:lnTo>
                        <a:pt x="153" y="339"/>
                      </a:lnTo>
                      <a:lnTo>
                        <a:pt x="153" y="340"/>
                      </a:lnTo>
                      <a:lnTo>
                        <a:pt x="153" y="342"/>
                      </a:lnTo>
                      <a:lnTo>
                        <a:pt x="153" y="343"/>
                      </a:lnTo>
                      <a:lnTo>
                        <a:pt x="152" y="343"/>
                      </a:lnTo>
                      <a:lnTo>
                        <a:pt x="153" y="344"/>
                      </a:lnTo>
                      <a:lnTo>
                        <a:pt x="152" y="344"/>
                      </a:lnTo>
                      <a:lnTo>
                        <a:pt x="152" y="345"/>
                      </a:lnTo>
                      <a:lnTo>
                        <a:pt x="150" y="345"/>
                      </a:lnTo>
                      <a:lnTo>
                        <a:pt x="150" y="346"/>
                      </a:lnTo>
                      <a:lnTo>
                        <a:pt x="152" y="346"/>
                      </a:lnTo>
                      <a:lnTo>
                        <a:pt x="152" y="347"/>
                      </a:lnTo>
                      <a:lnTo>
                        <a:pt x="152" y="349"/>
                      </a:lnTo>
                      <a:lnTo>
                        <a:pt x="152" y="350"/>
                      </a:lnTo>
                      <a:lnTo>
                        <a:pt x="153" y="350"/>
                      </a:lnTo>
                      <a:lnTo>
                        <a:pt x="152" y="350"/>
                      </a:lnTo>
                      <a:lnTo>
                        <a:pt x="152" y="351"/>
                      </a:lnTo>
                      <a:lnTo>
                        <a:pt x="150" y="351"/>
                      </a:lnTo>
                      <a:lnTo>
                        <a:pt x="152" y="351"/>
                      </a:lnTo>
                      <a:lnTo>
                        <a:pt x="152" y="352"/>
                      </a:lnTo>
                      <a:lnTo>
                        <a:pt x="152" y="353"/>
                      </a:lnTo>
                      <a:lnTo>
                        <a:pt x="153" y="352"/>
                      </a:lnTo>
                      <a:lnTo>
                        <a:pt x="154" y="349"/>
                      </a:lnTo>
                      <a:lnTo>
                        <a:pt x="153" y="351"/>
                      </a:lnTo>
                      <a:lnTo>
                        <a:pt x="153" y="352"/>
                      </a:lnTo>
                      <a:lnTo>
                        <a:pt x="153" y="354"/>
                      </a:lnTo>
                      <a:lnTo>
                        <a:pt x="154" y="358"/>
                      </a:lnTo>
                      <a:lnTo>
                        <a:pt x="156" y="361"/>
                      </a:lnTo>
                      <a:lnTo>
                        <a:pt x="157" y="361"/>
                      </a:lnTo>
                      <a:lnTo>
                        <a:pt x="157" y="364"/>
                      </a:lnTo>
                      <a:lnTo>
                        <a:pt x="157" y="365"/>
                      </a:lnTo>
                      <a:lnTo>
                        <a:pt x="157" y="368"/>
                      </a:lnTo>
                      <a:lnTo>
                        <a:pt x="159" y="370"/>
                      </a:lnTo>
                      <a:lnTo>
                        <a:pt x="159" y="372"/>
                      </a:lnTo>
                      <a:lnTo>
                        <a:pt x="160" y="374"/>
                      </a:lnTo>
                      <a:lnTo>
                        <a:pt x="160" y="377"/>
                      </a:lnTo>
                      <a:lnTo>
                        <a:pt x="160" y="379"/>
                      </a:lnTo>
                      <a:lnTo>
                        <a:pt x="159" y="387"/>
                      </a:lnTo>
                      <a:lnTo>
                        <a:pt x="159" y="389"/>
                      </a:lnTo>
                      <a:lnTo>
                        <a:pt x="160" y="391"/>
                      </a:lnTo>
                      <a:lnTo>
                        <a:pt x="161" y="391"/>
                      </a:lnTo>
                      <a:lnTo>
                        <a:pt x="161" y="392"/>
                      </a:lnTo>
                      <a:lnTo>
                        <a:pt x="162" y="393"/>
                      </a:lnTo>
                      <a:lnTo>
                        <a:pt x="162" y="392"/>
                      </a:lnTo>
                      <a:lnTo>
                        <a:pt x="162" y="391"/>
                      </a:lnTo>
                      <a:lnTo>
                        <a:pt x="163" y="389"/>
                      </a:lnTo>
                      <a:lnTo>
                        <a:pt x="162" y="388"/>
                      </a:lnTo>
                      <a:lnTo>
                        <a:pt x="162" y="387"/>
                      </a:lnTo>
                      <a:lnTo>
                        <a:pt x="162" y="385"/>
                      </a:lnTo>
                      <a:lnTo>
                        <a:pt x="162" y="384"/>
                      </a:lnTo>
                      <a:lnTo>
                        <a:pt x="162" y="382"/>
                      </a:lnTo>
                      <a:lnTo>
                        <a:pt x="162" y="384"/>
                      </a:lnTo>
                      <a:lnTo>
                        <a:pt x="163" y="384"/>
                      </a:lnTo>
                      <a:lnTo>
                        <a:pt x="162" y="382"/>
                      </a:lnTo>
                      <a:lnTo>
                        <a:pt x="162" y="381"/>
                      </a:lnTo>
                      <a:lnTo>
                        <a:pt x="163" y="380"/>
                      </a:lnTo>
                      <a:lnTo>
                        <a:pt x="164" y="379"/>
                      </a:lnTo>
                      <a:lnTo>
                        <a:pt x="166" y="380"/>
                      </a:lnTo>
                      <a:lnTo>
                        <a:pt x="164" y="380"/>
                      </a:lnTo>
                      <a:lnTo>
                        <a:pt x="164" y="381"/>
                      </a:lnTo>
                      <a:lnTo>
                        <a:pt x="166" y="386"/>
                      </a:lnTo>
                      <a:lnTo>
                        <a:pt x="166" y="385"/>
                      </a:lnTo>
                      <a:lnTo>
                        <a:pt x="166" y="384"/>
                      </a:lnTo>
                      <a:lnTo>
                        <a:pt x="167" y="382"/>
                      </a:lnTo>
                      <a:lnTo>
                        <a:pt x="166" y="386"/>
                      </a:lnTo>
                      <a:lnTo>
                        <a:pt x="166" y="387"/>
                      </a:lnTo>
                      <a:lnTo>
                        <a:pt x="167" y="389"/>
                      </a:lnTo>
                      <a:lnTo>
                        <a:pt x="164" y="395"/>
                      </a:lnTo>
                      <a:lnTo>
                        <a:pt x="164" y="399"/>
                      </a:lnTo>
                      <a:lnTo>
                        <a:pt x="166" y="407"/>
                      </a:lnTo>
                      <a:lnTo>
                        <a:pt x="166" y="408"/>
                      </a:lnTo>
                      <a:lnTo>
                        <a:pt x="167" y="408"/>
                      </a:lnTo>
                      <a:lnTo>
                        <a:pt x="167" y="407"/>
                      </a:lnTo>
                      <a:lnTo>
                        <a:pt x="168" y="407"/>
                      </a:lnTo>
                      <a:lnTo>
                        <a:pt x="168" y="408"/>
                      </a:lnTo>
                      <a:lnTo>
                        <a:pt x="167" y="410"/>
                      </a:lnTo>
                      <a:lnTo>
                        <a:pt x="166" y="412"/>
                      </a:lnTo>
                      <a:lnTo>
                        <a:pt x="164" y="414"/>
                      </a:lnTo>
                      <a:lnTo>
                        <a:pt x="164" y="415"/>
                      </a:lnTo>
                      <a:lnTo>
                        <a:pt x="164" y="416"/>
                      </a:lnTo>
                      <a:lnTo>
                        <a:pt x="164" y="417"/>
                      </a:lnTo>
                      <a:lnTo>
                        <a:pt x="164" y="419"/>
                      </a:lnTo>
                      <a:lnTo>
                        <a:pt x="164" y="421"/>
                      </a:lnTo>
                      <a:lnTo>
                        <a:pt x="162" y="426"/>
                      </a:lnTo>
                      <a:lnTo>
                        <a:pt x="162" y="430"/>
                      </a:lnTo>
                      <a:lnTo>
                        <a:pt x="162" y="434"/>
                      </a:lnTo>
                      <a:lnTo>
                        <a:pt x="162" y="435"/>
                      </a:lnTo>
                      <a:lnTo>
                        <a:pt x="161" y="435"/>
                      </a:lnTo>
                      <a:lnTo>
                        <a:pt x="161" y="434"/>
                      </a:lnTo>
                      <a:lnTo>
                        <a:pt x="161" y="433"/>
                      </a:lnTo>
                      <a:lnTo>
                        <a:pt x="160" y="433"/>
                      </a:lnTo>
                      <a:lnTo>
                        <a:pt x="160" y="434"/>
                      </a:lnTo>
                      <a:lnTo>
                        <a:pt x="161" y="434"/>
                      </a:lnTo>
                      <a:lnTo>
                        <a:pt x="161" y="435"/>
                      </a:lnTo>
                      <a:lnTo>
                        <a:pt x="160" y="436"/>
                      </a:lnTo>
                      <a:lnTo>
                        <a:pt x="160" y="437"/>
                      </a:lnTo>
                      <a:lnTo>
                        <a:pt x="160" y="438"/>
                      </a:lnTo>
                      <a:lnTo>
                        <a:pt x="160" y="440"/>
                      </a:lnTo>
                      <a:lnTo>
                        <a:pt x="160" y="441"/>
                      </a:lnTo>
                      <a:lnTo>
                        <a:pt x="160" y="442"/>
                      </a:lnTo>
                      <a:lnTo>
                        <a:pt x="160" y="443"/>
                      </a:lnTo>
                      <a:lnTo>
                        <a:pt x="161" y="441"/>
                      </a:lnTo>
                      <a:lnTo>
                        <a:pt x="161" y="440"/>
                      </a:lnTo>
                      <a:lnTo>
                        <a:pt x="161" y="438"/>
                      </a:lnTo>
                      <a:lnTo>
                        <a:pt x="162" y="438"/>
                      </a:lnTo>
                      <a:lnTo>
                        <a:pt x="162" y="440"/>
                      </a:lnTo>
                      <a:lnTo>
                        <a:pt x="163" y="440"/>
                      </a:lnTo>
                      <a:lnTo>
                        <a:pt x="164" y="437"/>
                      </a:lnTo>
                      <a:lnTo>
                        <a:pt x="164" y="436"/>
                      </a:lnTo>
                      <a:lnTo>
                        <a:pt x="166" y="437"/>
                      </a:lnTo>
                      <a:lnTo>
                        <a:pt x="166" y="438"/>
                      </a:lnTo>
                      <a:lnTo>
                        <a:pt x="166" y="440"/>
                      </a:lnTo>
                      <a:lnTo>
                        <a:pt x="164" y="445"/>
                      </a:lnTo>
                      <a:lnTo>
                        <a:pt x="164" y="447"/>
                      </a:lnTo>
                      <a:lnTo>
                        <a:pt x="164" y="448"/>
                      </a:lnTo>
                      <a:lnTo>
                        <a:pt x="163" y="449"/>
                      </a:lnTo>
                      <a:lnTo>
                        <a:pt x="159" y="457"/>
                      </a:lnTo>
                      <a:lnTo>
                        <a:pt x="155" y="461"/>
                      </a:lnTo>
                      <a:lnTo>
                        <a:pt x="155" y="462"/>
                      </a:lnTo>
                      <a:lnTo>
                        <a:pt x="153" y="464"/>
                      </a:lnTo>
                      <a:lnTo>
                        <a:pt x="143" y="469"/>
                      </a:lnTo>
                      <a:lnTo>
                        <a:pt x="138" y="471"/>
                      </a:lnTo>
                      <a:lnTo>
                        <a:pt x="133" y="472"/>
                      </a:lnTo>
                      <a:lnTo>
                        <a:pt x="133" y="473"/>
                      </a:lnTo>
                      <a:lnTo>
                        <a:pt x="128" y="475"/>
                      </a:lnTo>
                      <a:lnTo>
                        <a:pt x="127" y="475"/>
                      </a:lnTo>
                      <a:lnTo>
                        <a:pt x="124" y="476"/>
                      </a:lnTo>
                      <a:lnTo>
                        <a:pt x="123" y="477"/>
                      </a:lnTo>
                      <a:lnTo>
                        <a:pt x="116" y="479"/>
                      </a:lnTo>
                      <a:lnTo>
                        <a:pt x="109" y="482"/>
                      </a:lnTo>
                      <a:lnTo>
                        <a:pt x="105" y="484"/>
                      </a:lnTo>
                      <a:lnTo>
                        <a:pt x="100" y="485"/>
                      </a:lnTo>
                      <a:lnTo>
                        <a:pt x="96" y="487"/>
                      </a:lnTo>
                      <a:lnTo>
                        <a:pt x="95" y="489"/>
                      </a:lnTo>
                      <a:lnTo>
                        <a:pt x="95" y="487"/>
                      </a:lnTo>
                      <a:lnTo>
                        <a:pt x="96" y="487"/>
                      </a:lnTo>
                      <a:lnTo>
                        <a:pt x="97" y="486"/>
                      </a:lnTo>
                      <a:lnTo>
                        <a:pt x="96" y="486"/>
                      </a:lnTo>
                      <a:lnTo>
                        <a:pt x="95" y="487"/>
                      </a:lnTo>
                      <a:lnTo>
                        <a:pt x="93" y="487"/>
                      </a:lnTo>
                      <a:lnTo>
                        <a:pt x="93" y="489"/>
                      </a:lnTo>
                      <a:lnTo>
                        <a:pt x="93" y="490"/>
                      </a:lnTo>
                      <a:lnTo>
                        <a:pt x="92" y="490"/>
                      </a:lnTo>
                      <a:lnTo>
                        <a:pt x="91" y="491"/>
                      </a:lnTo>
                      <a:lnTo>
                        <a:pt x="90" y="491"/>
                      </a:lnTo>
                      <a:lnTo>
                        <a:pt x="82" y="497"/>
                      </a:lnTo>
                      <a:lnTo>
                        <a:pt x="82" y="498"/>
                      </a:lnTo>
                      <a:lnTo>
                        <a:pt x="79" y="500"/>
                      </a:lnTo>
                      <a:lnTo>
                        <a:pt x="79" y="501"/>
                      </a:lnTo>
                      <a:lnTo>
                        <a:pt x="78" y="504"/>
                      </a:lnTo>
                      <a:lnTo>
                        <a:pt x="78" y="506"/>
                      </a:lnTo>
                      <a:lnTo>
                        <a:pt x="78" y="505"/>
                      </a:lnTo>
                      <a:lnTo>
                        <a:pt x="77" y="505"/>
                      </a:lnTo>
                      <a:lnTo>
                        <a:pt x="77" y="506"/>
                      </a:lnTo>
                      <a:lnTo>
                        <a:pt x="77" y="507"/>
                      </a:lnTo>
                      <a:lnTo>
                        <a:pt x="77" y="508"/>
                      </a:lnTo>
                      <a:lnTo>
                        <a:pt x="76" y="508"/>
                      </a:lnTo>
                      <a:lnTo>
                        <a:pt x="75" y="510"/>
                      </a:lnTo>
                      <a:lnTo>
                        <a:pt x="75" y="511"/>
                      </a:lnTo>
                      <a:lnTo>
                        <a:pt x="74" y="511"/>
                      </a:lnTo>
                      <a:lnTo>
                        <a:pt x="73" y="511"/>
                      </a:lnTo>
                      <a:lnTo>
                        <a:pt x="71" y="511"/>
                      </a:lnTo>
                      <a:lnTo>
                        <a:pt x="70" y="511"/>
                      </a:lnTo>
                      <a:lnTo>
                        <a:pt x="70" y="512"/>
                      </a:lnTo>
                      <a:lnTo>
                        <a:pt x="70" y="513"/>
                      </a:lnTo>
                      <a:lnTo>
                        <a:pt x="70" y="512"/>
                      </a:lnTo>
                      <a:lnTo>
                        <a:pt x="70" y="511"/>
                      </a:lnTo>
                      <a:lnTo>
                        <a:pt x="71" y="511"/>
                      </a:lnTo>
                      <a:lnTo>
                        <a:pt x="71" y="512"/>
                      </a:lnTo>
                      <a:lnTo>
                        <a:pt x="73" y="512"/>
                      </a:lnTo>
                      <a:lnTo>
                        <a:pt x="73" y="513"/>
                      </a:lnTo>
                      <a:lnTo>
                        <a:pt x="74" y="513"/>
                      </a:lnTo>
                      <a:lnTo>
                        <a:pt x="74" y="514"/>
                      </a:lnTo>
                      <a:lnTo>
                        <a:pt x="75" y="514"/>
                      </a:lnTo>
                      <a:lnTo>
                        <a:pt x="75" y="515"/>
                      </a:lnTo>
                      <a:lnTo>
                        <a:pt x="76" y="517"/>
                      </a:lnTo>
                      <a:lnTo>
                        <a:pt x="76" y="518"/>
                      </a:lnTo>
                      <a:lnTo>
                        <a:pt x="76" y="519"/>
                      </a:lnTo>
                      <a:lnTo>
                        <a:pt x="77" y="518"/>
                      </a:lnTo>
                      <a:lnTo>
                        <a:pt x="77" y="519"/>
                      </a:lnTo>
                      <a:lnTo>
                        <a:pt x="78" y="519"/>
                      </a:lnTo>
                      <a:lnTo>
                        <a:pt x="79" y="520"/>
                      </a:lnTo>
                      <a:lnTo>
                        <a:pt x="79" y="521"/>
                      </a:lnTo>
                      <a:lnTo>
                        <a:pt x="81" y="521"/>
                      </a:lnTo>
                      <a:lnTo>
                        <a:pt x="81" y="522"/>
                      </a:lnTo>
                      <a:lnTo>
                        <a:pt x="82" y="522"/>
                      </a:lnTo>
                      <a:lnTo>
                        <a:pt x="82" y="521"/>
                      </a:lnTo>
                      <a:lnTo>
                        <a:pt x="82" y="520"/>
                      </a:lnTo>
                      <a:lnTo>
                        <a:pt x="82" y="519"/>
                      </a:lnTo>
                      <a:lnTo>
                        <a:pt x="83" y="518"/>
                      </a:lnTo>
                      <a:lnTo>
                        <a:pt x="83" y="517"/>
                      </a:lnTo>
                      <a:lnTo>
                        <a:pt x="83" y="515"/>
                      </a:lnTo>
                      <a:lnTo>
                        <a:pt x="85" y="515"/>
                      </a:lnTo>
                      <a:lnTo>
                        <a:pt x="84" y="521"/>
                      </a:lnTo>
                      <a:lnTo>
                        <a:pt x="83" y="532"/>
                      </a:lnTo>
                      <a:lnTo>
                        <a:pt x="83" y="534"/>
                      </a:lnTo>
                      <a:lnTo>
                        <a:pt x="83" y="535"/>
                      </a:lnTo>
                      <a:lnTo>
                        <a:pt x="83" y="536"/>
                      </a:lnTo>
                      <a:lnTo>
                        <a:pt x="83" y="539"/>
                      </a:lnTo>
                      <a:lnTo>
                        <a:pt x="83" y="540"/>
                      </a:lnTo>
                      <a:lnTo>
                        <a:pt x="82" y="541"/>
                      </a:lnTo>
                      <a:lnTo>
                        <a:pt x="83" y="541"/>
                      </a:lnTo>
                      <a:lnTo>
                        <a:pt x="83" y="542"/>
                      </a:lnTo>
                      <a:lnTo>
                        <a:pt x="78" y="542"/>
                      </a:lnTo>
                      <a:lnTo>
                        <a:pt x="74" y="542"/>
                      </a:lnTo>
                      <a:lnTo>
                        <a:pt x="69" y="542"/>
                      </a:lnTo>
                      <a:lnTo>
                        <a:pt x="66" y="542"/>
                      </a:lnTo>
                      <a:lnTo>
                        <a:pt x="64" y="542"/>
                      </a:lnTo>
                      <a:lnTo>
                        <a:pt x="62" y="541"/>
                      </a:lnTo>
                      <a:lnTo>
                        <a:pt x="61" y="541"/>
                      </a:lnTo>
                      <a:lnTo>
                        <a:pt x="60" y="541"/>
                      </a:lnTo>
                      <a:lnTo>
                        <a:pt x="59" y="541"/>
                      </a:lnTo>
                      <a:lnTo>
                        <a:pt x="59" y="533"/>
                      </a:lnTo>
                      <a:lnTo>
                        <a:pt x="59" y="529"/>
                      </a:lnTo>
                      <a:lnTo>
                        <a:pt x="56" y="527"/>
                      </a:lnTo>
                      <a:lnTo>
                        <a:pt x="56" y="526"/>
                      </a:lnTo>
                      <a:lnTo>
                        <a:pt x="56" y="522"/>
                      </a:lnTo>
                      <a:lnTo>
                        <a:pt x="56" y="521"/>
                      </a:lnTo>
                      <a:lnTo>
                        <a:pt x="57" y="518"/>
                      </a:lnTo>
                      <a:lnTo>
                        <a:pt x="57" y="517"/>
                      </a:lnTo>
                      <a:lnTo>
                        <a:pt x="57" y="515"/>
                      </a:lnTo>
                      <a:lnTo>
                        <a:pt x="56" y="513"/>
                      </a:lnTo>
                      <a:lnTo>
                        <a:pt x="57" y="513"/>
                      </a:lnTo>
                      <a:lnTo>
                        <a:pt x="55" y="512"/>
                      </a:lnTo>
                      <a:lnTo>
                        <a:pt x="54" y="512"/>
                      </a:lnTo>
                      <a:lnTo>
                        <a:pt x="54" y="511"/>
                      </a:lnTo>
                      <a:lnTo>
                        <a:pt x="52" y="507"/>
                      </a:lnTo>
                      <a:lnTo>
                        <a:pt x="52" y="506"/>
                      </a:lnTo>
                      <a:lnTo>
                        <a:pt x="53" y="505"/>
                      </a:lnTo>
                      <a:lnTo>
                        <a:pt x="54" y="501"/>
                      </a:lnTo>
                      <a:lnTo>
                        <a:pt x="54" y="500"/>
                      </a:lnTo>
                      <a:lnTo>
                        <a:pt x="55" y="500"/>
                      </a:lnTo>
                      <a:lnTo>
                        <a:pt x="55" y="499"/>
                      </a:lnTo>
                      <a:lnTo>
                        <a:pt x="55" y="497"/>
                      </a:lnTo>
                      <a:lnTo>
                        <a:pt x="54" y="496"/>
                      </a:lnTo>
                      <a:lnTo>
                        <a:pt x="54" y="494"/>
                      </a:lnTo>
                      <a:lnTo>
                        <a:pt x="54" y="493"/>
                      </a:lnTo>
                      <a:lnTo>
                        <a:pt x="54" y="492"/>
                      </a:lnTo>
                      <a:lnTo>
                        <a:pt x="55" y="491"/>
                      </a:lnTo>
                      <a:lnTo>
                        <a:pt x="55" y="483"/>
                      </a:lnTo>
                      <a:lnTo>
                        <a:pt x="55" y="478"/>
                      </a:lnTo>
                      <a:lnTo>
                        <a:pt x="55" y="473"/>
                      </a:lnTo>
                      <a:lnTo>
                        <a:pt x="55" y="468"/>
                      </a:lnTo>
                      <a:lnTo>
                        <a:pt x="55" y="463"/>
                      </a:lnTo>
                      <a:lnTo>
                        <a:pt x="55" y="461"/>
                      </a:lnTo>
                      <a:lnTo>
                        <a:pt x="55" y="458"/>
                      </a:lnTo>
                      <a:lnTo>
                        <a:pt x="54" y="455"/>
                      </a:lnTo>
                      <a:lnTo>
                        <a:pt x="53" y="452"/>
                      </a:lnTo>
                      <a:lnTo>
                        <a:pt x="52" y="449"/>
                      </a:lnTo>
                      <a:lnTo>
                        <a:pt x="50" y="448"/>
                      </a:lnTo>
                      <a:lnTo>
                        <a:pt x="50" y="442"/>
                      </a:lnTo>
                      <a:lnTo>
                        <a:pt x="50" y="441"/>
                      </a:lnTo>
                      <a:lnTo>
                        <a:pt x="48" y="440"/>
                      </a:lnTo>
                      <a:lnTo>
                        <a:pt x="48" y="438"/>
                      </a:lnTo>
                      <a:lnTo>
                        <a:pt x="47" y="437"/>
                      </a:lnTo>
                      <a:lnTo>
                        <a:pt x="46" y="435"/>
                      </a:lnTo>
                      <a:lnTo>
                        <a:pt x="45" y="430"/>
                      </a:lnTo>
                      <a:lnTo>
                        <a:pt x="43" y="429"/>
                      </a:lnTo>
                      <a:lnTo>
                        <a:pt x="41" y="426"/>
                      </a:lnTo>
                      <a:lnTo>
                        <a:pt x="40" y="424"/>
                      </a:lnTo>
                      <a:lnTo>
                        <a:pt x="40" y="423"/>
                      </a:lnTo>
                      <a:lnTo>
                        <a:pt x="41" y="415"/>
                      </a:lnTo>
                      <a:lnTo>
                        <a:pt x="39" y="408"/>
                      </a:lnTo>
                      <a:lnTo>
                        <a:pt x="38" y="403"/>
                      </a:lnTo>
                      <a:lnTo>
                        <a:pt x="35" y="399"/>
                      </a:lnTo>
                      <a:lnTo>
                        <a:pt x="34" y="394"/>
                      </a:lnTo>
                      <a:lnTo>
                        <a:pt x="33" y="389"/>
                      </a:lnTo>
                      <a:lnTo>
                        <a:pt x="35" y="387"/>
                      </a:lnTo>
                      <a:lnTo>
                        <a:pt x="38" y="386"/>
                      </a:lnTo>
                      <a:lnTo>
                        <a:pt x="39" y="384"/>
                      </a:lnTo>
                      <a:lnTo>
                        <a:pt x="41" y="382"/>
                      </a:lnTo>
                      <a:lnTo>
                        <a:pt x="42" y="380"/>
                      </a:lnTo>
                      <a:lnTo>
                        <a:pt x="45" y="379"/>
                      </a:lnTo>
                      <a:lnTo>
                        <a:pt x="46" y="377"/>
                      </a:lnTo>
                      <a:lnTo>
                        <a:pt x="47" y="374"/>
                      </a:lnTo>
                      <a:lnTo>
                        <a:pt x="49" y="373"/>
                      </a:lnTo>
                      <a:lnTo>
                        <a:pt x="50" y="371"/>
                      </a:lnTo>
                      <a:lnTo>
                        <a:pt x="53" y="370"/>
                      </a:lnTo>
                      <a:lnTo>
                        <a:pt x="54" y="367"/>
                      </a:lnTo>
                      <a:lnTo>
                        <a:pt x="56" y="366"/>
                      </a:lnTo>
                      <a:lnTo>
                        <a:pt x="57" y="364"/>
                      </a:lnTo>
                      <a:lnTo>
                        <a:pt x="59" y="361"/>
                      </a:lnTo>
                      <a:lnTo>
                        <a:pt x="61" y="360"/>
                      </a:lnTo>
                      <a:lnTo>
                        <a:pt x="62" y="358"/>
                      </a:lnTo>
                      <a:lnTo>
                        <a:pt x="64" y="357"/>
                      </a:lnTo>
                      <a:lnTo>
                        <a:pt x="66" y="354"/>
                      </a:lnTo>
                      <a:lnTo>
                        <a:pt x="67" y="353"/>
                      </a:lnTo>
                      <a:lnTo>
                        <a:pt x="68" y="352"/>
                      </a:lnTo>
                      <a:lnTo>
                        <a:pt x="69" y="352"/>
                      </a:lnTo>
                      <a:lnTo>
                        <a:pt x="67" y="349"/>
                      </a:lnTo>
                      <a:lnTo>
                        <a:pt x="67" y="347"/>
                      </a:lnTo>
                      <a:lnTo>
                        <a:pt x="68" y="347"/>
                      </a:lnTo>
                      <a:lnTo>
                        <a:pt x="67" y="347"/>
                      </a:lnTo>
                      <a:lnTo>
                        <a:pt x="67" y="346"/>
                      </a:lnTo>
                      <a:lnTo>
                        <a:pt x="69" y="344"/>
                      </a:lnTo>
                      <a:lnTo>
                        <a:pt x="70" y="342"/>
                      </a:lnTo>
                      <a:lnTo>
                        <a:pt x="71" y="340"/>
                      </a:lnTo>
                      <a:lnTo>
                        <a:pt x="71" y="338"/>
                      </a:lnTo>
                      <a:lnTo>
                        <a:pt x="70" y="335"/>
                      </a:lnTo>
                      <a:lnTo>
                        <a:pt x="70" y="331"/>
                      </a:lnTo>
                      <a:lnTo>
                        <a:pt x="70" y="330"/>
                      </a:lnTo>
                      <a:lnTo>
                        <a:pt x="70" y="329"/>
                      </a:lnTo>
                      <a:lnTo>
                        <a:pt x="71" y="328"/>
                      </a:lnTo>
                      <a:lnTo>
                        <a:pt x="73" y="328"/>
                      </a:lnTo>
                      <a:lnTo>
                        <a:pt x="75" y="328"/>
                      </a:lnTo>
                      <a:lnTo>
                        <a:pt x="76" y="328"/>
                      </a:lnTo>
                      <a:lnTo>
                        <a:pt x="77" y="326"/>
                      </a:lnTo>
                      <a:lnTo>
                        <a:pt x="77" y="324"/>
                      </a:lnTo>
                      <a:lnTo>
                        <a:pt x="78" y="323"/>
                      </a:lnTo>
                      <a:lnTo>
                        <a:pt x="81" y="319"/>
                      </a:lnTo>
                      <a:lnTo>
                        <a:pt x="82" y="318"/>
                      </a:lnTo>
                      <a:lnTo>
                        <a:pt x="83" y="317"/>
                      </a:lnTo>
                      <a:lnTo>
                        <a:pt x="83" y="316"/>
                      </a:lnTo>
                      <a:lnTo>
                        <a:pt x="83" y="315"/>
                      </a:lnTo>
                      <a:lnTo>
                        <a:pt x="83" y="314"/>
                      </a:lnTo>
                      <a:lnTo>
                        <a:pt x="83" y="312"/>
                      </a:lnTo>
                      <a:lnTo>
                        <a:pt x="84" y="311"/>
                      </a:lnTo>
                      <a:lnTo>
                        <a:pt x="85" y="311"/>
                      </a:lnTo>
                      <a:lnTo>
                        <a:pt x="85" y="310"/>
                      </a:lnTo>
                      <a:lnTo>
                        <a:pt x="88" y="310"/>
                      </a:lnTo>
                      <a:lnTo>
                        <a:pt x="86" y="309"/>
                      </a:lnTo>
                      <a:lnTo>
                        <a:pt x="86" y="307"/>
                      </a:lnTo>
                      <a:lnTo>
                        <a:pt x="88" y="304"/>
                      </a:lnTo>
                      <a:lnTo>
                        <a:pt x="88" y="303"/>
                      </a:lnTo>
                      <a:lnTo>
                        <a:pt x="88" y="302"/>
                      </a:lnTo>
                      <a:lnTo>
                        <a:pt x="88" y="301"/>
                      </a:lnTo>
                      <a:lnTo>
                        <a:pt x="86" y="301"/>
                      </a:lnTo>
                      <a:lnTo>
                        <a:pt x="85" y="300"/>
                      </a:lnTo>
                      <a:lnTo>
                        <a:pt x="85" y="298"/>
                      </a:lnTo>
                      <a:lnTo>
                        <a:pt x="85" y="297"/>
                      </a:lnTo>
                      <a:lnTo>
                        <a:pt x="84" y="297"/>
                      </a:lnTo>
                      <a:lnTo>
                        <a:pt x="84" y="298"/>
                      </a:lnTo>
                      <a:lnTo>
                        <a:pt x="83" y="298"/>
                      </a:lnTo>
                      <a:lnTo>
                        <a:pt x="82" y="298"/>
                      </a:lnTo>
                      <a:lnTo>
                        <a:pt x="81" y="297"/>
                      </a:lnTo>
                      <a:lnTo>
                        <a:pt x="82" y="297"/>
                      </a:lnTo>
                      <a:lnTo>
                        <a:pt x="82" y="296"/>
                      </a:lnTo>
                      <a:lnTo>
                        <a:pt x="82" y="295"/>
                      </a:lnTo>
                      <a:lnTo>
                        <a:pt x="82" y="293"/>
                      </a:lnTo>
                      <a:lnTo>
                        <a:pt x="82" y="291"/>
                      </a:lnTo>
                      <a:lnTo>
                        <a:pt x="81" y="291"/>
                      </a:lnTo>
                      <a:lnTo>
                        <a:pt x="79" y="291"/>
                      </a:lnTo>
                      <a:lnTo>
                        <a:pt x="79" y="290"/>
                      </a:lnTo>
                      <a:lnTo>
                        <a:pt x="79" y="289"/>
                      </a:lnTo>
                      <a:lnTo>
                        <a:pt x="79" y="288"/>
                      </a:lnTo>
                      <a:lnTo>
                        <a:pt x="81" y="287"/>
                      </a:lnTo>
                      <a:lnTo>
                        <a:pt x="82" y="286"/>
                      </a:lnTo>
                      <a:lnTo>
                        <a:pt x="82" y="284"/>
                      </a:lnTo>
                      <a:lnTo>
                        <a:pt x="82" y="283"/>
                      </a:lnTo>
                      <a:lnTo>
                        <a:pt x="83" y="280"/>
                      </a:lnTo>
                      <a:lnTo>
                        <a:pt x="83" y="279"/>
                      </a:lnTo>
                      <a:lnTo>
                        <a:pt x="82" y="277"/>
                      </a:lnTo>
                      <a:lnTo>
                        <a:pt x="82" y="276"/>
                      </a:lnTo>
                      <a:lnTo>
                        <a:pt x="81" y="276"/>
                      </a:lnTo>
                      <a:lnTo>
                        <a:pt x="78" y="276"/>
                      </a:lnTo>
                      <a:lnTo>
                        <a:pt x="77" y="276"/>
                      </a:lnTo>
                      <a:lnTo>
                        <a:pt x="77" y="275"/>
                      </a:lnTo>
                      <a:lnTo>
                        <a:pt x="77" y="274"/>
                      </a:lnTo>
                      <a:lnTo>
                        <a:pt x="78" y="273"/>
                      </a:lnTo>
                      <a:lnTo>
                        <a:pt x="77" y="272"/>
                      </a:lnTo>
                      <a:lnTo>
                        <a:pt x="77" y="270"/>
                      </a:lnTo>
                      <a:lnTo>
                        <a:pt x="81" y="268"/>
                      </a:lnTo>
                      <a:lnTo>
                        <a:pt x="82" y="268"/>
                      </a:lnTo>
                      <a:lnTo>
                        <a:pt x="83" y="268"/>
                      </a:lnTo>
                      <a:lnTo>
                        <a:pt x="84" y="268"/>
                      </a:lnTo>
                      <a:lnTo>
                        <a:pt x="84" y="267"/>
                      </a:lnTo>
                      <a:lnTo>
                        <a:pt x="84" y="266"/>
                      </a:lnTo>
                      <a:lnTo>
                        <a:pt x="84" y="265"/>
                      </a:lnTo>
                      <a:lnTo>
                        <a:pt x="83" y="262"/>
                      </a:lnTo>
                      <a:lnTo>
                        <a:pt x="83" y="261"/>
                      </a:lnTo>
                      <a:lnTo>
                        <a:pt x="83" y="260"/>
                      </a:lnTo>
                      <a:lnTo>
                        <a:pt x="84" y="260"/>
                      </a:lnTo>
                      <a:lnTo>
                        <a:pt x="85" y="259"/>
                      </a:lnTo>
                      <a:lnTo>
                        <a:pt x="86" y="259"/>
                      </a:lnTo>
                      <a:lnTo>
                        <a:pt x="86" y="258"/>
                      </a:lnTo>
                      <a:lnTo>
                        <a:pt x="88" y="258"/>
                      </a:lnTo>
                      <a:lnTo>
                        <a:pt x="88" y="256"/>
                      </a:lnTo>
                      <a:lnTo>
                        <a:pt x="86" y="256"/>
                      </a:lnTo>
                      <a:lnTo>
                        <a:pt x="88" y="255"/>
                      </a:lnTo>
                      <a:lnTo>
                        <a:pt x="89" y="254"/>
                      </a:lnTo>
                      <a:lnTo>
                        <a:pt x="88" y="253"/>
                      </a:lnTo>
                      <a:lnTo>
                        <a:pt x="86" y="252"/>
                      </a:lnTo>
                      <a:lnTo>
                        <a:pt x="85" y="251"/>
                      </a:lnTo>
                      <a:lnTo>
                        <a:pt x="85" y="249"/>
                      </a:lnTo>
                      <a:lnTo>
                        <a:pt x="86" y="249"/>
                      </a:lnTo>
                      <a:lnTo>
                        <a:pt x="86" y="248"/>
                      </a:lnTo>
                      <a:lnTo>
                        <a:pt x="86" y="247"/>
                      </a:lnTo>
                      <a:lnTo>
                        <a:pt x="85" y="244"/>
                      </a:lnTo>
                      <a:lnTo>
                        <a:pt x="85" y="242"/>
                      </a:lnTo>
                      <a:lnTo>
                        <a:pt x="85" y="241"/>
                      </a:lnTo>
                      <a:lnTo>
                        <a:pt x="85" y="240"/>
                      </a:lnTo>
                      <a:lnTo>
                        <a:pt x="85" y="239"/>
                      </a:lnTo>
                      <a:lnTo>
                        <a:pt x="85" y="238"/>
                      </a:lnTo>
                      <a:lnTo>
                        <a:pt x="85" y="237"/>
                      </a:lnTo>
                      <a:lnTo>
                        <a:pt x="86" y="237"/>
                      </a:lnTo>
                      <a:lnTo>
                        <a:pt x="88" y="235"/>
                      </a:lnTo>
                      <a:lnTo>
                        <a:pt x="88" y="234"/>
                      </a:lnTo>
                      <a:lnTo>
                        <a:pt x="88" y="233"/>
                      </a:lnTo>
                      <a:lnTo>
                        <a:pt x="88" y="232"/>
                      </a:lnTo>
                      <a:lnTo>
                        <a:pt x="88" y="231"/>
                      </a:lnTo>
                      <a:lnTo>
                        <a:pt x="88" y="230"/>
                      </a:lnTo>
                      <a:lnTo>
                        <a:pt x="88" y="228"/>
                      </a:lnTo>
                      <a:lnTo>
                        <a:pt x="86" y="228"/>
                      </a:lnTo>
                      <a:lnTo>
                        <a:pt x="85" y="227"/>
                      </a:lnTo>
                      <a:lnTo>
                        <a:pt x="85" y="226"/>
                      </a:lnTo>
                      <a:lnTo>
                        <a:pt x="86" y="225"/>
                      </a:lnTo>
                      <a:lnTo>
                        <a:pt x="88" y="223"/>
                      </a:lnTo>
                      <a:lnTo>
                        <a:pt x="88" y="221"/>
                      </a:lnTo>
                      <a:lnTo>
                        <a:pt x="88" y="220"/>
                      </a:lnTo>
                      <a:lnTo>
                        <a:pt x="86" y="220"/>
                      </a:lnTo>
                      <a:lnTo>
                        <a:pt x="86" y="219"/>
                      </a:lnTo>
                      <a:lnTo>
                        <a:pt x="86" y="218"/>
                      </a:lnTo>
                      <a:lnTo>
                        <a:pt x="86" y="217"/>
                      </a:lnTo>
                      <a:lnTo>
                        <a:pt x="85" y="216"/>
                      </a:lnTo>
                      <a:lnTo>
                        <a:pt x="85" y="213"/>
                      </a:lnTo>
                      <a:lnTo>
                        <a:pt x="84" y="211"/>
                      </a:lnTo>
                      <a:lnTo>
                        <a:pt x="82" y="207"/>
                      </a:lnTo>
                      <a:lnTo>
                        <a:pt x="84" y="205"/>
                      </a:lnTo>
                      <a:lnTo>
                        <a:pt x="85" y="204"/>
                      </a:lnTo>
                      <a:lnTo>
                        <a:pt x="86" y="200"/>
                      </a:lnTo>
                      <a:lnTo>
                        <a:pt x="86" y="199"/>
                      </a:lnTo>
                      <a:lnTo>
                        <a:pt x="85" y="199"/>
                      </a:lnTo>
                      <a:lnTo>
                        <a:pt x="84" y="200"/>
                      </a:lnTo>
                      <a:lnTo>
                        <a:pt x="83" y="200"/>
                      </a:lnTo>
                      <a:lnTo>
                        <a:pt x="81" y="200"/>
                      </a:lnTo>
                      <a:lnTo>
                        <a:pt x="81" y="199"/>
                      </a:lnTo>
                      <a:lnTo>
                        <a:pt x="79" y="200"/>
                      </a:lnTo>
                      <a:lnTo>
                        <a:pt x="78" y="200"/>
                      </a:lnTo>
                      <a:lnTo>
                        <a:pt x="78" y="199"/>
                      </a:lnTo>
                      <a:lnTo>
                        <a:pt x="77" y="198"/>
                      </a:lnTo>
                      <a:lnTo>
                        <a:pt x="77" y="197"/>
                      </a:lnTo>
                      <a:lnTo>
                        <a:pt x="74" y="195"/>
                      </a:lnTo>
                      <a:lnTo>
                        <a:pt x="68" y="193"/>
                      </a:lnTo>
                      <a:lnTo>
                        <a:pt x="66" y="192"/>
                      </a:lnTo>
                      <a:lnTo>
                        <a:pt x="63" y="191"/>
                      </a:lnTo>
                      <a:lnTo>
                        <a:pt x="56" y="191"/>
                      </a:lnTo>
                      <a:lnTo>
                        <a:pt x="53" y="191"/>
                      </a:lnTo>
                      <a:lnTo>
                        <a:pt x="53" y="190"/>
                      </a:lnTo>
                      <a:lnTo>
                        <a:pt x="53" y="189"/>
                      </a:lnTo>
                      <a:lnTo>
                        <a:pt x="52" y="189"/>
                      </a:lnTo>
                      <a:lnTo>
                        <a:pt x="52" y="188"/>
                      </a:lnTo>
                      <a:lnTo>
                        <a:pt x="50" y="188"/>
                      </a:lnTo>
                      <a:lnTo>
                        <a:pt x="49" y="186"/>
                      </a:lnTo>
                      <a:lnTo>
                        <a:pt x="48" y="185"/>
                      </a:lnTo>
                      <a:lnTo>
                        <a:pt x="47" y="184"/>
                      </a:lnTo>
                      <a:lnTo>
                        <a:pt x="46" y="184"/>
                      </a:lnTo>
                      <a:lnTo>
                        <a:pt x="41" y="183"/>
                      </a:lnTo>
                      <a:lnTo>
                        <a:pt x="40" y="183"/>
                      </a:lnTo>
                      <a:lnTo>
                        <a:pt x="39" y="183"/>
                      </a:lnTo>
                      <a:lnTo>
                        <a:pt x="39" y="182"/>
                      </a:lnTo>
                      <a:lnTo>
                        <a:pt x="38" y="182"/>
                      </a:lnTo>
                      <a:lnTo>
                        <a:pt x="36" y="182"/>
                      </a:lnTo>
                      <a:lnTo>
                        <a:pt x="36" y="181"/>
                      </a:lnTo>
                      <a:lnTo>
                        <a:pt x="35" y="181"/>
                      </a:lnTo>
                      <a:lnTo>
                        <a:pt x="35" y="179"/>
                      </a:lnTo>
                      <a:lnTo>
                        <a:pt x="34" y="179"/>
                      </a:lnTo>
                      <a:lnTo>
                        <a:pt x="34" y="178"/>
                      </a:lnTo>
                      <a:lnTo>
                        <a:pt x="33" y="178"/>
                      </a:lnTo>
                      <a:lnTo>
                        <a:pt x="29" y="177"/>
                      </a:lnTo>
                      <a:lnTo>
                        <a:pt x="28" y="177"/>
                      </a:lnTo>
                      <a:lnTo>
                        <a:pt x="27" y="177"/>
                      </a:lnTo>
                      <a:lnTo>
                        <a:pt x="27" y="178"/>
                      </a:lnTo>
                      <a:lnTo>
                        <a:pt x="27" y="177"/>
                      </a:lnTo>
                      <a:lnTo>
                        <a:pt x="26" y="177"/>
                      </a:lnTo>
                      <a:lnTo>
                        <a:pt x="26" y="178"/>
                      </a:lnTo>
                      <a:lnTo>
                        <a:pt x="25" y="178"/>
                      </a:lnTo>
                      <a:lnTo>
                        <a:pt x="25" y="179"/>
                      </a:lnTo>
                      <a:lnTo>
                        <a:pt x="24" y="179"/>
                      </a:lnTo>
                      <a:lnTo>
                        <a:pt x="24" y="178"/>
                      </a:lnTo>
                      <a:lnTo>
                        <a:pt x="22" y="178"/>
                      </a:lnTo>
                      <a:lnTo>
                        <a:pt x="21" y="177"/>
                      </a:lnTo>
                      <a:lnTo>
                        <a:pt x="20" y="177"/>
                      </a:lnTo>
                      <a:lnTo>
                        <a:pt x="17" y="177"/>
                      </a:lnTo>
                      <a:lnTo>
                        <a:pt x="12" y="177"/>
                      </a:lnTo>
                      <a:lnTo>
                        <a:pt x="10" y="177"/>
                      </a:lnTo>
                      <a:lnTo>
                        <a:pt x="6" y="177"/>
                      </a:lnTo>
                      <a:lnTo>
                        <a:pt x="6" y="175"/>
                      </a:lnTo>
                      <a:lnTo>
                        <a:pt x="6" y="171"/>
                      </a:lnTo>
                      <a:lnTo>
                        <a:pt x="6" y="168"/>
                      </a:lnTo>
                      <a:lnTo>
                        <a:pt x="6" y="165"/>
                      </a:lnTo>
                      <a:lnTo>
                        <a:pt x="6" y="164"/>
                      </a:lnTo>
                      <a:lnTo>
                        <a:pt x="6" y="163"/>
                      </a:lnTo>
                      <a:lnTo>
                        <a:pt x="5" y="163"/>
                      </a:lnTo>
                      <a:lnTo>
                        <a:pt x="5" y="162"/>
                      </a:lnTo>
                      <a:lnTo>
                        <a:pt x="5" y="161"/>
                      </a:lnTo>
                      <a:lnTo>
                        <a:pt x="5" y="160"/>
                      </a:lnTo>
                      <a:lnTo>
                        <a:pt x="5" y="158"/>
                      </a:lnTo>
                      <a:lnTo>
                        <a:pt x="5" y="156"/>
                      </a:lnTo>
                      <a:lnTo>
                        <a:pt x="5" y="155"/>
                      </a:lnTo>
                      <a:lnTo>
                        <a:pt x="4" y="155"/>
                      </a:lnTo>
                      <a:lnTo>
                        <a:pt x="4" y="154"/>
                      </a:lnTo>
                      <a:lnTo>
                        <a:pt x="3" y="154"/>
                      </a:lnTo>
                      <a:lnTo>
                        <a:pt x="2" y="151"/>
                      </a:lnTo>
                      <a:lnTo>
                        <a:pt x="0" y="148"/>
                      </a:lnTo>
                      <a:lnTo>
                        <a:pt x="0" y="147"/>
                      </a:lnTo>
                      <a:lnTo>
                        <a:pt x="0" y="144"/>
                      </a:lnTo>
                      <a:lnTo>
                        <a:pt x="0" y="143"/>
                      </a:lnTo>
                      <a:lnTo>
                        <a:pt x="3" y="143"/>
                      </a:lnTo>
                      <a:lnTo>
                        <a:pt x="5" y="142"/>
                      </a:lnTo>
                      <a:lnTo>
                        <a:pt x="9" y="141"/>
                      </a:lnTo>
                      <a:lnTo>
                        <a:pt x="12" y="140"/>
                      </a:lnTo>
                      <a:lnTo>
                        <a:pt x="14" y="139"/>
                      </a:lnTo>
                      <a:lnTo>
                        <a:pt x="19" y="137"/>
                      </a:lnTo>
                      <a:lnTo>
                        <a:pt x="22" y="136"/>
                      </a:lnTo>
                      <a:lnTo>
                        <a:pt x="26" y="135"/>
                      </a:lnTo>
                      <a:lnTo>
                        <a:pt x="27" y="135"/>
                      </a:lnTo>
                      <a:lnTo>
                        <a:pt x="31" y="134"/>
                      </a:lnTo>
                      <a:lnTo>
                        <a:pt x="34" y="134"/>
                      </a:lnTo>
                      <a:lnTo>
                        <a:pt x="38" y="133"/>
                      </a:lnTo>
                      <a:lnTo>
                        <a:pt x="40" y="132"/>
                      </a:lnTo>
                      <a:lnTo>
                        <a:pt x="43" y="130"/>
                      </a:lnTo>
                      <a:lnTo>
                        <a:pt x="46" y="129"/>
                      </a:lnTo>
                      <a:lnTo>
                        <a:pt x="50" y="127"/>
                      </a:lnTo>
                      <a:lnTo>
                        <a:pt x="54" y="126"/>
                      </a:lnTo>
                      <a:lnTo>
                        <a:pt x="57" y="125"/>
                      </a:lnTo>
                      <a:lnTo>
                        <a:pt x="60" y="123"/>
                      </a:lnTo>
                      <a:lnTo>
                        <a:pt x="61" y="123"/>
                      </a:lnTo>
                      <a:lnTo>
                        <a:pt x="63" y="123"/>
                      </a:lnTo>
                      <a:lnTo>
                        <a:pt x="67" y="122"/>
                      </a:lnTo>
                      <a:lnTo>
                        <a:pt x="69" y="121"/>
                      </a:lnTo>
                      <a:lnTo>
                        <a:pt x="75" y="120"/>
                      </a:lnTo>
                      <a:lnTo>
                        <a:pt x="79" y="118"/>
                      </a:lnTo>
                      <a:lnTo>
                        <a:pt x="85" y="115"/>
                      </a:lnTo>
                      <a:lnTo>
                        <a:pt x="89" y="114"/>
                      </a:lnTo>
                      <a:lnTo>
                        <a:pt x="92" y="114"/>
                      </a:lnTo>
                      <a:lnTo>
                        <a:pt x="95" y="113"/>
                      </a:lnTo>
                      <a:lnTo>
                        <a:pt x="96" y="114"/>
                      </a:lnTo>
                      <a:lnTo>
                        <a:pt x="97" y="114"/>
                      </a:lnTo>
                      <a:lnTo>
                        <a:pt x="97" y="115"/>
                      </a:lnTo>
                      <a:lnTo>
                        <a:pt x="97" y="116"/>
                      </a:lnTo>
                      <a:lnTo>
                        <a:pt x="97" y="118"/>
                      </a:lnTo>
                      <a:lnTo>
                        <a:pt x="98" y="119"/>
                      </a:lnTo>
                      <a:lnTo>
                        <a:pt x="98" y="120"/>
                      </a:lnTo>
                      <a:lnTo>
                        <a:pt x="99" y="120"/>
                      </a:lnTo>
                      <a:lnTo>
                        <a:pt x="99" y="121"/>
                      </a:lnTo>
                      <a:lnTo>
                        <a:pt x="100" y="121"/>
                      </a:lnTo>
                      <a:lnTo>
                        <a:pt x="102" y="125"/>
                      </a:lnTo>
                      <a:lnTo>
                        <a:pt x="102" y="126"/>
                      </a:lnTo>
                      <a:lnTo>
                        <a:pt x="103" y="126"/>
                      </a:lnTo>
                      <a:lnTo>
                        <a:pt x="104" y="126"/>
                      </a:lnTo>
                      <a:lnTo>
                        <a:pt x="104" y="127"/>
                      </a:lnTo>
                      <a:lnTo>
                        <a:pt x="105" y="127"/>
                      </a:lnTo>
                      <a:lnTo>
                        <a:pt x="105" y="128"/>
                      </a:lnTo>
                      <a:lnTo>
                        <a:pt x="106" y="128"/>
                      </a:lnTo>
                      <a:lnTo>
                        <a:pt x="106" y="129"/>
                      </a:lnTo>
                      <a:lnTo>
                        <a:pt x="107" y="130"/>
                      </a:lnTo>
                      <a:lnTo>
                        <a:pt x="107" y="132"/>
                      </a:lnTo>
                      <a:lnTo>
                        <a:pt x="109" y="132"/>
                      </a:lnTo>
                      <a:lnTo>
                        <a:pt x="109" y="130"/>
                      </a:lnTo>
                      <a:lnTo>
                        <a:pt x="109" y="129"/>
                      </a:lnTo>
                      <a:lnTo>
                        <a:pt x="110" y="128"/>
                      </a:lnTo>
                      <a:lnTo>
                        <a:pt x="112" y="129"/>
                      </a:lnTo>
                      <a:lnTo>
                        <a:pt x="113" y="129"/>
                      </a:lnTo>
                      <a:lnTo>
                        <a:pt x="116" y="128"/>
                      </a:lnTo>
                      <a:lnTo>
                        <a:pt x="117" y="128"/>
                      </a:lnTo>
                      <a:lnTo>
                        <a:pt x="118" y="128"/>
                      </a:lnTo>
                      <a:lnTo>
                        <a:pt x="120" y="128"/>
                      </a:lnTo>
                      <a:lnTo>
                        <a:pt x="121" y="128"/>
                      </a:lnTo>
                      <a:lnTo>
                        <a:pt x="121" y="127"/>
                      </a:lnTo>
                      <a:lnTo>
                        <a:pt x="123" y="127"/>
                      </a:lnTo>
                      <a:lnTo>
                        <a:pt x="125" y="127"/>
                      </a:lnTo>
                      <a:lnTo>
                        <a:pt x="128" y="126"/>
                      </a:lnTo>
                      <a:lnTo>
                        <a:pt x="130" y="126"/>
                      </a:lnTo>
                      <a:lnTo>
                        <a:pt x="130" y="125"/>
                      </a:lnTo>
                      <a:lnTo>
                        <a:pt x="131" y="126"/>
                      </a:lnTo>
                      <a:lnTo>
                        <a:pt x="132" y="127"/>
                      </a:lnTo>
                      <a:lnTo>
                        <a:pt x="133" y="128"/>
                      </a:lnTo>
                      <a:lnTo>
                        <a:pt x="133" y="129"/>
                      </a:lnTo>
                      <a:lnTo>
                        <a:pt x="135" y="132"/>
                      </a:lnTo>
                      <a:lnTo>
                        <a:pt x="135" y="133"/>
                      </a:lnTo>
                      <a:lnTo>
                        <a:pt x="135" y="135"/>
                      </a:lnTo>
                      <a:lnTo>
                        <a:pt x="135" y="136"/>
                      </a:lnTo>
                      <a:lnTo>
                        <a:pt x="135" y="137"/>
                      </a:lnTo>
                      <a:lnTo>
                        <a:pt x="137" y="139"/>
                      </a:lnTo>
                      <a:lnTo>
                        <a:pt x="137" y="140"/>
                      </a:lnTo>
                      <a:lnTo>
                        <a:pt x="137" y="142"/>
                      </a:lnTo>
                      <a:lnTo>
                        <a:pt x="137" y="143"/>
                      </a:lnTo>
                      <a:lnTo>
                        <a:pt x="138" y="143"/>
                      </a:lnTo>
                      <a:lnTo>
                        <a:pt x="138" y="144"/>
                      </a:lnTo>
                      <a:lnTo>
                        <a:pt x="137" y="146"/>
                      </a:lnTo>
                      <a:lnTo>
                        <a:pt x="137" y="147"/>
                      </a:lnTo>
                      <a:lnTo>
                        <a:pt x="137" y="148"/>
                      </a:lnTo>
                      <a:lnTo>
                        <a:pt x="137" y="149"/>
                      </a:lnTo>
                      <a:lnTo>
                        <a:pt x="137" y="151"/>
                      </a:lnTo>
                      <a:lnTo>
                        <a:pt x="137" y="154"/>
                      </a:lnTo>
                      <a:lnTo>
                        <a:pt x="137" y="155"/>
                      </a:lnTo>
                      <a:lnTo>
                        <a:pt x="135" y="156"/>
                      </a:lnTo>
                      <a:lnTo>
                        <a:pt x="134" y="156"/>
                      </a:lnTo>
                      <a:lnTo>
                        <a:pt x="134" y="157"/>
                      </a:lnTo>
                      <a:lnTo>
                        <a:pt x="134" y="158"/>
                      </a:lnTo>
                      <a:lnTo>
                        <a:pt x="133" y="158"/>
                      </a:lnTo>
                      <a:lnTo>
                        <a:pt x="133" y="160"/>
                      </a:lnTo>
                      <a:lnTo>
                        <a:pt x="132" y="160"/>
                      </a:lnTo>
                      <a:lnTo>
                        <a:pt x="132" y="161"/>
                      </a:lnTo>
                      <a:lnTo>
                        <a:pt x="132" y="162"/>
                      </a:lnTo>
                      <a:lnTo>
                        <a:pt x="132" y="163"/>
                      </a:lnTo>
                      <a:lnTo>
                        <a:pt x="132" y="164"/>
                      </a:lnTo>
                      <a:lnTo>
                        <a:pt x="132" y="165"/>
                      </a:lnTo>
                      <a:lnTo>
                        <a:pt x="130" y="169"/>
                      </a:lnTo>
                      <a:lnTo>
                        <a:pt x="128" y="169"/>
                      </a:lnTo>
                      <a:lnTo>
                        <a:pt x="127" y="170"/>
                      </a:lnTo>
                      <a:lnTo>
                        <a:pt x="126" y="171"/>
                      </a:lnTo>
                      <a:lnTo>
                        <a:pt x="126" y="172"/>
                      </a:lnTo>
                      <a:lnTo>
                        <a:pt x="126" y="174"/>
                      </a:lnTo>
                      <a:lnTo>
                        <a:pt x="126" y="175"/>
                      </a:lnTo>
                      <a:lnTo>
                        <a:pt x="127" y="175"/>
                      </a:lnTo>
                      <a:lnTo>
                        <a:pt x="128" y="176"/>
                      </a:lnTo>
                      <a:lnTo>
                        <a:pt x="131" y="178"/>
                      </a:lnTo>
                      <a:lnTo>
                        <a:pt x="132" y="179"/>
                      </a:lnTo>
                      <a:lnTo>
                        <a:pt x="132" y="181"/>
                      </a:lnTo>
                      <a:lnTo>
                        <a:pt x="131" y="182"/>
                      </a:lnTo>
                      <a:lnTo>
                        <a:pt x="131" y="183"/>
                      </a:lnTo>
                      <a:lnTo>
                        <a:pt x="132" y="186"/>
                      </a:lnTo>
                      <a:lnTo>
                        <a:pt x="133" y="186"/>
                      </a:lnTo>
                      <a:lnTo>
                        <a:pt x="134" y="186"/>
                      </a:lnTo>
                      <a:lnTo>
                        <a:pt x="135" y="188"/>
                      </a:lnTo>
                      <a:lnTo>
                        <a:pt x="137" y="188"/>
                      </a:lnTo>
                      <a:lnTo>
                        <a:pt x="137" y="190"/>
                      </a:lnTo>
                      <a:lnTo>
                        <a:pt x="138" y="191"/>
                      </a:lnTo>
                      <a:lnTo>
                        <a:pt x="139" y="192"/>
                      </a:lnTo>
                      <a:lnTo>
                        <a:pt x="139" y="193"/>
                      </a:lnTo>
                      <a:lnTo>
                        <a:pt x="140" y="193"/>
                      </a:lnTo>
                      <a:lnTo>
                        <a:pt x="142" y="195"/>
                      </a:lnTo>
                      <a:lnTo>
                        <a:pt x="142" y="196"/>
                      </a:lnTo>
                      <a:lnTo>
                        <a:pt x="143" y="197"/>
                      </a:lnTo>
                      <a:lnTo>
                        <a:pt x="145" y="198"/>
                      </a:lnTo>
                      <a:lnTo>
                        <a:pt x="145" y="199"/>
                      </a:lnTo>
                      <a:lnTo>
                        <a:pt x="146" y="199"/>
                      </a:lnTo>
                      <a:lnTo>
                        <a:pt x="146" y="200"/>
                      </a:lnTo>
                      <a:lnTo>
                        <a:pt x="147" y="200"/>
                      </a:lnTo>
                      <a:lnTo>
                        <a:pt x="147" y="202"/>
                      </a:lnTo>
                      <a:lnTo>
                        <a:pt x="148" y="202"/>
                      </a:lnTo>
                      <a:lnTo>
                        <a:pt x="149" y="203"/>
                      </a:lnTo>
                      <a:lnTo>
                        <a:pt x="150" y="204"/>
                      </a:lnTo>
                      <a:lnTo>
                        <a:pt x="152" y="204"/>
                      </a:lnTo>
                      <a:lnTo>
                        <a:pt x="153" y="204"/>
                      </a:lnTo>
                      <a:lnTo>
                        <a:pt x="154" y="205"/>
                      </a:lnTo>
                      <a:lnTo>
                        <a:pt x="154" y="206"/>
                      </a:lnTo>
                      <a:lnTo>
                        <a:pt x="154" y="207"/>
                      </a:lnTo>
                      <a:lnTo>
                        <a:pt x="154" y="209"/>
                      </a:lnTo>
                      <a:lnTo>
                        <a:pt x="153" y="210"/>
                      </a:lnTo>
                      <a:lnTo>
                        <a:pt x="152" y="210"/>
                      </a:lnTo>
                      <a:lnTo>
                        <a:pt x="152" y="211"/>
                      </a:lnTo>
                      <a:lnTo>
                        <a:pt x="153" y="213"/>
                      </a:lnTo>
                      <a:lnTo>
                        <a:pt x="152" y="213"/>
                      </a:lnTo>
                      <a:lnTo>
                        <a:pt x="153" y="214"/>
                      </a:lnTo>
                      <a:lnTo>
                        <a:pt x="154" y="214"/>
                      </a:lnTo>
                      <a:lnTo>
                        <a:pt x="157" y="214"/>
                      </a:lnTo>
                      <a:lnTo>
                        <a:pt x="160" y="214"/>
                      </a:lnTo>
                      <a:lnTo>
                        <a:pt x="160" y="213"/>
                      </a:lnTo>
                      <a:lnTo>
                        <a:pt x="160" y="212"/>
                      </a:lnTo>
                      <a:lnTo>
                        <a:pt x="160" y="211"/>
                      </a:lnTo>
                      <a:lnTo>
                        <a:pt x="160" y="210"/>
                      </a:lnTo>
                      <a:lnTo>
                        <a:pt x="159" y="209"/>
                      </a:lnTo>
                      <a:lnTo>
                        <a:pt x="159" y="207"/>
                      </a:lnTo>
                      <a:lnTo>
                        <a:pt x="159" y="206"/>
                      </a:lnTo>
                      <a:lnTo>
                        <a:pt x="160" y="205"/>
                      </a:lnTo>
                      <a:lnTo>
                        <a:pt x="160" y="204"/>
                      </a:lnTo>
                      <a:lnTo>
                        <a:pt x="159" y="203"/>
                      </a:lnTo>
                      <a:lnTo>
                        <a:pt x="159" y="200"/>
                      </a:lnTo>
                      <a:lnTo>
                        <a:pt x="159" y="199"/>
                      </a:lnTo>
                      <a:lnTo>
                        <a:pt x="157" y="199"/>
                      </a:lnTo>
                      <a:lnTo>
                        <a:pt x="157" y="198"/>
                      </a:lnTo>
                      <a:lnTo>
                        <a:pt x="156" y="198"/>
                      </a:lnTo>
                      <a:lnTo>
                        <a:pt x="155" y="198"/>
                      </a:lnTo>
                      <a:lnTo>
                        <a:pt x="155" y="197"/>
                      </a:lnTo>
                      <a:lnTo>
                        <a:pt x="154" y="195"/>
                      </a:lnTo>
                      <a:lnTo>
                        <a:pt x="155" y="195"/>
                      </a:lnTo>
                      <a:lnTo>
                        <a:pt x="157" y="193"/>
                      </a:lnTo>
                      <a:lnTo>
                        <a:pt x="157" y="192"/>
                      </a:lnTo>
                      <a:lnTo>
                        <a:pt x="157" y="191"/>
                      </a:lnTo>
                      <a:lnTo>
                        <a:pt x="157" y="190"/>
                      </a:lnTo>
                      <a:lnTo>
                        <a:pt x="159" y="190"/>
                      </a:lnTo>
                      <a:lnTo>
                        <a:pt x="159" y="189"/>
                      </a:lnTo>
                      <a:lnTo>
                        <a:pt x="159" y="188"/>
                      </a:lnTo>
                      <a:lnTo>
                        <a:pt x="159" y="186"/>
                      </a:lnTo>
                      <a:lnTo>
                        <a:pt x="159" y="185"/>
                      </a:lnTo>
                      <a:lnTo>
                        <a:pt x="160" y="184"/>
                      </a:lnTo>
                      <a:lnTo>
                        <a:pt x="162" y="182"/>
                      </a:lnTo>
                      <a:lnTo>
                        <a:pt x="163" y="182"/>
                      </a:lnTo>
                      <a:lnTo>
                        <a:pt x="164" y="182"/>
                      </a:lnTo>
                      <a:lnTo>
                        <a:pt x="166" y="182"/>
                      </a:lnTo>
                      <a:lnTo>
                        <a:pt x="166" y="183"/>
                      </a:lnTo>
                      <a:lnTo>
                        <a:pt x="167" y="183"/>
                      </a:lnTo>
                      <a:lnTo>
                        <a:pt x="167" y="182"/>
                      </a:lnTo>
                      <a:lnTo>
                        <a:pt x="168" y="182"/>
                      </a:lnTo>
                      <a:lnTo>
                        <a:pt x="170" y="181"/>
                      </a:lnTo>
                      <a:lnTo>
                        <a:pt x="171" y="181"/>
                      </a:lnTo>
                      <a:lnTo>
                        <a:pt x="171" y="182"/>
                      </a:lnTo>
                      <a:lnTo>
                        <a:pt x="171" y="181"/>
                      </a:lnTo>
                      <a:lnTo>
                        <a:pt x="173" y="181"/>
                      </a:lnTo>
                      <a:lnTo>
                        <a:pt x="175" y="179"/>
                      </a:lnTo>
                      <a:lnTo>
                        <a:pt x="175" y="178"/>
                      </a:lnTo>
                      <a:lnTo>
                        <a:pt x="175" y="177"/>
                      </a:lnTo>
                      <a:lnTo>
                        <a:pt x="175" y="176"/>
                      </a:lnTo>
                      <a:lnTo>
                        <a:pt x="175" y="175"/>
                      </a:lnTo>
                      <a:lnTo>
                        <a:pt x="176" y="174"/>
                      </a:lnTo>
                      <a:lnTo>
                        <a:pt x="176" y="169"/>
                      </a:lnTo>
                      <a:lnTo>
                        <a:pt x="176" y="167"/>
                      </a:lnTo>
                      <a:lnTo>
                        <a:pt x="176" y="162"/>
                      </a:lnTo>
                      <a:lnTo>
                        <a:pt x="177" y="160"/>
                      </a:lnTo>
                      <a:lnTo>
                        <a:pt x="177" y="158"/>
                      </a:lnTo>
                      <a:lnTo>
                        <a:pt x="176" y="155"/>
                      </a:lnTo>
                      <a:lnTo>
                        <a:pt x="175" y="151"/>
                      </a:lnTo>
                      <a:lnTo>
                        <a:pt x="175" y="150"/>
                      </a:lnTo>
                      <a:lnTo>
                        <a:pt x="177" y="147"/>
                      </a:lnTo>
                      <a:lnTo>
                        <a:pt x="177" y="144"/>
                      </a:lnTo>
                      <a:lnTo>
                        <a:pt x="178" y="141"/>
                      </a:lnTo>
                      <a:lnTo>
                        <a:pt x="177" y="141"/>
                      </a:lnTo>
                      <a:lnTo>
                        <a:pt x="177" y="134"/>
                      </a:lnTo>
                      <a:lnTo>
                        <a:pt x="177" y="133"/>
                      </a:lnTo>
                      <a:lnTo>
                        <a:pt x="175" y="132"/>
                      </a:lnTo>
                      <a:lnTo>
                        <a:pt x="174" y="130"/>
                      </a:lnTo>
                      <a:lnTo>
                        <a:pt x="173" y="129"/>
                      </a:lnTo>
                      <a:lnTo>
                        <a:pt x="170" y="125"/>
                      </a:lnTo>
                      <a:lnTo>
                        <a:pt x="167" y="121"/>
                      </a:lnTo>
                      <a:lnTo>
                        <a:pt x="164" y="118"/>
                      </a:lnTo>
                      <a:lnTo>
                        <a:pt x="162" y="114"/>
                      </a:lnTo>
                      <a:lnTo>
                        <a:pt x="160" y="111"/>
                      </a:lnTo>
                      <a:lnTo>
                        <a:pt x="156" y="106"/>
                      </a:lnTo>
                      <a:lnTo>
                        <a:pt x="153" y="102"/>
                      </a:lnTo>
                      <a:lnTo>
                        <a:pt x="150" y="100"/>
                      </a:lnTo>
                      <a:lnTo>
                        <a:pt x="147" y="98"/>
                      </a:lnTo>
                      <a:lnTo>
                        <a:pt x="146" y="97"/>
                      </a:lnTo>
                      <a:lnTo>
                        <a:pt x="147" y="97"/>
                      </a:lnTo>
                      <a:lnTo>
                        <a:pt x="147" y="95"/>
                      </a:lnTo>
                      <a:lnTo>
                        <a:pt x="146" y="93"/>
                      </a:lnTo>
                      <a:lnTo>
                        <a:pt x="146" y="92"/>
                      </a:lnTo>
                      <a:lnTo>
                        <a:pt x="145" y="92"/>
                      </a:lnTo>
                      <a:lnTo>
                        <a:pt x="145" y="91"/>
                      </a:lnTo>
                      <a:lnTo>
                        <a:pt x="145" y="90"/>
                      </a:lnTo>
                      <a:lnTo>
                        <a:pt x="145" y="88"/>
                      </a:lnTo>
                      <a:lnTo>
                        <a:pt x="145" y="87"/>
                      </a:lnTo>
                      <a:lnTo>
                        <a:pt x="145" y="86"/>
                      </a:lnTo>
                      <a:lnTo>
                        <a:pt x="145" y="85"/>
                      </a:lnTo>
                      <a:lnTo>
                        <a:pt x="145" y="84"/>
                      </a:lnTo>
                      <a:lnTo>
                        <a:pt x="145" y="83"/>
                      </a:lnTo>
                      <a:lnTo>
                        <a:pt x="145" y="81"/>
                      </a:lnTo>
                      <a:lnTo>
                        <a:pt x="143" y="79"/>
                      </a:lnTo>
                      <a:lnTo>
                        <a:pt x="143" y="78"/>
                      </a:lnTo>
                      <a:lnTo>
                        <a:pt x="143" y="77"/>
                      </a:lnTo>
                      <a:lnTo>
                        <a:pt x="143" y="76"/>
                      </a:lnTo>
                      <a:lnTo>
                        <a:pt x="143" y="73"/>
                      </a:lnTo>
                      <a:lnTo>
                        <a:pt x="145" y="73"/>
                      </a:lnTo>
                      <a:lnTo>
                        <a:pt x="145" y="72"/>
                      </a:lnTo>
                      <a:lnTo>
                        <a:pt x="146" y="71"/>
                      </a:lnTo>
                      <a:lnTo>
                        <a:pt x="145" y="71"/>
                      </a:lnTo>
                      <a:lnTo>
                        <a:pt x="145" y="69"/>
                      </a:lnTo>
                      <a:lnTo>
                        <a:pt x="143" y="67"/>
                      </a:lnTo>
                      <a:lnTo>
                        <a:pt x="143" y="66"/>
                      </a:lnTo>
                      <a:lnTo>
                        <a:pt x="143" y="65"/>
                      </a:lnTo>
                      <a:lnTo>
                        <a:pt x="142" y="64"/>
                      </a:lnTo>
                      <a:lnTo>
                        <a:pt x="141" y="63"/>
                      </a:lnTo>
                      <a:lnTo>
                        <a:pt x="141" y="62"/>
                      </a:lnTo>
                      <a:lnTo>
                        <a:pt x="141" y="60"/>
                      </a:lnTo>
                      <a:lnTo>
                        <a:pt x="141" y="58"/>
                      </a:lnTo>
                      <a:lnTo>
                        <a:pt x="142" y="57"/>
                      </a:lnTo>
                      <a:lnTo>
                        <a:pt x="142" y="56"/>
                      </a:lnTo>
                      <a:lnTo>
                        <a:pt x="141" y="55"/>
                      </a:lnTo>
                      <a:lnTo>
                        <a:pt x="142" y="53"/>
                      </a:lnTo>
                      <a:lnTo>
                        <a:pt x="143" y="52"/>
                      </a:lnTo>
                      <a:lnTo>
                        <a:pt x="145" y="51"/>
                      </a:lnTo>
                      <a:lnTo>
                        <a:pt x="145" y="50"/>
                      </a:lnTo>
                      <a:lnTo>
                        <a:pt x="146" y="50"/>
                      </a:lnTo>
                      <a:lnTo>
                        <a:pt x="147" y="50"/>
                      </a:lnTo>
                      <a:lnTo>
                        <a:pt x="147" y="49"/>
                      </a:lnTo>
                      <a:lnTo>
                        <a:pt x="148" y="45"/>
                      </a:lnTo>
                      <a:lnTo>
                        <a:pt x="149" y="42"/>
                      </a:lnTo>
                      <a:lnTo>
                        <a:pt x="149" y="39"/>
                      </a:lnTo>
                      <a:lnTo>
                        <a:pt x="149" y="37"/>
                      </a:lnTo>
                      <a:lnTo>
                        <a:pt x="149" y="35"/>
                      </a:lnTo>
                      <a:lnTo>
                        <a:pt x="163" y="35"/>
                      </a:lnTo>
                      <a:lnTo>
                        <a:pt x="164" y="35"/>
                      </a:lnTo>
                      <a:lnTo>
                        <a:pt x="166" y="35"/>
                      </a:lnTo>
                      <a:lnTo>
                        <a:pt x="167" y="35"/>
                      </a:lnTo>
                      <a:lnTo>
                        <a:pt x="167" y="36"/>
                      </a:lnTo>
                      <a:lnTo>
                        <a:pt x="168" y="36"/>
                      </a:lnTo>
                      <a:lnTo>
                        <a:pt x="168" y="35"/>
                      </a:lnTo>
                      <a:lnTo>
                        <a:pt x="169" y="36"/>
                      </a:lnTo>
                      <a:lnTo>
                        <a:pt x="170" y="35"/>
                      </a:lnTo>
                      <a:lnTo>
                        <a:pt x="171" y="35"/>
                      </a:lnTo>
                      <a:lnTo>
                        <a:pt x="173" y="34"/>
                      </a:lnTo>
                      <a:lnTo>
                        <a:pt x="173" y="32"/>
                      </a:lnTo>
                      <a:lnTo>
                        <a:pt x="174" y="31"/>
                      </a:lnTo>
                      <a:lnTo>
                        <a:pt x="175" y="31"/>
                      </a:lnTo>
                      <a:lnTo>
                        <a:pt x="176" y="31"/>
                      </a:lnTo>
                      <a:lnTo>
                        <a:pt x="176" y="30"/>
                      </a:lnTo>
                      <a:lnTo>
                        <a:pt x="177" y="30"/>
                      </a:lnTo>
                      <a:lnTo>
                        <a:pt x="178" y="30"/>
                      </a:lnTo>
                      <a:lnTo>
                        <a:pt x="180" y="30"/>
                      </a:lnTo>
                      <a:lnTo>
                        <a:pt x="181" y="30"/>
                      </a:lnTo>
                      <a:lnTo>
                        <a:pt x="182" y="31"/>
                      </a:lnTo>
                      <a:lnTo>
                        <a:pt x="181" y="31"/>
                      </a:lnTo>
                      <a:lnTo>
                        <a:pt x="182" y="32"/>
                      </a:lnTo>
                      <a:lnTo>
                        <a:pt x="183" y="32"/>
                      </a:lnTo>
                      <a:lnTo>
                        <a:pt x="184" y="32"/>
                      </a:lnTo>
                      <a:lnTo>
                        <a:pt x="185" y="34"/>
                      </a:lnTo>
                      <a:lnTo>
                        <a:pt x="187" y="34"/>
                      </a:lnTo>
                      <a:lnTo>
                        <a:pt x="187" y="35"/>
                      </a:lnTo>
                      <a:lnTo>
                        <a:pt x="188" y="35"/>
                      </a:lnTo>
                      <a:lnTo>
                        <a:pt x="188" y="36"/>
                      </a:lnTo>
                      <a:lnTo>
                        <a:pt x="188" y="37"/>
                      </a:lnTo>
                      <a:lnTo>
                        <a:pt x="188" y="38"/>
                      </a:lnTo>
                      <a:lnTo>
                        <a:pt x="189" y="38"/>
                      </a:lnTo>
                      <a:lnTo>
                        <a:pt x="190" y="38"/>
                      </a:lnTo>
                      <a:lnTo>
                        <a:pt x="191" y="39"/>
                      </a:lnTo>
                      <a:lnTo>
                        <a:pt x="192" y="38"/>
                      </a:lnTo>
                      <a:lnTo>
                        <a:pt x="194" y="38"/>
                      </a:lnTo>
                      <a:lnTo>
                        <a:pt x="195" y="38"/>
                      </a:lnTo>
                      <a:lnTo>
                        <a:pt x="198" y="38"/>
                      </a:lnTo>
                      <a:lnTo>
                        <a:pt x="198" y="39"/>
                      </a:lnTo>
                      <a:lnTo>
                        <a:pt x="199" y="39"/>
                      </a:lnTo>
                      <a:lnTo>
                        <a:pt x="201" y="39"/>
                      </a:lnTo>
                      <a:lnTo>
                        <a:pt x="202" y="39"/>
                      </a:lnTo>
                      <a:lnTo>
                        <a:pt x="203" y="39"/>
                      </a:lnTo>
                      <a:lnTo>
                        <a:pt x="204" y="39"/>
                      </a:lnTo>
                      <a:lnTo>
                        <a:pt x="204" y="38"/>
                      </a:lnTo>
                      <a:lnTo>
                        <a:pt x="205" y="38"/>
                      </a:lnTo>
                      <a:lnTo>
                        <a:pt x="206" y="38"/>
                      </a:lnTo>
                      <a:lnTo>
                        <a:pt x="206" y="36"/>
                      </a:lnTo>
                      <a:lnTo>
                        <a:pt x="209" y="35"/>
                      </a:lnTo>
                      <a:lnTo>
                        <a:pt x="210" y="35"/>
                      </a:lnTo>
                      <a:lnTo>
                        <a:pt x="211" y="36"/>
                      </a:lnTo>
                      <a:lnTo>
                        <a:pt x="213" y="35"/>
                      </a:lnTo>
                      <a:lnTo>
                        <a:pt x="214" y="35"/>
                      </a:lnTo>
                      <a:lnTo>
                        <a:pt x="216" y="36"/>
                      </a:lnTo>
                      <a:lnTo>
                        <a:pt x="216" y="37"/>
                      </a:lnTo>
                      <a:lnTo>
                        <a:pt x="217" y="37"/>
                      </a:lnTo>
                      <a:lnTo>
                        <a:pt x="218" y="38"/>
                      </a:lnTo>
                      <a:lnTo>
                        <a:pt x="221" y="38"/>
                      </a:lnTo>
                      <a:lnTo>
                        <a:pt x="223" y="39"/>
                      </a:lnTo>
                      <a:lnTo>
                        <a:pt x="224" y="38"/>
                      </a:lnTo>
                      <a:lnTo>
                        <a:pt x="225" y="38"/>
                      </a:lnTo>
                      <a:lnTo>
                        <a:pt x="226" y="39"/>
                      </a:lnTo>
                      <a:lnTo>
                        <a:pt x="227" y="39"/>
                      </a:lnTo>
                      <a:lnTo>
                        <a:pt x="228" y="39"/>
                      </a:lnTo>
                      <a:lnTo>
                        <a:pt x="230" y="39"/>
                      </a:lnTo>
                      <a:lnTo>
                        <a:pt x="230" y="38"/>
                      </a:lnTo>
                      <a:lnTo>
                        <a:pt x="231" y="38"/>
                      </a:lnTo>
                      <a:lnTo>
                        <a:pt x="232" y="37"/>
                      </a:lnTo>
                      <a:lnTo>
                        <a:pt x="233" y="37"/>
                      </a:lnTo>
                      <a:lnTo>
                        <a:pt x="234" y="37"/>
                      </a:lnTo>
                      <a:lnTo>
                        <a:pt x="235" y="37"/>
                      </a:lnTo>
                      <a:lnTo>
                        <a:pt x="237" y="36"/>
                      </a:lnTo>
                      <a:lnTo>
                        <a:pt x="239" y="35"/>
                      </a:lnTo>
                      <a:lnTo>
                        <a:pt x="239" y="34"/>
                      </a:lnTo>
                      <a:lnTo>
                        <a:pt x="240" y="34"/>
                      </a:lnTo>
                      <a:lnTo>
                        <a:pt x="240" y="32"/>
                      </a:lnTo>
                      <a:lnTo>
                        <a:pt x="240" y="31"/>
                      </a:lnTo>
                      <a:lnTo>
                        <a:pt x="240" y="30"/>
                      </a:lnTo>
                      <a:lnTo>
                        <a:pt x="240" y="29"/>
                      </a:lnTo>
                      <a:lnTo>
                        <a:pt x="241" y="29"/>
                      </a:lnTo>
                      <a:lnTo>
                        <a:pt x="241" y="28"/>
                      </a:lnTo>
                      <a:lnTo>
                        <a:pt x="241" y="27"/>
                      </a:lnTo>
                      <a:lnTo>
                        <a:pt x="244" y="25"/>
                      </a:lnTo>
                      <a:lnTo>
                        <a:pt x="246" y="25"/>
                      </a:lnTo>
                      <a:lnTo>
                        <a:pt x="248" y="25"/>
                      </a:lnTo>
                      <a:lnTo>
                        <a:pt x="248" y="24"/>
                      </a:lnTo>
                      <a:lnTo>
                        <a:pt x="249" y="24"/>
                      </a:lnTo>
                      <a:lnTo>
                        <a:pt x="249" y="25"/>
                      </a:lnTo>
                      <a:lnTo>
                        <a:pt x="251" y="25"/>
                      </a:lnTo>
                      <a:lnTo>
                        <a:pt x="252" y="25"/>
                      </a:lnTo>
                      <a:lnTo>
                        <a:pt x="254" y="25"/>
                      </a:lnTo>
                      <a:lnTo>
                        <a:pt x="255" y="27"/>
                      </a:lnTo>
                      <a:lnTo>
                        <a:pt x="256" y="28"/>
                      </a:lnTo>
                      <a:lnTo>
                        <a:pt x="258" y="29"/>
                      </a:lnTo>
                      <a:lnTo>
                        <a:pt x="260" y="29"/>
                      </a:lnTo>
                      <a:lnTo>
                        <a:pt x="261" y="30"/>
                      </a:lnTo>
                      <a:lnTo>
                        <a:pt x="262" y="29"/>
                      </a:lnTo>
                      <a:lnTo>
                        <a:pt x="265" y="27"/>
                      </a:lnTo>
                      <a:lnTo>
                        <a:pt x="266" y="27"/>
                      </a:lnTo>
                      <a:lnTo>
                        <a:pt x="266" y="25"/>
                      </a:lnTo>
                      <a:lnTo>
                        <a:pt x="267" y="25"/>
                      </a:lnTo>
                      <a:lnTo>
                        <a:pt x="268" y="25"/>
                      </a:lnTo>
                      <a:lnTo>
                        <a:pt x="269" y="25"/>
                      </a:lnTo>
                      <a:lnTo>
                        <a:pt x="270" y="25"/>
                      </a:lnTo>
                      <a:lnTo>
                        <a:pt x="271" y="24"/>
                      </a:lnTo>
                      <a:lnTo>
                        <a:pt x="271" y="23"/>
                      </a:lnTo>
                      <a:lnTo>
                        <a:pt x="273" y="23"/>
                      </a:lnTo>
                      <a:lnTo>
                        <a:pt x="274" y="22"/>
                      </a:lnTo>
                      <a:lnTo>
                        <a:pt x="275" y="22"/>
                      </a:lnTo>
                      <a:lnTo>
                        <a:pt x="278" y="22"/>
                      </a:lnTo>
                      <a:lnTo>
                        <a:pt x="280" y="22"/>
                      </a:lnTo>
                      <a:lnTo>
                        <a:pt x="281" y="22"/>
                      </a:lnTo>
                      <a:lnTo>
                        <a:pt x="282" y="22"/>
                      </a:lnTo>
                      <a:lnTo>
                        <a:pt x="283" y="22"/>
                      </a:lnTo>
                      <a:lnTo>
                        <a:pt x="284" y="22"/>
                      </a:lnTo>
                      <a:lnTo>
                        <a:pt x="285" y="22"/>
                      </a:lnTo>
                      <a:lnTo>
                        <a:pt x="292" y="17"/>
                      </a:lnTo>
                      <a:lnTo>
                        <a:pt x="294" y="16"/>
                      </a:lnTo>
                      <a:lnTo>
                        <a:pt x="296" y="16"/>
                      </a:lnTo>
                      <a:lnTo>
                        <a:pt x="301" y="15"/>
                      </a:lnTo>
                      <a:lnTo>
                        <a:pt x="302" y="15"/>
                      </a:lnTo>
                      <a:lnTo>
                        <a:pt x="305" y="13"/>
                      </a:lnTo>
                      <a:lnTo>
                        <a:pt x="309" y="12"/>
                      </a:lnTo>
                      <a:lnTo>
                        <a:pt x="312" y="8"/>
                      </a:lnTo>
                      <a:lnTo>
                        <a:pt x="313" y="8"/>
                      </a:lnTo>
                      <a:lnTo>
                        <a:pt x="315" y="7"/>
                      </a:lnTo>
                      <a:lnTo>
                        <a:pt x="317" y="5"/>
                      </a:lnTo>
                      <a:lnTo>
                        <a:pt x="318" y="5"/>
                      </a:lnTo>
                      <a:lnTo>
                        <a:pt x="319" y="3"/>
                      </a:lnTo>
                      <a:lnTo>
                        <a:pt x="320" y="2"/>
                      </a:lnTo>
                      <a:lnTo>
                        <a:pt x="322" y="1"/>
                      </a:lnTo>
                      <a:lnTo>
                        <a:pt x="323" y="1"/>
                      </a:lnTo>
                      <a:lnTo>
                        <a:pt x="323" y="0"/>
                      </a:lnTo>
                      <a:lnTo>
                        <a:pt x="324" y="1"/>
                      </a:lnTo>
                      <a:lnTo>
                        <a:pt x="323" y="1"/>
                      </a:lnTo>
                      <a:close/>
                    </a:path>
                  </a:pathLst>
                </a:custGeom>
                <a:solidFill>
                  <a:srgbClr val="C8C8C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55" name="Freeform 104">
                  <a:extLst>
                    <a:ext uri="{FF2B5EF4-FFF2-40B4-BE49-F238E27FC236}">
                      <a16:creationId xmlns:a16="http://schemas.microsoft.com/office/drawing/2014/main" id="{9843F2C5-CCA6-70CD-BDA9-2F9202BF2424}"/>
                    </a:ext>
                  </a:extLst>
                </p:cNvPr>
                <p:cNvSpPr>
                  <a:spLocks noEditPoints="1"/>
                </p:cNvSpPr>
                <p:nvPr/>
              </p:nvSpPr>
              <p:spPr bwMode="auto">
                <a:xfrm>
                  <a:off x="7346528" y="4119890"/>
                  <a:ext cx="109255" cy="269352"/>
                </a:xfrm>
                <a:custGeom>
                  <a:avLst/>
                  <a:gdLst>
                    <a:gd name="T0" fmla="*/ 71 w 101"/>
                    <a:gd name="T1" fmla="*/ 64 h 249"/>
                    <a:gd name="T2" fmla="*/ 13 w 101"/>
                    <a:gd name="T3" fmla="*/ 1 h 249"/>
                    <a:gd name="T4" fmla="*/ 23 w 101"/>
                    <a:gd name="T5" fmla="*/ 5 h 249"/>
                    <a:gd name="T6" fmla="*/ 34 w 101"/>
                    <a:gd name="T7" fmla="*/ 6 h 249"/>
                    <a:gd name="T8" fmla="*/ 41 w 101"/>
                    <a:gd name="T9" fmla="*/ 16 h 249"/>
                    <a:gd name="T10" fmla="*/ 51 w 101"/>
                    <a:gd name="T11" fmla="*/ 34 h 249"/>
                    <a:gd name="T12" fmla="*/ 49 w 101"/>
                    <a:gd name="T13" fmla="*/ 41 h 249"/>
                    <a:gd name="T14" fmla="*/ 51 w 101"/>
                    <a:gd name="T15" fmla="*/ 63 h 249"/>
                    <a:gd name="T16" fmla="*/ 49 w 101"/>
                    <a:gd name="T17" fmla="*/ 77 h 249"/>
                    <a:gd name="T18" fmla="*/ 43 w 101"/>
                    <a:gd name="T19" fmla="*/ 87 h 249"/>
                    <a:gd name="T20" fmla="*/ 49 w 101"/>
                    <a:gd name="T21" fmla="*/ 100 h 249"/>
                    <a:gd name="T22" fmla="*/ 51 w 101"/>
                    <a:gd name="T23" fmla="*/ 111 h 249"/>
                    <a:gd name="T24" fmla="*/ 54 w 101"/>
                    <a:gd name="T25" fmla="*/ 123 h 249"/>
                    <a:gd name="T26" fmla="*/ 58 w 101"/>
                    <a:gd name="T27" fmla="*/ 134 h 249"/>
                    <a:gd name="T28" fmla="*/ 61 w 101"/>
                    <a:gd name="T29" fmla="*/ 144 h 249"/>
                    <a:gd name="T30" fmla="*/ 64 w 101"/>
                    <a:gd name="T31" fmla="*/ 155 h 249"/>
                    <a:gd name="T32" fmla="*/ 69 w 101"/>
                    <a:gd name="T33" fmla="*/ 149 h 249"/>
                    <a:gd name="T34" fmla="*/ 75 w 101"/>
                    <a:gd name="T35" fmla="*/ 153 h 249"/>
                    <a:gd name="T36" fmla="*/ 82 w 101"/>
                    <a:gd name="T37" fmla="*/ 160 h 249"/>
                    <a:gd name="T38" fmla="*/ 79 w 101"/>
                    <a:gd name="T39" fmla="*/ 148 h 249"/>
                    <a:gd name="T40" fmla="*/ 71 w 101"/>
                    <a:gd name="T41" fmla="*/ 139 h 249"/>
                    <a:gd name="T42" fmla="*/ 79 w 101"/>
                    <a:gd name="T43" fmla="*/ 141 h 249"/>
                    <a:gd name="T44" fmla="*/ 100 w 101"/>
                    <a:gd name="T45" fmla="*/ 169 h 249"/>
                    <a:gd name="T46" fmla="*/ 99 w 101"/>
                    <a:gd name="T47" fmla="*/ 197 h 249"/>
                    <a:gd name="T48" fmla="*/ 94 w 101"/>
                    <a:gd name="T49" fmla="*/ 216 h 249"/>
                    <a:gd name="T50" fmla="*/ 86 w 101"/>
                    <a:gd name="T51" fmla="*/ 217 h 249"/>
                    <a:gd name="T52" fmla="*/ 80 w 101"/>
                    <a:gd name="T53" fmla="*/ 227 h 249"/>
                    <a:gd name="T54" fmla="*/ 82 w 101"/>
                    <a:gd name="T55" fmla="*/ 235 h 249"/>
                    <a:gd name="T56" fmla="*/ 83 w 101"/>
                    <a:gd name="T57" fmla="*/ 248 h 249"/>
                    <a:gd name="T58" fmla="*/ 77 w 101"/>
                    <a:gd name="T59" fmla="*/ 244 h 249"/>
                    <a:gd name="T60" fmla="*/ 70 w 101"/>
                    <a:gd name="T61" fmla="*/ 235 h 249"/>
                    <a:gd name="T62" fmla="*/ 62 w 101"/>
                    <a:gd name="T63" fmla="*/ 227 h 249"/>
                    <a:gd name="T64" fmla="*/ 55 w 101"/>
                    <a:gd name="T65" fmla="*/ 216 h 249"/>
                    <a:gd name="T66" fmla="*/ 51 w 101"/>
                    <a:gd name="T67" fmla="*/ 204 h 249"/>
                    <a:gd name="T68" fmla="*/ 57 w 101"/>
                    <a:gd name="T69" fmla="*/ 193 h 249"/>
                    <a:gd name="T70" fmla="*/ 60 w 101"/>
                    <a:gd name="T71" fmla="*/ 181 h 249"/>
                    <a:gd name="T72" fmla="*/ 58 w 101"/>
                    <a:gd name="T73" fmla="*/ 168 h 249"/>
                    <a:gd name="T74" fmla="*/ 46 w 101"/>
                    <a:gd name="T75" fmla="*/ 162 h 249"/>
                    <a:gd name="T76" fmla="*/ 32 w 101"/>
                    <a:gd name="T77" fmla="*/ 164 h 249"/>
                    <a:gd name="T78" fmla="*/ 27 w 101"/>
                    <a:gd name="T79" fmla="*/ 161 h 249"/>
                    <a:gd name="T80" fmla="*/ 20 w 101"/>
                    <a:gd name="T81" fmla="*/ 151 h 249"/>
                    <a:gd name="T82" fmla="*/ 13 w 101"/>
                    <a:gd name="T83" fmla="*/ 147 h 249"/>
                    <a:gd name="T84" fmla="*/ 5 w 101"/>
                    <a:gd name="T85" fmla="*/ 141 h 249"/>
                    <a:gd name="T86" fmla="*/ 0 w 101"/>
                    <a:gd name="T87" fmla="*/ 134 h 249"/>
                    <a:gd name="T88" fmla="*/ 6 w 101"/>
                    <a:gd name="T89" fmla="*/ 129 h 249"/>
                    <a:gd name="T90" fmla="*/ 9 w 101"/>
                    <a:gd name="T91" fmla="*/ 120 h 249"/>
                    <a:gd name="T92" fmla="*/ 9 w 101"/>
                    <a:gd name="T93" fmla="*/ 106 h 249"/>
                    <a:gd name="T94" fmla="*/ 18 w 101"/>
                    <a:gd name="T95" fmla="*/ 102 h 249"/>
                    <a:gd name="T96" fmla="*/ 26 w 101"/>
                    <a:gd name="T97" fmla="*/ 95 h 249"/>
                    <a:gd name="T98" fmla="*/ 20 w 101"/>
                    <a:gd name="T99" fmla="*/ 88 h 249"/>
                    <a:gd name="T100" fmla="*/ 20 w 101"/>
                    <a:gd name="T101" fmla="*/ 78 h 249"/>
                    <a:gd name="T102" fmla="*/ 19 w 101"/>
                    <a:gd name="T103" fmla="*/ 64 h 249"/>
                    <a:gd name="T104" fmla="*/ 20 w 101"/>
                    <a:gd name="T105" fmla="*/ 51 h 249"/>
                    <a:gd name="T106" fmla="*/ 23 w 101"/>
                    <a:gd name="T107" fmla="*/ 44 h 249"/>
                    <a:gd name="T108" fmla="*/ 32 w 101"/>
                    <a:gd name="T109" fmla="*/ 38 h 249"/>
                    <a:gd name="T110" fmla="*/ 27 w 101"/>
                    <a:gd name="T111" fmla="*/ 26 h 249"/>
                    <a:gd name="T112" fmla="*/ 22 w 101"/>
                    <a:gd name="T113" fmla="*/ 15 h 249"/>
                    <a:gd name="T114" fmla="*/ 16 w 101"/>
                    <a:gd name="T115" fmla="*/ 7 h 249"/>
                    <a:gd name="T116" fmla="*/ 11 w 101"/>
                    <a:gd name="T117" fmla="*/ 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1" h="249">
                      <a:moveTo>
                        <a:pt x="65" y="86"/>
                      </a:moveTo>
                      <a:lnTo>
                        <a:pt x="64" y="86"/>
                      </a:lnTo>
                      <a:lnTo>
                        <a:pt x="65" y="85"/>
                      </a:lnTo>
                      <a:lnTo>
                        <a:pt x="65" y="84"/>
                      </a:lnTo>
                      <a:lnTo>
                        <a:pt x="66" y="85"/>
                      </a:lnTo>
                      <a:lnTo>
                        <a:pt x="65" y="85"/>
                      </a:lnTo>
                      <a:lnTo>
                        <a:pt x="65" y="86"/>
                      </a:lnTo>
                      <a:close/>
                      <a:moveTo>
                        <a:pt x="71" y="64"/>
                      </a:moveTo>
                      <a:lnTo>
                        <a:pt x="71" y="65"/>
                      </a:lnTo>
                      <a:lnTo>
                        <a:pt x="71" y="64"/>
                      </a:lnTo>
                      <a:close/>
                      <a:moveTo>
                        <a:pt x="65" y="59"/>
                      </a:moveTo>
                      <a:lnTo>
                        <a:pt x="65" y="58"/>
                      </a:lnTo>
                      <a:lnTo>
                        <a:pt x="65" y="59"/>
                      </a:lnTo>
                      <a:close/>
                      <a:moveTo>
                        <a:pt x="49" y="7"/>
                      </a:moveTo>
                      <a:lnTo>
                        <a:pt x="51" y="10"/>
                      </a:lnTo>
                      <a:lnTo>
                        <a:pt x="49" y="7"/>
                      </a:lnTo>
                      <a:close/>
                      <a:moveTo>
                        <a:pt x="46" y="3"/>
                      </a:moveTo>
                      <a:lnTo>
                        <a:pt x="46" y="5"/>
                      </a:lnTo>
                      <a:lnTo>
                        <a:pt x="46" y="3"/>
                      </a:lnTo>
                      <a:close/>
                      <a:moveTo>
                        <a:pt x="13" y="1"/>
                      </a:moveTo>
                      <a:lnTo>
                        <a:pt x="14" y="3"/>
                      </a:lnTo>
                      <a:lnTo>
                        <a:pt x="15" y="3"/>
                      </a:lnTo>
                      <a:lnTo>
                        <a:pt x="16" y="3"/>
                      </a:lnTo>
                      <a:lnTo>
                        <a:pt x="18" y="3"/>
                      </a:lnTo>
                      <a:lnTo>
                        <a:pt x="19" y="3"/>
                      </a:lnTo>
                      <a:lnTo>
                        <a:pt x="20" y="3"/>
                      </a:lnTo>
                      <a:lnTo>
                        <a:pt x="20" y="2"/>
                      </a:lnTo>
                      <a:lnTo>
                        <a:pt x="21" y="3"/>
                      </a:lnTo>
                      <a:lnTo>
                        <a:pt x="22" y="5"/>
                      </a:lnTo>
                      <a:lnTo>
                        <a:pt x="23" y="5"/>
                      </a:lnTo>
                      <a:lnTo>
                        <a:pt x="23" y="6"/>
                      </a:lnTo>
                      <a:lnTo>
                        <a:pt x="23" y="7"/>
                      </a:lnTo>
                      <a:lnTo>
                        <a:pt x="25" y="7"/>
                      </a:lnTo>
                      <a:lnTo>
                        <a:pt x="27" y="7"/>
                      </a:lnTo>
                      <a:lnTo>
                        <a:pt x="28" y="7"/>
                      </a:lnTo>
                      <a:lnTo>
                        <a:pt x="29" y="6"/>
                      </a:lnTo>
                      <a:lnTo>
                        <a:pt x="30" y="7"/>
                      </a:lnTo>
                      <a:lnTo>
                        <a:pt x="32" y="7"/>
                      </a:lnTo>
                      <a:lnTo>
                        <a:pt x="33" y="7"/>
                      </a:lnTo>
                      <a:lnTo>
                        <a:pt x="34" y="6"/>
                      </a:lnTo>
                      <a:lnTo>
                        <a:pt x="35" y="7"/>
                      </a:lnTo>
                      <a:lnTo>
                        <a:pt x="36" y="7"/>
                      </a:lnTo>
                      <a:lnTo>
                        <a:pt x="37" y="8"/>
                      </a:lnTo>
                      <a:lnTo>
                        <a:pt x="39" y="9"/>
                      </a:lnTo>
                      <a:lnTo>
                        <a:pt x="40" y="9"/>
                      </a:lnTo>
                      <a:lnTo>
                        <a:pt x="40" y="10"/>
                      </a:lnTo>
                      <a:lnTo>
                        <a:pt x="40" y="12"/>
                      </a:lnTo>
                      <a:lnTo>
                        <a:pt x="40" y="14"/>
                      </a:lnTo>
                      <a:lnTo>
                        <a:pt x="41" y="15"/>
                      </a:lnTo>
                      <a:lnTo>
                        <a:pt x="41" y="16"/>
                      </a:lnTo>
                      <a:lnTo>
                        <a:pt x="41" y="17"/>
                      </a:lnTo>
                      <a:lnTo>
                        <a:pt x="42" y="20"/>
                      </a:lnTo>
                      <a:lnTo>
                        <a:pt x="42" y="21"/>
                      </a:lnTo>
                      <a:lnTo>
                        <a:pt x="46" y="26"/>
                      </a:lnTo>
                      <a:lnTo>
                        <a:pt x="47" y="27"/>
                      </a:lnTo>
                      <a:lnTo>
                        <a:pt x="48" y="28"/>
                      </a:lnTo>
                      <a:lnTo>
                        <a:pt x="49" y="29"/>
                      </a:lnTo>
                      <a:lnTo>
                        <a:pt x="50" y="31"/>
                      </a:lnTo>
                      <a:lnTo>
                        <a:pt x="50" y="33"/>
                      </a:lnTo>
                      <a:lnTo>
                        <a:pt x="51" y="34"/>
                      </a:lnTo>
                      <a:lnTo>
                        <a:pt x="50" y="34"/>
                      </a:lnTo>
                      <a:lnTo>
                        <a:pt x="49" y="35"/>
                      </a:lnTo>
                      <a:lnTo>
                        <a:pt x="49" y="36"/>
                      </a:lnTo>
                      <a:lnTo>
                        <a:pt x="50" y="36"/>
                      </a:lnTo>
                      <a:lnTo>
                        <a:pt x="49" y="36"/>
                      </a:lnTo>
                      <a:lnTo>
                        <a:pt x="49" y="37"/>
                      </a:lnTo>
                      <a:lnTo>
                        <a:pt x="48" y="37"/>
                      </a:lnTo>
                      <a:lnTo>
                        <a:pt x="49" y="38"/>
                      </a:lnTo>
                      <a:lnTo>
                        <a:pt x="49" y="40"/>
                      </a:lnTo>
                      <a:lnTo>
                        <a:pt x="49" y="41"/>
                      </a:lnTo>
                      <a:lnTo>
                        <a:pt x="49" y="43"/>
                      </a:lnTo>
                      <a:lnTo>
                        <a:pt x="50" y="49"/>
                      </a:lnTo>
                      <a:lnTo>
                        <a:pt x="50" y="53"/>
                      </a:lnTo>
                      <a:lnTo>
                        <a:pt x="50" y="55"/>
                      </a:lnTo>
                      <a:lnTo>
                        <a:pt x="49" y="56"/>
                      </a:lnTo>
                      <a:lnTo>
                        <a:pt x="49" y="57"/>
                      </a:lnTo>
                      <a:lnTo>
                        <a:pt x="50" y="58"/>
                      </a:lnTo>
                      <a:lnTo>
                        <a:pt x="50" y="59"/>
                      </a:lnTo>
                      <a:lnTo>
                        <a:pt x="50" y="60"/>
                      </a:lnTo>
                      <a:lnTo>
                        <a:pt x="51" y="63"/>
                      </a:lnTo>
                      <a:lnTo>
                        <a:pt x="51" y="66"/>
                      </a:lnTo>
                      <a:lnTo>
                        <a:pt x="53" y="69"/>
                      </a:lnTo>
                      <a:lnTo>
                        <a:pt x="53" y="70"/>
                      </a:lnTo>
                      <a:lnTo>
                        <a:pt x="53" y="71"/>
                      </a:lnTo>
                      <a:lnTo>
                        <a:pt x="53" y="72"/>
                      </a:lnTo>
                      <a:lnTo>
                        <a:pt x="53" y="73"/>
                      </a:lnTo>
                      <a:lnTo>
                        <a:pt x="51" y="74"/>
                      </a:lnTo>
                      <a:lnTo>
                        <a:pt x="50" y="74"/>
                      </a:lnTo>
                      <a:lnTo>
                        <a:pt x="50" y="76"/>
                      </a:lnTo>
                      <a:lnTo>
                        <a:pt x="49" y="77"/>
                      </a:lnTo>
                      <a:lnTo>
                        <a:pt x="48" y="77"/>
                      </a:lnTo>
                      <a:lnTo>
                        <a:pt x="48" y="78"/>
                      </a:lnTo>
                      <a:lnTo>
                        <a:pt x="48" y="79"/>
                      </a:lnTo>
                      <a:lnTo>
                        <a:pt x="49" y="80"/>
                      </a:lnTo>
                      <a:lnTo>
                        <a:pt x="46" y="83"/>
                      </a:lnTo>
                      <a:lnTo>
                        <a:pt x="44" y="83"/>
                      </a:lnTo>
                      <a:lnTo>
                        <a:pt x="44" y="84"/>
                      </a:lnTo>
                      <a:lnTo>
                        <a:pt x="44" y="85"/>
                      </a:lnTo>
                      <a:lnTo>
                        <a:pt x="44" y="86"/>
                      </a:lnTo>
                      <a:lnTo>
                        <a:pt x="43" y="87"/>
                      </a:lnTo>
                      <a:lnTo>
                        <a:pt x="43" y="90"/>
                      </a:lnTo>
                      <a:lnTo>
                        <a:pt x="43" y="92"/>
                      </a:lnTo>
                      <a:lnTo>
                        <a:pt x="44" y="93"/>
                      </a:lnTo>
                      <a:lnTo>
                        <a:pt x="44" y="94"/>
                      </a:lnTo>
                      <a:lnTo>
                        <a:pt x="46" y="94"/>
                      </a:lnTo>
                      <a:lnTo>
                        <a:pt x="46" y="95"/>
                      </a:lnTo>
                      <a:lnTo>
                        <a:pt x="47" y="95"/>
                      </a:lnTo>
                      <a:lnTo>
                        <a:pt x="48" y="95"/>
                      </a:lnTo>
                      <a:lnTo>
                        <a:pt x="49" y="99"/>
                      </a:lnTo>
                      <a:lnTo>
                        <a:pt x="49" y="100"/>
                      </a:lnTo>
                      <a:lnTo>
                        <a:pt x="48" y="100"/>
                      </a:lnTo>
                      <a:lnTo>
                        <a:pt x="48" y="101"/>
                      </a:lnTo>
                      <a:lnTo>
                        <a:pt x="48" y="102"/>
                      </a:lnTo>
                      <a:lnTo>
                        <a:pt x="48" y="104"/>
                      </a:lnTo>
                      <a:lnTo>
                        <a:pt x="49" y="105"/>
                      </a:lnTo>
                      <a:lnTo>
                        <a:pt x="49" y="106"/>
                      </a:lnTo>
                      <a:lnTo>
                        <a:pt x="50" y="106"/>
                      </a:lnTo>
                      <a:lnTo>
                        <a:pt x="51" y="107"/>
                      </a:lnTo>
                      <a:lnTo>
                        <a:pt x="50" y="109"/>
                      </a:lnTo>
                      <a:lnTo>
                        <a:pt x="51" y="111"/>
                      </a:lnTo>
                      <a:lnTo>
                        <a:pt x="53" y="111"/>
                      </a:lnTo>
                      <a:lnTo>
                        <a:pt x="53" y="112"/>
                      </a:lnTo>
                      <a:lnTo>
                        <a:pt x="51" y="112"/>
                      </a:lnTo>
                      <a:lnTo>
                        <a:pt x="53" y="113"/>
                      </a:lnTo>
                      <a:lnTo>
                        <a:pt x="53" y="112"/>
                      </a:lnTo>
                      <a:lnTo>
                        <a:pt x="53" y="113"/>
                      </a:lnTo>
                      <a:lnTo>
                        <a:pt x="53" y="114"/>
                      </a:lnTo>
                      <a:lnTo>
                        <a:pt x="53" y="115"/>
                      </a:lnTo>
                      <a:lnTo>
                        <a:pt x="53" y="121"/>
                      </a:lnTo>
                      <a:lnTo>
                        <a:pt x="54" y="123"/>
                      </a:lnTo>
                      <a:lnTo>
                        <a:pt x="53" y="123"/>
                      </a:lnTo>
                      <a:lnTo>
                        <a:pt x="53" y="125"/>
                      </a:lnTo>
                      <a:lnTo>
                        <a:pt x="51" y="126"/>
                      </a:lnTo>
                      <a:lnTo>
                        <a:pt x="53" y="127"/>
                      </a:lnTo>
                      <a:lnTo>
                        <a:pt x="53" y="128"/>
                      </a:lnTo>
                      <a:lnTo>
                        <a:pt x="54" y="130"/>
                      </a:lnTo>
                      <a:lnTo>
                        <a:pt x="55" y="133"/>
                      </a:lnTo>
                      <a:lnTo>
                        <a:pt x="56" y="134"/>
                      </a:lnTo>
                      <a:lnTo>
                        <a:pt x="57" y="134"/>
                      </a:lnTo>
                      <a:lnTo>
                        <a:pt x="58" y="134"/>
                      </a:lnTo>
                      <a:lnTo>
                        <a:pt x="60" y="134"/>
                      </a:lnTo>
                      <a:lnTo>
                        <a:pt x="60" y="135"/>
                      </a:lnTo>
                      <a:lnTo>
                        <a:pt x="61" y="136"/>
                      </a:lnTo>
                      <a:lnTo>
                        <a:pt x="62" y="137"/>
                      </a:lnTo>
                      <a:lnTo>
                        <a:pt x="62" y="139"/>
                      </a:lnTo>
                      <a:lnTo>
                        <a:pt x="62" y="140"/>
                      </a:lnTo>
                      <a:lnTo>
                        <a:pt x="62" y="141"/>
                      </a:lnTo>
                      <a:lnTo>
                        <a:pt x="61" y="141"/>
                      </a:lnTo>
                      <a:lnTo>
                        <a:pt x="61" y="142"/>
                      </a:lnTo>
                      <a:lnTo>
                        <a:pt x="61" y="144"/>
                      </a:lnTo>
                      <a:lnTo>
                        <a:pt x="60" y="146"/>
                      </a:lnTo>
                      <a:lnTo>
                        <a:pt x="58" y="147"/>
                      </a:lnTo>
                      <a:lnTo>
                        <a:pt x="60" y="149"/>
                      </a:lnTo>
                      <a:lnTo>
                        <a:pt x="60" y="150"/>
                      </a:lnTo>
                      <a:lnTo>
                        <a:pt x="61" y="151"/>
                      </a:lnTo>
                      <a:lnTo>
                        <a:pt x="61" y="153"/>
                      </a:lnTo>
                      <a:lnTo>
                        <a:pt x="62" y="153"/>
                      </a:lnTo>
                      <a:lnTo>
                        <a:pt x="62" y="154"/>
                      </a:lnTo>
                      <a:lnTo>
                        <a:pt x="63" y="154"/>
                      </a:lnTo>
                      <a:lnTo>
                        <a:pt x="64" y="155"/>
                      </a:lnTo>
                      <a:lnTo>
                        <a:pt x="64" y="156"/>
                      </a:lnTo>
                      <a:lnTo>
                        <a:pt x="65" y="156"/>
                      </a:lnTo>
                      <a:lnTo>
                        <a:pt x="66" y="156"/>
                      </a:lnTo>
                      <a:lnTo>
                        <a:pt x="66" y="155"/>
                      </a:lnTo>
                      <a:lnTo>
                        <a:pt x="68" y="155"/>
                      </a:lnTo>
                      <a:lnTo>
                        <a:pt x="68" y="154"/>
                      </a:lnTo>
                      <a:lnTo>
                        <a:pt x="68" y="153"/>
                      </a:lnTo>
                      <a:lnTo>
                        <a:pt x="69" y="151"/>
                      </a:lnTo>
                      <a:lnTo>
                        <a:pt x="69" y="150"/>
                      </a:lnTo>
                      <a:lnTo>
                        <a:pt x="69" y="149"/>
                      </a:lnTo>
                      <a:lnTo>
                        <a:pt x="69" y="148"/>
                      </a:lnTo>
                      <a:lnTo>
                        <a:pt x="70" y="148"/>
                      </a:lnTo>
                      <a:lnTo>
                        <a:pt x="71" y="148"/>
                      </a:lnTo>
                      <a:lnTo>
                        <a:pt x="71" y="149"/>
                      </a:lnTo>
                      <a:lnTo>
                        <a:pt x="72" y="149"/>
                      </a:lnTo>
                      <a:lnTo>
                        <a:pt x="71" y="150"/>
                      </a:lnTo>
                      <a:lnTo>
                        <a:pt x="72" y="151"/>
                      </a:lnTo>
                      <a:lnTo>
                        <a:pt x="72" y="153"/>
                      </a:lnTo>
                      <a:lnTo>
                        <a:pt x="73" y="153"/>
                      </a:lnTo>
                      <a:lnTo>
                        <a:pt x="75" y="153"/>
                      </a:lnTo>
                      <a:lnTo>
                        <a:pt x="76" y="154"/>
                      </a:lnTo>
                      <a:lnTo>
                        <a:pt x="76" y="155"/>
                      </a:lnTo>
                      <a:lnTo>
                        <a:pt x="77" y="156"/>
                      </a:lnTo>
                      <a:lnTo>
                        <a:pt x="77" y="157"/>
                      </a:lnTo>
                      <a:lnTo>
                        <a:pt x="78" y="157"/>
                      </a:lnTo>
                      <a:lnTo>
                        <a:pt x="79" y="158"/>
                      </a:lnTo>
                      <a:lnTo>
                        <a:pt x="80" y="160"/>
                      </a:lnTo>
                      <a:lnTo>
                        <a:pt x="80" y="161"/>
                      </a:lnTo>
                      <a:lnTo>
                        <a:pt x="82" y="161"/>
                      </a:lnTo>
                      <a:lnTo>
                        <a:pt x="82" y="160"/>
                      </a:lnTo>
                      <a:lnTo>
                        <a:pt x="83" y="160"/>
                      </a:lnTo>
                      <a:lnTo>
                        <a:pt x="83" y="158"/>
                      </a:lnTo>
                      <a:lnTo>
                        <a:pt x="82" y="157"/>
                      </a:lnTo>
                      <a:lnTo>
                        <a:pt x="80" y="155"/>
                      </a:lnTo>
                      <a:lnTo>
                        <a:pt x="80" y="154"/>
                      </a:lnTo>
                      <a:lnTo>
                        <a:pt x="80" y="153"/>
                      </a:lnTo>
                      <a:lnTo>
                        <a:pt x="79" y="151"/>
                      </a:lnTo>
                      <a:lnTo>
                        <a:pt x="79" y="150"/>
                      </a:lnTo>
                      <a:lnTo>
                        <a:pt x="79" y="149"/>
                      </a:lnTo>
                      <a:lnTo>
                        <a:pt x="79" y="148"/>
                      </a:lnTo>
                      <a:lnTo>
                        <a:pt x="78" y="147"/>
                      </a:lnTo>
                      <a:lnTo>
                        <a:pt x="78" y="146"/>
                      </a:lnTo>
                      <a:lnTo>
                        <a:pt x="77" y="144"/>
                      </a:lnTo>
                      <a:lnTo>
                        <a:pt x="77" y="143"/>
                      </a:lnTo>
                      <a:lnTo>
                        <a:pt x="77" y="142"/>
                      </a:lnTo>
                      <a:lnTo>
                        <a:pt x="76" y="141"/>
                      </a:lnTo>
                      <a:lnTo>
                        <a:pt x="76" y="140"/>
                      </a:lnTo>
                      <a:lnTo>
                        <a:pt x="76" y="139"/>
                      </a:lnTo>
                      <a:lnTo>
                        <a:pt x="75" y="139"/>
                      </a:lnTo>
                      <a:lnTo>
                        <a:pt x="71" y="139"/>
                      </a:lnTo>
                      <a:lnTo>
                        <a:pt x="70" y="139"/>
                      </a:lnTo>
                      <a:lnTo>
                        <a:pt x="69" y="137"/>
                      </a:lnTo>
                      <a:lnTo>
                        <a:pt x="69" y="136"/>
                      </a:lnTo>
                      <a:lnTo>
                        <a:pt x="69" y="135"/>
                      </a:lnTo>
                      <a:lnTo>
                        <a:pt x="69" y="133"/>
                      </a:lnTo>
                      <a:lnTo>
                        <a:pt x="69" y="132"/>
                      </a:lnTo>
                      <a:lnTo>
                        <a:pt x="70" y="133"/>
                      </a:lnTo>
                      <a:lnTo>
                        <a:pt x="73" y="135"/>
                      </a:lnTo>
                      <a:lnTo>
                        <a:pt x="76" y="137"/>
                      </a:lnTo>
                      <a:lnTo>
                        <a:pt x="79" y="141"/>
                      </a:lnTo>
                      <a:lnTo>
                        <a:pt x="83" y="146"/>
                      </a:lnTo>
                      <a:lnTo>
                        <a:pt x="85" y="149"/>
                      </a:lnTo>
                      <a:lnTo>
                        <a:pt x="87" y="153"/>
                      </a:lnTo>
                      <a:lnTo>
                        <a:pt x="90" y="156"/>
                      </a:lnTo>
                      <a:lnTo>
                        <a:pt x="93" y="160"/>
                      </a:lnTo>
                      <a:lnTo>
                        <a:pt x="96" y="164"/>
                      </a:lnTo>
                      <a:lnTo>
                        <a:pt x="97" y="165"/>
                      </a:lnTo>
                      <a:lnTo>
                        <a:pt x="98" y="167"/>
                      </a:lnTo>
                      <a:lnTo>
                        <a:pt x="100" y="168"/>
                      </a:lnTo>
                      <a:lnTo>
                        <a:pt x="100" y="169"/>
                      </a:lnTo>
                      <a:lnTo>
                        <a:pt x="100" y="176"/>
                      </a:lnTo>
                      <a:lnTo>
                        <a:pt x="101" y="176"/>
                      </a:lnTo>
                      <a:lnTo>
                        <a:pt x="100" y="179"/>
                      </a:lnTo>
                      <a:lnTo>
                        <a:pt x="100" y="182"/>
                      </a:lnTo>
                      <a:lnTo>
                        <a:pt x="98" y="185"/>
                      </a:lnTo>
                      <a:lnTo>
                        <a:pt x="98" y="186"/>
                      </a:lnTo>
                      <a:lnTo>
                        <a:pt x="99" y="190"/>
                      </a:lnTo>
                      <a:lnTo>
                        <a:pt x="100" y="193"/>
                      </a:lnTo>
                      <a:lnTo>
                        <a:pt x="100" y="195"/>
                      </a:lnTo>
                      <a:lnTo>
                        <a:pt x="99" y="197"/>
                      </a:lnTo>
                      <a:lnTo>
                        <a:pt x="99" y="202"/>
                      </a:lnTo>
                      <a:lnTo>
                        <a:pt x="99" y="204"/>
                      </a:lnTo>
                      <a:lnTo>
                        <a:pt x="99" y="209"/>
                      </a:lnTo>
                      <a:lnTo>
                        <a:pt x="98" y="210"/>
                      </a:lnTo>
                      <a:lnTo>
                        <a:pt x="98" y="211"/>
                      </a:lnTo>
                      <a:lnTo>
                        <a:pt x="98" y="212"/>
                      </a:lnTo>
                      <a:lnTo>
                        <a:pt x="98" y="213"/>
                      </a:lnTo>
                      <a:lnTo>
                        <a:pt x="98" y="214"/>
                      </a:lnTo>
                      <a:lnTo>
                        <a:pt x="96" y="216"/>
                      </a:lnTo>
                      <a:lnTo>
                        <a:pt x="94" y="216"/>
                      </a:lnTo>
                      <a:lnTo>
                        <a:pt x="94" y="217"/>
                      </a:lnTo>
                      <a:lnTo>
                        <a:pt x="94" y="216"/>
                      </a:lnTo>
                      <a:lnTo>
                        <a:pt x="93" y="216"/>
                      </a:lnTo>
                      <a:lnTo>
                        <a:pt x="91" y="217"/>
                      </a:lnTo>
                      <a:lnTo>
                        <a:pt x="90" y="217"/>
                      </a:lnTo>
                      <a:lnTo>
                        <a:pt x="90" y="218"/>
                      </a:lnTo>
                      <a:lnTo>
                        <a:pt x="89" y="218"/>
                      </a:lnTo>
                      <a:lnTo>
                        <a:pt x="89" y="217"/>
                      </a:lnTo>
                      <a:lnTo>
                        <a:pt x="87" y="217"/>
                      </a:lnTo>
                      <a:lnTo>
                        <a:pt x="86" y="217"/>
                      </a:lnTo>
                      <a:lnTo>
                        <a:pt x="85" y="217"/>
                      </a:lnTo>
                      <a:lnTo>
                        <a:pt x="83" y="219"/>
                      </a:lnTo>
                      <a:lnTo>
                        <a:pt x="82" y="220"/>
                      </a:lnTo>
                      <a:lnTo>
                        <a:pt x="82" y="221"/>
                      </a:lnTo>
                      <a:lnTo>
                        <a:pt x="82" y="223"/>
                      </a:lnTo>
                      <a:lnTo>
                        <a:pt x="82" y="224"/>
                      </a:lnTo>
                      <a:lnTo>
                        <a:pt x="82" y="225"/>
                      </a:lnTo>
                      <a:lnTo>
                        <a:pt x="80" y="225"/>
                      </a:lnTo>
                      <a:lnTo>
                        <a:pt x="80" y="226"/>
                      </a:lnTo>
                      <a:lnTo>
                        <a:pt x="80" y="227"/>
                      </a:lnTo>
                      <a:lnTo>
                        <a:pt x="80" y="228"/>
                      </a:lnTo>
                      <a:lnTo>
                        <a:pt x="78" y="230"/>
                      </a:lnTo>
                      <a:lnTo>
                        <a:pt x="77" y="230"/>
                      </a:lnTo>
                      <a:lnTo>
                        <a:pt x="78" y="232"/>
                      </a:lnTo>
                      <a:lnTo>
                        <a:pt x="78" y="233"/>
                      </a:lnTo>
                      <a:lnTo>
                        <a:pt x="79" y="233"/>
                      </a:lnTo>
                      <a:lnTo>
                        <a:pt x="80" y="233"/>
                      </a:lnTo>
                      <a:lnTo>
                        <a:pt x="80" y="234"/>
                      </a:lnTo>
                      <a:lnTo>
                        <a:pt x="82" y="234"/>
                      </a:lnTo>
                      <a:lnTo>
                        <a:pt x="82" y="235"/>
                      </a:lnTo>
                      <a:lnTo>
                        <a:pt x="82" y="238"/>
                      </a:lnTo>
                      <a:lnTo>
                        <a:pt x="83" y="239"/>
                      </a:lnTo>
                      <a:lnTo>
                        <a:pt x="83" y="240"/>
                      </a:lnTo>
                      <a:lnTo>
                        <a:pt x="82" y="241"/>
                      </a:lnTo>
                      <a:lnTo>
                        <a:pt x="82" y="242"/>
                      </a:lnTo>
                      <a:lnTo>
                        <a:pt x="82" y="244"/>
                      </a:lnTo>
                      <a:lnTo>
                        <a:pt x="83" y="245"/>
                      </a:lnTo>
                      <a:lnTo>
                        <a:pt x="83" y="246"/>
                      </a:lnTo>
                      <a:lnTo>
                        <a:pt x="83" y="247"/>
                      </a:lnTo>
                      <a:lnTo>
                        <a:pt x="83" y="248"/>
                      </a:lnTo>
                      <a:lnTo>
                        <a:pt x="83" y="249"/>
                      </a:lnTo>
                      <a:lnTo>
                        <a:pt x="80" y="249"/>
                      </a:lnTo>
                      <a:lnTo>
                        <a:pt x="77" y="249"/>
                      </a:lnTo>
                      <a:lnTo>
                        <a:pt x="76" y="249"/>
                      </a:lnTo>
                      <a:lnTo>
                        <a:pt x="75" y="248"/>
                      </a:lnTo>
                      <a:lnTo>
                        <a:pt x="76" y="248"/>
                      </a:lnTo>
                      <a:lnTo>
                        <a:pt x="75" y="246"/>
                      </a:lnTo>
                      <a:lnTo>
                        <a:pt x="75" y="245"/>
                      </a:lnTo>
                      <a:lnTo>
                        <a:pt x="76" y="245"/>
                      </a:lnTo>
                      <a:lnTo>
                        <a:pt x="77" y="244"/>
                      </a:lnTo>
                      <a:lnTo>
                        <a:pt x="77" y="242"/>
                      </a:lnTo>
                      <a:lnTo>
                        <a:pt x="77" y="241"/>
                      </a:lnTo>
                      <a:lnTo>
                        <a:pt x="77" y="240"/>
                      </a:lnTo>
                      <a:lnTo>
                        <a:pt x="76" y="239"/>
                      </a:lnTo>
                      <a:lnTo>
                        <a:pt x="75" y="239"/>
                      </a:lnTo>
                      <a:lnTo>
                        <a:pt x="73" y="239"/>
                      </a:lnTo>
                      <a:lnTo>
                        <a:pt x="72" y="238"/>
                      </a:lnTo>
                      <a:lnTo>
                        <a:pt x="71" y="237"/>
                      </a:lnTo>
                      <a:lnTo>
                        <a:pt x="70" y="237"/>
                      </a:lnTo>
                      <a:lnTo>
                        <a:pt x="70" y="235"/>
                      </a:lnTo>
                      <a:lnTo>
                        <a:pt x="69" y="235"/>
                      </a:lnTo>
                      <a:lnTo>
                        <a:pt x="69" y="234"/>
                      </a:lnTo>
                      <a:lnTo>
                        <a:pt x="68" y="234"/>
                      </a:lnTo>
                      <a:lnTo>
                        <a:pt x="68" y="233"/>
                      </a:lnTo>
                      <a:lnTo>
                        <a:pt x="66" y="232"/>
                      </a:lnTo>
                      <a:lnTo>
                        <a:pt x="65" y="231"/>
                      </a:lnTo>
                      <a:lnTo>
                        <a:pt x="65" y="230"/>
                      </a:lnTo>
                      <a:lnTo>
                        <a:pt x="63" y="228"/>
                      </a:lnTo>
                      <a:lnTo>
                        <a:pt x="62" y="228"/>
                      </a:lnTo>
                      <a:lnTo>
                        <a:pt x="62" y="227"/>
                      </a:lnTo>
                      <a:lnTo>
                        <a:pt x="61" y="226"/>
                      </a:lnTo>
                      <a:lnTo>
                        <a:pt x="60" y="225"/>
                      </a:lnTo>
                      <a:lnTo>
                        <a:pt x="60" y="223"/>
                      </a:lnTo>
                      <a:lnTo>
                        <a:pt x="58" y="223"/>
                      </a:lnTo>
                      <a:lnTo>
                        <a:pt x="57" y="221"/>
                      </a:lnTo>
                      <a:lnTo>
                        <a:pt x="56" y="221"/>
                      </a:lnTo>
                      <a:lnTo>
                        <a:pt x="55" y="221"/>
                      </a:lnTo>
                      <a:lnTo>
                        <a:pt x="54" y="218"/>
                      </a:lnTo>
                      <a:lnTo>
                        <a:pt x="54" y="217"/>
                      </a:lnTo>
                      <a:lnTo>
                        <a:pt x="55" y="216"/>
                      </a:lnTo>
                      <a:lnTo>
                        <a:pt x="55" y="214"/>
                      </a:lnTo>
                      <a:lnTo>
                        <a:pt x="54" y="213"/>
                      </a:lnTo>
                      <a:lnTo>
                        <a:pt x="51" y="211"/>
                      </a:lnTo>
                      <a:lnTo>
                        <a:pt x="50" y="210"/>
                      </a:lnTo>
                      <a:lnTo>
                        <a:pt x="49" y="210"/>
                      </a:lnTo>
                      <a:lnTo>
                        <a:pt x="49" y="209"/>
                      </a:lnTo>
                      <a:lnTo>
                        <a:pt x="49" y="207"/>
                      </a:lnTo>
                      <a:lnTo>
                        <a:pt x="49" y="206"/>
                      </a:lnTo>
                      <a:lnTo>
                        <a:pt x="50" y="205"/>
                      </a:lnTo>
                      <a:lnTo>
                        <a:pt x="51" y="204"/>
                      </a:lnTo>
                      <a:lnTo>
                        <a:pt x="53" y="204"/>
                      </a:lnTo>
                      <a:lnTo>
                        <a:pt x="55" y="200"/>
                      </a:lnTo>
                      <a:lnTo>
                        <a:pt x="55" y="199"/>
                      </a:lnTo>
                      <a:lnTo>
                        <a:pt x="55" y="198"/>
                      </a:lnTo>
                      <a:lnTo>
                        <a:pt x="55" y="197"/>
                      </a:lnTo>
                      <a:lnTo>
                        <a:pt x="55" y="196"/>
                      </a:lnTo>
                      <a:lnTo>
                        <a:pt x="55" y="195"/>
                      </a:lnTo>
                      <a:lnTo>
                        <a:pt x="56" y="195"/>
                      </a:lnTo>
                      <a:lnTo>
                        <a:pt x="56" y="193"/>
                      </a:lnTo>
                      <a:lnTo>
                        <a:pt x="57" y="193"/>
                      </a:lnTo>
                      <a:lnTo>
                        <a:pt x="57" y="192"/>
                      </a:lnTo>
                      <a:lnTo>
                        <a:pt x="57" y="191"/>
                      </a:lnTo>
                      <a:lnTo>
                        <a:pt x="58" y="191"/>
                      </a:lnTo>
                      <a:lnTo>
                        <a:pt x="60" y="190"/>
                      </a:lnTo>
                      <a:lnTo>
                        <a:pt x="60" y="189"/>
                      </a:lnTo>
                      <a:lnTo>
                        <a:pt x="60" y="186"/>
                      </a:lnTo>
                      <a:lnTo>
                        <a:pt x="60" y="184"/>
                      </a:lnTo>
                      <a:lnTo>
                        <a:pt x="60" y="183"/>
                      </a:lnTo>
                      <a:lnTo>
                        <a:pt x="60" y="182"/>
                      </a:lnTo>
                      <a:lnTo>
                        <a:pt x="60" y="181"/>
                      </a:lnTo>
                      <a:lnTo>
                        <a:pt x="61" y="179"/>
                      </a:lnTo>
                      <a:lnTo>
                        <a:pt x="61" y="178"/>
                      </a:lnTo>
                      <a:lnTo>
                        <a:pt x="60" y="178"/>
                      </a:lnTo>
                      <a:lnTo>
                        <a:pt x="60" y="177"/>
                      </a:lnTo>
                      <a:lnTo>
                        <a:pt x="60" y="175"/>
                      </a:lnTo>
                      <a:lnTo>
                        <a:pt x="60" y="174"/>
                      </a:lnTo>
                      <a:lnTo>
                        <a:pt x="58" y="172"/>
                      </a:lnTo>
                      <a:lnTo>
                        <a:pt x="58" y="171"/>
                      </a:lnTo>
                      <a:lnTo>
                        <a:pt x="58" y="170"/>
                      </a:lnTo>
                      <a:lnTo>
                        <a:pt x="58" y="168"/>
                      </a:lnTo>
                      <a:lnTo>
                        <a:pt x="58" y="167"/>
                      </a:lnTo>
                      <a:lnTo>
                        <a:pt x="56" y="164"/>
                      </a:lnTo>
                      <a:lnTo>
                        <a:pt x="56" y="163"/>
                      </a:lnTo>
                      <a:lnTo>
                        <a:pt x="55" y="162"/>
                      </a:lnTo>
                      <a:lnTo>
                        <a:pt x="54" y="161"/>
                      </a:lnTo>
                      <a:lnTo>
                        <a:pt x="53" y="160"/>
                      </a:lnTo>
                      <a:lnTo>
                        <a:pt x="53" y="161"/>
                      </a:lnTo>
                      <a:lnTo>
                        <a:pt x="51" y="161"/>
                      </a:lnTo>
                      <a:lnTo>
                        <a:pt x="48" y="162"/>
                      </a:lnTo>
                      <a:lnTo>
                        <a:pt x="46" y="162"/>
                      </a:lnTo>
                      <a:lnTo>
                        <a:pt x="44" y="162"/>
                      </a:lnTo>
                      <a:lnTo>
                        <a:pt x="44" y="163"/>
                      </a:lnTo>
                      <a:lnTo>
                        <a:pt x="43" y="163"/>
                      </a:lnTo>
                      <a:lnTo>
                        <a:pt x="41" y="163"/>
                      </a:lnTo>
                      <a:lnTo>
                        <a:pt x="40" y="163"/>
                      </a:lnTo>
                      <a:lnTo>
                        <a:pt x="39" y="163"/>
                      </a:lnTo>
                      <a:lnTo>
                        <a:pt x="36" y="164"/>
                      </a:lnTo>
                      <a:lnTo>
                        <a:pt x="35" y="164"/>
                      </a:lnTo>
                      <a:lnTo>
                        <a:pt x="33" y="163"/>
                      </a:lnTo>
                      <a:lnTo>
                        <a:pt x="32" y="164"/>
                      </a:lnTo>
                      <a:lnTo>
                        <a:pt x="32" y="165"/>
                      </a:lnTo>
                      <a:lnTo>
                        <a:pt x="32" y="167"/>
                      </a:lnTo>
                      <a:lnTo>
                        <a:pt x="30" y="167"/>
                      </a:lnTo>
                      <a:lnTo>
                        <a:pt x="30" y="165"/>
                      </a:lnTo>
                      <a:lnTo>
                        <a:pt x="29" y="164"/>
                      </a:lnTo>
                      <a:lnTo>
                        <a:pt x="29" y="163"/>
                      </a:lnTo>
                      <a:lnTo>
                        <a:pt x="28" y="163"/>
                      </a:lnTo>
                      <a:lnTo>
                        <a:pt x="28" y="162"/>
                      </a:lnTo>
                      <a:lnTo>
                        <a:pt x="27" y="162"/>
                      </a:lnTo>
                      <a:lnTo>
                        <a:pt x="27" y="161"/>
                      </a:lnTo>
                      <a:lnTo>
                        <a:pt x="26" y="161"/>
                      </a:lnTo>
                      <a:lnTo>
                        <a:pt x="25" y="161"/>
                      </a:lnTo>
                      <a:lnTo>
                        <a:pt x="25" y="160"/>
                      </a:lnTo>
                      <a:lnTo>
                        <a:pt x="23" y="156"/>
                      </a:lnTo>
                      <a:lnTo>
                        <a:pt x="22" y="156"/>
                      </a:lnTo>
                      <a:lnTo>
                        <a:pt x="22" y="155"/>
                      </a:lnTo>
                      <a:lnTo>
                        <a:pt x="21" y="155"/>
                      </a:lnTo>
                      <a:lnTo>
                        <a:pt x="21" y="154"/>
                      </a:lnTo>
                      <a:lnTo>
                        <a:pt x="20" y="153"/>
                      </a:lnTo>
                      <a:lnTo>
                        <a:pt x="20" y="151"/>
                      </a:lnTo>
                      <a:lnTo>
                        <a:pt x="20" y="150"/>
                      </a:lnTo>
                      <a:lnTo>
                        <a:pt x="20" y="149"/>
                      </a:lnTo>
                      <a:lnTo>
                        <a:pt x="19" y="149"/>
                      </a:lnTo>
                      <a:lnTo>
                        <a:pt x="18" y="148"/>
                      </a:lnTo>
                      <a:lnTo>
                        <a:pt x="16" y="147"/>
                      </a:lnTo>
                      <a:lnTo>
                        <a:pt x="15" y="146"/>
                      </a:lnTo>
                      <a:lnTo>
                        <a:pt x="15" y="144"/>
                      </a:lnTo>
                      <a:lnTo>
                        <a:pt x="15" y="146"/>
                      </a:lnTo>
                      <a:lnTo>
                        <a:pt x="14" y="146"/>
                      </a:lnTo>
                      <a:lnTo>
                        <a:pt x="13" y="147"/>
                      </a:lnTo>
                      <a:lnTo>
                        <a:pt x="12" y="147"/>
                      </a:lnTo>
                      <a:lnTo>
                        <a:pt x="12" y="149"/>
                      </a:lnTo>
                      <a:lnTo>
                        <a:pt x="11" y="149"/>
                      </a:lnTo>
                      <a:lnTo>
                        <a:pt x="9" y="148"/>
                      </a:lnTo>
                      <a:lnTo>
                        <a:pt x="9" y="146"/>
                      </a:lnTo>
                      <a:lnTo>
                        <a:pt x="8" y="144"/>
                      </a:lnTo>
                      <a:lnTo>
                        <a:pt x="8" y="143"/>
                      </a:lnTo>
                      <a:lnTo>
                        <a:pt x="7" y="141"/>
                      </a:lnTo>
                      <a:lnTo>
                        <a:pt x="6" y="141"/>
                      </a:lnTo>
                      <a:lnTo>
                        <a:pt x="5" y="141"/>
                      </a:lnTo>
                      <a:lnTo>
                        <a:pt x="4" y="141"/>
                      </a:lnTo>
                      <a:lnTo>
                        <a:pt x="4" y="140"/>
                      </a:lnTo>
                      <a:lnTo>
                        <a:pt x="4" y="139"/>
                      </a:lnTo>
                      <a:lnTo>
                        <a:pt x="5" y="139"/>
                      </a:lnTo>
                      <a:lnTo>
                        <a:pt x="5" y="137"/>
                      </a:lnTo>
                      <a:lnTo>
                        <a:pt x="4" y="136"/>
                      </a:lnTo>
                      <a:lnTo>
                        <a:pt x="2" y="135"/>
                      </a:lnTo>
                      <a:lnTo>
                        <a:pt x="1" y="135"/>
                      </a:lnTo>
                      <a:lnTo>
                        <a:pt x="0" y="135"/>
                      </a:lnTo>
                      <a:lnTo>
                        <a:pt x="0" y="134"/>
                      </a:lnTo>
                      <a:lnTo>
                        <a:pt x="0" y="133"/>
                      </a:lnTo>
                      <a:lnTo>
                        <a:pt x="1" y="133"/>
                      </a:lnTo>
                      <a:lnTo>
                        <a:pt x="1" y="134"/>
                      </a:lnTo>
                      <a:lnTo>
                        <a:pt x="2" y="134"/>
                      </a:lnTo>
                      <a:lnTo>
                        <a:pt x="2" y="133"/>
                      </a:lnTo>
                      <a:lnTo>
                        <a:pt x="4" y="133"/>
                      </a:lnTo>
                      <a:lnTo>
                        <a:pt x="5" y="133"/>
                      </a:lnTo>
                      <a:lnTo>
                        <a:pt x="5" y="132"/>
                      </a:lnTo>
                      <a:lnTo>
                        <a:pt x="5" y="130"/>
                      </a:lnTo>
                      <a:lnTo>
                        <a:pt x="6" y="129"/>
                      </a:lnTo>
                      <a:lnTo>
                        <a:pt x="7" y="129"/>
                      </a:lnTo>
                      <a:lnTo>
                        <a:pt x="7" y="128"/>
                      </a:lnTo>
                      <a:lnTo>
                        <a:pt x="8" y="126"/>
                      </a:lnTo>
                      <a:lnTo>
                        <a:pt x="8" y="125"/>
                      </a:lnTo>
                      <a:lnTo>
                        <a:pt x="8" y="123"/>
                      </a:lnTo>
                      <a:lnTo>
                        <a:pt x="9" y="122"/>
                      </a:lnTo>
                      <a:lnTo>
                        <a:pt x="11" y="122"/>
                      </a:lnTo>
                      <a:lnTo>
                        <a:pt x="11" y="121"/>
                      </a:lnTo>
                      <a:lnTo>
                        <a:pt x="11" y="120"/>
                      </a:lnTo>
                      <a:lnTo>
                        <a:pt x="9" y="120"/>
                      </a:lnTo>
                      <a:lnTo>
                        <a:pt x="9" y="119"/>
                      </a:lnTo>
                      <a:lnTo>
                        <a:pt x="11" y="115"/>
                      </a:lnTo>
                      <a:lnTo>
                        <a:pt x="11" y="113"/>
                      </a:lnTo>
                      <a:lnTo>
                        <a:pt x="12" y="113"/>
                      </a:lnTo>
                      <a:lnTo>
                        <a:pt x="11" y="112"/>
                      </a:lnTo>
                      <a:lnTo>
                        <a:pt x="11" y="111"/>
                      </a:lnTo>
                      <a:lnTo>
                        <a:pt x="9" y="111"/>
                      </a:lnTo>
                      <a:lnTo>
                        <a:pt x="9" y="109"/>
                      </a:lnTo>
                      <a:lnTo>
                        <a:pt x="9" y="107"/>
                      </a:lnTo>
                      <a:lnTo>
                        <a:pt x="9" y="106"/>
                      </a:lnTo>
                      <a:lnTo>
                        <a:pt x="11" y="105"/>
                      </a:lnTo>
                      <a:lnTo>
                        <a:pt x="12" y="102"/>
                      </a:lnTo>
                      <a:lnTo>
                        <a:pt x="13" y="101"/>
                      </a:lnTo>
                      <a:lnTo>
                        <a:pt x="13" y="102"/>
                      </a:lnTo>
                      <a:lnTo>
                        <a:pt x="14" y="102"/>
                      </a:lnTo>
                      <a:lnTo>
                        <a:pt x="14" y="101"/>
                      </a:lnTo>
                      <a:lnTo>
                        <a:pt x="15" y="101"/>
                      </a:lnTo>
                      <a:lnTo>
                        <a:pt x="15" y="102"/>
                      </a:lnTo>
                      <a:lnTo>
                        <a:pt x="16" y="102"/>
                      </a:lnTo>
                      <a:lnTo>
                        <a:pt x="18" y="102"/>
                      </a:lnTo>
                      <a:lnTo>
                        <a:pt x="18" y="101"/>
                      </a:lnTo>
                      <a:lnTo>
                        <a:pt x="19" y="100"/>
                      </a:lnTo>
                      <a:lnTo>
                        <a:pt x="20" y="100"/>
                      </a:lnTo>
                      <a:lnTo>
                        <a:pt x="21" y="100"/>
                      </a:lnTo>
                      <a:lnTo>
                        <a:pt x="22" y="100"/>
                      </a:lnTo>
                      <a:lnTo>
                        <a:pt x="23" y="99"/>
                      </a:lnTo>
                      <a:lnTo>
                        <a:pt x="23" y="98"/>
                      </a:lnTo>
                      <a:lnTo>
                        <a:pt x="25" y="98"/>
                      </a:lnTo>
                      <a:lnTo>
                        <a:pt x="26" y="97"/>
                      </a:lnTo>
                      <a:lnTo>
                        <a:pt x="26" y="95"/>
                      </a:lnTo>
                      <a:lnTo>
                        <a:pt x="27" y="95"/>
                      </a:lnTo>
                      <a:lnTo>
                        <a:pt x="27" y="94"/>
                      </a:lnTo>
                      <a:lnTo>
                        <a:pt x="27" y="93"/>
                      </a:lnTo>
                      <a:lnTo>
                        <a:pt x="26" y="93"/>
                      </a:lnTo>
                      <a:lnTo>
                        <a:pt x="23" y="94"/>
                      </a:lnTo>
                      <a:lnTo>
                        <a:pt x="22" y="93"/>
                      </a:lnTo>
                      <a:lnTo>
                        <a:pt x="21" y="93"/>
                      </a:lnTo>
                      <a:lnTo>
                        <a:pt x="21" y="91"/>
                      </a:lnTo>
                      <a:lnTo>
                        <a:pt x="20" y="90"/>
                      </a:lnTo>
                      <a:lnTo>
                        <a:pt x="20" y="88"/>
                      </a:lnTo>
                      <a:lnTo>
                        <a:pt x="19" y="88"/>
                      </a:lnTo>
                      <a:lnTo>
                        <a:pt x="19" y="87"/>
                      </a:lnTo>
                      <a:lnTo>
                        <a:pt x="19" y="86"/>
                      </a:lnTo>
                      <a:lnTo>
                        <a:pt x="19" y="85"/>
                      </a:lnTo>
                      <a:lnTo>
                        <a:pt x="20" y="83"/>
                      </a:lnTo>
                      <a:lnTo>
                        <a:pt x="20" y="80"/>
                      </a:lnTo>
                      <a:lnTo>
                        <a:pt x="21" y="80"/>
                      </a:lnTo>
                      <a:lnTo>
                        <a:pt x="21" y="79"/>
                      </a:lnTo>
                      <a:lnTo>
                        <a:pt x="20" y="79"/>
                      </a:lnTo>
                      <a:lnTo>
                        <a:pt x="20" y="78"/>
                      </a:lnTo>
                      <a:lnTo>
                        <a:pt x="21" y="77"/>
                      </a:lnTo>
                      <a:lnTo>
                        <a:pt x="21" y="76"/>
                      </a:lnTo>
                      <a:lnTo>
                        <a:pt x="20" y="71"/>
                      </a:lnTo>
                      <a:lnTo>
                        <a:pt x="20" y="70"/>
                      </a:lnTo>
                      <a:lnTo>
                        <a:pt x="19" y="70"/>
                      </a:lnTo>
                      <a:lnTo>
                        <a:pt x="18" y="70"/>
                      </a:lnTo>
                      <a:lnTo>
                        <a:pt x="18" y="69"/>
                      </a:lnTo>
                      <a:lnTo>
                        <a:pt x="18" y="67"/>
                      </a:lnTo>
                      <a:lnTo>
                        <a:pt x="19" y="67"/>
                      </a:lnTo>
                      <a:lnTo>
                        <a:pt x="19" y="64"/>
                      </a:lnTo>
                      <a:lnTo>
                        <a:pt x="20" y="64"/>
                      </a:lnTo>
                      <a:lnTo>
                        <a:pt x="20" y="63"/>
                      </a:lnTo>
                      <a:lnTo>
                        <a:pt x="20" y="62"/>
                      </a:lnTo>
                      <a:lnTo>
                        <a:pt x="22" y="58"/>
                      </a:lnTo>
                      <a:lnTo>
                        <a:pt x="23" y="57"/>
                      </a:lnTo>
                      <a:lnTo>
                        <a:pt x="23" y="56"/>
                      </a:lnTo>
                      <a:lnTo>
                        <a:pt x="22" y="55"/>
                      </a:lnTo>
                      <a:lnTo>
                        <a:pt x="21" y="53"/>
                      </a:lnTo>
                      <a:lnTo>
                        <a:pt x="21" y="52"/>
                      </a:lnTo>
                      <a:lnTo>
                        <a:pt x="20" y="51"/>
                      </a:lnTo>
                      <a:lnTo>
                        <a:pt x="20" y="50"/>
                      </a:lnTo>
                      <a:lnTo>
                        <a:pt x="20" y="49"/>
                      </a:lnTo>
                      <a:lnTo>
                        <a:pt x="20" y="48"/>
                      </a:lnTo>
                      <a:lnTo>
                        <a:pt x="19" y="48"/>
                      </a:lnTo>
                      <a:lnTo>
                        <a:pt x="19" y="47"/>
                      </a:lnTo>
                      <a:lnTo>
                        <a:pt x="20" y="47"/>
                      </a:lnTo>
                      <a:lnTo>
                        <a:pt x="21" y="45"/>
                      </a:lnTo>
                      <a:lnTo>
                        <a:pt x="22" y="45"/>
                      </a:lnTo>
                      <a:lnTo>
                        <a:pt x="22" y="44"/>
                      </a:lnTo>
                      <a:lnTo>
                        <a:pt x="23" y="44"/>
                      </a:lnTo>
                      <a:lnTo>
                        <a:pt x="25" y="45"/>
                      </a:lnTo>
                      <a:lnTo>
                        <a:pt x="25" y="44"/>
                      </a:lnTo>
                      <a:lnTo>
                        <a:pt x="26" y="44"/>
                      </a:lnTo>
                      <a:lnTo>
                        <a:pt x="27" y="44"/>
                      </a:lnTo>
                      <a:lnTo>
                        <a:pt x="27" y="43"/>
                      </a:lnTo>
                      <a:lnTo>
                        <a:pt x="28" y="42"/>
                      </a:lnTo>
                      <a:lnTo>
                        <a:pt x="29" y="41"/>
                      </a:lnTo>
                      <a:lnTo>
                        <a:pt x="29" y="40"/>
                      </a:lnTo>
                      <a:lnTo>
                        <a:pt x="30" y="40"/>
                      </a:lnTo>
                      <a:lnTo>
                        <a:pt x="32" y="38"/>
                      </a:lnTo>
                      <a:lnTo>
                        <a:pt x="33" y="37"/>
                      </a:lnTo>
                      <a:lnTo>
                        <a:pt x="32" y="36"/>
                      </a:lnTo>
                      <a:lnTo>
                        <a:pt x="30" y="35"/>
                      </a:lnTo>
                      <a:lnTo>
                        <a:pt x="30" y="34"/>
                      </a:lnTo>
                      <a:lnTo>
                        <a:pt x="29" y="33"/>
                      </a:lnTo>
                      <a:lnTo>
                        <a:pt x="28" y="30"/>
                      </a:lnTo>
                      <a:lnTo>
                        <a:pt x="28" y="29"/>
                      </a:lnTo>
                      <a:lnTo>
                        <a:pt x="28" y="28"/>
                      </a:lnTo>
                      <a:lnTo>
                        <a:pt x="28" y="27"/>
                      </a:lnTo>
                      <a:lnTo>
                        <a:pt x="27" y="26"/>
                      </a:lnTo>
                      <a:lnTo>
                        <a:pt x="26" y="24"/>
                      </a:lnTo>
                      <a:lnTo>
                        <a:pt x="25" y="24"/>
                      </a:lnTo>
                      <a:lnTo>
                        <a:pt x="25" y="23"/>
                      </a:lnTo>
                      <a:lnTo>
                        <a:pt x="23" y="23"/>
                      </a:lnTo>
                      <a:lnTo>
                        <a:pt x="21" y="22"/>
                      </a:lnTo>
                      <a:lnTo>
                        <a:pt x="21" y="21"/>
                      </a:lnTo>
                      <a:lnTo>
                        <a:pt x="21" y="20"/>
                      </a:lnTo>
                      <a:lnTo>
                        <a:pt x="21" y="19"/>
                      </a:lnTo>
                      <a:lnTo>
                        <a:pt x="22" y="16"/>
                      </a:lnTo>
                      <a:lnTo>
                        <a:pt x="22" y="15"/>
                      </a:lnTo>
                      <a:lnTo>
                        <a:pt x="22" y="14"/>
                      </a:lnTo>
                      <a:lnTo>
                        <a:pt x="21" y="13"/>
                      </a:lnTo>
                      <a:lnTo>
                        <a:pt x="20" y="13"/>
                      </a:lnTo>
                      <a:lnTo>
                        <a:pt x="19" y="12"/>
                      </a:lnTo>
                      <a:lnTo>
                        <a:pt x="19" y="10"/>
                      </a:lnTo>
                      <a:lnTo>
                        <a:pt x="18" y="10"/>
                      </a:lnTo>
                      <a:lnTo>
                        <a:pt x="18" y="9"/>
                      </a:lnTo>
                      <a:lnTo>
                        <a:pt x="18" y="8"/>
                      </a:lnTo>
                      <a:lnTo>
                        <a:pt x="18" y="7"/>
                      </a:lnTo>
                      <a:lnTo>
                        <a:pt x="16" y="7"/>
                      </a:lnTo>
                      <a:lnTo>
                        <a:pt x="15" y="7"/>
                      </a:lnTo>
                      <a:lnTo>
                        <a:pt x="14" y="6"/>
                      </a:lnTo>
                      <a:lnTo>
                        <a:pt x="14" y="7"/>
                      </a:lnTo>
                      <a:lnTo>
                        <a:pt x="14" y="8"/>
                      </a:lnTo>
                      <a:lnTo>
                        <a:pt x="13" y="8"/>
                      </a:lnTo>
                      <a:lnTo>
                        <a:pt x="13" y="7"/>
                      </a:lnTo>
                      <a:lnTo>
                        <a:pt x="12" y="7"/>
                      </a:lnTo>
                      <a:lnTo>
                        <a:pt x="11" y="7"/>
                      </a:lnTo>
                      <a:lnTo>
                        <a:pt x="11" y="5"/>
                      </a:lnTo>
                      <a:lnTo>
                        <a:pt x="11" y="3"/>
                      </a:lnTo>
                      <a:lnTo>
                        <a:pt x="11" y="2"/>
                      </a:lnTo>
                      <a:lnTo>
                        <a:pt x="9" y="2"/>
                      </a:lnTo>
                      <a:lnTo>
                        <a:pt x="8" y="2"/>
                      </a:lnTo>
                      <a:lnTo>
                        <a:pt x="8" y="0"/>
                      </a:lnTo>
                      <a:lnTo>
                        <a:pt x="9" y="0"/>
                      </a:lnTo>
                      <a:lnTo>
                        <a:pt x="11" y="0"/>
                      </a:lnTo>
                      <a:lnTo>
                        <a:pt x="13" y="1"/>
                      </a:lnTo>
                      <a:close/>
                    </a:path>
                  </a:pathLst>
                </a:custGeom>
                <a:solidFill>
                  <a:srgbClr val="C8C8C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grpSp>
          <p:grpSp>
            <p:nvGrpSpPr>
              <p:cNvPr id="89" name="Group 526">
                <a:extLst>
                  <a:ext uri="{FF2B5EF4-FFF2-40B4-BE49-F238E27FC236}">
                    <a16:creationId xmlns:a16="http://schemas.microsoft.com/office/drawing/2014/main" id="{737A4B61-E04A-FFB3-FF5E-D680FC350977}"/>
                  </a:ext>
                </a:extLst>
              </p:cNvPr>
              <p:cNvGrpSpPr/>
              <p:nvPr/>
            </p:nvGrpSpPr>
            <p:grpSpPr>
              <a:xfrm>
                <a:off x="5629819" y="2588158"/>
                <a:ext cx="2466432" cy="2554998"/>
                <a:chOff x="5629819" y="2588158"/>
                <a:chExt cx="2466432" cy="2554998"/>
              </a:xfrm>
            </p:grpSpPr>
            <p:sp>
              <p:nvSpPr>
                <p:cNvPr id="105" name="Freeform 72">
                  <a:extLst>
                    <a:ext uri="{FF2B5EF4-FFF2-40B4-BE49-F238E27FC236}">
                      <a16:creationId xmlns:a16="http://schemas.microsoft.com/office/drawing/2014/main" id="{0A281CB8-7EEA-18BE-BA40-08B218A4D6A8}"/>
                    </a:ext>
                  </a:extLst>
                </p:cNvPr>
                <p:cNvSpPr>
                  <a:spLocks noEditPoints="1"/>
                </p:cNvSpPr>
                <p:nvPr/>
              </p:nvSpPr>
              <p:spPr bwMode="auto">
                <a:xfrm>
                  <a:off x="6632586" y="3948975"/>
                  <a:ext cx="420794" cy="472716"/>
                </a:xfrm>
                <a:custGeom>
                  <a:avLst/>
                  <a:gdLst>
                    <a:gd name="T0" fmla="*/ 80 w 389"/>
                    <a:gd name="T1" fmla="*/ 47 h 437"/>
                    <a:gd name="T2" fmla="*/ 126 w 389"/>
                    <a:gd name="T3" fmla="*/ 46 h 437"/>
                    <a:gd name="T4" fmla="*/ 154 w 389"/>
                    <a:gd name="T5" fmla="*/ 49 h 437"/>
                    <a:gd name="T6" fmla="*/ 159 w 389"/>
                    <a:gd name="T7" fmla="*/ 68 h 437"/>
                    <a:gd name="T8" fmla="*/ 164 w 389"/>
                    <a:gd name="T9" fmla="*/ 83 h 437"/>
                    <a:gd name="T10" fmla="*/ 173 w 389"/>
                    <a:gd name="T11" fmla="*/ 98 h 437"/>
                    <a:gd name="T12" fmla="*/ 181 w 389"/>
                    <a:gd name="T13" fmla="*/ 111 h 437"/>
                    <a:gd name="T14" fmla="*/ 196 w 389"/>
                    <a:gd name="T15" fmla="*/ 116 h 437"/>
                    <a:gd name="T16" fmla="*/ 221 w 389"/>
                    <a:gd name="T17" fmla="*/ 111 h 437"/>
                    <a:gd name="T18" fmla="*/ 241 w 389"/>
                    <a:gd name="T19" fmla="*/ 102 h 437"/>
                    <a:gd name="T20" fmla="*/ 249 w 389"/>
                    <a:gd name="T21" fmla="*/ 82 h 437"/>
                    <a:gd name="T22" fmla="*/ 270 w 389"/>
                    <a:gd name="T23" fmla="*/ 80 h 437"/>
                    <a:gd name="T24" fmla="*/ 289 w 389"/>
                    <a:gd name="T25" fmla="*/ 90 h 437"/>
                    <a:gd name="T26" fmla="*/ 319 w 389"/>
                    <a:gd name="T27" fmla="*/ 95 h 437"/>
                    <a:gd name="T28" fmla="*/ 317 w 389"/>
                    <a:gd name="T29" fmla="*/ 110 h 437"/>
                    <a:gd name="T30" fmla="*/ 323 w 389"/>
                    <a:gd name="T31" fmla="*/ 132 h 437"/>
                    <a:gd name="T32" fmla="*/ 319 w 389"/>
                    <a:gd name="T33" fmla="*/ 160 h 437"/>
                    <a:gd name="T34" fmla="*/ 331 w 389"/>
                    <a:gd name="T35" fmla="*/ 181 h 437"/>
                    <a:gd name="T36" fmla="*/ 333 w 389"/>
                    <a:gd name="T37" fmla="*/ 201 h 437"/>
                    <a:gd name="T38" fmla="*/ 339 w 389"/>
                    <a:gd name="T39" fmla="*/ 214 h 437"/>
                    <a:gd name="T40" fmla="*/ 362 w 389"/>
                    <a:gd name="T41" fmla="*/ 210 h 437"/>
                    <a:gd name="T42" fmla="*/ 387 w 389"/>
                    <a:gd name="T43" fmla="*/ 205 h 437"/>
                    <a:gd name="T44" fmla="*/ 387 w 389"/>
                    <a:gd name="T45" fmla="*/ 230 h 437"/>
                    <a:gd name="T46" fmla="*/ 384 w 389"/>
                    <a:gd name="T47" fmla="*/ 263 h 437"/>
                    <a:gd name="T48" fmla="*/ 344 w 389"/>
                    <a:gd name="T49" fmla="*/ 272 h 437"/>
                    <a:gd name="T50" fmla="*/ 324 w 389"/>
                    <a:gd name="T51" fmla="*/ 332 h 437"/>
                    <a:gd name="T52" fmla="*/ 326 w 389"/>
                    <a:gd name="T53" fmla="*/ 378 h 437"/>
                    <a:gd name="T54" fmla="*/ 334 w 389"/>
                    <a:gd name="T55" fmla="*/ 391 h 437"/>
                    <a:gd name="T56" fmla="*/ 349 w 389"/>
                    <a:gd name="T57" fmla="*/ 409 h 437"/>
                    <a:gd name="T58" fmla="*/ 366 w 389"/>
                    <a:gd name="T59" fmla="*/ 420 h 437"/>
                    <a:gd name="T60" fmla="*/ 301 w 389"/>
                    <a:gd name="T61" fmla="*/ 433 h 437"/>
                    <a:gd name="T62" fmla="*/ 278 w 389"/>
                    <a:gd name="T63" fmla="*/ 434 h 437"/>
                    <a:gd name="T64" fmla="*/ 255 w 389"/>
                    <a:gd name="T65" fmla="*/ 431 h 437"/>
                    <a:gd name="T66" fmla="*/ 223 w 389"/>
                    <a:gd name="T67" fmla="*/ 426 h 437"/>
                    <a:gd name="T68" fmla="*/ 155 w 389"/>
                    <a:gd name="T69" fmla="*/ 416 h 437"/>
                    <a:gd name="T70" fmla="*/ 71 w 389"/>
                    <a:gd name="T71" fmla="*/ 417 h 437"/>
                    <a:gd name="T72" fmla="*/ 47 w 389"/>
                    <a:gd name="T73" fmla="*/ 402 h 437"/>
                    <a:gd name="T74" fmla="*/ 25 w 389"/>
                    <a:gd name="T75" fmla="*/ 411 h 437"/>
                    <a:gd name="T76" fmla="*/ 6 w 389"/>
                    <a:gd name="T77" fmla="*/ 412 h 437"/>
                    <a:gd name="T78" fmla="*/ 4 w 389"/>
                    <a:gd name="T79" fmla="*/ 374 h 437"/>
                    <a:gd name="T80" fmla="*/ 12 w 389"/>
                    <a:gd name="T81" fmla="*/ 354 h 437"/>
                    <a:gd name="T82" fmla="*/ 18 w 389"/>
                    <a:gd name="T83" fmla="*/ 333 h 437"/>
                    <a:gd name="T84" fmla="*/ 20 w 389"/>
                    <a:gd name="T85" fmla="*/ 309 h 437"/>
                    <a:gd name="T86" fmla="*/ 27 w 389"/>
                    <a:gd name="T87" fmla="*/ 291 h 437"/>
                    <a:gd name="T88" fmla="*/ 40 w 389"/>
                    <a:gd name="T89" fmla="*/ 273 h 437"/>
                    <a:gd name="T90" fmla="*/ 52 w 389"/>
                    <a:gd name="T91" fmla="*/ 260 h 437"/>
                    <a:gd name="T92" fmla="*/ 63 w 389"/>
                    <a:gd name="T93" fmla="*/ 244 h 437"/>
                    <a:gd name="T94" fmla="*/ 68 w 389"/>
                    <a:gd name="T95" fmla="*/ 211 h 437"/>
                    <a:gd name="T96" fmla="*/ 55 w 389"/>
                    <a:gd name="T97" fmla="*/ 181 h 437"/>
                    <a:gd name="T98" fmla="*/ 45 w 389"/>
                    <a:gd name="T99" fmla="*/ 156 h 437"/>
                    <a:gd name="T100" fmla="*/ 48 w 389"/>
                    <a:gd name="T101" fmla="*/ 139 h 437"/>
                    <a:gd name="T102" fmla="*/ 53 w 389"/>
                    <a:gd name="T103" fmla="*/ 129 h 437"/>
                    <a:gd name="T104" fmla="*/ 35 w 389"/>
                    <a:gd name="T105" fmla="*/ 89 h 437"/>
                    <a:gd name="T106" fmla="*/ 18 w 389"/>
                    <a:gd name="T107" fmla="*/ 55 h 437"/>
                    <a:gd name="T108" fmla="*/ 33 w 389"/>
                    <a:gd name="T109" fmla="*/ 52 h 437"/>
                    <a:gd name="T110" fmla="*/ 56 w 389"/>
                    <a:gd name="T111" fmla="*/ 46 h 437"/>
                    <a:gd name="T112" fmla="*/ 35 w 389"/>
                    <a:gd name="T113" fmla="*/ 11 h 437"/>
                    <a:gd name="T114" fmla="*/ 25 w 389"/>
                    <a:gd name="T115" fmla="*/ 25 h 437"/>
                    <a:gd name="T116" fmla="*/ 14 w 389"/>
                    <a:gd name="T117" fmla="*/ 32 h 437"/>
                    <a:gd name="T118" fmla="*/ 10 w 389"/>
                    <a:gd name="T119" fmla="*/ 20 h 437"/>
                    <a:gd name="T120" fmla="*/ 28 w 389"/>
                    <a:gd name="T121" fmla="*/ 5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9" h="437">
                      <a:moveTo>
                        <a:pt x="3" y="393"/>
                      </a:moveTo>
                      <a:lnTo>
                        <a:pt x="2" y="393"/>
                      </a:lnTo>
                      <a:lnTo>
                        <a:pt x="2" y="392"/>
                      </a:lnTo>
                      <a:lnTo>
                        <a:pt x="0" y="389"/>
                      </a:lnTo>
                      <a:lnTo>
                        <a:pt x="0" y="388"/>
                      </a:lnTo>
                      <a:lnTo>
                        <a:pt x="2" y="388"/>
                      </a:lnTo>
                      <a:lnTo>
                        <a:pt x="2" y="389"/>
                      </a:lnTo>
                      <a:lnTo>
                        <a:pt x="2" y="390"/>
                      </a:lnTo>
                      <a:lnTo>
                        <a:pt x="2" y="391"/>
                      </a:lnTo>
                      <a:lnTo>
                        <a:pt x="3" y="392"/>
                      </a:lnTo>
                      <a:lnTo>
                        <a:pt x="3" y="393"/>
                      </a:lnTo>
                      <a:close/>
                      <a:moveTo>
                        <a:pt x="71" y="46"/>
                      </a:moveTo>
                      <a:lnTo>
                        <a:pt x="73" y="46"/>
                      </a:lnTo>
                      <a:lnTo>
                        <a:pt x="73" y="47"/>
                      </a:lnTo>
                      <a:lnTo>
                        <a:pt x="76" y="46"/>
                      </a:lnTo>
                      <a:lnTo>
                        <a:pt x="77" y="46"/>
                      </a:lnTo>
                      <a:lnTo>
                        <a:pt x="78" y="47"/>
                      </a:lnTo>
                      <a:lnTo>
                        <a:pt x="80" y="47"/>
                      </a:lnTo>
                      <a:lnTo>
                        <a:pt x="83" y="47"/>
                      </a:lnTo>
                      <a:lnTo>
                        <a:pt x="85" y="47"/>
                      </a:lnTo>
                      <a:lnTo>
                        <a:pt x="86" y="47"/>
                      </a:lnTo>
                      <a:lnTo>
                        <a:pt x="89" y="47"/>
                      </a:lnTo>
                      <a:lnTo>
                        <a:pt x="90" y="47"/>
                      </a:lnTo>
                      <a:lnTo>
                        <a:pt x="93" y="47"/>
                      </a:lnTo>
                      <a:lnTo>
                        <a:pt x="96" y="47"/>
                      </a:lnTo>
                      <a:lnTo>
                        <a:pt x="97" y="47"/>
                      </a:lnTo>
                      <a:lnTo>
                        <a:pt x="99" y="47"/>
                      </a:lnTo>
                      <a:lnTo>
                        <a:pt x="103" y="47"/>
                      </a:lnTo>
                      <a:lnTo>
                        <a:pt x="105" y="47"/>
                      </a:lnTo>
                      <a:lnTo>
                        <a:pt x="109" y="46"/>
                      </a:lnTo>
                      <a:lnTo>
                        <a:pt x="111" y="46"/>
                      </a:lnTo>
                      <a:lnTo>
                        <a:pt x="114" y="46"/>
                      </a:lnTo>
                      <a:lnTo>
                        <a:pt x="117" y="46"/>
                      </a:lnTo>
                      <a:lnTo>
                        <a:pt x="120" y="46"/>
                      </a:lnTo>
                      <a:lnTo>
                        <a:pt x="123" y="46"/>
                      </a:lnTo>
                      <a:lnTo>
                        <a:pt x="126" y="46"/>
                      </a:lnTo>
                      <a:lnTo>
                        <a:pt x="128" y="46"/>
                      </a:lnTo>
                      <a:lnTo>
                        <a:pt x="132" y="46"/>
                      </a:lnTo>
                      <a:lnTo>
                        <a:pt x="134" y="46"/>
                      </a:lnTo>
                      <a:lnTo>
                        <a:pt x="138" y="46"/>
                      </a:lnTo>
                      <a:lnTo>
                        <a:pt x="140" y="46"/>
                      </a:lnTo>
                      <a:lnTo>
                        <a:pt x="144" y="46"/>
                      </a:lnTo>
                      <a:lnTo>
                        <a:pt x="145" y="46"/>
                      </a:lnTo>
                      <a:lnTo>
                        <a:pt x="146" y="46"/>
                      </a:lnTo>
                      <a:lnTo>
                        <a:pt x="147" y="47"/>
                      </a:lnTo>
                      <a:lnTo>
                        <a:pt x="148" y="47"/>
                      </a:lnTo>
                      <a:lnTo>
                        <a:pt x="149" y="47"/>
                      </a:lnTo>
                      <a:lnTo>
                        <a:pt x="150" y="47"/>
                      </a:lnTo>
                      <a:lnTo>
                        <a:pt x="152" y="47"/>
                      </a:lnTo>
                      <a:lnTo>
                        <a:pt x="153" y="47"/>
                      </a:lnTo>
                      <a:lnTo>
                        <a:pt x="154" y="48"/>
                      </a:lnTo>
                      <a:lnTo>
                        <a:pt x="153" y="48"/>
                      </a:lnTo>
                      <a:lnTo>
                        <a:pt x="153" y="49"/>
                      </a:lnTo>
                      <a:lnTo>
                        <a:pt x="154" y="49"/>
                      </a:lnTo>
                      <a:lnTo>
                        <a:pt x="154" y="52"/>
                      </a:lnTo>
                      <a:lnTo>
                        <a:pt x="155" y="52"/>
                      </a:lnTo>
                      <a:lnTo>
                        <a:pt x="155" y="53"/>
                      </a:lnTo>
                      <a:lnTo>
                        <a:pt x="154" y="53"/>
                      </a:lnTo>
                      <a:lnTo>
                        <a:pt x="155" y="53"/>
                      </a:lnTo>
                      <a:lnTo>
                        <a:pt x="156" y="54"/>
                      </a:lnTo>
                      <a:lnTo>
                        <a:pt x="157" y="55"/>
                      </a:lnTo>
                      <a:lnTo>
                        <a:pt x="157" y="56"/>
                      </a:lnTo>
                      <a:lnTo>
                        <a:pt x="157" y="58"/>
                      </a:lnTo>
                      <a:lnTo>
                        <a:pt x="157" y="60"/>
                      </a:lnTo>
                      <a:lnTo>
                        <a:pt x="157" y="61"/>
                      </a:lnTo>
                      <a:lnTo>
                        <a:pt x="156" y="61"/>
                      </a:lnTo>
                      <a:lnTo>
                        <a:pt x="156" y="63"/>
                      </a:lnTo>
                      <a:lnTo>
                        <a:pt x="157" y="63"/>
                      </a:lnTo>
                      <a:lnTo>
                        <a:pt x="157" y="65"/>
                      </a:lnTo>
                      <a:lnTo>
                        <a:pt x="157" y="66"/>
                      </a:lnTo>
                      <a:lnTo>
                        <a:pt x="159" y="67"/>
                      </a:lnTo>
                      <a:lnTo>
                        <a:pt x="159" y="68"/>
                      </a:lnTo>
                      <a:lnTo>
                        <a:pt x="159" y="69"/>
                      </a:lnTo>
                      <a:lnTo>
                        <a:pt x="159" y="70"/>
                      </a:lnTo>
                      <a:lnTo>
                        <a:pt x="159" y="72"/>
                      </a:lnTo>
                      <a:lnTo>
                        <a:pt x="160" y="73"/>
                      </a:lnTo>
                      <a:lnTo>
                        <a:pt x="161" y="75"/>
                      </a:lnTo>
                      <a:lnTo>
                        <a:pt x="161" y="76"/>
                      </a:lnTo>
                      <a:lnTo>
                        <a:pt x="162" y="76"/>
                      </a:lnTo>
                      <a:lnTo>
                        <a:pt x="162" y="77"/>
                      </a:lnTo>
                      <a:lnTo>
                        <a:pt x="163" y="77"/>
                      </a:lnTo>
                      <a:lnTo>
                        <a:pt x="164" y="77"/>
                      </a:lnTo>
                      <a:lnTo>
                        <a:pt x="164" y="79"/>
                      </a:lnTo>
                      <a:lnTo>
                        <a:pt x="164" y="80"/>
                      </a:lnTo>
                      <a:lnTo>
                        <a:pt x="164" y="81"/>
                      </a:lnTo>
                      <a:lnTo>
                        <a:pt x="166" y="81"/>
                      </a:lnTo>
                      <a:lnTo>
                        <a:pt x="166" y="82"/>
                      </a:lnTo>
                      <a:lnTo>
                        <a:pt x="166" y="83"/>
                      </a:lnTo>
                      <a:lnTo>
                        <a:pt x="166" y="84"/>
                      </a:lnTo>
                      <a:lnTo>
                        <a:pt x="164" y="83"/>
                      </a:lnTo>
                      <a:lnTo>
                        <a:pt x="164" y="84"/>
                      </a:lnTo>
                      <a:lnTo>
                        <a:pt x="164" y="87"/>
                      </a:lnTo>
                      <a:lnTo>
                        <a:pt x="164" y="88"/>
                      </a:lnTo>
                      <a:lnTo>
                        <a:pt x="166" y="89"/>
                      </a:lnTo>
                      <a:lnTo>
                        <a:pt x="167" y="90"/>
                      </a:lnTo>
                      <a:lnTo>
                        <a:pt x="167" y="91"/>
                      </a:lnTo>
                      <a:lnTo>
                        <a:pt x="168" y="91"/>
                      </a:lnTo>
                      <a:lnTo>
                        <a:pt x="168" y="93"/>
                      </a:lnTo>
                      <a:lnTo>
                        <a:pt x="169" y="93"/>
                      </a:lnTo>
                      <a:lnTo>
                        <a:pt x="170" y="94"/>
                      </a:lnTo>
                      <a:lnTo>
                        <a:pt x="170" y="95"/>
                      </a:lnTo>
                      <a:lnTo>
                        <a:pt x="171" y="95"/>
                      </a:lnTo>
                      <a:lnTo>
                        <a:pt x="173" y="95"/>
                      </a:lnTo>
                      <a:lnTo>
                        <a:pt x="173" y="96"/>
                      </a:lnTo>
                      <a:lnTo>
                        <a:pt x="171" y="96"/>
                      </a:lnTo>
                      <a:lnTo>
                        <a:pt x="171" y="97"/>
                      </a:lnTo>
                      <a:lnTo>
                        <a:pt x="173" y="97"/>
                      </a:lnTo>
                      <a:lnTo>
                        <a:pt x="173" y="98"/>
                      </a:lnTo>
                      <a:lnTo>
                        <a:pt x="173" y="100"/>
                      </a:lnTo>
                      <a:lnTo>
                        <a:pt x="174" y="101"/>
                      </a:lnTo>
                      <a:lnTo>
                        <a:pt x="175" y="101"/>
                      </a:lnTo>
                      <a:lnTo>
                        <a:pt x="176" y="102"/>
                      </a:lnTo>
                      <a:lnTo>
                        <a:pt x="176" y="103"/>
                      </a:lnTo>
                      <a:lnTo>
                        <a:pt x="176" y="104"/>
                      </a:lnTo>
                      <a:lnTo>
                        <a:pt x="177" y="104"/>
                      </a:lnTo>
                      <a:lnTo>
                        <a:pt x="176" y="105"/>
                      </a:lnTo>
                      <a:lnTo>
                        <a:pt x="177" y="105"/>
                      </a:lnTo>
                      <a:lnTo>
                        <a:pt x="177" y="107"/>
                      </a:lnTo>
                      <a:lnTo>
                        <a:pt x="178" y="107"/>
                      </a:lnTo>
                      <a:lnTo>
                        <a:pt x="178" y="108"/>
                      </a:lnTo>
                      <a:lnTo>
                        <a:pt x="180" y="108"/>
                      </a:lnTo>
                      <a:lnTo>
                        <a:pt x="180" y="109"/>
                      </a:lnTo>
                      <a:lnTo>
                        <a:pt x="181" y="110"/>
                      </a:lnTo>
                      <a:lnTo>
                        <a:pt x="181" y="109"/>
                      </a:lnTo>
                      <a:lnTo>
                        <a:pt x="181" y="110"/>
                      </a:lnTo>
                      <a:lnTo>
                        <a:pt x="181" y="111"/>
                      </a:lnTo>
                      <a:lnTo>
                        <a:pt x="182" y="111"/>
                      </a:lnTo>
                      <a:lnTo>
                        <a:pt x="182" y="112"/>
                      </a:lnTo>
                      <a:lnTo>
                        <a:pt x="182" y="111"/>
                      </a:lnTo>
                      <a:lnTo>
                        <a:pt x="182" y="112"/>
                      </a:lnTo>
                      <a:lnTo>
                        <a:pt x="182" y="114"/>
                      </a:lnTo>
                      <a:lnTo>
                        <a:pt x="183" y="114"/>
                      </a:lnTo>
                      <a:lnTo>
                        <a:pt x="184" y="114"/>
                      </a:lnTo>
                      <a:lnTo>
                        <a:pt x="184" y="115"/>
                      </a:lnTo>
                      <a:lnTo>
                        <a:pt x="183" y="116"/>
                      </a:lnTo>
                      <a:lnTo>
                        <a:pt x="184" y="116"/>
                      </a:lnTo>
                      <a:lnTo>
                        <a:pt x="185" y="117"/>
                      </a:lnTo>
                      <a:lnTo>
                        <a:pt x="187" y="117"/>
                      </a:lnTo>
                      <a:lnTo>
                        <a:pt x="189" y="116"/>
                      </a:lnTo>
                      <a:lnTo>
                        <a:pt x="190" y="116"/>
                      </a:lnTo>
                      <a:lnTo>
                        <a:pt x="191" y="116"/>
                      </a:lnTo>
                      <a:lnTo>
                        <a:pt x="194" y="115"/>
                      </a:lnTo>
                      <a:lnTo>
                        <a:pt x="195" y="115"/>
                      </a:lnTo>
                      <a:lnTo>
                        <a:pt x="196" y="116"/>
                      </a:lnTo>
                      <a:lnTo>
                        <a:pt x="198" y="117"/>
                      </a:lnTo>
                      <a:lnTo>
                        <a:pt x="202" y="117"/>
                      </a:lnTo>
                      <a:lnTo>
                        <a:pt x="202" y="116"/>
                      </a:lnTo>
                      <a:lnTo>
                        <a:pt x="202" y="115"/>
                      </a:lnTo>
                      <a:lnTo>
                        <a:pt x="202" y="114"/>
                      </a:lnTo>
                      <a:lnTo>
                        <a:pt x="203" y="114"/>
                      </a:lnTo>
                      <a:lnTo>
                        <a:pt x="204" y="114"/>
                      </a:lnTo>
                      <a:lnTo>
                        <a:pt x="206" y="114"/>
                      </a:lnTo>
                      <a:lnTo>
                        <a:pt x="209" y="114"/>
                      </a:lnTo>
                      <a:lnTo>
                        <a:pt x="210" y="114"/>
                      </a:lnTo>
                      <a:lnTo>
                        <a:pt x="211" y="114"/>
                      </a:lnTo>
                      <a:lnTo>
                        <a:pt x="213" y="114"/>
                      </a:lnTo>
                      <a:lnTo>
                        <a:pt x="214" y="114"/>
                      </a:lnTo>
                      <a:lnTo>
                        <a:pt x="214" y="112"/>
                      </a:lnTo>
                      <a:lnTo>
                        <a:pt x="214" y="111"/>
                      </a:lnTo>
                      <a:lnTo>
                        <a:pt x="217" y="111"/>
                      </a:lnTo>
                      <a:lnTo>
                        <a:pt x="219" y="111"/>
                      </a:lnTo>
                      <a:lnTo>
                        <a:pt x="221" y="111"/>
                      </a:lnTo>
                      <a:lnTo>
                        <a:pt x="221" y="112"/>
                      </a:lnTo>
                      <a:lnTo>
                        <a:pt x="223" y="112"/>
                      </a:lnTo>
                      <a:lnTo>
                        <a:pt x="223" y="114"/>
                      </a:lnTo>
                      <a:lnTo>
                        <a:pt x="224" y="114"/>
                      </a:lnTo>
                      <a:lnTo>
                        <a:pt x="228" y="114"/>
                      </a:lnTo>
                      <a:lnTo>
                        <a:pt x="232" y="114"/>
                      </a:lnTo>
                      <a:lnTo>
                        <a:pt x="237" y="114"/>
                      </a:lnTo>
                      <a:lnTo>
                        <a:pt x="240" y="114"/>
                      </a:lnTo>
                      <a:lnTo>
                        <a:pt x="241" y="114"/>
                      </a:lnTo>
                      <a:lnTo>
                        <a:pt x="240" y="111"/>
                      </a:lnTo>
                      <a:lnTo>
                        <a:pt x="240" y="110"/>
                      </a:lnTo>
                      <a:lnTo>
                        <a:pt x="240" y="109"/>
                      </a:lnTo>
                      <a:lnTo>
                        <a:pt x="241" y="108"/>
                      </a:lnTo>
                      <a:lnTo>
                        <a:pt x="241" y="107"/>
                      </a:lnTo>
                      <a:lnTo>
                        <a:pt x="241" y="104"/>
                      </a:lnTo>
                      <a:lnTo>
                        <a:pt x="242" y="104"/>
                      </a:lnTo>
                      <a:lnTo>
                        <a:pt x="241" y="103"/>
                      </a:lnTo>
                      <a:lnTo>
                        <a:pt x="241" y="102"/>
                      </a:lnTo>
                      <a:lnTo>
                        <a:pt x="241" y="101"/>
                      </a:lnTo>
                      <a:lnTo>
                        <a:pt x="241" y="100"/>
                      </a:lnTo>
                      <a:lnTo>
                        <a:pt x="244" y="100"/>
                      </a:lnTo>
                      <a:lnTo>
                        <a:pt x="245" y="100"/>
                      </a:lnTo>
                      <a:lnTo>
                        <a:pt x="245" y="98"/>
                      </a:lnTo>
                      <a:lnTo>
                        <a:pt x="245" y="97"/>
                      </a:lnTo>
                      <a:lnTo>
                        <a:pt x="246" y="97"/>
                      </a:lnTo>
                      <a:lnTo>
                        <a:pt x="246" y="96"/>
                      </a:lnTo>
                      <a:lnTo>
                        <a:pt x="245" y="94"/>
                      </a:lnTo>
                      <a:lnTo>
                        <a:pt x="245" y="93"/>
                      </a:lnTo>
                      <a:lnTo>
                        <a:pt x="245" y="91"/>
                      </a:lnTo>
                      <a:lnTo>
                        <a:pt x="245" y="87"/>
                      </a:lnTo>
                      <a:lnTo>
                        <a:pt x="246" y="86"/>
                      </a:lnTo>
                      <a:lnTo>
                        <a:pt x="246" y="84"/>
                      </a:lnTo>
                      <a:lnTo>
                        <a:pt x="247" y="83"/>
                      </a:lnTo>
                      <a:lnTo>
                        <a:pt x="246" y="82"/>
                      </a:lnTo>
                      <a:lnTo>
                        <a:pt x="248" y="82"/>
                      </a:lnTo>
                      <a:lnTo>
                        <a:pt x="249" y="82"/>
                      </a:lnTo>
                      <a:lnTo>
                        <a:pt x="251" y="82"/>
                      </a:lnTo>
                      <a:lnTo>
                        <a:pt x="252" y="82"/>
                      </a:lnTo>
                      <a:lnTo>
                        <a:pt x="253" y="82"/>
                      </a:lnTo>
                      <a:lnTo>
                        <a:pt x="254" y="82"/>
                      </a:lnTo>
                      <a:lnTo>
                        <a:pt x="256" y="82"/>
                      </a:lnTo>
                      <a:lnTo>
                        <a:pt x="258" y="82"/>
                      </a:lnTo>
                      <a:lnTo>
                        <a:pt x="259" y="82"/>
                      </a:lnTo>
                      <a:lnTo>
                        <a:pt x="260" y="82"/>
                      </a:lnTo>
                      <a:lnTo>
                        <a:pt x="261" y="82"/>
                      </a:lnTo>
                      <a:lnTo>
                        <a:pt x="262" y="82"/>
                      </a:lnTo>
                      <a:lnTo>
                        <a:pt x="263" y="82"/>
                      </a:lnTo>
                      <a:lnTo>
                        <a:pt x="265" y="82"/>
                      </a:lnTo>
                      <a:lnTo>
                        <a:pt x="267" y="82"/>
                      </a:lnTo>
                      <a:lnTo>
                        <a:pt x="268" y="82"/>
                      </a:lnTo>
                      <a:lnTo>
                        <a:pt x="269" y="82"/>
                      </a:lnTo>
                      <a:lnTo>
                        <a:pt x="270" y="82"/>
                      </a:lnTo>
                      <a:lnTo>
                        <a:pt x="270" y="81"/>
                      </a:lnTo>
                      <a:lnTo>
                        <a:pt x="270" y="80"/>
                      </a:lnTo>
                      <a:lnTo>
                        <a:pt x="272" y="80"/>
                      </a:lnTo>
                      <a:lnTo>
                        <a:pt x="272" y="79"/>
                      </a:lnTo>
                      <a:lnTo>
                        <a:pt x="274" y="79"/>
                      </a:lnTo>
                      <a:lnTo>
                        <a:pt x="276" y="79"/>
                      </a:lnTo>
                      <a:lnTo>
                        <a:pt x="278" y="79"/>
                      </a:lnTo>
                      <a:lnTo>
                        <a:pt x="281" y="79"/>
                      </a:lnTo>
                      <a:lnTo>
                        <a:pt x="280" y="81"/>
                      </a:lnTo>
                      <a:lnTo>
                        <a:pt x="278" y="83"/>
                      </a:lnTo>
                      <a:lnTo>
                        <a:pt x="278" y="84"/>
                      </a:lnTo>
                      <a:lnTo>
                        <a:pt x="277" y="86"/>
                      </a:lnTo>
                      <a:lnTo>
                        <a:pt x="277" y="88"/>
                      </a:lnTo>
                      <a:lnTo>
                        <a:pt x="277" y="89"/>
                      </a:lnTo>
                      <a:lnTo>
                        <a:pt x="277" y="90"/>
                      </a:lnTo>
                      <a:lnTo>
                        <a:pt x="280" y="90"/>
                      </a:lnTo>
                      <a:lnTo>
                        <a:pt x="282" y="90"/>
                      </a:lnTo>
                      <a:lnTo>
                        <a:pt x="284" y="90"/>
                      </a:lnTo>
                      <a:lnTo>
                        <a:pt x="287" y="90"/>
                      </a:lnTo>
                      <a:lnTo>
                        <a:pt x="289" y="90"/>
                      </a:lnTo>
                      <a:lnTo>
                        <a:pt x="290" y="90"/>
                      </a:lnTo>
                      <a:lnTo>
                        <a:pt x="292" y="90"/>
                      </a:lnTo>
                      <a:lnTo>
                        <a:pt x="295" y="90"/>
                      </a:lnTo>
                      <a:lnTo>
                        <a:pt x="297" y="90"/>
                      </a:lnTo>
                      <a:lnTo>
                        <a:pt x="299" y="90"/>
                      </a:lnTo>
                      <a:lnTo>
                        <a:pt x="302" y="90"/>
                      </a:lnTo>
                      <a:lnTo>
                        <a:pt x="304" y="90"/>
                      </a:lnTo>
                      <a:lnTo>
                        <a:pt x="306" y="90"/>
                      </a:lnTo>
                      <a:lnTo>
                        <a:pt x="309" y="90"/>
                      </a:lnTo>
                      <a:lnTo>
                        <a:pt x="311" y="90"/>
                      </a:lnTo>
                      <a:lnTo>
                        <a:pt x="313" y="90"/>
                      </a:lnTo>
                      <a:lnTo>
                        <a:pt x="316" y="90"/>
                      </a:lnTo>
                      <a:lnTo>
                        <a:pt x="317" y="90"/>
                      </a:lnTo>
                      <a:lnTo>
                        <a:pt x="318" y="90"/>
                      </a:lnTo>
                      <a:lnTo>
                        <a:pt x="318" y="91"/>
                      </a:lnTo>
                      <a:lnTo>
                        <a:pt x="319" y="93"/>
                      </a:lnTo>
                      <a:lnTo>
                        <a:pt x="319" y="94"/>
                      </a:lnTo>
                      <a:lnTo>
                        <a:pt x="319" y="95"/>
                      </a:lnTo>
                      <a:lnTo>
                        <a:pt x="320" y="95"/>
                      </a:lnTo>
                      <a:lnTo>
                        <a:pt x="319" y="95"/>
                      </a:lnTo>
                      <a:lnTo>
                        <a:pt x="319" y="96"/>
                      </a:lnTo>
                      <a:lnTo>
                        <a:pt x="320" y="96"/>
                      </a:lnTo>
                      <a:lnTo>
                        <a:pt x="320" y="97"/>
                      </a:lnTo>
                      <a:lnTo>
                        <a:pt x="319" y="97"/>
                      </a:lnTo>
                      <a:lnTo>
                        <a:pt x="319" y="98"/>
                      </a:lnTo>
                      <a:lnTo>
                        <a:pt x="320" y="98"/>
                      </a:lnTo>
                      <a:lnTo>
                        <a:pt x="320" y="100"/>
                      </a:lnTo>
                      <a:lnTo>
                        <a:pt x="319" y="101"/>
                      </a:lnTo>
                      <a:lnTo>
                        <a:pt x="319" y="102"/>
                      </a:lnTo>
                      <a:lnTo>
                        <a:pt x="319" y="103"/>
                      </a:lnTo>
                      <a:lnTo>
                        <a:pt x="318" y="103"/>
                      </a:lnTo>
                      <a:lnTo>
                        <a:pt x="318" y="104"/>
                      </a:lnTo>
                      <a:lnTo>
                        <a:pt x="318" y="105"/>
                      </a:lnTo>
                      <a:lnTo>
                        <a:pt x="317" y="107"/>
                      </a:lnTo>
                      <a:lnTo>
                        <a:pt x="317" y="109"/>
                      </a:lnTo>
                      <a:lnTo>
                        <a:pt x="317" y="110"/>
                      </a:lnTo>
                      <a:lnTo>
                        <a:pt x="317" y="111"/>
                      </a:lnTo>
                      <a:lnTo>
                        <a:pt x="317" y="114"/>
                      </a:lnTo>
                      <a:lnTo>
                        <a:pt x="318" y="115"/>
                      </a:lnTo>
                      <a:lnTo>
                        <a:pt x="318" y="116"/>
                      </a:lnTo>
                      <a:lnTo>
                        <a:pt x="319" y="117"/>
                      </a:lnTo>
                      <a:lnTo>
                        <a:pt x="319" y="118"/>
                      </a:lnTo>
                      <a:lnTo>
                        <a:pt x="320" y="118"/>
                      </a:lnTo>
                      <a:lnTo>
                        <a:pt x="320" y="121"/>
                      </a:lnTo>
                      <a:lnTo>
                        <a:pt x="320" y="122"/>
                      </a:lnTo>
                      <a:lnTo>
                        <a:pt x="322" y="123"/>
                      </a:lnTo>
                      <a:lnTo>
                        <a:pt x="322" y="124"/>
                      </a:lnTo>
                      <a:lnTo>
                        <a:pt x="322" y="125"/>
                      </a:lnTo>
                      <a:lnTo>
                        <a:pt x="323" y="126"/>
                      </a:lnTo>
                      <a:lnTo>
                        <a:pt x="323" y="128"/>
                      </a:lnTo>
                      <a:lnTo>
                        <a:pt x="323" y="129"/>
                      </a:lnTo>
                      <a:lnTo>
                        <a:pt x="322" y="131"/>
                      </a:lnTo>
                      <a:lnTo>
                        <a:pt x="323" y="131"/>
                      </a:lnTo>
                      <a:lnTo>
                        <a:pt x="323" y="132"/>
                      </a:lnTo>
                      <a:lnTo>
                        <a:pt x="322" y="132"/>
                      </a:lnTo>
                      <a:lnTo>
                        <a:pt x="322" y="133"/>
                      </a:lnTo>
                      <a:lnTo>
                        <a:pt x="322" y="136"/>
                      </a:lnTo>
                      <a:lnTo>
                        <a:pt x="320" y="138"/>
                      </a:lnTo>
                      <a:lnTo>
                        <a:pt x="320" y="139"/>
                      </a:lnTo>
                      <a:lnTo>
                        <a:pt x="320" y="140"/>
                      </a:lnTo>
                      <a:lnTo>
                        <a:pt x="320" y="143"/>
                      </a:lnTo>
                      <a:lnTo>
                        <a:pt x="320" y="144"/>
                      </a:lnTo>
                      <a:lnTo>
                        <a:pt x="319" y="147"/>
                      </a:lnTo>
                      <a:lnTo>
                        <a:pt x="320" y="151"/>
                      </a:lnTo>
                      <a:lnTo>
                        <a:pt x="320" y="152"/>
                      </a:lnTo>
                      <a:lnTo>
                        <a:pt x="319" y="153"/>
                      </a:lnTo>
                      <a:lnTo>
                        <a:pt x="318" y="156"/>
                      </a:lnTo>
                      <a:lnTo>
                        <a:pt x="318" y="157"/>
                      </a:lnTo>
                      <a:lnTo>
                        <a:pt x="318" y="158"/>
                      </a:lnTo>
                      <a:lnTo>
                        <a:pt x="318" y="159"/>
                      </a:lnTo>
                      <a:lnTo>
                        <a:pt x="319" y="159"/>
                      </a:lnTo>
                      <a:lnTo>
                        <a:pt x="319" y="160"/>
                      </a:lnTo>
                      <a:lnTo>
                        <a:pt x="319" y="164"/>
                      </a:lnTo>
                      <a:lnTo>
                        <a:pt x="320" y="165"/>
                      </a:lnTo>
                      <a:lnTo>
                        <a:pt x="320" y="166"/>
                      </a:lnTo>
                      <a:lnTo>
                        <a:pt x="323" y="168"/>
                      </a:lnTo>
                      <a:lnTo>
                        <a:pt x="323" y="170"/>
                      </a:lnTo>
                      <a:lnTo>
                        <a:pt x="324" y="170"/>
                      </a:lnTo>
                      <a:lnTo>
                        <a:pt x="324" y="168"/>
                      </a:lnTo>
                      <a:lnTo>
                        <a:pt x="324" y="170"/>
                      </a:lnTo>
                      <a:lnTo>
                        <a:pt x="325" y="171"/>
                      </a:lnTo>
                      <a:lnTo>
                        <a:pt x="326" y="173"/>
                      </a:lnTo>
                      <a:lnTo>
                        <a:pt x="327" y="173"/>
                      </a:lnTo>
                      <a:lnTo>
                        <a:pt x="330" y="174"/>
                      </a:lnTo>
                      <a:lnTo>
                        <a:pt x="330" y="175"/>
                      </a:lnTo>
                      <a:lnTo>
                        <a:pt x="330" y="177"/>
                      </a:lnTo>
                      <a:lnTo>
                        <a:pt x="331" y="178"/>
                      </a:lnTo>
                      <a:lnTo>
                        <a:pt x="331" y="179"/>
                      </a:lnTo>
                      <a:lnTo>
                        <a:pt x="331" y="180"/>
                      </a:lnTo>
                      <a:lnTo>
                        <a:pt x="331" y="181"/>
                      </a:lnTo>
                      <a:lnTo>
                        <a:pt x="332" y="182"/>
                      </a:lnTo>
                      <a:lnTo>
                        <a:pt x="332" y="184"/>
                      </a:lnTo>
                      <a:lnTo>
                        <a:pt x="333" y="185"/>
                      </a:lnTo>
                      <a:lnTo>
                        <a:pt x="333" y="187"/>
                      </a:lnTo>
                      <a:lnTo>
                        <a:pt x="334" y="187"/>
                      </a:lnTo>
                      <a:lnTo>
                        <a:pt x="334" y="188"/>
                      </a:lnTo>
                      <a:lnTo>
                        <a:pt x="334" y="189"/>
                      </a:lnTo>
                      <a:lnTo>
                        <a:pt x="334" y="191"/>
                      </a:lnTo>
                      <a:lnTo>
                        <a:pt x="333" y="192"/>
                      </a:lnTo>
                      <a:lnTo>
                        <a:pt x="333" y="193"/>
                      </a:lnTo>
                      <a:lnTo>
                        <a:pt x="334" y="194"/>
                      </a:lnTo>
                      <a:lnTo>
                        <a:pt x="334" y="195"/>
                      </a:lnTo>
                      <a:lnTo>
                        <a:pt x="334" y="196"/>
                      </a:lnTo>
                      <a:lnTo>
                        <a:pt x="334" y="198"/>
                      </a:lnTo>
                      <a:lnTo>
                        <a:pt x="334" y="199"/>
                      </a:lnTo>
                      <a:lnTo>
                        <a:pt x="334" y="200"/>
                      </a:lnTo>
                      <a:lnTo>
                        <a:pt x="334" y="201"/>
                      </a:lnTo>
                      <a:lnTo>
                        <a:pt x="333" y="201"/>
                      </a:lnTo>
                      <a:lnTo>
                        <a:pt x="332" y="202"/>
                      </a:lnTo>
                      <a:lnTo>
                        <a:pt x="331" y="202"/>
                      </a:lnTo>
                      <a:lnTo>
                        <a:pt x="331" y="203"/>
                      </a:lnTo>
                      <a:lnTo>
                        <a:pt x="330" y="203"/>
                      </a:lnTo>
                      <a:lnTo>
                        <a:pt x="330" y="205"/>
                      </a:lnTo>
                      <a:lnTo>
                        <a:pt x="331" y="207"/>
                      </a:lnTo>
                      <a:lnTo>
                        <a:pt x="331" y="208"/>
                      </a:lnTo>
                      <a:lnTo>
                        <a:pt x="331" y="209"/>
                      </a:lnTo>
                      <a:lnTo>
                        <a:pt x="332" y="209"/>
                      </a:lnTo>
                      <a:lnTo>
                        <a:pt x="332" y="210"/>
                      </a:lnTo>
                      <a:lnTo>
                        <a:pt x="332" y="211"/>
                      </a:lnTo>
                      <a:lnTo>
                        <a:pt x="333" y="214"/>
                      </a:lnTo>
                      <a:lnTo>
                        <a:pt x="332" y="215"/>
                      </a:lnTo>
                      <a:lnTo>
                        <a:pt x="332" y="216"/>
                      </a:lnTo>
                      <a:lnTo>
                        <a:pt x="333" y="216"/>
                      </a:lnTo>
                      <a:lnTo>
                        <a:pt x="334" y="215"/>
                      </a:lnTo>
                      <a:lnTo>
                        <a:pt x="336" y="214"/>
                      </a:lnTo>
                      <a:lnTo>
                        <a:pt x="339" y="214"/>
                      </a:lnTo>
                      <a:lnTo>
                        <a:pt x="339" y="213"/>
                      </a:lnTo>
                      <a:lnTo>
                        <a:pt x="340" y="210"/>
                      </a:lnTo>
                      <a:lnTo>
                        <a:pt x="341" y="209"/>
                      </a:lnTo>
                      <a:lnTo>
                        <a:pt x="344" y="210"/>
                      </a:lnTo>
                      <a:lnTo>
                        <a:pt x="345" y="211"/>
                      </a:lnTo>
                      <a:lnTo>
                        <a:pt x="346" y="211"/>
                      </a:lnTo>
                      <a:lnTo>
                        <a:pt x="347" y="211"/>
                      </a:lnTo>
                      <a:lnTo>
                        <a:pt x="348" y="211"/>
                      </a:lnTo>
                      <a:lnTo>
                        <a:pt x="349" y="211"/>
                      </a:lnTo>
                      <a:lnTo>
                        <a:pt x="349" y="210"/>
                      </a:lnTo>
                      <a:lnTo>
                        <a:pt x="351" y="210"/>
                      </a:lnTo>
                      <a:lnTo>
                        <a:pt x="352" y="210"/>
                      </a:lnTo>
                      <a:lnTo>
                        <a:pt x="353" y="211"/>
                      </a:lnTo>
                      <a:lnTo>
                        <a:pt x="354" y="211"/>
                      </a:lnTo>
                      <a:lnTo>
                        <a:pt x="355" y="211"/>
                      </a:lnTo>
                      <a:lnTo>
                        <a:pt x="356" y="211"/>
                      </a:lnTo>
                      <a:lnTo>
                        <a:pt x="360" y="211"/>
                      </a:lnTo>
                      <a:lnTo>
                        <a:pt x="362" y="210"/>
                      </a:lnTo>
                      <a:lnTo>
                        <a:pt x="366" y="209"/>
                      </a:lnTo>
                      <a:lnTo>
                        <a:pt x="368" y="208"/>
                      </a:lnTo>
                      <a:lnTo>
                        <a:pt x="369" y="207"/>
                      </a:lnTo>
                      <a:lnTo>
                        <a:pt x="370" y="207"/>
                      </a:lnTo>
                      <a:lnTo>
                        <a:pt x="372" y="207"/>
                      </a:lnTo>
                      <a:lnTo>
                        <a:pt x="374" y="208"/>
                      </a:lnTo>
                      <a:lnTo>
                        <a:pt x="376" y="209"/>
                      </a:lnTo>
                      <a:lnTo>
                        <a:pt x="377" y="209"/>
                      </a:lnTo>
                      <a:lnTo>
                        <a:pt x="379" y="209"/>
                      </a:lnTo>
                      <a:lnTo>
                        <a:pt x="380" y="209"/>
                      </a:lnTo>
                      <a:lnTo>
                        <a:pt x="381" y="209"/>
                      </a:lnTo>
                      <a:lnTo>
                        <a:pt x="382" y="209"/>
                      </a:lnTo>
                      <a:lnTo>
                        <a:pt x="383" y="209"/>
                      </a:lnTo>
                      <a:lnTo>
                        <a:pt x="384" y="208"/>
                      </a:lnTo>
                      <a:lnTo>
                        <a:pt x="386" y="207"/>
                      </a:lnTo>
                      <a:lnTo>
                        <a:pt x="386" y="206"/>
                      </a:lnTo>
                      <a:lnTo>
                        <a:pt x="386" y="205"/>
                      </a:lnTo>
                      <a:lnTo>
                        <a:pt x="387" y="205"/>
                      </a:lnTo>
                      <a:lnTo>
                        <a:pt x="387" y="206"/>
                      </a:lnTo>
                      <a:lnTo>
                        <a:pt x="387" y="207"/>
                      </a:lnTo>
                      <a:lnTo>
                        <a:pt x="388" y="208"/>
                      </a:lnTo>
                      <a:lnTo>
                        <a:pt x="388" y="209"/>
                      </a:lnTo>
                      <a:lnTo>
                        <a:pt x="388" y="210"/>
                      </a:lnTo>
                      <a:lnTo>
                        <a:pt x="387" y="213"/>
                      </a:lnTo>
                      <a:lnTo>
                        <a:pt x="388" y="213"/>
                      </a:lnTo>
                      <a:lnTo>
                        <a:pt x="388" y="217"/>
                      </a:lnTo>
                      <a:lnTo>
                        <a:pt x="388" y="218"/>
                      </a:lnTo>
                      <a:lnTo>
                        <a:pt x="389" y="221"/>
                      </a:lnTo>
                      <a:lnTo>
                        <a:pt x="389" y="222"/>
                      </a:lnTo>
                      <a:lnTo>
                        <a:pt x="388" y="223"/>
                      </a:lnTo>
                      <a:lnTo>
                        <a:pt x="388" y="224"/>
                      </a:lnTo>
                      <a:lnTo>
                        <a:pt x="388" y="225"/>
                      </a:lnTo>
                      <a:lnTo>
                        <a:pt x="387" y="227"/>
                      </a:lnTo>
                      <a:lnTo>
                        <a:pt x="387" y="228"/>
                      </a:lnTo>
                      <a:lnTo>
                        <a:pt x="387" y="229"/>
                      </a:lnTo>
                      <a:lnTo>
                        <a:pt x="387" y="230"/>
                      </a:lnTo>
                      <a:lnTo>
                        <a:pt x="387" y="231"/>
                      </a:lnTo>
                      <a:lnTo>
                        <a:pt x="387" y="234"/>
                      </a:lnTo>
                      <a:lnTo>
                        <a:pt x="387" y="235"/>
                      </a:lnTo>
                      <a:lnTo>
                        <a:pt x="387" y="237"/>
                      </a:lnTo>
                      <a:lnTo>
                        <a:pt x="387" y="241"/>
                      </a:lnTo>
                      <a:lnTo>
                        <a:pt x="387" y="245"/>
                      </a:lnTo>
                      <a:lnTo>
                        <a:pt x="387" y="246"/>
                      </a:lnTo>
                      <a:lnTo>
                        <a:pt x="387" y="248"/>
                      </a:lnTo>
                      <a:lnTo>
                        <a:pt x="388" y="249"/>
                      </a:lnTo>
                      <a:lnTo>
                        <a:pt x="388" y="250"/>
                      </a:lnTo>
                      <a:lnTo>
                        <a:pt x="388" y="251"/>
                      </a:lnTo>
                      <a:lnTo>
                        <a:pt x="389" y="252"/>
                      </a:lnTo>
                      <a:lnTo>
                        <a:pt x="389" y="253"/>
                      </a:lnTo>
                      <a:lnTo>
                        <a:pt x="388" y="253"/>
                      </a:lnTo>
                      <a:lnTo>
                        <a:pt x="387" y="256"/>
                      </a:lnTo>
                      <a:lnTo>
                        <a:pt x="386" y="258"/>
                      </a:lnTo>
                      <a:lnTo>
                        <a:pt x="384" y="260"/>
                      </a:lnTo>
                      <a:lnTo>
                        <a:pt x="384" y="263"/>
                      </a:lnTo>
                      <a:lnTo>
                        <a:pt x="383" y="265"/>
                      </a:lnTo>
                      <a:lnTo>
                        <a:pt x="383" y="266"/>
                      </a:lnTo>
                      <a:lnTo>
                        <a:pt x="384" y="267"/>
                      </a:lnTo>
                      <a:lnTo>
                        <a:pt x="386" y="270"/>
                      </a:lnTo>
                      <a:lnTo>
                        <a:pt x="387" y="271"/>
                      </a:lnTo>
                      <a:lnTo>
                        <a:pt x="388" y="272"/>
                      </a:lnTo>
                      <a:lnTo>
                        <a:pt x="387" y="272"/>
                      </a:lnTo>
                      <a:lnTo>
                        <a:pt x="383" y="272"/>
                      </a:lnTo>
                      <a:lnTo>
                        <a:pt x="379" y="272"/>
                      </a:lnTo>
                      <a:lnTo>
                        <a:pt x="375" y="272"/>
                      </a:lnTo>
                      <a:lnTo>
                        <a:pt x="370" y="272"/>
                      </a:lnTo>
                      <a:lnTo>
                        <a:pt x="367" y="272"/>
                      </a:lnTo>
                      <a:lnTo>
                        <a:pt x="363" y="272"/>
                      </a:lnTo>
                      <a:lnTo>
                        <a:pt x="359" y="272"/>
                      </a:lnTo>
                      <a:lnTo>
                        <a:pt x="355" y="272"/>
                      </a:lnTo>
                      <a:lnTo>
                        <a:pt x="352" y="272"/>
                      </a:lnTo>
                      <a:lnTo>
                        <a:pt x="347" y="272"/>
                      </a:lnTo>
                      <a:lnTo>
                        <a:pt x="344" y="272"/>
                      </a:lnTo>
                      <a:lnTo>
                        <a:pt x="340" y="272"/>
                      </a:lnTo>
                      <a:lnTo>
                        <a:pt x="336" y="272"/>
                      </a:lnTo>
                      <a:lnTo>
                        <a:pt x="332" y="272"/>
                      </a:lnTo>
                      <a:lnTo>
                        <a:pt x="329" y="272"/>
                      </a:lnTo>
                      <a:lnTo>
                        <a:pt x="324" y="273"/>
                      </a:lnTo>
                      <a:lnTo>
                        <a:pt x="324" y="278"/>
                      </a:lnTo>
                      <a:lnTo>
                        <a:pt x="324" y="283"/>
                      </a:lnTo>
                      <a:lnTo>
                        <a:pt x="324" y="287"/>
                      </a:lnTo>
                      <a:lnTo>
                        <a:pt x="324" y="292"/>
                      </a:lnTo>
                      <a:lnTo>
                        <a:pt x="324" y="295"/>
                      </a:lnTo>
                      <a:lnTo>
                        <a:pt x="324" y="297"/>
                      </a:lnTo>
                      <a:lnTo>
                        <a:pt x="324" y="301"/>
                      </a:lnTo>
                      <a:lnTo>
                        <a:pt x="324" y="307"/>
                      </a:lnTo>
                      <a:lnTo>
                        <a:pt x="324" y="312"/>
                      </a:lnTo>
                      <a:lnTo>
                        <a:pt x="324" y="316"/>
                      </a:lnTo>
                      <a:lnTo>
                        <a:pt x="324" y="321"/>
                      </a:lnTo>
                      <a:lnTo>
                        <a:pt x="324" y="326"/>
                      </a:lnTo>
                      <a:lnTo>
                        <a:pt x="324" y="332"/>
                      </a:lnTo>
                      <a:lnTo>
                        <a:pt x="324" y="336"/>
                      </a:lnTo>
                      <a:lnTo>
                        <a:pt x="324" y="341"/>
                      </a:lnTo>
                      <a:lnTo>
                        <a:pt x="324" y="346"/>
                      </a:lnTo>
                      <a:lnTo>
                        <a:pt x="324" y="350"/>
                      </a:lnTo>
                      <a:lnTo>
                        <a:pt x="324" y="351"/>
                      </a:lnTo>
                      <a:lnTo>
                        <a:pt x="324" y="353"/>
                      </a:lnTo>
                      <a:lnTo>
                        <a:pt x="324" y="354"/>
                      </a:lnTo>
                      <a:lnTo>
                        <a:pt x="324" y="355"/>
                      </a:lnTo>
                      <a:lnTo>
                        <a:pt x="324" y="358"/>
                      </a:lnTo>
                      <a:lnTo>
                        <a:pt x="324" y="362"/>
                      </a:lnTo>
                      <a:lnTo>
                        <a:pt x="324" y="365"/>
                      </a:lnTo>
                      <a:lnTo>
                        <a:pt x="324" y="368"/>
                      </a:lnTo>
                      <a:lnTo>
                        <a:pt x="324" y="370"/>
                      </a:lnTo>
                      <a:lnTo>
                        <a:pt x="324" y="372"/>
                      </a:lnTo>
                      <a:lnTo>
                        <a:pt x="324" y="374"/>
                      </a:lnTo>
                      <a:lnTo>
                        <a:pt x="324" y="375"/>
                      </a:lnTo>
                      <a:lnTo>
                        <a:pt x="325" y="376"/>
                      </a:lnTo>
                      <a:lnTo>
                        <a:pt x="326" y="378"/>
                      </a:lnTo>
                      <a:lnTo>
                        <a:pt x="325" y="378"/>
                      </a:lnTo>
                      <a:lnTo>
                        <a:pt x="326" y="378"/>
                      </a:lnTo>
                      <a:lnTo>
                        <a:pt x="326" y="379"/>
                      </a:lnTo>
                      <a:lnTo>
                        <a:pt x="326" y="381"/>
                      </a:lnTo>
                      <a:lnTo>
                        <a:pt x="326" y="382"/>
                      </a:lnTo>
                      <a:lnTo>
                        <a:pt x="327" y="382"/>
                      </a:lnTo>
                      <a:lnTo>
                        <a:pt x="329" y="382"/>
                      </a:lnTo>
                      <a:lnTo>
                        <a:pt x="329" y="383"/>
                      </a:lnTo>
                      <a:lnTo>
                        <a:pt x="327" y="383"/>
                      </a:lnTo>
                      <a:lnTo>
                        <a:pt x="327" y="384"/>
                      </a:lnTo>
                      <a:lnTo>
                        <a:pt x="327" y="385"/>
                      </a:lnTo>
                      <a:lnTo>
                        <a:pt x="329" y="386"/>
                      </a:lnTo>
                      <a:lnTo>
                        <a:pt x="329" y="388"/>
                      </a:lnTo>
                      <a:lnTo>
                        <a:pt x="330" y="388"/>
                      </a:lnTo>
                      <a:lnTo>
                        <a:pt x="330" y="389"/>
                      </a:lnTo>
                      <a:lnTo>
                        <a:pt x="332" y="391"/>
                      </a:lnTo>
                      <a:lnTo>
                        <a:pt x="333" y="391"/>
                      </a:lnTo>
                      <a:lnTo>
                        <a:pt x="334" y="391"/>
                      </a:lnTo>
                      <a:lnTo>
                        <a:pt x="336" y="392"/>
                      </a:lnTo>
                      <a:lnTo>
                        <a:pt x="337" y="393"/>
                      </a:lnTo>
                      <a:lnTo>
                        <a:pt x="338" y="393"/>
                      </a:lnTo>
                      <a:lnTo>
                        <a:pt x="338" y="395"/>
                      </a:lnTo>
                      <a:lnTo>
                        <a:pt x="340" y="398"/>
                      </a:lnTo>
                      <a:lnTo>
                        <a:pt x="340" y="399"/>
                      </a:lnTo>
                      <a:lnTo>
                        <a:pt x="341" y="399"/>
                      </a:lnTo>
                      <a:lnTo>
                        <a:pt x="342" y="400"/>
                      </a:lnTo>
                      <a:lnTo>
                        <a:pt x="342" y="402"/>
                      </a:lnTo>
                      <a:lnTo>
                        <a:pt x="344" y="402"/>
                      </a:lnTo>
                      <a:lnTo>
                        <a:pt x="345" y="403"/>
                      </a:lnTo>
                      <a:lnTo>
                        <a:pt x="346" y="403"/>
                      </a:lnTo>
                      <a:lnTo>
                        <a:pt x="347" y="404"/>
                      </a:lnTo>
                      <a:lnTo>
                        <a:pt x="348" y="405"/>
                      </a:lnTo>
                      <a:lnTo>
                        <a:pt x="348" y="406"/>
                      </a:lnTo>
                      <a:lnTo>
                        <a:pt x="348" y="407"/>
                      </a:lnTo>
                      <a:lnTo>
                        <a:pt x="349" y="407"/>
                      </a:lnTo>
                      <a:lnTo>
                        <a:pt x="349" y="409"/>
                      </a:lnTo>
                      <a:lnTo>
                        <a:pt x="351" y="409"/>
                      </a:lnTo>
                      <a:lnTo>
                        <a:pt x="352" y="410"/>
                      </a:lnTo>
                      <a:lnTo>
                        <a:pt x="353" y="411"/>
                      </a:lnTo>
                      <a:lnTo>
                        <a:pt x="354" y="411"/>
                      </a:lnTo>
                      <a:lnTo>
                        <a:pt x="355" y="412"/>
                      </a:lnTo>
                      <a:lnTo>
                        <a:pt x="356" y="412"/>
                      </a:lnTo>
                      <a:lnTo>
                        <a:pt x="358" y="413"/>
                      </a:lnTo>
                      <a:lnTo>
                        <a:pt x="358" y="414"/>
                      </a:lnTo>
                      <a:lnTo>
                        <a:pt x="359" y="416"/>
                      </a:lnTo>
                      <a:lnTo>
                        <a:pt x="359" y="417"/>
                      </a:lnTo>
                      <a:lnTo>
                        <a:pt x="360" y="417"/>
                      </a:lnTo>
                      <a:lnTo>
                        <a:pt x="361" y="418"/>
                      </a:lnTo>
                      <a:lnTo>
                        <a:pt x="362" y="418"/>
                      </a:lnTo>
                      <a:lnTo>
                        <a:pt x="362" y="419"/>
                      </a:lnTo>
                      <a:lnTo>
                        <a:pt x="362" y="420"/>
                      </a:lnTo>
                      <a:lnTo>
                        <a:pt x="363" y="420"/>
                      </a:lnTo>
                      <a:lnTo>
                        <a:pt x="365" y="420"/>
                      </a:lnTo>
                      <a:lnTo>
                        <a:pt x="366" y="420"/>
                      </a:lnTo>
                      <a:lnTo>
                        <a:pt x="367" y="420"/>
                      </a:lnTo>
                      <a:lnTo>
                        <a:pt x="368" y="421"/>
                      </a:lnTo>
                      <a:lnTo>
                        <a:pt x="368" y="423"/>
                      </a:lnTo>
                      <a:lnTo>
                        <a:pt x="368" y="424"/>
                      </a:lnTo>
                      <a:lnTo>
                        <a:pt x="366" y="424"/>
                      </a:lnTo>
                      <a:lnTo>
                        <a:pt x="359" y="425"/>
                      </a:lnTo>
                      <a:lnTo>
                        <a:pt x="353" y="426"/>
                      </a:lnTo>
                      <a:lnTo>
                        <a:pt x="346" y="427"/>
                      </a:lnTo>
                      <a:lnTo>
                        <a:pt x="340" y="428"/>
                      </a:lnTo>
                      <a:lnTo>
                        <a:pt x="332" y="431"/>
                      </a:lnTo>
                      <a:lnTo>
                        <a:pt x="324" y="432"/>
                      </a:lnTo>
                      <a:lnTo>
                        <a:pt x="317" y="433"/>
                      </a:lnTo>
                      <a:lnTo>
                        <a:pt x="309" y="435"/>
                      </a:lnTo>
                      <a:lnTo>
                        <a:pt x="306" y="435"/>
                      </a:lnTo>
                      <a:lnTo>
                        <a:pt x="305" y="435"/>
                      </a:lnTo>
                      <a:lnTo>
                        <a:pt x="304" y="434"/>
                      </a:lnTo>
                      <a:lnTo>
                        <a:pt x="302" y="434"/>
                      </a:lnTo>
                      <a:lnTo>
                        <a:pt x="301" y="433"/>
                      </a:lnTo>
                      <a:lnTo>
                        <a:pt x="299" y="433"/>
                      </a:lnTo>
                      <a:lnTo>
                        <a:pt x="298" y="433"/>
                      </a:lnTo>
                      <a:lnTo>
                        <a:pt x="297" y="433"/>
                      </a:lnTo>
                      <a:lnTo>
                        <a:pt x="296" y="433"/>
                      </a:lnTo>
                      <a:lnTo>
                        <a:pt x="294" y="434"/>
                      </a:lnTo>
                      <a:lnTo>
                        <a:pt x="290" y="434"/>
                      </a:lnTo>
                      <a:lnTo>
                        <a:pt x="290" y="435"/>
                      </a:lnTo>
                      <a:lnTo>
                        <a:pt x="289" y="435"/>
                      </a:lnTo>
                      <a:lnTo>
                        <a:pt x="288" y="437"/>
                      </a:lnTo>
                      <a:lnTo>
                        <a:pt x="287" y="435"/>
                      </a:lnTo>
                      <a:lnTo>
                        <a:pt x="285" y="435"/>
                      </a:lnTo>
                      <a:lnTo>
                        <a:pt x="284" y="435"/>
                      </a:lnTo>
                      <a:lnTo>
                        <a:pt x="283" y="435"/>
                      </a:lnTo>
                      <a:lnTo>
                        <a:pt x="283" y="434"/>
                      </a:lnTo>
                      <a:lnTo>
                        <a:pt x="282" y="434"/>
                      </a:lnTo>
                      <a:lnTo>
                        <a:pt x="281" y="434"/>
                      </a:lnTo>
                      <a:lnTo>
                        <a:pt x="280" y="434"/>
                      </a:lnTo>
                      <a:lnTo>
                        <a:pt x="278" y="434"/>
                      </a:lnTo>
                      <a:lnTo>
                        <a:pt x="277" y="433"/>
                      </a:lnTo>
                      <a:lnTo>
                        <a:pt x="276" y="432"/>
                      </a:lnTo>
                      <a:lnTo>
                        <a:pt x="275" y="432"/>
                      </a:lnTo>
                      <a:lnTo>
                        <a:pt x="274" y="432"/>
                      </a:lnTo>
                      <a:lnTo>
                        <a:pt x="273" y="431"/>
                      </a:lnTo>
                      <a:lnTo>
                        <a:pt x="272" y="431"/>
                      </a:lnTo>
                      <a:lnTo>
                        <a:pt x="270" y="431"/>
                      </a:lnTo>
                      <a:lnTo>
                        <a:pt x="269" y="432"/>
                      </a:lnTo>
                      <a:lnTo>
                        <a:pt x="269" y="431"/>
                      </a:lnTo>
                      <a:lnTo>
                        <a:pt x="268" y="431"/>
                      </a:lnTo>
                      <a:lnTo>
                        <a:pt x="267" y="431"/>
                      </a:lnTo>
                      <a:lnTo>
                        <a:pt x="267" y="432"/>
                      </a:lnTo>
                      <a:lnTo>
                        <a:pt x="266" y="432"/>
                      </a:lnTo>
                      <a:lnTo>
                        <a:pt x="265" y="432"/>
                      </a:lnTo>
                      <a:lnTo>
                        <a:pt x="263" y="432"/>
                      </a:lnTo>
                      <a:lnTo>
                        <a:pt x="262" y="432"/>
                      </a:lnTo>
                      <a:lnTo>
                        <a:pt x="261" y="431"/>
                      </a:lnTo>
                      <a:lnTo>
                        <a:pt x="255" y="431"/>
                      </a:lnTo>
                      <a:lnTo>
                        <a:pt x="255" y="432"/>
                      </a:lnTo>
                      <a:lnTo>
                        <a:pt x="254" y="432"/>
                      </a:lnTo>
                      <a:lnTo>
                        <a:pt x="253" y="431"/>
                      </a:lnTo>
                      <a:lnTo>
                        <a:pt x="252" y="430"/>
                      </a:lnTo>
                      <a:lnTo>
                        <a:pt x="251" y="431"/>
                      </a:lnTo>
                      <a:lnTo>
                        <a:pt x="249" y="431"/>
                      </a:lnTo>
                      <a:lnTo>
                        <a:pt x="244" y="431"/>
                      </a:lnTo>
                      <a:lnTo>
                        <a:pt x="239" y="430"/>
                      </a:lnTo>
                      <a:lnTo>
                        <a:pt x="239" y="428"/>
                      </a:lnTo>
                      <a:lnTo>
                        <a:pt x="237" y="428"/>
                      </a:lnTo>
                      <a:lnTo>
                        <a:pt x="235" y="428"/>
                      </a:lnTo>
                      <a:lnTo>
                        <a:pt x="234" y="430"/>
                      </a:lnTo>
                      <a:lnTo>
                        <a:pt x="232" y="430"/>
                      </a:lnTo>
                      <a:lnTo>
                        <a:pt x="227" y="428"/>
                      </a:lnTo>
                      <a:lnTo>
                        <a:pt x="225" y="427"/>
                      </a:lnTo>
                      <a:lnTo>
                        <a:pt x="224" y="427"/>
                      </a:lnTo>
                      <a:lnTo>
                        <a:pt x="223" y="427"/>
                      </a:lnTo>
                      <a:lnTo>
                        <a:pt x="223" y="426"/>
                      </a:lnTo>
                      <a:lnTo>
                        <a:pt x="220" y="424"/>
                      </a:lnTo>
                      <a:lnTo>
                        <a:pt x="219" y="424"/>
                      </a:lnTo>
                      <a:lnTo>
                        <a:pt x="219" y="423"/>
                      </a:lnTo>
                      <a:lnTo>
                        <a:pt x="217" y="420"/>
                      </a:lnTo>
                      <a:lnTo>
                        <a:pt x="216" y="418"/>
                      </a:lnTo>
                      <a:lnTo>
                        <a:pt x="214" y="418"/>
                      </a:lnTo>
                      <a:lnTo>
                        <a:pt x="214" y="417"/>
                      </a:lnTo>
                      <a:lnTo>
                        <a:pt x="213" y="416"/>
                      </a:lnTo>
                      <a:lnTo>
                        <a:pt x="212" y="416"/>
                      </a:lnTo>
                      <a:lnTo>
                        <a:pt x="204" y="416"/>
                      </a:lnTo>
                      <a:lnTo>
                        <a:pt x="199" y="416"/>
                      </a:lnTo>
                      <a:lnTo>
                        <a:pt x="196" y="416"/>
                      </a:lnTo>
                      <a:lnTo>
                        <a:pt x="188" y="416"/>
                      </a:lnTo>
                      <a:lnTo>
                        <a:pt x="180" y="416"/>
                      </a:lnTo>
                      <a:lnTo>
                        <a:pt x="176" y="416"/>
                      </a:lnTo>
                      <a:lnTo>
                        <a:pt x="171" y="416"/>
                      </a:lnTo>
                      <a:lnTo>
                        <a:pt x="163" y="416"/>
                      </a:lnTo>
                      <a:lnTo>
                        <a:pt x="155" y="416"/>
                      </a:lnTo>
                      <a:lnTo>
                        <a:pt x="147" y="416"/>
                      </a:lnTo>
                      <a:lnTo>
                        <a:pt x="139" y="416"/>
                      </a:lnTo>
                      <a:lnTo>
                        <a:pt x="131" y="416"/>
                      </a:lnTo>
                      <a:lnTo>
                        <a:pt x="123" y="416"/>
                      </a:lnTo>
                      <a:lnTo>
                        <a:pt x="114" y="416"/>
                      </a:lnTo>
                      <a:lnTo>
                        <a:pt x="107" y="416"/>
                      </a:lnTo>
                      <a:lnTo>
                        <a:pt x="99" y="416"/>
                      </a:lnTo>
                      <a:lnTo>
                        <a:pt x="91" y="416"/>
                      </a:lnTo>
                      <a:lnTo>
                        <a:pt x="83" y="416"/>
                      </a:lnTo>
                      <a:lnTo>
                        <a:pt x="81" y="416"/>
                      </a:lnTo>
                      <a:lnTo>
                        <a:pt x="80" y="417"/>
                      </a:lnTo>
                      <a:lnTo>
                        <a:pt x="78" y="417"/>
                      </a:lnTo>
                      <a:lnTo>
                        <a:pt x="77" y="417"/>
                      </a:lnTo>
                      <a:lnTo>
                        <a:pt x="76" y="417"/>
                      </a:lnTo>
                      <a:lnTo>
                        <a:pt x="75" y="417"/>
                      </a:lnTo>
                      <a:lnTo>
                        <a:pt x="74" y="417"/>
                      </a:lnTo>
                      <a:lnTo>
                        <a:pt x="73" y="417"/>
                      </a:lnTo>
                      <a:lnTo>
                        <a:pt x="71" y="417"/>
                      </a:lnTo>
                      <a:lnTo>
                        <a:pt x="70" y="414"/>
                      </a:lnTo>
                      <a:lnTo>
                        <a:pt x="67" y="412"/>
                      </a:lnTo>
                      <a:lnTo>
                        <a:pt x="64" y="411"/>
                      </a:lnTo>
                      <a:lnTo>
                        <a:pt x="61" y="409"/>
                      </a:lnTo>
                      <a:lnTo>
                        <a:pt x="59" y="407"/>
                      </a:lnTo>
                      <a:lnTo>
                        <a:pt x="59" y="406"/>
                      </a:lnTo>
                      <a:lnTo>
                        <a:pt x="59" y="405"/>
                      </a:lnTo>
                      <a:lnTo>
                        <a:pt x="57" y="404"/>
                      </a:lnTo>
                      <a:lnTo>
                        <a:pt x="56" y="403"/>
                      </a:lnTo>
                      <a:lnTo>
                        <a:pt x="55" y="403"/>
                      </a:lnTo>
                      <a:lnTo>
                        <a:pt x="54" y="403"/>
                      </a:lnTo>
                      <a:lnTo>
                        <a:pt x="54" y="402"/>
                      </a:lnTo>
                      <a:lnTo>
                        <a:pt x="53" y="403"/>
                      </a:lnTo>
                      <a:lnTo>
                        <a:pt x="52" y="403"/>
                      </a:lnTo>
                      <a:lnTo>
                        <a:pt x="50" y="403"/>
                      </a:lnTo>
                      <a:lnTo>
                        <a:pt x="49" y="403"/>
                      </a:lnTo>
                      <a:lnTo>
                        <a:pt x="48" y="402"/>
                      </a:lnTo>
                      <a:lnTo>
                        <a:pt x="47" y="402"/>
                      </a:lnTo>
                      <a:lnTo>
                        <a:pt x="46" y="402"/>
                      </a:lnTo>
                      <a:lnTo>
                        <a:pt x="42" y="403"/>
                      </a:lnTo>
                      <a:lnTo>
                        <a:pt x="41" y="404"/>
                      </a:lnTo>
                      <a:lnTo>
                        <a:pt x="40" y="404"/>
                      </a:lnTo>
                      <a:lnTo>
                        <a:pt x="39" y="404"/>
                      </a:lnTo>
                      <a:lnTo>
                        <a:pt x="39" y="405"/>
                      </a:lnTo>
                      <a:lnTo>
                        <a:pt x="38" y="405"/>
                      </a:lnTo>
                      <a:lnTo>
                        <a:pt x="38" y="406"/>
                      </a:lnTo>
                      <a:lnTo>
                        <a:pt x="36" y="406"/>
                      </a:lnTo>
                      <a:lnTo>
                        <a:pt x="35" y="407"/>
                      </a:lnTo>
                      <a:lnTo>
                        <a:pt x="34" y="407"/>
                      </a:lnTo>
                      <a:lnTo>
                        <a:pt x="33" y="409"/>
                      </a:lnTo>
                      <a:lnTo>
                        <a:pt x="32" y="410"/>
                      </a:lnTo>
                      <a:lnTo>
                        <a:pt x="31" y="410"/>
                      </a:lnTo>
                      <a:lnTo>
                        <a:pt x="29" y="411"/>
                      </a:lnTo>
                      <a:lnTo>
                        <a:pt x="28" y="411"/>
                      </a:lnTo>
                      <a:lnTo>
                        <a:pt x="27" y="411"/>
                      </a:lnTo>
                      <a:lnTo>
                        <a:pt x="25" y="411"/>
                      </a:lnTo>
                      <a:lnTo>
                        <a:pt x="24" y="410"/>
                      </a:lnTo>
                      <a:lnTo>
                        <a:pt x="24" y="411"/>
                      </a:lnTo>
                      <a:lnTo>
                        <a:pt x="22" y="411"/>
                      </a:lnTo>
                      <a:lnTo>
                        <a:pt x="20" y="411"/>
                      </a:lnTo>
                      <a:lnTo>
                        <a:pt x="19" y="411"/>
                      </a:lnTo>
                      <a:lnTo>
                        <a:pt x="18" y="411"/>
                      </a:lnTo>
                      <a:lnTo>
                        <a:pt x="18" y="410"/>
                      </a:lnTo>
                      <a:lnTo>
                        <a:pt x="17" y="410"/>
                      </a:lnTo>
                      <a:lnTo>
                        <a:pt x="17" y="409"/>
                      </a:lnTo>
                      <a:lnTo>
                        <a:pt x="16" y="409"/>
                      </a:lnTo>
                      <a:lnTo>
                        <a:pt x="14" y="409"/>
                      </a:lnTo>
                      <a:lnTo>
                        <a:pt x="13" y="409"/>
                      </a:lnTo>
                      <a:lnTo>
                        <a:pt x="12" y="409"/>
                      </a:lnTo>
                      <a:lnTo>
                        <a:pt x="11" y="409"/>
                      </a:lnTo>
                      <a:lnTo>
                        <a:pt x="9" y="410"/>
                      </a:lnTo>
                      <a:lnTo>
                        <a:pt x="7" y="411"/>
                      </a:lnTo>
                      <a:lnTo>
                        <a:pt x="6" y="411"/>
                      </a:lnTo>
                      <a:lnTo>
                        <a:pt x="6" y="412"/>
                      </a:lnTo>
                      <a:lnTo>
                        <a:pt x="5" y="412"/>
                      </a:lnTo>
                      <a:lnTo>
                        <a:pt x="4" y="412"/>
                      </a:lnTo>
                      <a:lnTo>
                        <a:pt x="3" y="411"/>
                      </a:lnTo>
                      <a:lnTo>
                        <a:pt x="3" y="410"/>
                      </a:lnTo>
                      <a:lnTo>
                        <a:pt x="3" y="409"/>
                      </a:lnTo>
                      <a:lnTo>
                        <a:pt x="3" y="405"/>
                      </a:lnTo>
                      <a:lnTo>
                        <a:pt x="4" y="402"/>
                      </a:lnTo>
                      <a:lnTo>
                        <a:pt x="4" y="399"/>
                      </a:lnTo>
                      <a:lnTo>
                        <a:pt x="4" y="397"/>
                      </a:lnTo>
                      <a:lnTo>
                        <a:pt x="4" y="396"/>
                      </a:lnTo>
                      <a:lnTo>
                        <a:pt x="4" y="397"/>
                      </a:lnTo>
                      <a:lnTo>
                        <a:pt x="5" y="398"/>
                      </a:lnTo>
                      <a:lnTo>
                        <a:pt x="5" y="397"/>
                      </a:lnTo>
                      <a:lnTo>
                        <a:pt x="5" y="393"/>
                      </a:lnTo>
                      <a:lnTo>
                        <a:pt x="5" y="390"/>
                      </a:lnTo>
                      <a:lnTo>
                        <a:pt x="5" y="386"/>
                      </a:lnTo>
                      <a:lnTo>
                        <a:pt x="4" y="375"/>
                      </a:lnTo>
                      <a:lnTo>
                        <a:pt x="4" y="374"/>
                      </a:lnTo>
                      <a:lnTo>
                        <a:pt x="5" y="371"/>
                      </a:lnTo>
                      <a:lnTo>
                        <a:pt x="4" y="370"/>
                      </a:lnTo>
                      <a:lnTo>
                        <a:pt x="3" y="368"/>
                      </a:lnTo>
                      <a:lnTo>
                        <a:pt x="3" y="367"/>
                      </a:lnTo>
                      <a:lnTo>
                        <a:pt x="3" y="364"/>
                      </a:lnTo>
                      <a:lnTo>
                        <a:pt x="4" y="364"/>
                      </a:lnTo>
                      <a:lnTo>
                        <a:pt x="4" y="363"/>
                      </a:lnTo>
                      <a:lnTo>
                        <a:pt x="5" y="363"/>
                      </a:lnTo>
                      <a:lnTo>
                        <a:pt x="5" y="364"/>
                      </a:lnTo>
                      <a:lnTo>
                        <a:pt x="6" y="364"/>
                      </a:lnTo>
                      <a:lnTo>
                        <a:pt x="7" y="363"/>
                      </a:lnTo>
                      <a:lnTo>
                        <a:pt x="7" y="362"/>
                      </a:lnTo>
                      <a:lnTo>
                        <a:pt x="7" y="361"/>
                      </a:lnTo>
                      <a:lnTo>
                        <a:pt x="9" y="360"/>
                      </a:lnTo>
                      <a:lnTo>
                        <a:pt x="11" y="358"/>
                      </a:lnTo>
                      <a:lnTo>
                        <a:pt x="11" y="357"/>
                      </a:lnTo>
                      <a:lnTo>
                        <a:pt x="11" y="354"/>
                      </a:lnTo>
                      <a:lnTo>
                        <a:pt x="12" y="354"/>
                      </a:lnTo>
                      <a:lnTo>
                        <a:pt x="12" y="353"/>
                      </a:lnTo>
                      <a:lnTo>
                        <a:pt x="12" y="351"/>
                      </a:lnTo>
                      <a:lnTo>
                        <a:pt x="12" y="350"/>
                      </a:lnTo>
                      <a:lnTo>
                        <a:pt x="12" y="346"/>
                      </a:lnTo>
                      <a:lnTo>
                        <a:pt x="13" y="346"/>
                      </a:lnTo>
                      <a:lnTo>
                        <a:pt x="13" y="344"/>
                      </a:lnTo>
                      <a:lnTo>
                        <a:pt x="14" y="344"/>
                      </a:lnTo>
                      <a:lnTo>
                        <a:pt x="16" y="343"/>
                      </a:lnTo>
                      <a:lnTo>
                        <a:pt x="14" y="342"/>
                      </a:lnTo>
                      <a:lnTo>
                        <a:pt x="14" y="341"/>
                      </a:lnTo>
                      <a:lnTo>
                        <a:pt x="16" y="339"/>
                      </a:lnTo>
                      <a:lnTo>
                        <a:pt x="16" y="337"/>
                      </a:lnTo>
                      <a:lnTo>
                        <a:pt x="16" y="336"/>
                      </a:lnTo>
                      <a:lnTo>
                        <a:pt x="17" y="336"/>
                      </a:lnTo>
                      <a:lnTo>
                        <a:pt x="17" y="335"/>
                      </a:lnTo>
                      <a:lnTo>
                        <a:pt x="17" y="334"/>
                      </a:lnTo>
                      <a:lnTo>
                        <a:pt x="17" y="333"/>
                      </a:lnTo>
                      <a:lnTo>
                        <a:pt x="18" y="333"/>
                      </a:lnTo>
                      <a:lnTo>
                        <a:pt x="18" y="332"/>
                      </a:lnTo>
                      <a:lnTo>
                        <a:pt x="19" y="330"/>
                      </a:lnTo>
                      <a:lnTo>
                        <a:pt x="19" y="329"/>
                      </a:lnTo>
                      <a:lnTo>
                        <a:pt x="19" y="328"/>
                      </a:lnTo>
                      <a:lnTo>
                        <a:pt x="19" y="327"/>
                      </a:lnTo>
                      <a:lnTo>
                        <a:pt x="19" y="325"/>
                      </a:lnTo>
                      <a:lnTo>
                        <a:pt x="20" y="322"/>
                      </a:lnTo>
                      <a:lnTo>
                        <a:pt x="20" y="321"/>
                      </a:lnTo>
                      <a:lnTo>
                        <a:pt x="20" y="320"/>
                      </a:lnTo>
                      <a:lnTo>
                        <a:pt x="21" y="318"/>
                      </a:lnTo>
                      <a:lnTo>
                        <a:pt x="21" y="315"/>
                      </a:lnTo>
                      <a:lnTo>
                        <a:pt x="20" y="314"/>
                      </a:lnTo>
                      <a:lnTo>
                        <a:pt x="20" y="313"/>
                      </a:lnTo>
                      <a:lnTo>
                        <a:pt x="20" y="312"/>
                      </a:lnTo>
                      <a:lnTo>
                        <a:pt x="21" y="312"/>
                      </a:lnTo>
                      <a:lnTo>
                        <a:pt x="21" y="311"/>
                      </a:lnTo>
                      <a:lnTo>
                        <a:pt x="21" y="309"/>
                      </a:lnTo>
                      <a:lnTo>
                        <a:pt x="20" y="309"/>
                      </a:lnTo>
                      <a:lnTo>
                        <a:pt x="21" y="308"/>
                      </a:lnTo>
                      <a:lnTo>
                        <a:pt x="21" y="307"/>
                      </a:lnTo>
                      <a:lnTo>
                        <a:pt x="22" y="306"/>
                      </a:lnTo>
                      <a:lnTo>
                        <a:pt x="22" y="305"/>
                      </a:lnTo>
                      <a:lnTo>
                        <a:pt x="22" y="304"/>
                      </a:lnTo>
                      <a:lnTo>
                        <a:pt x="22" y="302"/>
                      </a:lnTo>
                      <a:lnTo>
                        <a:pt x="24" y="302"/>
                      </a:lnTo>
                      <a:lnTo>
                        <a:pt x="24" y="301"/>
                      </a:lnTo>
                      <a:lnTo>
                        <a:pt x="25" y="301"/>
                      </a:lnTo>
                      <a:lnTo>
                        <a:pt x="25" y="302"/>
                      </a:lnTo>
                      <a:lnTo>
                        <a:pt x="26" y="302"/>
                      </a:lnTo>
                      <a:lnTo>
                        <a:pt x="26" y="301"/>
                      </a:lnTo>
                      <a:lnTo>
                        <a:pt x="26" y="300"/>
                      </a:lnTo>
                      <a:lnTo>
                        <a:pt x="26" y="297"/>
                      </a:lnTo>
                      <a:lnTo>
                        <a:pt x="26" y="293"/>
                      </a:lnTo>
                      <a:lnTo>
                        <a:pt x="27" y="292"/>
                      </a:lnTo>
                      <a:lnTo>
                        <a:pt x="26" y="291"/>
                      </a:lnTo>
                      <a:lnTo>
                        <a:pt x="27" y="291"/>
                      </a:lnTo>
                      <a:lnTo>
                        <a:pt x="27" y="290"/>
                      </a:lnTo>
                      <a:lnTo>
                        <a:pt x="26" y="288"/>
                      </a:lnTo>
                      <a:lnTo>
                        <a:pt x="26" y="287"/>
                      </a:lnTo>
                      <a:lnTo>
                        <a:pt x="27" y="286"/>
                      </a:lnTo>
                      <a:lnTo>
                        <a:pt x="28" y="286"/>
                      </a:lnTo>
                      <a:lnTo>
                        <a:pt x="28" y="285"/>
                      </a:lnTo>
                      <a:lnTo>
                        <a:pt x="29" y="285"/>
                      </a:lnTo>
                      <a:lnTo>
                        <a:pt x="31" y="284"/>
                      </a:lnTo>
                      <a:lnTo>
                        <a:pt x="31" y="283"/>
                      </a:lnTo>
                      <a:lnTo>
                        <a:pt x="31" y="281"/>
                      </a:lnTo>
                      <a:lnTo>
                        <a:pt x="32" y="281"/>
                      </a:lnTo>
                      <a:lnTo>
                        <a:pt x="32" y="280"/>
                      </a:lnTo>
                      <a:lnTo>
                        <a:pt x="33" y="280"/>
                      </a:lnTo>
                      <a:lnTo>
                        <a:pt x="34" y="280"/>
                      </a:lnTo>
                      <a:lnTo>
                        <a:pt x="36" y="277"/>
                      </a:lnTo>
                      <a:lnTo>
                        <a:pt x="38" y="277"/>
                      </a:lnTo>
                      <a:lnTo>
                        <a:pt x="38" y="276"/>
                      </a:lnTo>
                      <a:lnTo>
                        <a:pt x="40" y="273"/>
                      </a:lnTo>
                      <a:lnTo>
                        <a:pt x="40" y="272"/>
                      </a:lnTo>
                      <a:lnTo>
                        <a:pt x="40" y="271"/>
                      </a:lnTo>
                      <a:lnTo>
                        <a:pt x="40" y="270"/>
                      </a:lnTo>
                      <a:lnTo>
                        <a:pt x="39" y="269"/>
                      </a:lnTo>
                      <a:lnTo>
                        <a:pt x="40" y="267"/>
                      </a:lnTo>
                      <a:lnTo>
                        <a:pt x="41" y="266"/>
                      </a:lnTo>
                      <a:lnTo>
                        <a:pt x="42" y="266"/>
                      </a:lnTo>
                      <a:lnTo>
                        <a:pt x="43" y="264"/>
                      </a:lnTo>
                      <a:lnTo>
                        <a:pt x="45" y="264"/>
                      </a:lnTo>
                      <a:lnTo>
                        <a:pt x="45" y="263"/>
                      </a:lnTo>
                      <a:lnTo>
                        <a:pt x="46" y="262"/>
                      </a:lnTo>
                      <a:lnTo>
                        <a:pt x="47" y="262"/>
                      </a:lnTo>
                      <a:lnTo>
                        <a:pt x="47" y="260"/>
                      </a:lnTo>
                      <a:lnTo>
                        <a:pt x="48" y="260"/>
                      </a:lnTo>
                      <a:lnTo>
                        <a:pt x="49" y="262"/>
                      </a:lnTo>
                      <a:lnTo>
                        <a:pt x="49" y="260"/>
                      </a:lnTo>
                      <a:lnTo>
                        <a:pt x="50" y="260"/>
                      </a:lnTo>
                      <a:lnTo>
                        <a:pt x="52" y="260"/>
                      </a:lnTo>
                      <a:lnTo>
                        <a:pt x="53" y="260"/>
                      </a:lnTo>
                      <a:lnTo>
                        <a:pt x="54" y="259"/>
                      </a:lnTo>
                      <a:lnTo>
                        <a:pt x="55" y="258"/>
                      </a:lnTo>
                      <a:lnTo>
                        <a:pt x="56" y="258"/>
                      </a:lnTo>
                      <a:lnTo>
                        <a:pt x="56" y="257"/>
                      </a:lnTo>
                      <a:lnTo>
                        <a:pt x="56" y="256"/>
                      </a:lnTo>
                      <a:lnTo>
                        <a:pt x="56" y="255"/>
                      </a:lnTo>
                      <a:lnTo>
                        <a:pt x="57" y="253"/>
                      </a:lnTo>
                      <a:lnTo>
                        <a:pt x="60" y="251"/>
                      </a:lnTo>
                      <a:lnTo>
                        <a:pt x="60" y="252"/>
                      </a:lnTo>
                      <a:lnTo>
                        <a:pt x="59" y="252"/>
                      </a:lnTo>
                      <a:lnTo>
                        <a:pt x="60" y="252"/>
                      </a:lnTo>
                      <a:lnTo>
                        <a:pt x="60" y="251"/>
                      </a:lnTo>
                      <a:lnTo>
                        <a:pt x="61" y="250"/>
                      </a:lnTo>
                      <a:lnTo>
                        <a:pt x="62" y="250"/>
                      </a:lnTo>
                      <a:lnTo>
                        <a:pt x="62" y="246"/>
                      </a:lnTo>
                      <a:lnTo>
                        <a:pt x="63" y="245"/>
                      </a:lnTo>
                      <a:lnTo>
                        <a:pt x="63" y="244"/>
                      </a:lnTo>
                      <a:lnTo>
                        <a:pt x="64" y="242"/>
                      </a:lnTo>
                      <a:lnTo>
                        <a:pt x="64" y="241"/>
                      </a:lnTo>
                      <a:lnTo>
                        <a:pt x="66" y="239"/>
                      </a:lnTo>
                      <a:lnTo>
                        <a:pt x="66" y="238"/>
                      </a:lnTo>
                      <a:lnTo>
                        <a:pt x="66" y="236"/>
                      </a:lnTo>
                      <a:lnTo>
                        <a:pt x="67" y="235"/>
                      </a:lnTo>
                      <a:lnTo>
                        <a:pt x="67" y="234"/>
                      </a:lnTo>
                      <a:lnTo>
                        <a:pt x="66" y="228"/>
                      </a:lnTo>
                      <a:lnTo>
                        <a:pt x="66" y="224"/>
                      </a:lnTo>
                      <a:lnTo>
                        <a:pt x="67" y="223"/>
                      </a:lnTo>
                      <a:lnTo>
                        <a:pt x="66" y="223"/>
                      </a:lnTo>
                      <a:lnTo>
                        <a:pt x="67" y="222"/>
                      </a:lnTo>
                      <a:lnTo>
                        <a:pt x="67" y="221"/>
                      </a:lnTo>
                      <a:lnTo>
                        <a:pt x="67" y="220"/>
                      </a:lnTo>
                      <a:lnTo>
                        <a:pt x="67" y="218"/>
                      </a:lnTo>
                      <a:lnTo>
                        <a:pt x="67" y="217"/>
                      </a:lnTo>
                      <a:lnTo>
                        <a:pt x="68" y="213"/>
                      </a:lnTo>
                      <a:lnTo>
                        <a:pt x="68" y="211"/>
                      </a:lnTo>
                      <a:lnTo>
                        <a:pt x="68" y="209"/>
                      </a:lnTo>
                      <a:lnTo>
                        <a:pt x="68" y="208"/>
                      </a:lnTo>
                      <a:lnTo>
                        <a:pt x="67" y="207"/>
                      </a:lnTo>
                      <a:lnTo>
                        <a:pt x="64" y="202"/>
                      </a:lnTo>
                      <a:lnTo>
                        <a:pt x="64" y="201"/>
                      </a:lnTo>
                      <a:lnTo>
                        <a:pt x="66" y="200"/>
                      </a:lnTo>
                      <a:lnTo>
                        <a:pt x="66" y="199"/>
                      </a:lnTo>
                      <a:lnTo>
                        <a:pt x="64" y="199"/>
                      </a:lnTo>
                      <a:lnTo>
                        <a:pt x="63" y="198"/>
                      </a:lnTo>
                      <a:lnTo>
                        <a:pt x="63" y="196"/>
                      </a:lnTo>
                      <a:lnTo>
                        <a:pt x="60" y="193"/>
                      </a:lnTo>
                      <a:lnTo>
                        <a:pt x="59" y="192"/>
                      </a:lnTo>
                      <a:lnTo>
                        <a:pt x="57" y="191"/>
                      </a:lnTo>
                      <a:lnTo>
                        <a:pt x="57" y="188"/>
                      </a:lnTo>
                      <a:lnTo>
                        <a:pt x="57" y="187"/>
                      </a:lnTo>
                      <a:lnTo>
                        <a:pt x="57" y="186"/>
                      </a:lnTo>
                      <a:lnTo>
                        <a:pt x="55" y="184"/>
                      </a:lnTo>
                      <a:lnTo>
                        <a:pt x="55" y="181"/>
                      </a:lnTo>
                      <a:lnTo>
                        <a:pt x="54" y="181"/>
                      </a:lnTo>
                      <a:lnTo>
                        <a:pt x="53" y="180"/>
                      </a:lnTo>
                      <a:lnTo>
                        <a:pt x="50" y="177"/>
                      </a:lnTo>
                      <a:lnTo>
                        <a:pt x="52" y="177"/>
                      </a:lnTo>
                      <a:lnTo>
                        <a:pt x="52" y="175"/>
                      </a:lnTo>
                      <a:lnTo>
                        <a:pt x="52" y="174"/>
                      </a:lnTo>
                      <a:lnTo>
                        <a:pt x="50" y="173"/>
                      </a:lnTo>
                      <a:lnTo>
                        <a:pt x="49" y="172"/>
                      </a:lnTo>
                      <a:lnTo>
                        <a:pt x="47" y="168"/>
                      </a:lnTo>
                      <a:lnTo>
                        <a:pt x="47" y="167"/>
                      </a:lnTo>
                      <a:lnTo>
                        <a:pt x="48" y="166"/>
                      </a:lnTo>
                      <a:lnTo>
                        <a:pt x="48" y="165"/>
                      </a:lnTo>
                      <a:lnTo>
                        <a:pt x="47" y="164"/>
                      </a:lnTo>
                      <a:lnTo>
                        <a:pt x="46" y="160"/>
                      </a:lnTo>
                      <a:lnTo>
                        <a:pt x="46" y="159"/>
                      </a:lnTo>
                      <a:lnTo>
                        <a:pt x="46" y="158"/>
                      </a:lnTo>
                      <a:lnTo>
                        <a:pt x="46" y="157"/>
                      </a:lnTo>
                      <a:lnTo>
                        <a:pt x="45" y="156"/>
                      </a:lnTo>
                      <a:lnTo>
                        <a:pt x="42" y="152"/>
                      </a:lnTo>
                      <a:lnTo>
                        <a:pt x="41" y="150"/>
                      </a:lnTo>
                      <a:lnTo>
                        <a:pt x="41" y="149"/>
                      </a:lnTo>
                      <a:lnTo>
                        <a:pt x="41" y="147"/>
                      </a:lnTo>
                      <a:lnTo>
                        <a:pt x="42" y="145"/>
                      </a:lnTo>
                      <a:lnTo>
                        <a:pt x="43" y="143"/>
                      </a:lnTo>
                      <a:lnTo>
                        <a:pt x="45" y="142"/>
                      </a:lnTo>
                      <a:lnTo>
                        <a:pt x="45" y="143"/>
                      </a:lnTo>
                      <a:lnTo>
                        <a:pt x="42" y="145"/>
                      </a:lnTo>
                      <a:lnTo>
                        <a:pt x="41" y="147"/>
                      </a:lnTo>
                      <a:lnTo>
                        <a:pt x="41" y="149"/>
                      </a:lnTo>
                      <a:lnTo>
                        <a:pt x="43" y="145"/>
                      </a:lnTo>
                      <a:lnTo>
                        <a:pt x="45" y="144"/>
                      </a:lnTo>
                      <a:lnTo>
                        <a:pt x="46" y="143"/>
                      </a:lnTo>
                      <a:lnTo>
                        <a:pt x="47" y="142"/>
                      </a:lnTo>
                      <a:lnTo>
                        <a:pt x="47" y="140"/>
                      </a:lnTo>
                      <a:lnTo>
                        <a:pt x="47" y="139"/>
                      </a:lnTo>
                      <a:lnTo>
                        <a:pt x="48" y="139"/>
                      </a:lnTo>
                      <a:lnTo>
                        <a:pt x="48" y="138"/>
                      </a:lnTo>
                      <a:lnTo>
                        <a:pt x="49" y="138"/>
                      </a:lnTo>
                      <a:lnTo>
                        <a:pt x="47" y="139"/>
                      </a:lnTo>
                      <a:lnTo>
                        <a:pt x="47" y="140"/>
                      </a:lnTo>
                      <a:lnTo>
                        <a:pt x="48" y="139"/>
                      </a:lnTo>
                      <a:lnTo>
                        <a:pt x="49" y="139"/>
                      </a:lnTo>
                      <a:lnTo>
                        <a:pt x="49" y="138"/>
                      </a:lnTo>
                      <a:lnTo>
                        <a:pt x="50" y="138"/>
                      </a:lnTo>
                      <a:lnTo>
                        <a:pt x="52" y="138"/>
                      </a:lnTo>
                      <a:lnTo>
                        <a:pt x="53" y="138"/>
                      </a:lnTo>
                      <a:lnTo>
                        <a:pt x="53" y="137"/>
                      </a:lnTo>
                      <a:lnTo>
                        <a:pt x="54" y="136"/>
                      </a:lnTo>
                      <a:lnTo>
                        <a:pt x="54" y="135"/>
                      </a:lnTo>
                      <a:lnTo>
                        <a:pt x="53" y="133"/>
                      </a:lnTo>
                      <a:lnTo>
                        <a:pt x="53" y="132"/>
                      </a:lnTo>
                      <a:lnTo>
                        <a:pt x="52" y="130"/>
                      </a:lnTo>
                      <a:lnTo>
                        <a:pt x="52" y="129"/>
                      </a:lnTo>
                      <a:lnTo>
                        <a:pt x="53" y="129"/>
                      </a:lnTo>
                      <a:lnTo>
                        <a:pt x="53" y="125"/>
                      </a:lnTo>
                      <a:lnTo>
                        <a:pt x="53" y="124"/>
                      </a:lnTo>
                      <a:lnTo>
                        <a:pt x="49" y="119"/>
                      </a:lnTo>
                      <a:lnTo>
                        <a:pt x="48" y="118"/>
                      </a:lnTo>
                      <a:lnTo>
                        <a:pt x="48" y="117"/>
                      </a:lnTo>
                      <a:lnTo>
                        <a:pt x="48" y="116"/>
                      </a:lnTo>
                      <a:lnTo>
                        <a:pt x="47" y="116"/>
                      </a:lnTo>
                      <a:lnTo>
                        <a:pt x="47" y="115"/>
                      </a:lnTo>
                      <a:lnTo>
                        <a:pt x="47" y="114"/>
                      </a:lnTo>
                      <a:lnTo>
                        <a:pt x="45" y="110"/>
                      </a:lnTo>
                      <a:lnTo>
                        <a:pt x="40" y="100"/>
                      </a:lnTo>
                      <a:lnTo>
                        <a:pt x="39" y="96"/>
                      </a:lnTo>
                      <a:lnTo>
                        <a:pt x="38" y="93"/>
                      </a:lnTo>
                      <a:lnTo>
                        <a:pt x="36" y="93"/>
                      </a:lnTo>
                      <a:lnTo>
                        <a:pt x="36" y="91"/>
                      </a:lnTo>
                      <a:lnTo>
                        <a:pt x="35" y="91"/>
                      </a:lnTo>
                      <a:lnTo>
                        <a:pt x="36" y="90"/>
                      </a:lnTo>
                      <a:lnTo>
                        <a:pt x="35" y="89"/>
                      </a:lnTo>
                      <a:lnTo>
                        <a:pt x="35" y="83"/>
                      </a:lnTo>
                      <a:lnTo>
                        <a:pt x="35" y="82"/>
                      </a:lnTo>
                      <a:lnTo>
                        <a:pt x="35" y="81"/>
                      </a:lnTo>
                      <a:lnTo>
                        <a:pt x="34" y="81"/>
                      </a:lnTo>
                      <a:lnTo>
                        <a:pt x="35" y="81"/>
                      </a:lnTo>
                      <a:lnTo>
                        <a:pt x="35" y="80"/>
                      </a:lnTo>
                      <a:lnTo>
                        <a:pt x="34" y="80"/>
                      </a:lnTo>
                      <a:lnTo>
                        <a:pt x="33" y="80"/>
                      </a:lnTo>
                      <a:lnTo>
                        <a:pt x="31" y="76"/>
                      </a:lnTo>
                      <a:lnTo>
                        <a:pt x="28" y="74"/>
                      </a:lnTo>
                      <a:lnTo>
                        <a:pt x="26" y="70"/>
                      </a:lnTo>
                      <a:lnTo>
                        <a:pt x="24" y="66"/>
                      </a:lnTo>
                      <a:lnTo>
                        <a:pt x="22" y="63"/>
                      </a:lnTo>
                      <a:lnTo>
                        <a:pt x="21" y="61"/>
                      </a:lnTo>
                      <a:lnTo>
                        <a:pt x="20" y="60"/>
                      </a:lnTo>
                      <a:lnTo>
                        <a:pt x="20" y="59"/>
                      </a:lnTo>
                      <a:lnTo>
                        <a:pt x="19" y="58"/>
                      </a:lnTo>
                      <a:lnTo>
                        <a:pt x="18" y="55"/>
                      </a:lnTo>
                      <a:lnTo>
                        <a:pt x="18" y="54"/>
                      </a:lnTo>
                      <a:lnTo>
                        <a:pt x="19" y="54"/>
                      </a:lnTo>
                      <a:lnTo>
                        <a:pt x="19" y="53"/>
                      </a:lnTo>
                      <a:lnTo>
                        <a:pt x="19" y="54"/>
                      </a:lnTo>
                      <a:lnTo>
                        <a:pt x="19" y="55"/>
                      </a:lnTo>
                      <a:lnTo>
                        <a:pt x="20" y="55"/>
                      </a:lnTo>
                      <a:lnTo>
                        <a:pt x="21" y="54"/>
                      </a:lnTo>
                      <a:lnTo>
                        <a:pt x="22" y="54"/>
                      </a:lnTo>
                      <a:lnTo>
                        <a:pt x="25" y="54"/>
                      </a:lnTo>
                      <a:lnTo>
                        <a:pt x="25" y="53"/>
                      </a:lnTo>
                      <a:lnTo>
                        <a:pt x="26" y="53"/>
                      </a:lnTo>
                      <a:lnTo>
                        <a:pt x="27" y="53"/>
                      </a:lnTo>
                      <a:lnTo>
                        <a:pt x="28" y="52"/>
                      </a:lnTo>
                      <a:lnTo>
                        <a:pt x="29" y="52"/>
                      </a:lnTo>
                      <a:lnTo>
                        <a:pt x="31" y="52"/>
                      </a:lnTo>
                      <a:lnTo>
                        <a:pt x="32" y="52"/>
                      </a:lnTo>
                      <a:lnTo>
                        <a:pt x="32" y="53"/>
                      </a:lnTo>
                      <a:lnTo>
                        <a:pt x="33" y="52"/>
                      </a:lnTo>
                      <a:lnTo>
                        <a:pt x="34" y="52"/>
                      </a:lnTo>
                      <a:lnTo>
                        <a:pt x="35" y="52"/>
                      </a:lnTo>
                      <a:lnTo>
                        <a:pt x="36" y="51"/>
                      </a:lnTo>
                      <a:lnTo>
                        <a:pt x="38" y="51"/>
                      </a:lnTo>
                      <a:lnTo>
                        <a:pt x="39" y="49"/>
                      </a:lnTo>
                      <a:lnTo>
                        <a:pt x="39" y="48"/>
                      </a:lnTo>
                      <a:lnTo>
                        <a:pt x="40" y="48"/>
                      </a:lnTo>
                      <a:lnTo>
                        <a:pt x="41" y="47"/>
                      </a:lnTo>
                      <a:lnTo>
                        <a:pt x="42" y="47"/>
                      </a:lnTo>
                      <a:lnTo>
                        <a:pt x="43" y="47"/>
                      </a:lnTo>
                      <a:lnTo>
                        <a:pt x="45" y="47"/>
                      </a:lnTo>
                      <a:lnTo>
                        <a:pt x="46" y="46"/>
                      </a:lnTo>
                      <a:lnTo>
                        <a:pt x="49" y="46"/>
                      </a:lnTo>
                      <a:lnTo>
                        <a:pt x="50" y="47"/>
                      </a:lnTo>
                      <a:lnTo>
                        <a:pt x="52" y="47"/>
                      </a:lnTo>
                      <a:lnTo>
                        <a:pt x="52" y="46"/>
                      </a:lnTo>
                      <a:lnTo>
                        <a:pt x="53" y="46"/>
                      </a:lnTo>
                      <a:lnTo>
                        <a:pt x="56" y="46"/>
                      </a:lnTo>
                      <a:lnTo>
                        <a:pt x="56" y="47"/>
                      </a:lnTo>
                      <a:lnTo>
                        <a:pt x="57" y="47"/>
                      </a:lnTo>
                      <a:lnTo>
                        <a:pt x="57" y="46"/>
                      </a:lnTo>
                      <a:lnTo>
                        <a:pt x="61" y="46"/>
                      </a:lnTo>
                      <a:lnTo>
                        <a:pt x="66" y="46"/>
                      </a:lnTo>
                      <a:lnTo>
                        <a:pt x="70" y="46"/>
                      </a:lnTo>
                      <a:lnTo>
                        <a:pt x="71" y="46"/>
                      </a:lnTo>
                      <a:close/>
                      <a:moveTo>
                        <a:pt x="34" y="0"/>
                      </a:moveTo>
                      <a:lnTo>
                        <a:pt x="35" y="0"/>
                      </a:lnTo>
                      <a:lnTo>
                        <a:pt x="36" y="2"/>
                      </a:lnTo>
                      <a:lnTo>
                        <a:pt x="36" y="3"/>
                      </a:lnTo>
                      <a:lnTo>
                        <a:pt x="38" y="4"/>
                      </a:lnTo>
                      <a:lnTo>
                        <a:pt x="39" y="5"/>
                      </a:lnTo>
                      <a:lnTo>
                        <a:pt x="41" y="7"/>
                      </a:lnTo>
                      <a:lnTo>
                        <a:pt x="42" y="7"/>
                      </a:lnTo>
                      <a:lnTo>
                        <a:pt x="42" y="9"/>
                      </a:lnTo>
                      <a:lnTo>
                        <a:pt x="41" y="9"/>
                      </a:lnTo>
                      <a:lnTo>
                        <a:pt x="35" y="11"/>
                      </a:lnTo>
                      <a:lnTo>
                        <a:pt x="34" y="11"/>
                      </a:lnTo>
                      <a:lnTo>
                        <a:pt x="33" y="12"/>
                      </a:lnTo>
                      <a:lnTo>
                        <a:pt x="33" y="13"/>
                      </a:lnTo>
                      <a:lnTo>
                        <a:pt x="32" y="14"/>
                      </a:lnTo>
                      <a:lnTo>
                        <a:pt x="31" y="14"/>
                      </a:lnTo>
                      <a:lnTo>
                        <a:pt x="31" y="16"/>
                      </a:lnTo>
                      <a:lnTo>
                        <a:pt x="31" y="17"/>
                      </a:lnTo>
                      <a:lnTo>
                        <a:pt x="29" y="17"/>
                      </a:lnTo>
                      <a:lnTo>
                        <a:pt x="28" y="17"/>
                      </a:lnTo>
                      <a:lnTo>
                        <a:pt x="27" y="18"/>
                      </a:lnTo>
                      <a:lnTo>
                        <a:pt x="27" y="19"/>
                      </a:lnTo>
                      <a:lnTo>
                        <a:pt x="26" y="20"/>
                      </a:lnTo>
                      <a:lnTo>
                        <a:pt x="24" y="21"/>
                      </a:lnTo>
                      <a:lnTo>
                        <a:pt x="22" y="21"/>
                      </a:lnTo>
                      <a:lnTo>
                        <a:pt x="22" y="23"/>
                      </a:lnTo>
                      <a:lnTo>
                        <a:pt x="25" y="23"/>
                      </a:lnTo>
                      <a:lnTo>
                        <a:pt x="25" y="24"/>
                      </a:lnTo>
                      <a:lnTo>
                        <a:pt x="25" y="25"/>
                      </a:lnTo>
                      <a:lnTo>
                        <a:pt x="25" y="27"/>
                      </a:lnTo>
                      <a:lnTo>
                        <a:pt x="25" y="30"/>
                      </a:lnTo>
                      <a:lnTo>
                        <a:pt x="25" y="33"/>
                      </a:lnTo>
                      <a:lnTo>
                        <a:pt x="25" y="38"/>
                      </a:lnTo>
                      <a:lnTo>
                        <a:pt x="25" y="39"/>
                      </a:lnTo>
                      <a:lnTo>
                        <a:pt x="25" y="42"/>
                      </a:lnTo>
                      <a:lnTo>
                        <a:pt x="22" y="42"/>
                      </a:lnTo>
                      <a:lnTo>
                        <a:pt x="19" y="42"/>
                      </a:lnTo>
                      <a:lnTo>
                        <a:pt x="17" y="42"/>
                      </a:lnTo>
                      <a:lnTo>
                        <a:pt x="16" y="44"/>
                      </a:lnTo>
                      <a:lnTo>
                        <a:pt x="13" y="41"/>
                      </a:lnTo>
                      <a:lnTo>
                        <a:pt x="13" y="39"/>
                      </a:lnTo>
                      <a:lnTo>
                        <a:pt x="14" y="37"/>
                      </a:lnTo>
                      <a:lnTo>
                        <a:pt x="16" y="37"/>
                      </a:lnTo>
                      <a:lnTo>
                        <a:pt x="16" y="35"/>
                      </a:lnTo>
                      <a:lnTo>
                        <a:pt x="16" y="34"/>
                      </a:lnTo>
                      <a:lnTo>
                        <a:pt x="16" y="33"/>
                      </a:lnTo>
                      <a:lnTo>
                        <a:pt x="14" y="32"/>
                      </a:lnTo>
                      <a:lnTo>
                        <a:pt x="14" y="30"/>
                      </a:lnTo>
                      <a:lnTo>
                        <a:pt x="14" y="28"/>
                      </a:lnTo>
                      <a:lnTo>
                        <a:pt x="13" y="27"/>
                      </a:lnTo>
                      <a:lnTo>
                        <a:pt x="12" y="25"/>
                      </a:lnTo>
                      <a:lnTo>
                        <a:pt x="11" y="24"/>
                      </a:lnTo>
                      <a:lnTo>
                        <a:pt x="10" y="21"/>
                      </a:lnTo>
                      <a:lnTo>
                        <a:pt x="10" y="20"/>
                      </a:lnTo>
                      <a:lnTo>
                        <a:pt x="11" y="21"/>
                      </a:lnTo>
                      <a:lnTo>
                        <a:pt x="12" y="21"/>
                      </a:lnTo>
                      <a:lnTo>
                        <a:pt x="12" y="20"/>
                      </a:lnTo>
                      <a:lnTo>
                        <a:pt x="13" y="20"/>
                      </a:lnTo>
                      <a:lnTo>
                        <a:pt x="13" y="19"/>
                      </a:lnTo>
                      <a:lnTo>
                        <a:pt x="12" y="19"/>
                      </a:lnTo>
                      <a:lnTo>
                        <a:pt x="12" y="20"/>
                      </a:lnTo>
                      <a:lnTo>
                        <a:pt x="12" y="21"/>
                      </a:lnTo>
                      <a:lnTo>
                        <a:pt x="11" y="21"/>
                      </a:lnTo>
                      <a:lnTo>
                        <a:pt x="11" y="20"/>
                      </a:lnTo>
                      <a:lnTo>
                        <a:pt x="10" y="20"/>
                      </a:lnTo>
                      <a:lnTo>
                        <a:pt x="9" y="20"/>
                      </a:lnTo>
                      <a:lnTo>
                        <a:pt x="12" y="17"/>
                      </a:lnTo>
                      <a:lnTo>
                        <a:pt x="13" y="16"/>
                      </a:lnTo>
                      <a:lnTo>
                        <a:pt x="14" y="12"/>
                      </a:lnTo>
                      <a:lnTo>
                        <a:pt x="16" y="12"/>
                      </a:lnTo>
                      <a:lnTo>
                        <a:pt x="16" y="13"/>
                      </a:lnTo>
                      <a:lnTo>
                        <a:pt x="17" y="13"/>
                      </a:lnTo>
                      <a:lnTo>
                        <a:pt x="17" y="12"/>
                      </a:lnTo>
                      <a:lnTo>
                        <a:pt x="18" y="12"/>
                      </a:lnTo>
                      <a:lnTo>
                        <a:pt x="19" y="12"/>
                      </a:lnTo>
                      <a:lnTo>
                        <a:pt x="20" y="10"/>
                      </a:lnTo>
                      <a:lnTo>
                        <a:pt x="20" y="9"/>
                      </a:lnTo>
                      <a:lnTo>
                        <a:pt x="20" y="7"/>
                      </a:lnTo>
                      <a:lnTo>
                        <a:pt x="21" y="7"/>
                      </a:lnTo>
                      <a:lnTo>
                        <a:pt x="22" y="7"/>
                      </a:lnTo>
                      <a:lnTo>
                        <a:pt x="24" y="6"/>
                      </a:lnTo>
                      <a:lnTo>
                        <a:pt x="27" y="5"/>
                      </a:lnTo>
                      <a:lnTo>
                        <a:pt x="28" y="5"/>
                      </a:lnTo>
                      <a:lnTo>
                        <a:pt x="29" y="4"/>
                      </a:lnTo>
                      <a:lnTo>
                        <a:pt x="29" y="3"/>
                      </a:lnTo>
                      <a:lnTo>
                        <a:pt x="31" y="3"/>
                      </a:lnTo>
                      <a:lnTo>
                        <a:pt x="31" y="2"/>
                      </a:lnTo>
                      <a:lnTo>
                        <a:pt x="32" y="2"/>
                      </a:lnTo>
                      <a:lnTo>
                        <a:pt x="32" y="0"/>
                      </a:lnTo>
                      <a:lnTo>
                        <a:pt x="33" y="0"/>
                      </a:lnTo>
                      <a:lnTo>
                        <a:pt x="34"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6" name="Freeform 73">
                  <a:extLst>
                    <a:ext uri="{FF2B5EF4-FFF2-40B4-BE49-F238E27FC236}">
                      <a16:creationId xmlns:a16="http://schemas.microsoft.com/office/drawing/2014/main" id="{7C4174C9-1C54-24A3-DB86-142A0ABBA73E}"/>
                    </a:ext>
                  </a:extLst>
                </p:cNvPr>
                <p:cNvSpPr>
                  <a:spLocks/>
                </p:cNvSpPr>
                <p:nvPr/>
              </p:nvSpPr>
              <p:spPr bwMode="auto">
                <a:xfrm>
                  <a:off x="7222130" y="3876500"/>
                  <a:ext cx="62740" cy="74640"/>
                </a:xfrm>
                <a:custGeom>
                  <a:avLst/>
                  <a:gdLst>
                    <a:gd name="T0" fmla="*/ 47 w 58"/>
                    <a:gd name="T1" fmla="*/ 9 h 69"/>
                    <a:gd name="T2" fmla="*/ 47 w 58"/>
                    <a:gd name="T3" fmla="*/ 13 h 69"/>
                    <a:gd name="T4" fmla="*/ 47 w 58"/>
                    <a:gd name="T5" fmla="*/ 14 h 69"/>
                    <a:gd name="T6" fmla="*/ 47 w 58"/>
                    <a:gd name="T7" fmla="*/ 18 h 69"/>
                    <a:gd name="T8" fmla="*/ 48 w 58"/>
                    <a:gd name="T9" fmla="*/ 21 h 69"/>
                    <a:gd name="T10" fmla="*/ 50 w 58"/>
                    <a:gd name="T11" fmla="*/ 20 h 69"/>
                    <a:gd name="T12" fmla="*/ 52 w 58"/>
                    <a:gd name="T13" fmla="*/ 22 h 69"/>
                    <a:gd name="T14" fmla="*/ 55 w 58"/>
                    <a:gd name="T15" fmla="*/ 22 h 69"/>
                    <a:gd name="T16" fmla="*/ 58 w 58"/>
                    <a:gd name="T17" fmla="*/ 22 h 69"/>
                    <a:gd name="T18" fmla="*/ 58 w 58"/>
                    <a:gd name="T19" fmla="*/ 25 h 69"/>
                    <a:gd name="T20" fmla="*/ 58 w 58"/>
                    <a:gd name="T21" fmla="*/ 28 h 69"/>
                    <a:gd name="T22" fmla="*/ 58 w 58"/>
                    <a:gd name="T23" fmla="*/ 30 h 69"/>
                    <a:gd name="T24" fmla="*/ 55 w 58"/>
                    <a:gd name="T25" fmla="*/ 31 h 69"/>
                    <a:gd name="T26" fmla="*/ 51 w 58"/>
                    <a:gd name="T27" fmla="*/ 34 h 69"/>
                    <a:gd name="T28" fmla="*/ 50 w 58"/>
                    <a:gd name="T29" fmla="*/ 37 h 69"/>
                    <a:gd name="T30" fmla="*/ 48 w 58"/>
                    <a:gd name="T31" fmla="*/ 38 h 69"/>
                    <a:gd name="T32" fmla="*/ 47 w 58"/>
                    <a:gd name="T33" fmla="*/ 39 h 69"/>
                    <a:gd name="T34" fmla="*/ 45 w 58"/>
                    <a:gd name="T35" fmla="*/ 42 h 69"/>
                    <a:gd name="T36" fmla="*/ 44 w 58"/>
                    <a:gd name="T37" fmla="*/ 46 h 69"/>
                    <a:gd name="T38" fmla="*/ 40 w 58"/>
                    <a:gd name="T39" fmla="*/ 51 h 69"/>
                    <a:gd name="T40" fmla="*/ 36 w 58"/>
                    <a:gd name="T41" fmla="*/ 58 h 69"/>
                    <a:gd name="T42" fmla="*/ 31 w 58"/>
                    <a:gd name="T43" fmla="*/ 63 h 69"/>
                    <a:gd name="T44" fmla="*/ 26 w 58"/>
                    <a:gd name="T45" fmla="*/ 65 h 69"/>
                    <a:gd name="T46" fmla="*/ 24 w 58"/>
                    <a:gd name="T47" fmla="*/ 66 h 69"/>
                    <a:gd name="T48" fmla="*/ 23 w 58"/>
                    <a:gd name="T49" fmla="*/ 69 h 69"/>
                    <a:gd name="T50" fmla="*/ 20 w 58"/>
                    <a:gd name="T51" fmla="*/ 65 h 69"/>
                    <a:gd name="T52" fmla="*/ 17 w 58"/>
                    <a:gd name="T53" fmla="*/ 59 h 69"/>
                    <a:gd name="T54" fmla="*/ 16 w 58"/>
                    <a:gd name="T55" fmla="*/ 57 h 69"/>
                    <a:gd name="T56" fmla="*/ 14 w 58"/>
                    <a:gd name="T57" fmla="*/ 53 h 69"/>
                    <a:gd name="T58" fmla="*/ 14 w 58"/>
                    <a:gd name="T59" fmla="*/ 51 h 69"/>
                    <a:gd name="T60" fmla="*/ 12 w 58"/>
                    <a:gd name="T61" fmla="*/ 46 h 69"/>
                    <a:gd name="T62" fmla="*/ 7 w 58"/>
                    <a:gd name="T63" fmla="*/ 31 h 69"/>
                    <a:gd name="T64" fmla="*/ 7 w 58"/>
                    <a:gd name="T65" fmla="*/ 28 h 69"/>
                    <a:gd name="T66" fmla="*/ 8 w 58"/>
                    <a:gd name="T67" fmla="*/ 23 h 69"/>
                    <a:gd name="T68" fmla="*/ 6 w 58"/>
                    <a:gd name="T69" fmla="*/ 22 h 69"/>
                    <a:gd name="T70" fmla="*/ 3 w 58"/>
                    <a:gd name="T71" fmla="*/ 20 h 69"/>
                    <a:gd name="T72" fmla="*/ 1 w 58"/>
                    <a:gd name="T73" fmla="*/ 16 h 69"/>
                    <a:gd name="T74" fmla="*/ 1 w 58"/>
                    <a:gd name="T75" fmla="*/ 14 h 69"/>
                    <a:gd name="T76" fmla="*/ 5 w 58"/>
                    <a:gd name="T77" fmla="*/ 9 h 69"/>
                    <a:gd name="T78" fmla="*/ 10 w 58"/>
                    <a:gd name="T79" fmla="*/ 11 h 69"/>
                    <a:gd name="T80" fmla="*/ 12 w 58"/>
                    <a:gd name="T81" fmla="*/ 14 h 69"/>
                    <a:gd name="T82" fmla="*/ 10 w 58"/>
                    <a:gd name="T83" fmla="*/ 16 h 69"/>
                    <a:gd name="T84" fmla="*/ 16 w 58"/>
                    <a:gd name="T85" fmla="*/ 16 h 69"/>
                    <a:gd name="T86" fmla="*/ 19 w 58"/>
                    <a:gd name="T87" fmla="*/ 16 h 69"/>
                    <a:gd name="T88" fmla="*/ 22 w 58"/>
                    <a:gd name="T89" fmla="*/ 16 h 69"/>
                    <a:gd name="T90" fmla="*/ 24 w 58"/>
                    <a:gd name="T91" fmla="*/ 15 h 69"/>
                    <a:gd name="T92" fmla="*/ 28 w 58"/>
                    <a:gd name="T93" fmla="*/ 14 h 69"/>
                    <a:gd name="T94" fmla="*/ 30 w 58"/>
                    <a:gd name="T95" fmla="*/ 6 h 69"/>
                    <a:gd name="T96" fmla="*/ 30 w 58"/>
                    <a:gd name="T97" fmla="*/ 1 h 69"/>
                    <a:gd name="T98" fmla="*/ 33 w 58"/>
                    <a:gd name="T99" fmla="*/ 2 h 69"/>
                    <a:gd name="T100" fmla="*/ 36 w 58"/>
                    <a:gd name="T101" fmla="*/ 4 h 69"/>
                    <a:gd name="T102" fmla="*/ 38 w 58"/>
                    <a:gd name="T103" fmla="*/ 1 h 69"/>
                    <a:gd name="T104" fmla="*/ 42 w 58"/>
                    <a:gd name="T105" fmla="*/ 2 h 69"/>
                    <a:gd name="T106" fmla="*/ 44 w 58"/>
                    <a:gd name="T107" fmla="*/ 0 h 69"/>
                    <a:gd name="T108" fmla="*/ 45 w 58"/>
                    <a:gd name="T109"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 h="69">
                      <a:moveTo>
                        <a:pt x="50" y="3"/>
                      </a:moveTo>
                      <a:lnTo>
                        <a:pt x="49" y="4"/>
                      </a:lnTo>
                      <a:lnTo>
                        <a:pt x="48" y="6"/>
                      </a:lnTo>
                      <a:lnTo>
                        <a:pt x="47" y="8"/>
                      </a:lnTo>
                      <a:lnTo>
                        <a:pt x="47" y="9"/>
                      </a:lnTo>
                      <a:lnTo>
                        <a:pt x="47" y="9"/>
                      </a:lnTo>
                      <a:lnTo>
                        <a:pt x="47" y="10"/>
                      </a:lnTo>
                      <a:lnTo>
                        <a:pt x="45" y="10"/>
                      </a:lnTo>
                      <a:lnTo>
                        <a:pt x="45" y="11"/>
                      </a:lnTo>
                      <a:lnTo>
                        <a:pt x="45" y="11"/>
                      </a:lnTo>
                      <a:lnTo>
                        <a:pt x="45" y="13"/>
                      </a:lnTo>
                      <a:lnTo>
                        <a:pt x="47" y="13"/>
                      </a:lnTo>
                      <a:lnTo>
                        <a:pt x="47" y="13"/>
                      </a:lnTo>
                      <a:lnTo>
                        <a:pt x="48" y="11"/>
                      </a:lnTo>
                      <a:lnTo>
                        <a:pt x="49" y="11"/>
                      </a:lnTo>
                      <a:lnTo>
                        <a:pt x="49" y="11"/>
                      </a:lnTo>
                      <a:lnTo>
                        <a:pt x="47" y="14"/>
                      </a:lnTo>
                      <a:lnTo>
                        <a:pt x="47" y="14"/>
                      </a:lnTo>
                      <a:lnTo>
                        <a:pt x="47" y="15"/>
                      </a:lnTo>
                      <a:lnTo>
                        <a:pt x="47" y="15"/>
                      </a:lnTo>
                      <a:lnTo>
                        <a:pt x="45" y="16"/>
                      </a:lnTo>
                      <a:lnTo>
                        <a:pt x="45" y="17"/>
                      </a:lnTo>
                      <a:lnTo>
                        <a:pt x="45" y="17"/>
                      </a:lnTo>
                      <a:lnTo>
                        <a:pt x="47" y="18"/>
                      </a:lnTo>
                      <a:lnTo>
                        <a:pt x="47" y="20"/>
                      </a:lnTo>
                      <a:lnTo>
                        <a:pt x="48" y="20"/>
                      </a:lnTo>
                      <a:lnTo>
                        <a:pt x="47" y="20"/>
                      </a:lnTo>
                      <a:lnTo>
                        <a:pt x="48" y="20"/>
                      </a:lnTo>
                      <a:lnTo>
                        <a:pt x="48" y="20"/>
                      </a:lnTo>
                      <a:lnTo>
                        <a:pt x="48" y="21"/>
                      </a:lnTo>
                      <a:lnTo>
                        <a:pt x="48" y="21"/>
                      </a:lnTo>
                      <a:lnTo>
                        <a:pt x="48" y="21"/>
                      </a:lnTo>
                      <a:lnTo>
                        <a:pt x="49" y="20"/>
                      </a:lnTo>
                      <a:lnTo>
                        <a:pt x="49" y="20"/>
                      </a:lnTo>
                      <a:lnTo>
                        <a:pt x="49" y="20"/>
                      </a:lnTo>
                      <a:lnTo>
                        <a:pt x="50" y="20"/>
                      </a:lnTo>
                      <a:lnTo>
                        <a:pt x="51" y="21"/>
                      </a:lnTo>
                      <a:lnTo>
                        <a:pt x="52" y="21"/>
                      </a:lnTo>
                      <a:lnTo>
                        <a:pt x="52" y="21"/>
                      </a:lnTo>
                      <a:lnTo>
                        <a:pt x="52" y="21"/>
                      </a:lnTo>
                      <a:lnTo>
                        <a:pt x="52" y="22"/>
                      </a:lnTo>
                      <a:lnTo>
                        <a:pt x="52" y="22"/>
                      </a:lnTo>
                      <a:lnTo>
                        <a:pt x="52" y="22"/>
                      </a:lnTo>
                      <a:lnTo>
                        <a:pt x="53" y="22"/>
                      </a:lnTo>
                      <a:lnTo>
                        <a:pt x="53" y="22"/>
                      </a:lnTo>
                      <a:lnTo>
                        <a:pt x="53" y="22"/>
                      </a:lnTo>
                      <a:lnTo>
                        <a:pt x="55" y="22"/>
                      </a:lnTo>
                      <a:lnTo>
                        <a:pt x="55" y="22"/>
                      </a:lnTo>
                      <a:lnTo>
                        <a:pt x="56" y="22"/>
                      </a:lnTo>
                      <a:lnTo>
                        <a:pt x="56" y="22"/>
                      </a:lnTo>
                      <a:lnTo>
                        <a:pt x="57" y="22"/>
                      </a:lnTo>
                      <a:lnTo>
                        <a:pt x="58" y="22"/>
                      </a:lnTo>
                      <a:lnTo>
                        <a:pt x="58" y="22"/>
                      </a:lnTo>
                      <a:lnTo>
                        <a:pt x="58" y="22"/>
                      </a:lnTo>
                      <a:lnTo>
                        <a:pt x="57" y="23"/>
                      </a:lnTo>
                      <a:lnTo>
                        <a:pt x="57" y="24"/>
                      </a:lnTo>
                      <a:lnTo>
                        <a:pt x="57" y="24"/>
                      </a:lnTo>
                      <a:lnTo>
                        <a:pt x="58" y="25"/>
                      </a:lnTo>
                      <a:lnTo>
                        <a:pt x="58" y="25"/>
                      </a:lnTo>
                      <a:lnTo>
                        <a:pt x="58" y="25"/>
                      </a:lnTo>
                      <a:lnTo>
                        <a:pt x="58" y="27"/>
                      </a:lnTo>
                      <a:lnTo>
                        <a:pt x="58" y="27"/>
                      </a:lnTo>
                      <a:lnTo>
                        <a:pt x="58" y="27"/>
                      </a:lnTo>
                      <a:lnTo>
                        <a:pt x="58" y="27"/>
                      </a:lnTo>
                      <a:lnTo>
                        <a:pt x="58" y="27"/>
                      </a:lnTo>
                      <a:lnTo>
                        <a:pt x="58" y="28"/>
                      </a:lnTo>
                      <a:lnTo>
                        <a:pt x="58" y="28"/>
                      </a:lnTo>
                      <a:lnTo>
                        <a:pt x="58" y="29"/>
                      </a:lnTo>
                      <a:lnTo>
                        <a:pt x="58" y="29"/>
                      </a:lnTo>
                      <a:lnTo>
                        <a:pt x="58" y="29"/>
                      </a:lnTo>
                      <a:lnTo>
                        <a:pt x="58" y="30"/>
                      </a:lnTo>
                      <a:lnTo>
                        <a:pt x="58" y="30"/>
                      </a:lnTo>
                      <a:lnTo>
                        <a:pt x="57" y="31"/>
                      </a:lnTo>
                      <a:lnTo>
                        <a:pt x="57" y="31"/>
                      </a:lnTo>
                      <a:lnTo>
                        <a:pt x="56" y="31"/>
                      </a:lnTo>
                      <a:lnTo>
                        <a:pt x="55" y="31"/>
                      </a:lnTo>
                      <a:lnTo>
                        <a:pt x="55" y="31"/>
                      </a:lnTo>
                      <a:lnTo>
                        <a:pt x="55" y="31"/>
                      </a:lnTo>
                      <a:lnTo>
                        <a:pt x="55" y="32"/>
                      </a:lnTo>
                      <a:lnTo>
                        <a:pt x="53" y="32"/>
                      </a:lnTo>
                      <a:lnTo>
                        <a:pt x="53" y="32"/>
                      </a:lnTo>
                      <a:lnTo>
                        <a:pt x="52" y="32"/>
                      </a:lnTo>
                      <a:lnTo>
                        <a:pt x="52" y="34"/>
                      </a:lnTo>
                      <a:lnTo>
                        <a:pt x="51" y="34"/>
                      </a:lnTo>
                      <a:lnTo>
                        <a:pt x="51" y="34"/>
                      </a:lnTo>
                      <a:lnTo>
                        <a:pt x="52" y="35"/>
                      </a:lnTo>
                      <a:lnTo>
                        <a:pt x="52" y="36"/>
                      </a:lnTo>
                      <a:lnTo>
                        <a:pt x="51" y="36"/>
                      </a:lnTo>
                      <a:lnTo>
                        <a:pt x="50" y="37"/>
                      </a:lnTo>
                      <a:lnTo>
                        <a:pt x="50" y="37"/>
                      </a:lnTo>
                      <a:lnTo>
                        <a:pt x="49" y="38"/>
                      </a:lnTo>
                      <a:lnTo>
                        <a:pt x="49" y="38"/>
                      </a:lnTo>
                      <a:lnTo>
                        <a:pt x="49" y="38"/>
                      </a:lnTo>
                      <a:lnTo>
                        <a:pt x="48" y="38"/>
                      </a:lnTo>
                      <a:lnTo>
                        <a:pt x="48" y="38"/>
                      </a:lnTo>
                      <a:lnTo>
                        <a:pt x="48" y="38"/>
                      </a:lnTo>
                      <a:lnTo>
                        <a:pt x="48" y="38"/>
                      </a:lnTo>
                      <a:lnTo>
                        <a:pt x="48" y="38"/>
                      </a:lnTo>
                      <a:lnTo>
                        <a:pt x="48" y="38"/>
                      </a:lnTo>
                      <a:lnTo>
                        <a:pt x="47" y="38"/>
                      </a:lnTo>
                      <a:lnTo>
                        <a:pt x="47" y="38"/>
                      </a:lnTo>
                      <a:lnTo>
                        <a:pt x="47" y="39"/>
                      </a:lnTo>
                      <a:lnTo>
                        <a:pt x="47" y="39"/>
                      </a:lnTo>
                      <a:lnTo>
                        <a:pt x="45" y="39"/>
                      </a:lnTo>
                      <a:lnTo>
                        <a:pt x="45" y="41"/>
                      </a:lnTo>
                      <a:lnTo>
                        <a:pt x="45" y="41"/>
                      </a:lnTo>
                      <a:lnTo>
                        <a:pt x="45" y="42"/>
                      </a:lnTo>
                      <a:lnTo>
                        <a:pt x="45" y="42"/>
                      </a:lnTo>
                      <a:lnTo>
                        <a:pt x="44" y="44"/>
                      </a:lnTo>
                      <a:lnTo>
                        <a:pt x="44" y="44"/>
                      </a:lnTo>
                      <a:lnTo>
                        <a:pt x="44" y="44"/>
                      </a:lnTo>
                      <a:lnTo>
                        <a:pt x="44" y="45"/>
                      </a:lnTo>
                      <a:lnTo>
                        <a:pt x="44" y="45"/>
                      </a:lnTo>
                      <a:lnTo>
                        <a:pt x="44" y="46"/>
                      </a:lnTo>
                      <a:lnTo>
                        <a:pt x="44" y="46"/>
                      </a:lnTo>
                      <a:lnTo>
                        <a:pt x="44" y="48"/>
                      </a:lnTo>
                      <a:lnTo>
                        <a:pt x="43" y="46"/>
                      </a:lnTo>
                      <a:lnTo>
                        <a:pt x="42" y="48"/>
                      </a:lnTo>
                      <a:lnTo>
                        <a:pt x="41" y="49"/>
                      </a:lnTo>
                      <a:lnTo>
                        <a:pt x="40" y="51"/>
                      </a:lnTo>
                      <a:lnTo>
                        <a:pt x="38" y="51"/>
                      </a:lnTo>
                      <a:lnTo>
                        <a:pt x="38" y="53"/>
                      </a:lnTo>
                      <a:lnTo>
                        <a:pt x="37" y="55"/>
                      </a:lnTo>
                      <a:lnTo>
                        <a:pt x="37" y="56"/>
                      </a:lnTo>
                      <a:lnTo>
                        <a:pt x="37" y="57"/>
                      </a:lnTo>
                      <a:lnTo>
                        <a:pt x="36" y="58"/>
                      </a:lnTo>
                      <a:lnTo>
                        <a:pt x="34" y="59"/>
                      </a:lnTo>
                      <a:lnTo>
                        <a:pt x="34" y="60"/>
                      </a:lnTo>
                      <a:lnTo>
                        <a:pt x="33" y="62"/>
                      </a:lnTo>
                      <a:lnTo>
                        <a:pt x="33" y="63"/>
                      </a:lnTo>
                      <a:lnTo>
                        <a:pt x="31" y="63"/>
                      </a:lnTo>
                      <a:lnTo>
                        <a:pt x="31" y="63"/>
                      </a:lnTo>
                      <a:lnTo>
                        <a:pt x="30" y="64"/>
                      </a:lnTo>
                      <a:lnTo>
                        <a:pt x="29" y="65"/>
                      </a:lnTo>
                      <a:lnTo>
                        <a:pt x="27" y="65"/>
                      </a:lnTo>
                      <a:lnTo>
                        <a:pt x="27" y="65"/>
                      </a:lnTo>
                      <a:lnTo>
                        <a:pt x="27" y="65"/>
                      </a:lnTo>
                      <a:lnTo>
                        <a:pt x="26" y="65"/>
                      </a:lnTo>
                      <a:lnTo>
                        <a:pt x="26" y="65"/>
                      </a:lnTo>
                      <a:lnTo>
                        <a:pt x="26" y="65"/>
                      </a:lnTo>
                      <a:lnTo>
                        <a:pt x="26" y="66"/>
                      </a:lnTo>
                      <a:lnTo>
                        <a:pt x="26" y="66"/>
                      </a:lnTo>
                      <a:lnTo>
                        <a:pt x="24" y="66"/>
                      </a:lnTo>
                      <a:lnTo>
                        <a:pt x="24" y="66"/>
                      </a:lnTo>
                      <a:lnTo>
                        <a:pt x="24" y="67"/>
                      </a:lnTo>
                      <a:lnTo>
                        <a:pt x="24" y="67"/>
                      </a:lnTo>
                      <a:lnTo>
                        <a:pt x="24" y="67"/>
                      </a:lnTo>
                      <a:lnTo>
                        <a:pt x="24" y="69"/>
                      </a:lnTo>
                      <a:lnTo>
                        <a:pt x="23" y="69"/>
                      </a:lnTo>
                      <a:lnTo>
                        <a:pt x="23" y="69"/>
                      </a:lnTo>
                      <a:lnTo>
                        <a:pt x="22" y="69"/>
                      </a:lnTo>
                      <a:lnTo>
                        <a:pt x="21" y="67"/>
                      </a:lnTo>
                      <a:lnTo>
                        <a:pt x="21" y="67"/>
                      </a:lnTo>
                      <a:lnTo>
                        <a:pt x="21" y="66"/>
                      </a:lnTo>
                      <a:lnTo>
                        <a:pt x="21" y="66"/>
                      </a:lnTo>
                      <a:lnTo>
                        <a:pt x="20" y="65"/>
                      </a:lnTo>
                      <a:lnTo>
                        <a:pt x="19" y="64"/>
                      </a:lnTo>
                      <a:lnTo>
                        <a:pt x="17" y="62"/>
                      </a:lnTo>
                      <a:lnTo>
                        <a:pt x="17" y="62"/>
                      </a:lnTo>
                      <a:lnTo>
                        <a:pt x="17" y="60"/>
                      </a:lnTo>
                      <a:lnTo>
                        <a:pt x="17" y="60"/>
                      </a:lnTo>
                      <a:lnTo>
                        <a:pt x="17" y="59"/>
                      </a:lnTo>
                      <a:lnTo>
                        <a:pt x="16" y="59"/>
                      </a:lnTo>
                      <a:lnTo>
                        <a:pt x="16" y="59"/>
                      </a:lnTo>
                      <a:lnTo>
                        <a:pt x="16" y="58"/>
                      </a:lnTo>
                      <a:lnTo>
                        <a:pt x="16" y="58"/>
                      </a:lnTo>
                      <a:lnTo>
                        <a:pt x="16" y="57"/>
                      </a:lnTo>
                      <a:lnTo>
                        <a:pt x="16" y="57"/>
                      </a:lnTo>
                      <a:lnTo>
                        <a:pt x="15" y="56"/>
                      </a:lnTo>
                      <a:lnTo>
                        <a:pt x="15" y="56"/>
                      </a:lnTo>
                      <a:lnTo>
                        <a:pt x="15" y="56"/>
                      </a:lnTo>
                      <a:lnTo>
                        <a:pt x="14" y="55"/>
                      </a:lnTo>
                      <a:lnTo>
                        <a:pt x="14" y="55"/>
                      </a:lnTo>
                      <a:lnTo>
                        <a:pt x="14" y="53"/>
                      </a:lnTo>
                      <a:lnTo>
                        <a:pt x="14" y="53"/>
                      </a:lnTo>
                      <a:lnTo>
                        <a:pt x="14" y="53"/>
                      </a:lnTo>
                      <a:lnTo>
                        <a:pt x="14" y="53"/>
                      </a:lnTo>
                      <a:lnTo>
                        <a:pt x="14" y="52"/>
                      </a:lnTo>
                      <a:lnTo>
                        <a:pt x="14" y="52"/>
                      </a:lnTo>
                      <a:lnTo>
                        <a:pt x="14" y="51"/>
                      </a:lnTo>
                      <a:lnTo>
                        <a:pt x="13" y="51"/>
                      </a:lnTo>
                      <a:lnTo>
                        <a:pt x="13" y="51"/>
                      </a:lnTo>
                      <a:lnTo>
                        <a:pt x="13" y="51"/>
                      </a:lnTo>
                      <a:lnTo>
                        <a:pt x="13" y="50"/>
                      </a:lnTo>
                      <a:lnTo>
                        <a:pt x="12" y="49"/>
                      </a:lnTo>
                      <a:lnTo>
                        <a:pt x="12" y="46"/>
                      </a:lnTo>
                      <a:lnTo>
                        <a:pt x="12" y="35"/>
                      </a:lnTo>
                      <a:lnTo>
                        <a:pt x="10" y="34"/>
                      </a:lnTo>
                      <a:lnTo>
                        <a:pt x="10" y="32"/>
                      </a:lnTo>
                      <a:lnTo>
                        <a:pt x="8" y="32"/>
                      </a:lnTo>
                      <a:lnTo>
                        <a:pt x="7" y="32"/>
                      </a:lnTo>
                      <a:lnTo>
                        <a:pt x="7" y="31"/>
                      </a:lnTo>
                      <a:lnTo>
                        <a:pt x="7" y="31"/>
                      </a:lnTo>
                      <a:lnTo>
                        <a:pt x="8" y="31"/>
                      </a:lnTo>
                      <a:lnTo>
                        <a:pt x="8" y="30"/>
                      </a:lnTo>
                      <a:lnTo>
                        <a:pt x="8" y="30"/>
                      </a:lnTo>
                      <a:lnTo>
                        <a:pt x="7" y="30"/>
                      </a:lnTo>
                      <a:lnTo>
                        <a:pt x="7" y="28"/>
                      </a:lnTo>
                      <a:lnTo>
                        <a:pt x="7" y="27"/>
                      </a:lnTo>
                      <a:lnTo>
                        <a:pt x="8" y="27"/>
                      </a:lnTo>
                      <a:lnTo>
                        <a:pt x="8" y="27"/>
                      </a:lnTo>
                      <a:lnTo>
                        <a:pt x="8" y="25"/>
                      </a:lnTo>
                      <a:lnTo>
                        <a:pt x="8" y="25"/>
                      </a:lnTo>
                      <a:lnTo>
                        <a:pt x="8" y="23"/>
                      </a:lnTo>
                      <a:lnTo>
                        <a:pt x="8" y="23"/>
                      </a:lnTo>
                      <a:lnTo>
                        <a:pt x="7" y="23"/>
                      </a:lnTo>
                      <a:lnTo>
                        <a:pt x="7" y="23"/>
                      </a:lnTo>
                      <a:lnTo>
                        <a:pt x="6" y="23"/>
                      </a:lnTo>
                      <a:lnTo>
                        <a:pt x="6" y="22"/>
                      </a:lnTo>
                      <a:lnTo>
                        <a:pt x="6" y="22"/>
                      </a:lnTo>
                      <a:lnTo>
                        <a:pt x="5" y="21"/>
                      </a:lnTo>
                      <a:lnTo>
                        <a:pt x="5" y="21"/>
                      </a:lnTo>
                      <a:lnTo>
                        <a:pt x="5" y="21"/>
                      </a:lnTo>
                      <a:lnTo>
                        <a:pt x="3" y="20"/>
                      </a:lnTo>
                      <a:lnTo>
                        <a:pt x="3" y="20"/>
                      </a:lnTo>
                      <a:lnTo>
                        <a:pt x="3" y="20"/>
                      </a:lnTo>
                      <a:lnTo>
                        <a:pt x="3" y="18"/>
                      </a:lnTo>
                      <a:lnTo>
                        <a:pt x="3" y="18"/>
                      </a:lnTo>
                      <a:lnTo>
                        <a:pt x="2" y="18"/>
                      </a:lnTo>
                      <a:lnTo>
                        <a:pt x="2" y="17"/>
                      </a:lnTo>
                      <a:lnTo>
                        <a:pt x="2" y="17"/>
                      </a:lnTo>
                      <a:lnTo>
                        <a:pt x="1" y="16"/>
                      </a:lnTo>
                      <a:lnTo>
                        <a:pt x="1" y="16"/>
                      </a:lnTo>
                      <a:lnTo>
                        <a:pt x="0" y="16"/>
                      </a:lnTo>
                      <a:lnTo>
                        <a:pt x="0" y="16"/>
                      </a:lnTo>
                      <a:lnTo>
                        <a:pt x="0" y="15"/>
                      </a:lnTo>
                      <a:lnTo>
                        <a:pt x="0" y="15"/>
                      </a:lnTo>
                      <a:lnTo>
                        <a:pt x="1" y="14"/>
                      </a:lnTo>
                      <a:lnTo>
                        <a:pt x="1" y="14"/>
                      </a:lnTo>
                      <a:lnTo>
                        <a:pt x="1" y="14"/>
                      </a:lnTo>
                      <a:lnTo>
                        <a:pt x="1" y="10"/>
                      </a:lnTo>
                      <a:lnTo>
                        <a:pt x="2" y="9"/>
                      </a:lnTo>
                      <a:lnTo>
                        <a:pt x="5" y="9"/>
                      </a:lnTo>
                      <a:lnTo>
                        <a:pt x="5" y="9"/>
                      </a:lnTo>
                      <a:lnTo>
                        <a:pt x="7" y="10"/>
                      </a:lnTo>
                      <a:lnTo>
                        <a:pt x="7" y="10"/>
                      </a:lnTo>
                      <a:lnTo>
                        <a:pt x="8" y="10"/>
                      </a:lnTo>
                      <a:lnTo>
                        <a:pt x="9" y="11"/>
                      </a:lnTo>
                      <a:lnTo>
                        <a:pt x="10" y="11"/>
                      </a:lnTo>
                      <a:lnTo>
                        <a:pt x="10" y="11"/>
                      </a:lnTo>
                      <a:lnTo>
                        <a:pt x="10" y="11"/>
                      </a:lnTo>
                      <a:lnTo>
                        <a:pt x="10" y="13"/>
                      </a:lnTo>
                      <a:lnTo>
                        <a:pt x="10" y="13"/>
                      </a:lnTo>
                      <a:lnTo>
                        <a:pt x="10" y="13"/>
                      </a:lnTo>
                      <a:lnTo>
                        <a:pt x="12" y="13"/>
                      </a:lnTo>
                      <a:lnTo>
                        <a:pt x="12" y="14"/>
                      </a:lnTo>
                      <a:lnTo>
                        <a:pt x="12" y="14"/>
                      </a:lnTo>
                      <a:lnTo>
                        <a:pt x="10" y="15"/>
                      </a:lnTo>
                      <a:lnTo>
                        <a:pt x="10" y="15"/>
                      </a:lnTo>
                      <a:lnTo>
                        <a:pt x="10" y="15"/>
                      </a:lnTo>
                      <a:lnTo>
                        <a:pt x="10" y="16"/>
                      </a:lnTo>
                      <a:lnTo>
                        <a:pt x="10" y="16"/>
                      </a:lnTo>
                      <a:lnTo>
                        <a:pt x="12" y="17"/>
                      </a:lnTo>
                      <a:lnTo>
                        <a:pt x="12" y="16"/>
                      </a:lnTo>
                      <a:lnTo>
                        <a:pt x="14" y="16"/>
                      </a:lnTo>
                      <a:lnTo>
                        <a:pt x="14" y="16"/>
                      </a:lnTo>
                      <a:lnTo>
                        <a:pt x="15" y="16"/>
                      </a:lnTo>
                      <a:lnTo>
                        <a:pt x="16" y="16"/>
                      </a:lnTo>
                      <a:lnTo>
                        <a:pt x="16" y="17"/>
                      </a:lnTo>
                      <a:lnTo>
                        <a:pt x="17" y="16"/>
                      </a:lnTo>
                      <a:lnTo>
                        <a:pt x="17" y="16"/>
                      </a:lnTo>
                      <a:lnTo>
                        <a:pt x="19" y="16"/>
                      </a:lnTo>
                      <a:lnTo>
                        <a:pt x="19" y="16"/>
                      </a:lnTo>
                      <a:lnTo>
                        <a:pt x="19" y="16"/>
                      </a:lnTo>
                      <a:lnTo>
                        <a:pt x="20" y="16"/>
                      </a:lnTo>
                      <a:lnTo>
                        <a:pt x="20" y="16"/>
                      </a:lnTo>
                      <a:lnTo>
                        <a:pt x="21" y="16"/>
                      </a:lnTo>
                      <a:lnTo>
                        <a:pt x="21" y="16"/>
                      </a:lnTo>
                      <a:lnTo>
                        <a:pt x="22" y="16"/>
                      </a:lnTo>
                      <a:lnTo>
                        <a:pt x="22" y="16"/>
                      </a:lnTo>
                      <a:lnTo>
                        <a:pt x="23" y="16"/>
                      </a:lnTo>
                      <a:lnTo>
                        <a:pt x="23" y="16"/>
                      </a:lnTo>
                      <a:lnTo>
                        <a:pt x="23" y="16"/>
                      </a:lnTo>
                      <a:lnTo>
                        <a:pt x="24" y="15"/>
                      </a:lnTo>
                      <a:lnTo>
                        <a:pt x="24" y="15"/>
                      </a:lnTo>
                      <a:lnTo>
                        <a:pt x="24" y="15"/>
                      </a:lnTo>
                      <a:lnTo>
                        <a:pt x="26" y="15"/>
                      </a:lnTo>
                      <a:lnTo>
                        <a:pt x="26" y="15"/>
                      </a:lnTo>
                      <a:lnTo>
                        <a:pt x="27" y="15"/>
                      </a:lnTo>
                      <a:lnTo>
                        <a:pt x="27" y="15"/>
                      </a:lnTo>
                      <a:lnTo>
                        <a:pt x="28" y="14"/>
                      </a:lnTo>
                      <a:lnTo>
                        <a:pt x="28" y="14"/>
                      </a:lnTo>
                      <a:lnTo>
                        <a:pt x="29" y="13"/>
                      </a:lnTo>
                      <a:lnTo>
                        <a:pt x="29" y="11"/>
                      </a:lnTo>
                      <a:lnTo>
                        <a:pt x="29" y="11"/>
                      </a:lnTo>
                      <a:lnTo>
                        <a:pt x="29" y="10"/>
                      </a:lnTo>
                      <a:lnTo>
                        <a:pt x="29" y="8"/>
                      </a:lnTo>
                      <a:lnTo>
                        <a:pt x="30" y="6"/>
                      </a:lnTo>
                      <a:lnTo>
                        <a:pt x="30" y="3"/>
                      </a:lnTo>
                      <a:lnTo>
                        <a:pt x="30" y="1"/>
                      </a:lnTo>
                      <a:lnTo>
                        <a:pt x="30" y="1"/>
                      </a:lnTo>
                      <a:lnTo>
                        <a:pt x="30" y="1"/>
                      </a:lnTo>
                      <a:lnTo>
                        <a:pt x="30" y="1"/>
                      </a:lnTo>
                      <a:lnTo>
                        <a:pt x="30" y="1"/>
                      </a:lnTo>
                      <a:lnTo>
                        <a:pt x="31" y="1"/>
                      </a:lnTo>
                      <a:lnTo>
                        <a:pt x="31" y="1"/>
                      </a:lnTo>
                      <a:lnTo>
                        <a:pt x="31" y="2"/>
                      </a:lnTo>
                      <a:lnTo>
                        <a:pt x="31" y="2"/>
                      </a:lnTo>
                      <a:lnTo>
                        <a:pt x="31" y="2"/>
                      </a:lnTo>
                      <a:lnTo>
                        <a:pt x="33" y="2"/>
                      </a:lnTo>
                      <a:lnTo>
                        <a:pt x="33" y="2"/>
                      </a:lnTo>
                      <a:lnTo>
                        <a:pt x="33" y="2"/>
                      </a:lnTo>
                      <a:lnTo>
                        <a:pt x="34" y="3"/>
                      </a:lnTo>
                      <a:lnTo>
                        <a:pt x="35" y="3"/>
                      </a:lnTo>
                      <a:lnTo>
                        <a:pt x="35" y="4"/>
                      </a:lnTo>
                      <a:lnTo>
                        <a:pt x="36" y="4"/>
                      </a:lnTo>
                      <a:lnTo>
                        <a:pt x="36" y="4"/>
                      </a:lnTo>
                      <a:lnTo>
                        <a:pt x="37" y="4"/>
                      </a:lnTo>
                      <a:lnTo>
                        <a:pt x="38" y="2"/>
                      </a:lnTo>
                      <a:lnTo>
                        <a:pt x="38" y="2"/>
                      </a:lnTo>
                      <a:lnTo>
                        <a:pt x="38" y="2"/>
                      </a:lnTo>
                      <a:lnTo>
                        <a:pt x="38" y="1"/>
                      </a:lnTo>
                      <a:lnTo>
                        <a:pt x="40" y="1"/>
                      </a:lnTo>
                      <a:lnTo>
                        <a:pt x="41" y="2"/>
                      </a:lnTo>
                      <a:lnTo>
                        <a:pt x="41" y="2"/>
                      </a:lnTo>
                      <a:lnTo>
                        <a:pt x="41" y="2"/>
                      </a:lnTo>
                      <a:lnTo>
                        <a:pt x="42" y="2"/>
                      </a:lnTo>
                      <a:lnTo>
                        <a:pt x="42" y="2"/>
                      </a:lnTo>
                      <a:lnTo>
                        <a:pt x="43" y="1"/>
                      </a:lnTo>
                      <a:lnTo>
                        <a:pt x="43" y="1"/>
                      </a:lnTo>
                      <a:lnTo>
                        <a:pt x="43" y="1"/>
                      </a:lnTo>
                      <a:lnTo>
                        <a:pt x="43" y="1"/>
                      </a:lnTo>
                      <a:lnTo>
                        <a:pt x="44" y="1"/>
                      </a:lnTo>
                      <a:lnTo>
                        <a:pt x="44" y="0"/>
                      </a:lnTo>
                      <a:lnTo>
                        <a:pt x="44" y="1"/>
                      </a:lnTo>
                      <a:lnTo>
                        <a:pt x="45" y="1"/>
                      </a:lnTo>
                      <a:lnTo>
                        <a:pt x="45" y="1"/>
                      </a:lnTo>
                      <a:lnTo>
                        <a:pt x="45" y="1"/>
                      </a:lnTo>
                      <a:lnTo>
                        <a:pt x="45" y="1"/>
                      </a:lnTo>
                      <a:lnTo>
                        <a:pt x="45" y="1"/>
                      </a:lnTo>
                      <a:lnTo>
                        <a:pt x="48" y="3"/>
                      </a:lnTo>
                      <a:lnTo>
                        <a:pt x="49" y="3"/>
                      </a:lnTo>
                      <a:lnTo>
                        <a:pt x="50"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7" name="Freeform 74">
                  <a:extLst>
                    <a:ext uri="{FF2B5EF4-FFF2-40B4-BE49-F238E27FC236}">
                      <a16:creationId xmlns:a16="http://schemas.microsoft.com/office/drawing/2014/main" id="{37C42EBB-BE58-9B0F-7C48-F9FAA8C927CF}"/>
                    </a:ext>
                  </a:extLst>
                </p:cNvPr>
                <p:cNvSpPr>
                  <a:spLocks/>
                </p:cNvSpPr>
                <p:nvPr/>
              </p:nvSpPr>
              <p:spPr bwMode="auto">
                <a:xfrm>
                  <a:off x="6251816" y="3373495"/>
                  <a:ext cx="106009" cy="216346"/>
                </a:xfrm>
                <a:custGeom>
                  <a:avLst/>
                  <a:gdLst>
                    <a:gd name="T0" fmla="*/ 86 w 98"/>
                    <a:gd name="T1" fmla="*/ 33 h 200"/>
                    <a:gd name="T2" fmla="*/ 94 w 98"/>
                    <a:gd name="T3" fmla="*/ 46 h 200"/>
                    <a:gd name="T4" fmla="*/ 95 w 98"/>
                    <a:gd name="T5" fmla="*/ 55 h 200"/>
                    <a:gd name="T6" fmla="*/ 98 w 98"/>
                    <a:gd name="T7" fmla="*/ 60 h 200"/>
                    <a:gd name="T8" fmla="*/ 93 w 98"/>
                    <a:gd name="T9" fmla="*/ 65 h 200"/>
                    <a:gd name="T10" fmla="*/ 89 w 98"/>
                    <a:gd name="T11" fmla="*/ 69 h 200"/>
                    <a:gd name="T12" fmla="*/ 91 w 98"/>
                    <a:gd name="T13" fmla="*/ 76 h 200"/>
                    <a:gd name="T14" fmla="*/ 82 w 98"/>
                    <a:gd name="T15" fmla="*/ 84 h 200"/>
                    <a:gd name="T16" fmla="*/ 81 w 98"/>
                    <a:gd name="T17" fmla="*/ 90 h 200"/>
                    <a:gd name="T18" fmla="*/ 75 w 98"/>
                    <a:gd name="T19" fmla="*/ 96 h 200"/>
                    <a:gd name="T20" fmla="*/ 75 w 98"/>
                    <a:gd name="T21" fmla="*/ 103 h 200"/>
                    <a:gd name="T22" fmla="*/ 68 w 98"/>
                    <a:gd name="T23" fmla="*/ 108 h 200"/>
                    <a:gd name="T24" fmla="*/ 64 w 98"/>
                    <a:gd name="T25" fmla="*/ 114 h 200"/>
                    <a:gd name="T26" fmla="*/ 64 w 98"/>
                    <a:gd name="T27" fmla="*/ 125 h 200"/>
                    <a:gd name="T28" fmla="*/ 63 w 98"/>
                    <a:gd name="T29" fmla="*/ 132 h 200"/>
                    <a:gd name="T30" fmla="*/ 63 w 98"/>
                    <a:gd name="T31" fmla="*/ 140 h 200"/>
                    <a:gd name="T32" fmla="*/ 63 w 98"/>
                    <a:gd name="T33" fmla="*/ 149 h 200"/>
                    <a:gd name="T34" fmla="*/ 64 w 98"/>
                    <a:gd name="T35" fmla="*/ 157 h 200"/>
                    <a:gd name="T36" fmla="*/ 65 w 98"/>
                    <a:gd name="T37" fmla="*/ 170 h 200"/>
                    <a:gd name="T38" fmla="*/ 64 w 98"/>
                    <a:gd name="T39" fmla="*/ 175 h 200"/>
                    <a:gd name="T40" fmla="*/ 64 w 98"/>
                    <a:gd name="T41" fmla="*/ 182 h 200"/>
                    <a:gd name="T42" fmla="*/ 64 w 98"/>
                    <a:gd name="T43" fmla="*/ 187 h 200"/>
                    <a:gd name="T44" fmla="*/ 51 w 98"/>
                    <a:gd name="T45" fmla="*/ 196 h 200"/>
                    <a:gd name="T46" fmla="*/ 34 w 98"/>
                    <a:gd name="T47" fmla="*/ 195 h 200"/>
                    <a:gd name="T48" fmla="*/ 30 w 98"/>
                    <a:gd name="T49" fmla="*/ 189 h 200"/>
                    <a:gd name="T50" fmla="*/ 27 w 98"/>
                    <a:gd name="T51" fmla="*/ 186 h 200"/>
                    <a:gd name="T52" fmla="*/ 28 w 98"/>
                    <a:gd name="T53" fmla="*/ 180 h 200"/>
                    <a:gd name="T54" fmla="*/ 29 w 98"/>
                    <a:gd name="T55" fmla="*/ 171 h 200"/>
                    <a:gd name="T56" fmla="*/ 28 w 98"/>
                    <a:gd name="T57" fmla="*/ 149 h 200"/>
                    <a:gd name="T58" fmla="*/ 29 w 98"/>
                    <a:gd name="T59" fmla="*/ 128 h 200"/>
                    <a:gd name="T60" fmla="*/ 28 w 98"/>
                    <a:gd name="T61" fmla="*/ 117 h 200"/>
                    <a:gd name="T62" fmla="*/ 24 w 98"/>
                    <a:gd name="T63" fmla="*/ 104 h 200"/>
                    <a:gd name="T64" fmla="*/ 20 w 98"/>
                    <a:gd name="T65" fmla="*/ 96 h 200"/>
                    <a:gd name="T66" fmla="*/ 20 w 98"/>
                    <a:gd name="T67" fmla="*/ 90 h 200"/>
                    <a:gd name="T68" fmla="*/ 18 w 98"/>
                    <a:gd name="T69" fmla="*/ 79 h 200"/>
                    <a:gd name="T70" fmla="*/ 0 w 98"/>
                    <a:gd name="T71" fmla="*/ 67 h 200"/>
                    <a:gd name="T72" fmla="*/ 1 w 98"/>
                    <a:gd name="T73" fmla="*/ 55 h 200"/>
                    <a:gd name="T74" fmla="*/ 3 w 98"/>
                    <a:gd name="T75" fmla="*/ 49 h 200"/>
                    <a:gd name="T76" fmla="*/ 6 w 98"/>
                    <a:gd name="T77" fmla="*/ 46 h 200"/>
                    <a:gd name="T78" fmla="*/ 11 w 98"/>
                    <a:gd name="T79" fmla="*/ 46 h 200"/>
                    <a:gd name="T80" fmla="*/ 10 w 98"/>
                    <a:gd name="T81" fmla="*/ 42 h 200"/>
                    <a:gd name="T82" fmla="*/ 13 w 98"/>
                    <a:gd name="T83" fmla="*/ 38 h 200"/>
                    <a:gd name="T84" fmla="*/ 16 w 98"/>
                    <a:gd name="T85" fmla="*/ 37 h 200"/>
                    <a:gd name="T86" fmla="*/ 17 w 98"/>
                    <a:gd name="T87" fmla="*/ 35 h 200"/>
                    <a:gd name="T88" fmla="*/ 22 w 98"/>
                    <a:gd name="T89" fmla="*/ 32 h 200"/>
                    <a:gd name="T90" fmla="*/ 30 w 98"/>
                    <a:gd name="T91" fmla="*/ 33 h 200"/>
                    <a:gd name="T92" fmla="*/ 37 w 98"/>
                    <a:gd name="T93" fmla="*/ 33 h 200"/>
                    <a:gd name="T94" fmla="*/ 49 w 98"/>
                    <a:gd name="T95" fmla="*/ 25 h 200"/>
                    <a:gd name="T96" fmla="*/ 51 w 98"/>
                    <a:gd name="T97" fmla="*/ 17 h 200"/>
                    <a:gd name="T98" fmla="*/ 52 w 98"/>
                    <a:gd name="T99" fmla="*/ 13 h 200"/>
                    <a:gd name="T100" fmla="*/ 53 w 98"/>
                    <a:gd name="T101" fmla="*/ 6 h 200"/>
                    <a:gd name="T102" fmla="*/ 57 w 98"/>
                    <a:gd name="T103" fmla="*/ 4 h 200"/>
                    <a:gd name="T104" fmla="*/ 60 w 98"/>
                    <a:gd name="T105" fmla="*/ 4 h 200"/>
                    <a:gd name="T106" fmla="*/ 65 w 98"/>
                    <a:gd name="T107" fmla="*/ 2 h 200"/>
                    <a:gd name="T108" fmla="*/ 71 w 98"/>
                    <a:gd name="T109" fmla="*/ 5 h 200"/>
                    <a:gd name="T110" fmla="*/ 79 w 98"/>
                    <a:gd name="T111" fmla="*/ 14 h 200"/>
                    <a:gd name="T112" fmla="*/ 82 w 98"/>
                    <a:gd name="T113" fmla="*/ 17 h 200"/>
                    <a:gd name="T114" fmla="*/ 88 w 98"/>
                    <a:gd name="T115" fmla="*/ 2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 h="200">
                      <a:moveTo>
                        <a:pt x="89" y="24"/>
                      </a:moveTo>
                      <a:lnTo>
                        <a:pt x="87" y="28"/>
                      </a:lnTo>
                      <a:lnTo>
                        <a:pt x="87" y="30"/>
                      </a:lnTo>
                      <a:lnTo>
                        <a:pt x="86" y="30"/>
                      </a:lnTo>
                      <a:lnTo>
                        <a:pt x="86" y="32"/>
                      </a:lnTo>
                      <a:lnTo>
                        <a:pt x="86" y="33"/>
                      </a:lnTo>
                      <a:lnTo>
                        <a:pt x="92" y="41"/>
                      </a:lnTo>
                      <a:lnTo>
                        <a:pt x="93" y="42"/>
                      </a:lnTo>
                      <a:lnTo>
                        <a:pt x="94" y="42"/>
                      </a:lnTo>
                      <a:lnTo>
                        <a:pt x="94" y="44"/>
                      </a:lnTo>
                      <a:lnTo>
                        <a:pt x="94" y="45"/>
                      </a:lnTo>
                      <a:lnTo>
                        <a:pt x="94" y="46"/>
                      </a:lnTo>
                      <a:lnTo>
                        <a:pt x="95" y="49"/>
                      </a:lnTo>
                      <a:lnTo>
                        <a:pt x="94" y="52"/>
                      </a:lnTo>
                      <a:lnTo>
                        <a:pt x="94" y="53"/>
                      </a:lnTo>
                      <a:lnTo>
                        <a:pt x="95" y="53"/>
                      </a:lnTo>
                      <a:lnTo>
                        <a:pt x="95" y="54"/>
                      </a:lnTo>
                      <a:lnTo>
                        <a:pt x="95" y="55"/>
                      </a:lnTo>
                      <a:lnTo>
                        <a:pt x="96" y="55"/>
                      </a:lnTo>
                      <a:lnTo>
                        <a:pt x="98" y="55"/>
                      </a:lnTo>
                      <a:lnTo>
                        <a:pt x="98" y="56"/>
                      </a:lnTo>
                      <a:lnTo>
                        <a:pt x="98" y="58"/>
                      </a:lnTo>
                      <a:lnTo>
                        <a:pt x="98" y="59"/>
                      </a:lnTo>
                      <a:lnTo>
                        <a:pt x="98" y="60"/>
                      </a:lnTo>
                      <a:lnTo>
                        <a:pt x="96" y="61"/>
                      </a:lnTo>
                      <a:lnTo>
                        <a:pt x="96" y="62"/>
                      </a:lnTo>
                      <a:lnTo>
                        <a:pt x="96" y="63"/>
                      </a:lnTo>
                      <a:lnTo>
                        <a:pt x="96" y="65"/>
                      </a:lnTo>
                      <a:lnTo>
                        <a:pt x="95" y="65"/>
                      </a:lnTo>
                      <a:lnTo>
                        <a:pt x="93" y="65"/>
                      </a:lnTo>
                      <a:lnTo>
                        <a:pt x="92" y="65"/>
                      </a:lnTo>
                      <a:lnTo>
                        <a:pt x="91" y="65"/>
                      </a:lnTo>
                      <a:lnTo>
                        <a:pt x="91" y="66"/>
                      </a:lnTo>
                      <a:lnTo>
                        <a:pt x="91" y="67"/>
                      </a:lnTo>
                      <a:lnTo>
                        <a:pt x="91" y="68"/>
                      </a:lnTo>
                      <a:lnTo>
                        <a:pt x="89" y="69"/>
                      </a:lnTo>
                      <a:lnTo>
                        <a:pt x="89" y="70"/>
                      </a:lnTo>
                      <a:lnTo>
                        <a:pt x="92" y="73"/>
                      </a:lnTo>
                      <a:lnTo>
                        <a:pt x="93" y="73"/>
                      </a:lnTo>
                      <a:lnTo>
                        <a:pt x="93" y="74"/>
                      </a:lnTo>
                      <a:lnTo>
                        <a:pt x="92" y="75"/>
                      </a:lnTo>
                      <a:lnTo>
                        <a:pt x="91" y="76"/>
                      </a:lnTo>
                      <a:lnTo>
                        <a:pt x="91" y="80"/>
                      </a:lnTo>
                      <a:lnTo>
                        <a:pt x="89" y="81"/>
                      </a:lnTo>
                      <a:lnTo>
                        <a:pt x="88" y="83"/>
                      </a:lnTo>
                      <a:lnTo>
                        <a:pt x="86" y="83"/>
                      </a:lnTo>
                      <a:lnTo>
                        <a:pt x="85" y="83"/>
                      </a:lnTo>
                      <a:lnTo>
                        <a:pt x="82" y="84"/>
                      </a:lnTo>
                      <a:lnTo>
                        <a:pt x="81" y="84"/>
                      </a:lnTo>
                      <a:lnTo>
                        <a:pt x="81" y="86"/>
                      </a:lnTo>
                      <a:lnTo>
                        <a:pt x="81" y="87"/>
                      </a:lnTo>
                      <a:lnTo>
                        <a:pt x="82" y="88"/>
                      </a:lnTo>
                      <a:lnTo>
                        <a:pt x="82" y="89"/>
                      </a:lnTo>
                      <a:lnTo>
                        <a:pt x="81" y="90"/>
                      </a:lnTo>
                      <a:lnTo>
                        <a:pt x="80" y="90"/>
                      </a:lnTo>
                      <a:lnTo>
                        <a:pt x="79" y="90"/>
                      </a:lnTo>
                      <a:lnTo>
                        <a:pt x="79" y="91"/>
                      </a:lnTo>
                      <a:lnTo>
                        <a:pt x="78" y="94"/>
                      </a:lnTo>
                      <a:lnTo>
                        <a:pt x="77" y="95"/>
                      </a:lnTo>
                      <a:lnTo>
                        <a:pt x="75" y="96"/>
                      </a:lnTo>
                      <a:lnTo>
                        <a:pt x="75" y="97"/>
                      </a:lnTo>
                      <a:lnTo>
                        <a:pt x="77" y="98"/>
                      </a:lnTo>
                      <a:lnTo>
                        <a:pt x="77" y="100"/>
                      </a:lnTo>
                      <a:lnTo>
                        <a:pt x="77" y="101"/>
                      </a:lnTo>
                      <a:lnTo>
                        <a:pt x="77" y="102"/>
                      </a:lnTo>
                      <a:lnTo>
                        <a:pt x="75" y="103"/>
                      </a:lnTo>
                      <a:lnTo>
                        <a:pt x="74" y="107"/>
                      </a:lnTo>
                      <a:lnTo>
                        <a:pt x="74" y="108"/>
                      </a:lnTo>
                      <a:lnTo>
                        <a:pt x="73" y="108"/>
                      </a:lnTo>
                      <a:lnTo>
                        <a:pt x="71" y="109"/>
                      </a:lnTo>
                      <a:lnTo>
                        <a:pt x="70" y="108"/>
                      </a:lnTo>
                      <a:lnTo>
                        <a:pt x="68" y="108"/>
                      </a:lnTo>
                      <a:lnTo>
                        <a:pt x="67" y="109"/>
                      </a:lnTo>
                      <a:lnTo>
                        <a:pt x="64" y="109"/>
                      </a:lnTo>
                      <a:lnTo>
                        <a:pt x="65" y="110"/>
                      </a:lnTo>
                      <a:lnTo>
                        <a:pt x="64" y="111"/>
                      </a:lnTo>
                      <a:lnTo>
                        <a:pt x="64" y="112"/>
                      </a:lnTo>
                      <a:lnTo>
                        <a:pt x="64" y="114"/>
                      </a:lnTo>
                      <a:lnTo>
                        <a:pt x="64" y="115"/>
                      </a:lnTo>
                      <a:lnTo>
                        <a:pt x="64" y="116"/>
                      </a:lnTo>
                      <a:lnTo>
                        <a:pt x="64" y="117"/>
                      </a:lnTo>
                      <a:lnTo>
                        <a:pt x="63" y="117"/>
                      </a:lnTo>
                      <a:lnTo>
                        <a:pt x="63" y="118"/>
                      </a:lnTo>
                      <a:lnTo>
                        <a:pt x="64" y="125"/>
                      </a:lnTo>
                      <a:lnTo>
                        <a:pt x="64" y="126"/>
                      </a:lnTo>
                      <a:lnTo>
                        <a:pt x="64" y="128"/>
                      </a:lnTo>
                      <a:lnTo>
                        <a:pt x="64" y="129"/>
                      </a:lnTo>
                      <a:lnTo>
                        <a:pt x="63" y="129"/>
                      </a:lnTo>
                      <a:lnTo>
                        <a:pt x="63" y="130"/>
                      </a:lnTo>
                      <a:lnTo>
                        <a:pt x="63" y="132"/>
                      </a:lnTo>
                      <a:lnTo>
                        <a:pt x="63" y="133"/>
                      </a:lnTo>
                      <a:lnTo>
                        <a:pt x="64" y="136"/>
                      </a:lnTo>
                      <a:lnTo>
                        <a:pt x="64" y="137"/>
                      </a:lnTo>
                      <a:lnTo>
                        <a:pt x="63" y="138"/>
                      </a:lnTo>
                      <a:lnTo>
                        <a:pt x="63" y="139"/>
                      </a:lnTo>
                      <a:lnTo>
                        <a:pt x="63" y="140"/>
                      </a:lnTo>
                      <a:lnTo>
                        <a:pt x="63" y="143"/>
                      </a:lnTo>
                      <a:lnTo>
                        <a:pt x="63" y="145"/>
                      </a:lnTo>
                      <a:lnTo>
                        <a:pt x="61" y="145"/>
                      </a:lnTo>
                      <a:lnTo>
                        <a:pt x="61" y="146"/>
                      </a:lnTo>
                      <a:lnTo>
                        <a:pt x="63" y="147"/>
                      </a:lnTo>
                      <a:lnTo>
                        <a:pt x="63" y="149"/>
                      </a:lnTo>
                      <a:lnTo>
                        <a:pt x="64" y="149"/>
                      </a:lnTo>
                      <a:lnTo>
                        <a:pt x="64" y="150"/>
                      </a:lnTo>
                      <a:lnTo>
                        <a:pt x="63" y="153"/>
                      </a:lnTo>
                      <a:lnTo>
                        <a:pt x="63" y="154"/>
                      </a:lnTo>
                      <a:lnTo>
                        <a:pt x="64" y="156"/>
                      </a:lnTo>
                      <a:lnTo>
                        <a:pt x="64" y="157"/>
                      </a:lnTo>
                      <a:lnTo>
                        <a:pt x="65" y="158"/>
                      </a:lnTo>
                      <a:lnTo>
                        <a:pt x="66" y="159"/>
                      </a:lnTo>
                      <a:lnTo>
                        <a:pt x="65" y="160"/>
                      </a:lnTo>
                      <a:lnTo>
                        <a:pt x="65" y="161"/>
                      </a:lnTo>
                      <a:lnTo>
                        <a:pt x="64" y="161"/>
                      </a:lnTo>
                      <a:lnTo>
                        <a:pt x="65" y="170"/>
                      </a:lnTo>
                      <a:lnTo>
                        <a:pt x="64" y="171"/>
                      </a:lnTo>
                      <a:lnTo>
                        <a:pt x="64" y="172"/>
                      </a:lnTo>
                      <a:lnTo>
                        <a:pt x="65" y="173"/>
                      </a:lnTo>
                      <a:lnTo>
                        <a:pt x="65" y="174"/>
                      </a:lnTo>
                      <a:lnTo>
                        <a:pt x="64" y="174"/>
                      </a:lnTo>
                      <a:lnTo>
                        <a:pt x="64" y="175"/>
                      </a:lnTo>
                      <a:lnTo>
                        <a:pt x="64" y="177"/>
                      </a:lnTo>
                      <a:lnTo>
                        <a:pt x="64" y="178"/>
                      </a:lnTo>
                      <a:lnTo>
                        <a:pt x="64" y="179"/>
                      </a:lnTo>
                      <a:lnTo>
                        <a:pt x="64" y="180"/>
                      </a:lnTo>
                      <a:lnTo>
                        <a:pt x="64" y="181"/>
                      </a:lnTo>
                      <a:lnTo>
                        <a:pt x="64" y="182"/>
                      </a:lnTo>
                      <a:lnTo>
                        <a:pt x="65" y="182"/>
                      </a:lnTo>
                      <a:lnTo>
                        <a:pt x="65" y="184"/>
                      </a:lnTo>
                      <a:lnTo>
                        <a:pt x="65" y="185"/>
                      </a:lnTo>
                      <a:lnTo>
                        <a:pt x="64" y="185"/>
                      </a:lnTo>
                      <a:lnTo>
                        <a:pt x="64" y="186"/>
                      </a:lnTo>
                      <a:lnTo>
                        <a:pt x="64" y="187"/>
                      </a:lnTo>
                      <a:lnTo>
                        <a:pt x="64" y="188"/>
                      </a:lnTo>
                      <a:lnTo>
                        <a:pt x="64" y="191"/>
                      </a:lnTo>
                      <a:lnTo>
                        <a:pt x="64" y="192"/>
                      </a:lnTo>
                      <a:lnTo>
                        <a:pt x="63" y="193"/>
                      </a:lnTo>
                      <a:lnTo>
                        <a:pt x="63" y="195"/>
                      </a:lnTo>
                      <a:lnTo>
                        <a:pt x="51" y="196"/>
                      </a:lnTo>
                      <a:lnTo>
                        <a:pt x="47" y="196"/>
                      </a:lnTo>
                      <a:lnTo>
                        <a:pt x="37" y="198"/>
                      </a:lnTo>
                      <a:lnTo>
                        <a:pt x="29" y="200"/>
                      </a:lnTo>
                      <a:lnTo>
                        <a:pt x="29" y="199"/>
                      </a:lnTo>
                      <a:lnTo>
                        <a:pt x="34" y="198"/>
                      </a:lnTo>
                      <a:lnTo>
                        <a:pt x="34" y="195"/>
                      </a:lnTo>
                      <a:lnTo>
                        <a:pt x="32" y="193"/>
                      </a:lnTo>
                      <a:lnTo>
                        <a:pt x="32" y="192"/>
                      </a:lnTo>
                      <a:lnTo>
                        <a:pt x="31" y="192"/>
                      </a:lnTo>
                      <a:lnTo>
                        <a:pt x="30" y="192"/>
                      </a:lnTo>
                      <a:lnTo>
                        <a:pt x="30" y="191"/>
                      </a:lnTo>
                      <a:lnTo>
                        <a:pt x="30" y="189"/>
                      </a:lnTo>
                      <a:lnTo>
                        <a:pt x="30" y="188"/>
                      </a:lnTo>
                      <a:lnTo>
                        <a:pt x="29" y="188"/>
                      </a:lnTo>
                      <a:lnTo>
                        <a:pt x="28" y="188"/>
                      </a:lnTo>
                      <a:lnTo>
                        <a:pt x="28" y="187"/>
                      </a:lnTo>
                      <a:lnTo>
                        <a:pt x="28" y="186"/>
                      </a:lnTo>
                      <a:lnTo>
                        <a:pt x="27" y="186"/>
                      </a:lnTo>
                      <a:lnTo>
                        <a:pt x="27" y="185"/>
                      </a:lnTo>
                      <a:lnTo>
                        <a:pt x="28" y="185"/>
                      </a:lnTo>
                      <a:lnTo>
                        <a:pt x="28" y="184"/>
                      </a:lnTo>
                      <a:lnTo>
                        <a:pt x="28" y="182"/>
                      </a:lnTo>
                      <a:lnTo>
                        <a:pt x="28" y="181"/>
                      </a:lnTo>
                      <a:lnTo>
                        <a:pt x="28" y="180"/>
                      </a:lnTo>
                      <a:lnTo>
                        <a:pt x="28" y="179"/>
                      </a:lnTo>
                      <a:lnTo>
                        <a:pt x="27" y="178"/>
                      </a:lnTo>
                      <a:lnTo>
                        <a:pt x="25" y="175"/>
                      </a:lnTo>
                      <a:lnTo>
                        <a:pt x="28" y="175"/>
                      </a:lnTo>
                      <a:lnTo>
                        <a:pt x="29" y="175"/>
                      </a:lnTo>
                      <a:lnTo>
                        <a:pt x="29" y="171"/>
                      </a:lnTo>
                      <a:lnTo>
                        <a:pt x="29" y="166"/>
                      </a:lnTo>
                      <a:lnTo>
                        <a:pt x="29" y="161"/>
                      </a:lnTo>
                      <a:lnTo>
                        <a:pt x="29" y="158"/>
                      </a:lnTo>
                      <a:lnTo>
                        <a:pt x="29" y="156"/>
                      </a:lnTo>
                      <a:lnTo>
                        <a:pt x="29" y="154"/>
                      </a:lnTo>
                      <a:lnTo>
                        <a:pt x="28" y="149"/>
                      </a:lnTo>
                      <a:lnTo>
                        <a:pt x="28" y="143"/>
                      </a:lnTo>
                      <a:lnTo>
                        <a:pt x="28" y="138"/>
                      </a:lnTo>
                      <a:lnTo>
                        <a:pt x="28" y="135"/>
                      </a:lnTo>
                      <a:lnTo>
                        <a:pt x="28" y="131"/>
                      </a:lnTo>
                      <a:lnTo>
                        <a:pt x="28" y="130"/>
                      </a:lnTo>
                      <a:lnTo>
                        <a:pt x="29" y="128"/>
                      </a:lnTo>
                      <a:lnTo>
                        <a:pt x="29" y="126"/>
                      </a:lnTo>
                      <a:lnTo>
                        <a:pt x="28" y="126"/>
                      </a:lnTo>
                      <a:lnTo>
                        <a:pt x="28" y="125"/>
                      </a:lnTo>
                      <a:lnTo>
                        <a:pt x="28" y="124"/>
                      </a:lnTo>
                      <a:lnTo>
                        <a:pt x="28" y="119"/>
                      </a:lnTo>
                      <a:lnTo>
                        <a:pt x="28" y="117"/>
                      </a:lnTo>
                      <a:lnTo>
                        <a:pt x="28" y="114"/>
                      </a:lnTo>
                      <a:lnTo>
                        <a:pt x="28" y="109"/>
                      </a:lnTo>
                      <a:lnTo>
                        <a:pt x="27" y="109"/>
                      </a:lnTo>
                      <a:lnTo>
                        <a:pt x="27" y="108"/>
                      </a:lnTo>
                      <a:lnTo>
                        <a:pt x="27" y="107"/>
                      </a:lnTo>
                      <a:lnTo>
                        <a:pt x="24" y="104"/>
                      </a:lnTo>
                      <a:lnTo>
                        <a:pt x="22" y="102"/>
                      </a:lnTo>
                      <a:lnTo>
                        <a:pt x="21" y="101"/>
                      </a:lnTo>
                      <a:lnTo>
                        <a:pt x="21" y="100"/>
                      </a:lnTo>
                      <a:lnTo>
                        <a:pt x="20" y="96"/>
                      </a:lnTo>
                      <a:lnTo>
                        <a:pt x="20" y="95"/>
                      </a:lnTo>
                      <a:lnTo>
                        <a:pt x="20" y="96"/>
                      </a:lnTo>
                      <a:lnTo>
                        <a:pt x="18" y="95"/>
                      </a:lnTo>
                      <a:lnTo>
                        <a:pt x="18" y="94"/>
                      </a:lnTo>
                      <a:lnTo>
                        <a:pt x="18" y="93"/>
                      </a:lnTo>
                      <a:lnTo>
                        <a:pt x="20" y="93"/>
                      </a:lnTo>
                      <a:lnTo>
                        <a:pt x="20" y="91"/>
                      </a:lnTo>
                      <a:lnTo>
                        <a:pt x="20" y="90"/>
                      </a:lnTo>
                      <a:lnTo>
                        <a:pt x="18" y="89"/>
                      </a:lnTo>
                      <a:lnTo>
                        <a:pt x="18" y="87"/>
                      </a:lnTo>
                      <a:lnTo>
                        <a:pt x="18" y="83"/>
                      </a:lnTo>
                      <a:lnTo>
                        <a:pt x="18" y="81"/>
                      </a:lnTo>
                      <a:lnTo>
                        <a:pt x="18" y="80"/>
                      </a:lnTo>
                      <a:lnTo>
                        <a:pt x="18" y="79"/>
                      </a:lnTo>
                      <a:lnTo>
                        <a:pt x="15" y="77"/>
                      </a:lnTo>
                      <a:lnTo>
                        <a:pt x="10" y="74"/>
                      </a:lnTo>
                      <a:lnTo>
                        <a:pt x="8" y="73"/>
                      </a:lnTo>
                      <a:lnTo>
                        <a:pt x="6" y="70"/>
                      </a:lnTo>
                      <a:lnTo>
                        <a:pt x="2" y="69"/>
                      </a:lnTo>
                      <a:lnTo>
                        <a:pt x="0" y="67"/>
                      </a:lnTo>
                      <a:lnTo>
                        <a:pt x="0" y="66"/>
                      </a:lnTo>
                      <a:lnTo>
                        <a:pt x="0" y="63"/>
                      </a:lnTo>
                      <a:lnTo>
                        <a:pt x="1" y="61"/>
                      </a:lnTo>
                      <a:lnTo>
                        <a:pt x="1" y="60"/>
                      </a:lnTo>
                      <a:lnTo>
                        <a:pt x="1" y="56"/>
                      </a:lnTo>
                      <a:lnTo>
                        <a:pt x="1" y="55"/>
                      </a:lnTo>
                      <a:lnTo>
                        <a:pt x="2" y="54"/>
                      </a:lnTo>
                      <a:lnTo>
                        <a:pt x="3" y="54"/>
                      </a:lnTo>
                      <a:lnTo>
                        <a:pt x="3" y="53"/>
                      </a:lnTo>
                      <a:lnTo>
                        <a:pt x="3" y="52"/>
                      </a:lnTo>
                      <a:lnTo>
                        <a:pt x="3" y="51"/>
                      </a:lnTo>
                      <a:lnTo>
                        <a:pt x="3" y="49"/>
                      </a:lnTo>
                      <a:lnTo>
                        <a:pt x="4" y="47"/>
                      </a:lnTo>
                      <a:lnTo>
                        <a:pt x="6" y="48"/>
                      </a:lnTo>
                      <a:lnTo>
                        <a:pt x="7" y="48"/>
                      </a:lnTo>
                      <a:lnTo>
                        <a:pt x="7" y="47"/>
                      </a:lnTo>
                      <a:lnTo>
                        <a:pt x="6" y="47"/>
                      </a:lnTo>
                      <a:lnTo>
                        <a:pt x="6" y="46"/>
                      </a:lnTo>
                      <a:lnTo>
                        <a:pt x="7" y="45"/>
                      </a:lnTo>
                      <a:lnTo>
                        <a:pt x="8" y="45"/>
                      </a:lnTo>
                      <a:lnTo>
                        <a:pt x="9" y="45"/>
                      </a:lnTo>
                      <a:lnTo>
                        <a:pt x="10" y="45"/>
                      </a:lnTo>
                      <a:lnTo>
                        <a:pt x="10" y="46"/>
                      </a:lnTo>
                      <a:lnTo>
                        <a:pt x="11" y="46"/>
                      </a:lnTo>
                      <a:lnTo>
                        <a:pt x="11" y="45"/>
                      </a:lnTo>
                      <a:lnTo>
                        <a:pt x="10" y="45"/>
                      </a:lnTo>
                      <a:lnTo>
                        <a:pt x="10" y="44"/>
                      </a:lnTo>
                      <a:lnTo>
                        <a:pt x="10" y="42"/>
                      </a:lnTo>
                      <a:lnTo>
                        <a:pt x="9" y="42"/>
                      </a:lnTo>
                      <a:lnTo>
                        <a:pt x="10" y="42"/>
                      </a:lnTo>
                      <a:lnTo>
                        <a:pt x="11" y="41"/>
                      </a:lnTo>
                      <a:lnTo>
                        <a:pt x="13" y="41"/>
                      </a:lnTo>
                      <a:lnTo>
                        <a:pt x="13" y="40"/>
                      </a:lnTo>
                      <a:lnTo>
                        <a:pt x="11" y="39"/>
                      </a:lnTo>
                      <a:lnTo>
                        <a:pt x="11" y="38"/>
                      </a:lnTo>
                      <a:lnTo>
                        <a:pt x="13" y="38"/>
                      </a:lnTo>
                      <a:lnTo>
                        <a:pt x="13" y="39"/>
                      </a:lnTo>
                      <a:lnTo>
                        <a:pt x="14" y="38"/>
                      </a:lnTo>
                      <a:lnTo>
                        <a:pt x="15" y="38"/>
                      </a:lnTo>
                      <a:lnTo>
                        <a:pt x="16" y="39"/>
                      </a:lnTo>
                      <a:lnTo>
                        <a:pt x="16" y="38"/>
                      </a:lnTo>
                      <a:lnTo>
                        <a:pt x="16" y="37"/>
                      </a:lnTo>
                      <a:lnTo>
                        <a:pt x="17" y="37"/>
                      </a:lnTo>
                      <a:lnTo>
                        <a:pt x="17" y="38"/>
                      </a:lnTo>
                      <a:lnTo>
                        <a:pt x="17" y="37"/>
                      </a:lnTo>
                      <a:lnTo>
                        <a:pt x="17" y="38"/>
                      </a:lnTo>
                      <a:lnTo>
                        <a:pt x="18" y="37"/>
                      </a:lnTo>
                      <a:lnTo>
                        <a:pt x="17" y="35"/>
                      </a:lnTo>
                      <a:lnTo>
                        <a:pt x="18" y="35"/>
                      </a:lnTo>
                      <a:lnTo>
                        <a:pt x="18" y="34"/>
                      </a:lnTo>
                      <a:lnTo>
                        <a:pt x="20" y="34"/>
                      </a:lnTo>
                      <a:lnTo>
                        <a:pt x="20" y="33"/>
                      </a:lnTo>
                      <a:lnTo>
                        <a:pt x="21" y="32"/>
                      </a:lnTo>
                      <a:lnTo>
                        <a:pt x="22" y="32"/>
                      </a:lnTo>
                      <a:lnTo>
                        <a:pt x="25" y="32"/>
                      </a:lnTo>
                      <a:lnTo>
                        <a:pt x="25" y="33"/>
                      </a:lnTo>
                      <a:lnTo>
                        <a:pt x="27" y="34"/>
                      </a:lnTo>
                      <a:lnTo>
                        <a:pt x="28" y="33"/>
                      </a:lnTo>
                      <a:lnTo>
                        <a:pt x="29" y="33"/>
                      </a:lnTo>
                      <a:lnTo>
                        <a:pt x="30" y="33"/>
                      </a:lnTo>
                      <a:lnTo>
                        <a:pt x="31" y="33"/>
                      </a:lnTo>
                      <a:lnTo>
                        <a:pt x="32" y="33"/>
                      </a:lnTo>
                      <a:lnTo>
                        <a:pt x="34" y="32"/>
                      </a:lnTo>
                      <a:lnTo>
                        <a:pt x="35" y="32"/>
                      </a:lnTo>
                      <a:lnTo>
                        <a:pt x="36" y="33"/>
                      </a:lnTo>
                      <a:lnTo>
                        <a:pt x="37" y="33"/>
                      </a:lnTo>
                      <a:lnTo>
                        <a:pt x="38" y="33"/>
                      </a:lnTo>
                      <a:lnTo>
                        <a:pt x="39" y="33"/>
                      </a:lnTo>
                      <a:lnTo>
                        <a:pt x="44" y="28"/>
                      </a:lnTo>
                      <a:lnTo>
                        <a:pt x="46" y="26"/>
                      </a:lnTo>
                      <a:lnTo>
                        <a:pt x="47" y="25"/>
                      </a:lnTo>
                      <a:lnTo>
                        <a:pt x="49" y="25"/>
                      </a:lnTo>
                      <a:lnTo>
                        <a:pt x="49" y="24"/>
                      </a:lnTo>
                      <a:lnTo>
                        <a:pt x="49" y="23"/>
                      </a:lnTo>
                      <a:lnTo>
                        <a:pt x="50" y="21"/>
                      </a:lnTo>
                      <a:lnTo>
                        <a:pt x="50" y="20"/>
                      </a:lnTo>
                      <a:lnTo>
                        <a:pt x="51" y="18"/>
                      </a:lnTo>
                      <a:lnTo>
                        <a:pt x="51" y="17"/>
                      </a:lnTo>
                      <a:lnTo>
                        <a:pt x="51" y="16"/>
                      </a:lnTo>
                      <a:lnTo>
                        <a:pt x="52" y="16"/>
                      </a:lnTo>
                      <a:lnTo>
                        <a:pt x="52" y="14"/>
                      </a:lnTo>
                      <a:lnTo>
                        <a:pt x="53" y="14"/>
                      </a:lnTo>
                      <a:lnTo>
                        <a:pt x="53" y="13"/>
                      </a:lnTo>
                      <a:lnTo>
                        <a:pt x="52" y="13"/>
                      </a:lnTo>
                      <a:lnTo>
                        <a:pt x="52" y="12"/>
                      </a:lnTo>
                      <a:lnTo>
                        <a:pt x="51" y="10"/>
                      </a:lnTo>
                      <a:lnTo>
                        <a:pt x="50" y="7"/>
                      </a:lnTo>
                      <a:lnTo>
                        <a:pt x="51" y="6"/>
                      </a:lnTo>
                      <a:lnTo>
                        <a:pt x="52" y="6"/>
                      </a:lnTo>
                      <a:lnTo>
                        <a:pt x="53" y="6"/>
                      </a:lnTo>
                      <a:lnTo>
                        <a:pt x="53" y="5"/>
                      </a:lnTo>
                      <a:lnTo>
                        <a:pt x="54" y="6"/>
                      </a:lnTo>
                      <a:lnTo>
                        <a:pt x="54" y="5"/>
                      </a:lnTo>
                      <a:lnTo>
                        <a:pt x="56" y="5"/>
                      </a:lnTo>
                      <a:lnTo>
                        <a:pt x="57" y="5"/>
                      </a:lnTo>
                      <a:lnTo>
                        <a:pt x="57" y="4"/>
                      </a:lnTo>
                      <a:lnTo>
                        <a:pt x="58" y="4"/>
                      </a:lnTo>
                      <a:lnTo>
                        <a:pt x="58" y="5"/>
                      </a:lnTo>
                      <a:lnTo>
                        <a:pt x="58" y="4"/>
                      </a:lnTo>
                      <a:lnTo>
                        <a:pt x="59" y="4"/>
                      </a:lnTo>
                      <a:lnTo>
                        <a:pt x="60" y="5"/>
                      </a:lnTo>
                      <a:lnTo>
                        <a:pt x="60" y="4"/>
                      </a:lnTo>
                      <a:lnTo>
                        <a:pt x="60" y="3"/>
                      </a:lnTo>
                      <a:lnTo>
                        <a:pt x="61" y="3"/>
                      </a:lnTo>
                      <a:lnTo>
                        <a:pt x="63" y="3"/>
                      </a:lnTo>
                      <a:lnTo>
                        <a:pt x="63" y="2"/>
                      </a:lnTo>
                      <a:lnTo>
                        <a:pt x="64" y="2"/>
                      </a:lnTo>
                      <a:lnTo>
                        <a:pt x="65" y="2"/>
                      </a:lnTo>
                      <a:lnTo>
                        <a:pt x="66" y="0"/>
                      </a:lnTo>
                      <a:lnTo>
                        <a:pt x="67" y="3"/>
                      </a:lnTo>
                      <a:lnTo>
                        <a:pt x="68" y="3"/>
                      </a:lnTo>
                      <a:lnTo>
                        <a:pt x="68" y="4"/>
                      </a:lnTo>
                      <a:lnTo>
                        <a:pt x="70" y="5"/>
                      </a:lnTo>
                      <a:lnTo>
                        <a:pt x="71" y="5"/>
                      </a:lnTo>
                      <a:lnTo>
                        <a:pt x="71" y="6"/>
                      </a:lnTo>
                      <a:lnTo>
                        <a:pt x="73" y="7"/>
                      </a:lnTo>
                      <a:lnTo>
                        <a:pt x="78" y="12"/>
                      </a:lnTo>
                      <a:lnTo>
                        <a:pt x="78" y="13"/>
                      </a:lnTo>
                      <a:lnTo>
                        <a:pt x="79" y="13"/>
                      </a:lnTo>
                      <a:lnTo>
                        <a:pt x="79" y="14"/>
                      </a:lnTo>
                      <a:lnTo>
                        <a:pt x="79" y="16"/>
                      </a:lnTo>
                      <a:lnTo>
                        <a:pt x="80" y="17"/>
                      </a:lnTo>
                      <a:lnTo>
                        <a:pt x="81" y="17"/>
                      </a:lnTo>
                      <a:lnTo>
                        <a:pt x="81" y="18"/>
                      </a:lnTo>
                      <a:lnTo>
                        <a:pt x="82" y="18"/>
                      </a:lnTo>
                      <a:lnTo>
                        <a:pt x="82" y="17"/>
                      </a:lnTo>
                      <a:lnTo>
                        <a:pt x="84" y="18"/>
                      </a:lnTo>
                      <a:lnTo>
                        <a:pt x="85" y="18"/>
                      </a:lnTo>
                      <a:lnTo>
                        <a:pt x="86" y="19"/>
                      </a:lnTo>
                      <a:lnTo>
                        <a:pt x="87" y="19"/>
                      </a:lnTo>
                      <a:lnTo>
                        <a:pt x="88" y="20"/>
                      </a:lnTo>
                      <a:lnTo>
                        <a:pt x="88" y="21"/>
                      </a:lnTo>
                      <a:lnTo>
                        <a:pt x="88" y="23"/>
                      </a:lnTo>
                      <a:lnTo>
                        <a:pt x="89" y="23"/>
                      </a:lnTo>
                      <a:lnTo>
                        <a:pt x="89" y="24"/>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8" name="Freeform 75">
                  <a:extLst>
                    <a:ext uri="{FF2B5EF4-FFF2-40B4-BE49-F238E27FC236}">
                      <a16:creationId xmlns:a16="http://schemas.microsoft.com/office/drawing/2014/main" id="{EF97D8C5-3A19-0152-4AEC-48148C5D384D}"/>
                    </a:ext>
                  </a:extLst>
                </p:cNvPr>
                <p:cNvSpPr>
                  <a:spLocks/>
                </p:cNvSpPr>
                <p:nvPr/>
              </p:nvSpPr>
              <p:spPr bwMode="auto">
                <a:xfrm>
                  <a:off x="6035469" y="3280466"/>
                  <a:ext cx="271515" cy="201202"/>
                </a:xfrm>
                <a:custGeom>
                  <a:avLst/>
                  <a:gdLst>
                    <a:gd name="T0" fmla="*/ 180 w 251"/>
                    <a:gd name="T1" fmla="*/ 21 h 186"/>
                    <a:gd name="T2" fmla="*/ 186 w 251"/>
                    <a:gd name="T3" fmla="*/ 32 h 186"/>
                    <a:gd name="T4" fmla="*/ 189 w 251"/>
                    <a:gd name="T5" fmla="*/ 39 h 186"/>
                    <a:gd name="T6" fmla="*/ 199 w 251"/>
                    <a:gd name="T7" fmla="*/ 47 h 186"/>
                    <a:gd name="T8" fmla="*/ 211 w 251"/>
                    <a:gd name="T9" fmla="*/ 55 h 186"/>
                    <a:gd name="T10" fmla="*/ 211 w 251"/>
                    <a:gd name="T11" fmla="*/ 57 h 186"/>
                    <a:gd name="T12" fmla="*/ 209 w 251"/>
                    <a:gd name="T13" fmla="*/ 68 h 186"/>
                    <a:gd name="T14" fmla="*/ 229 w 251"/>
                    <a:gd name="T15" fmla="*/ 81 h 186"/>
                    <a:gd name="T16" fmla="*/ 242 w 251"/>
                    <a:gd name="T17" fmla="*/ 77 h 186"/>
                    <a:gd name="T18" fmla="*/ 246 w 251"/>
                    <a:gd name="T19" fmla="*/ 86 h 186"/>
                    <a:gd name="T20" fmla="*/ 247 w 251"/>
                    <a:gd name="T21" fmla="*/ 98 h 186"/>
                    <a:gd name="T22" fmla="*/ 244 w 251"/>
                    <a:gd name="T23" fmla="*/ 114 h 186"/>
                    <a:gd name="T24" fmla="*/ 229 w 251"/>
                    <a:gd name="T25" fmla="*/ 119 h 186"/>
                    <a:gd name="T26" fmla="*/ 218 w 251"/>
                    <a:gd name="T27" fmla="*/ 121 h 186"/>
                    <a:gd name="T28" fmla="*/ 215 w 251"/>
                    <a:gd name="T29" fmla="*/ 124 h 186"/>
                    <a:gd name="T30" fmla="*/ 209 w 251"/>
                    <a:gd name="T31" fmla="*/ 128 h 186"/>
                    <a:gd name="T32" fmla="*/ 207 w 251"/>
                    <a:gd name="T33" fmla="*/ 131 h 186"/>
                    <a:gd name="T34" fmla="*/ 192 w 251"/>
                    <a:gd name="T35" fmla="*/ 135 h 186"/>
                    <a:gd name="T36" fmla="*/ 172 w 251"/>
                    <a:gd name="T37" fmla="*/ 130 h 186"/>
                    <a:gd name="T38" fmla="*/ 160 w 251"/>
                    <a:gd name="T39" fmla="*/ 133 h 186"/>
                    <a:gd name="T40" fmla="*/ 150 w 251"/>
                    <a:gd name="T41" fmla="*/ 134 h 186"/>
                    <a:gd name="T42" fmla="*/ 137 w 251"/>
                    <a:gd name="T43" fmla="*/ 134 h 186"/>
                    <a:gd name="T44" fmla="*/ 97 w 251"/>
                    <a:gd name="T45" fmla="*/ 134 h 186"/>
                    <a:gd name="T46" fmla="*/ 83 w 251"/>
                    <a:gd name="T47" fmla="*/ 141 h 186"/>
                    <a:gd name="T48" fmla="*/ 85 w 251"/>
                    <a:gd name="T49" fmla="*/ 151 h 186"/>
                    <a:gd name="T50" fmla="*/ 87 w 251"/>
                    <a:gd name="T51" fmla="*/ 158 h 186"/>
                    <a:gd name="T52" fmla="*/ 89 w 251"/>
                    <a:gd name="T53" fmla="*/ 172 h 186"/>
                    <a:gd name="T54" fmla="*/ 88 w 251"/>
                    <a:gd name="T55" fmla="*/ 181 h 186"/>
                    <a:gd name="T56" fmla="*/ 80 w 251"/>
                    <a:gd name="T57" fmla="*/ 175 h 186"/>
                    <a:gd name="T58" fmla="*/ 72 w 251"/>
                    <a:gd name="T59" fmla="*/ 172 h 186"/>
                    <a:gd name="T60" fmla="*/ 58 w 251"/>
                    <a:gd name="T61" fmla="*/ 169 h 186"/>
                    <a:gd name="T62" fmla="*/ 47 w 251"/>
                    <a:gd name="T63" fmla="*/ 173 h 186"/>
                    <a:gd name="T64" fmla="*/ 40 w 251"/>
                    <a:gd name="T65" fmla="*/ 176 h 186"/>
                    <a:gd name="T66" fmla="*/ 33 w 251"/>
                    <a:gd name="T67" fmla="*/ 179 h 186"/>
                    <a:gd name="T68" fmla="*/ 29 w 251"/>
                    <a:gd name="T69" fmla="*/ 177 h 186"/>
                    <a:gd name="T70" fmla="*/ 23 w 251"/>
                    <a:gd name="T71" fmla="*/ 175 h 186"/>
                    <a:gd name="T72" fmla="*/ 18 w 251"/>
                    <a:gd name="T73" fmla="*/ 170 h 186"/>
                    <a:gd name="T74" fmla="*/ 15 w 251"/>
                    <a:gd name="T75" fmla="*/ 165 h 186"/>
                    <a:gd name="T76" fmla="*/ 14 w 251"/>
                    <a:gd name="T77" fmla="*/ 161 h 186"/>
                    <a:gd name="T78" fmla="*/ 5 w 251"/>
                    <a:gd name="T79" fmla="*/ 159 h 186"/>
                    <a:gd name="T80" fmla="*/ 1 w 251"/>
                    <a:gd name="T81" fmla="*/ 152 h 186"/>
                    <a:gd name="T82" fmla="*/ 2 w 251"/>
                    <a:gd name="T83" fmla="*/ 138 h 186"/>
                    <a:gd name="T84" fmla="*/ 8 w 251"/>
                    <a:gd name="T85" fmla="*/ 127 h 186"/>
                    <a:gd name="T86" fmla="*/ 7 w 251"/>
                    <a:gd name="T87" fmla="*/ 114 h 186"/>
                    <a:gd name="T88" fmla="*/ 4 w 251"/>
                    <a:gd name="T89" fmla="*/ 109 h 186"/>
                    <a:gd name="T90" fmla="*/ 15 w 251"/>
                    <a:gd name="T91" fmla="*/ 104 h 186"/>
                    <a:gd name="T92" fmla="*/ 25 w 251"/>
                    <a:gd name="T93" fmla="*/ 102 h 186"/>
                    <a:gd name="T94" fmla="*/ 32 w 251"/>
                    <a:gd name="T95" fmla="*/ 92 h 186"/>
                    <a:gd name="T96" fmla="*/ 35 w 251"/>
                    <a:gd name="T97" fmla="*/ 85 h 186"/>
                    <a:gd name="T98" fmla="*/ 39 w 251"/>
                    <a:gd name="T99" fmla="*/ 79 h 186"/>
                    <a:gd name="T100" fmla="*/ 36 w 251"/>
                    <a:gd name="T101" fmla="*/ 67 h 186"/>
                    <a:gd name="T102" fmla="*/ 42 w 251"/>
                    <a:gd name="T103" fmla="*/ 61 h 186"/>
                    <a:gd name="T104" fmla="*/ 47 w 251"/>
                    <a:gd name="T105" fmla="*/ 55 h 186"/>
                    <a:gd name="T106" fmla="*/ 50 w 251"/>
                    <a:gd name="T107" fmla="*/ 57 h 186"/>
                    <a:gd name="T108" fmla="*/ 64 w 251"/>
                    <a:gd name="T109" fmla="*/ 64 h 186"/>
                    <a:gd name="T110" fmla="*/ 71 w 251"/>
                    <a:gd name="T111" fmla="*/ 48 h 186"/>
                    <a:gd name="T112" fmla="*/ 78 w 251"/>
                    <a:gd name="T113" fmla="*/ 49 h 186"/>
                    <a:gd name="T114" fmla="*/ 83 w 251"/>
                    <a:gd name="T115" fmla="*/ 35 h 186"/>
                    <a:gd name="T116" fmla="*/ 108 w 251"/>
                    <a:gd name="T117" fmla="*/ 32 h 186"/>
                    <a:gd name="T118" fmla="*/ 131 w 251"/>
                    <a:gd name="T119" fmla="*/ 13 h 186"/>
                    <a:gd name="T120" fmla="*/ 159 w 251"/>
                    <a:gd name="T121" fmla="*/ 0 h 186"/>
                    <a:gd name="T122" fmla="*/ 181 w 251"/>
                    <a:gd name="T123" fmla="*/ 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1" h="186">
                      <a:moveTo>
                        <a:pt x="181" y="6"/>
                      </a:moveTo>
                      <a:lnTo>
                        <a:pt x="181" y="7"/>
                      </a:lnTo>
                      <a:lnTo>
                        <a:pt x="180" y="7"/>
                      </a:lnTo>
                      <a:lnTo>
                        <a:pt x="180" y="8"/>
                      </a:lnTo>
                      <a:lnTo>
                        <a:pt x="180" y="9"/>
                      </a:lnTo>
                      <a:lnTo>
                        <a:pt x="181" y="11"/>
                      </a:lnTo>
                      <a:lnTo>
                        <a:pt x="181" y="12"/>
                      </a:lnTo>
                      <a:lnTo>
                        <a:pt x="179" y="18"/>
                      </a:lnTo>
                      <a:lnTo>
                        <a:pt x="179" y="20"/>
                      </a:lnTo>
                      <a:lnTo>
                        <a:pt x="180" y="21"/>
                      </a:lnTo>
                      <a:lnTo>
                        <a:pt x="181" y="21"/>
                      </a:lnTo>
                      <a:lnTo>
                        <a:pt x="186" y="26"/>
                      </a:lnTo>
                      <a:lnTo>
                        <a:pt x="187" y="27"/>
                      </a:lnTo>
                      <a:lnTo>
                        <a:pt x="187" y="28"/>
                      </a:lnTo>
                      <a:lnTo>
                        <a:pt x="186" y="28"/>
                      </a:lnTo>
                      <a:lnTo>
                        <a:pt x="186" y="29"/>
                      </a:lnTo>
                      <a:lnTo>
                        <a:pt x="186" y="30"/>
                      </a:lnTo>
                      <a:lnTo>
                        <a:pt x="186" y="32"/>
                      </a:lnTo>
                      <a:lnTo>
                        <a:pt x="185" y="32"/>
                      </a:lnTo>
                      <a:lnTo>
                        <a:pt x="186" y="32"/>
                      </a:lnTo>
                      <a:lnTo>
                        <a:pt x="186" y="33"/>
                      </a:lnTo>
                      <a:lnTo>
                        <a:pt x="187" y="34"/>
                      </a:lnTo>
                      <a:lnTo>
                        <a:pt x="186" y="34"/>
                      </a:lnTo>
                      <a:lnTo>
                        <a:pt x="187" y="35"/>
                      </a:lnTo>
                      <a:lnTo>
                        <a:pt x="187" y="36"/>
                      </a:lnTo>
                      <a:lnTo>
                        <a:pt x="188" y="36"/>
                      </a:lnTo>
                      <a:lnTo>
                        <a:pt x="188" y="37"/>
                      </a:lnTo>
                      <a:lnTo>
                        <a:pt x="189" y="37"/>
                      </a:lnTo>
                      <a:lnTo>
                        <a:pt x="188" y="39"/>
                      </a:lnTo>
                      <a:lnTo>
                        <a:pt x="189" y="39"/>
                      </a:lnTo>
                      <a:lnTo>
                        <a:pt x="189" y="40"/>
                      </a:lnTo>
                      <a:lnTo>
                        <a:pt x="190" y="40"/>
                      </a:lnTo>
                      <a:lnTo>
                        <a:pt x="190" y="41"/>
                      </a:lnTo>
                      <a:lnTo>
                        <a:pt x="192" y="42"/>
                      </a:lnTo>
                      <a:lnTo>
                        <a:pt x="193" y="42"/>
                      </a:lnTo>
                      <a:lnTo>
                        <a:pt x="194" y="43"/>
                      </a:lnTo>
                      <a:lnTo>
                        <a:pt x="193" y="44"/>
                      </a:lnTo>
                      <a:lnTo>
                        <a:pt x="194" y="46"/>
                      </a:lnTo>
                      <a:lnTo>
                        <a:pt x="199" y="46"/>
                      </a:lnTo>
                      <a:lnTo>
                        <a:pt x="199" y="47"/>
                      </a:lnTo>
                      <a:lnTo>
                        <a:pt x="200" y="48"/>
                      </a:lnTo>
                      <a:lnTo>
                        <a:pt x="201" y="48"/>
                      </a:lnTo>
                      <a:lnTo>
                        <a:pt x="202" y="48"/>
                      </a:lnTo>
                      <a:lnTo>
                        <a:pt x="203" y="48"/>
                      </a:lnTo>
                      <a:lnTo>
                        <a:pt x="204" y="49"/>
                      </a:lnTo>
                      <a:lnTo>
                        <a:pt x="206" y="50"/>
                      </a:lnTo>
                      <a:lnTo>
                        <a:pt x="207" y="51"/>
                      </a:lnTo>
                      <a:lnTo>
                        <a:pt x="207" y="53"/>
                      </a:lnTo>
                      <a:lnTo>
                        <a:pt x="208" y="54"/>
                      </a:lnTo>
                      <a:lnTo>
                        <a:pt x="211" y="55"/>
                      </a:lnTo>
                      <a:lnTo>
                        <a:pt x="213" y="55"/>
                      </a:lnTo>
                      <a:lnTo>
                        <a:pt x="214" y="56"/>
                      </a:lnTo>
                      <a:lnTo>
                        <a:pt x="215" y="56"/>
                      </a:lnTo>
                      <a:lnTo>
                        <a:pt x="215" y="57"/>
                      </a:lnTo>
                      <a:lnTo>
                        <a:pt x="214" y="57"/>
                      </a:lnTo>
                      <a:lnTo>
                        <a:pt x="213" y="56"/>
                      </a:lnTo>
                      <a:lnTo>
                        <a:pt x="213" y="57"/>
                      </a:lnTo>
                      <a:lnTo>
                        <a:pt x="211" y="57"/>
                      </a:lnTo>
                      <a:lnTo>
                        <a:pt x="211" y="58"/>
                      </a:lnTo>
                      <a:lnTo>
                        <a:pt x="211" y="57"/>
                      </a:lnTo>
                      <a:lnTo>
                        <a:pt x="209" y="57"/>
                      </a:lnTo>
                      <a:lnTo>
                        <a:pt x="207" y="56"/>
                      </a:lnTo>
                      <a:lnTo>
                        <a:pt x="206" y="56"/>
                      </a:lnTo>
                      <a:lnTo>
                        <a:pt x="206" y="57"/>
                      </a:lnTo>
                      <a:lnTo>
                        <a:pt x="206" y="60"/>
                      </a:lnTo>
                      <a:lnTo>
                        <a:pt x="206" y="63"/>
                      </a:lnTo>
                      <a:lnTo>
                        <a:pt x="206" y="65"/>
                      </a:lnTo>
                      <a:lnTo>
                        <a:pt x="206" y="67"/>
                      </a:lnTo>
                      <a:lnTo>
                        <a:pt x="207" y="68"/>
                      </a:lnTo>
                      <a:lnTo>
                        <a:pt x="209" y="68"/>
                      </a:lnTo>
                      <a:lnTo>
                        <a:pt x="210" y="68"/>
                      </a:lnTo>
                      <a:lnTo>
                        <a:pt x="213" y="70"/>
                      </a:lnTo>
                      <a:lnTo>
                        <a:pt x="214" y="71"/>
                      </a:lnTo>
                      <a:lnTo>
                        <a:pt x="216" y="74"/>
                      </a:lnTo>
                      <a:lnTo>
                        <a:pt x="217" y="74"/>
                      </a:lnTo>
                      <a:lnTo>
                        <a:pt x="220" y="76"/>
                      </a:lnTo>
                      <a:lnTo>
                        <a:pt x="222" y="77"/>
                      </a:lnTo>
                      <a:lnTo>
                        <a:pt x="224" y="79"/>
                      </a:lnTo>
                      <a:lnTo>
                        <a:pt x="225" y="81"/>
                      </a:lnTo>
                      <a:lnTo>
                        <a:pt x="229" y="81"/>
                      </a:lnTo>
                      <a:lnTo>
                        <a:pt x="234" y="81"/>
                      </a:lnTo>
                      <a:lnTo>
                        <a:pt x="235" y="81"/>
                      </a:lnTo>
                      <a:lnTo>
                        <a:pt x="235" y="79"/>
                      </a:lnTo>
                      <a:lnTo>
                        <a:pt x="236" y="78"/>
                      </a:lnTo>
                      <a:lnTo>
                        <a:pt x="236" y="77"/>
                      </a:lnTo>
                      <a:lnTo>
                        <a:pt x="237" y="78"/>
                      </a:lnTo>
                      <a:lnTo>
                        <a:pt x="237" y="77"/>
                      </a:lnTo>
                      <a:lnTo>
                        <a:pt x="238" y="77"/>
                      </a:lnTo>
                      <a:lnTo>
                        <a:pt x="241" y="77"/>
                      </a:lnTo>
                      <a:lnTo>
                        <a:pt x="242" y="77"/>
                      </a:lnTo>
                      <a:lnTo>
                        <a:pt x="243" y="78"/>
                      </a:lnTo>
                      <a:lnTo>
                        <a:pt x="243" y="79"/>
                      </a:lnTo>
                      <a:lnTo>
                        <a:pt x="244" y="79"/>
                      </a:lnTo>
                      <a:lnTo>
                        <a:pt x="245" y="81"/>
                      </a:lnTo>
                      <a:lnTo>
                        <a:pt x="245" y="82"/>
                      </a:lnTo>
                      <a:lnTo>
                        <a:pt x="245" y="83"/>
                      </a:lnTo>
                      <a:lnTo>
                        <a:pt x="245" y="84"/>
                      </a:lnTo>
                      <a:lnTo>
                        <a:pt x="246" y="84"/>
                      </a:lnTo>
                      <a:lnTo>
                        <a:pt x="246" y="85"/>
                      </a:lnTo>
                      <a:lnTo>
                        <a:pt x="246" y="86"/>
                      </a:lnTo>
                      <a:lnTo>
                        <a:pt x="244" y="88"/>
                      </a:lnTo>
                      <a:lnTo>
                        <a:pt x="244" y="86"/>
                      </a:lnTo>
                      <a:lnTo>
                        <a:pt x="243" y="86"/>
                      </a:lnTo>
                      <a:lnTo>
                        <a:pt x="243" y="88"/>
                      </a:lnTo>
                      <a:lnTo>
                        <a:pt x="241" y="88"/>
                      </a:lnTo>
                      <a:lnTo>
                        <a:pt x="241" y="89"/>
                      </a:lnTo>
                      <a:lnTo>
                        <a:pt x="241" y="90"/>
                      </a:lnTo>
                      <a:lnTo>
                        <a:pt x="243" y="92"/>
                      </a:lnTo>
                      <a:lnTo>
                        <a:pt x="245" y="96"/>
                      </a:lnTo>
                      <a:lnTo>
                        <a:pt x="247" y="98"/>
                      </a:lnTo>
                      <a:lnTo>
                        <a:pt x="250" y="102"/>
                      </a:lnTo>
                      <a:lnTo>
                        <a:pt x="251" y="104"/>
                      </a:lnTo>
                      <a:lnTo>
                        <a:pt x="250" y="106"/>
                      </a:lnTo>
                      <a:lnTo>
                        <a:pt x="250" y="107"/>
                      </a:lnTo>
                      <a:lnTo>
                        <a:pt x="249" y="109"/>
                      </a:lnTo>
                      <a:lnTo>
                        <a:pt x="249" y="110"/>
                      </a:lnTo>
                      <a:lnTo>
                        <a:pt x="249" y="111"/>
                      </a:lnTo>
                      <a:lnTo>
                        <a:pt x="247" y="111"/>
                      </a:lnTo>
                      <a:lnTo>
                        <a:pt x="246" y="112"/>
                      </a:lnTo>
                      <a:lnTo>
                        <a:pt x="244" y="114"/>
                      </a:lnTo>
                      <a:lnTo>
                        <a:pt x="239" y="119"/>
                      </a:lnTo>
                      <a:lnTo>
                        <a:pt x="238" y="119"/>
                      </a:lnTo>
                      <a:lnTo>
                        <a:pt x="237" y="119"/>
                      </a:lnTo>
                      <a:lnTo>
                        <a:pt x="236" y="119"/>
                      </a:lnTo>
                      <a:lnTo>
                        <a:pt x="235" y="118"/>
                      </a:lnTo>
                      <a:lnTo>
                        <a:pt x="234" y="118"/>
                      </a:lnTo>
                      <a:lnTo>
                        <a:pt x="232" y="119"/>
                      </a:lnTo>
                      <a:lnTo>
                        <a:pt x="231" y="119"/>
                      </a:lnTo>
                      <a:lnTo>
                        <a:pt x="230" y="119"/>
                      </a:lnTo>
                      <a:lnTo>
                        <a:pt x="229" y="119"/>
                      </a:lnTo>
                      <a:lnTo>
                        <a:pt x="228" y="119"/>
                      </a:lnTo>
                      <a:lnTo>
                        <a:pt x="227" y="120"/>
                      </a:lnTo>
                      <a:lnTo>
                        <a:pt x="225" y="119"/>
                      </a:lnTo>
                      <a:lnTo>
                        <a:pt x="225" y="118"/>
                      </a:lnTo>
                      <a:lnTo>
                        <a:pt x="222" y="118"/>
                      </a:lnTo>
                      <a:lnTo>
                        <a:pt x="221" y="118"/>
                      </a:lnTo>
                      <a:lnTo>
                        <a:pt x="220" y="119"/>
                      </a:lnTo>
                      <a:lnTo>
                        <a:pt x="220" y="120"/>
                      </a:lnTo>
                      <a:lnTo>
                        <a:pt x="218" y="120"/>
                      </a:lnTo>
                      <a:lnTo>
                        <a:pt x="218" y="121"/>
                      </a:lnTo>
                      <a:lnTo>
                        <a:pt x="217" y="121"/>
                      </a:lnTo>
                      <a:lnTo>
                        <a:pt x="218" y="123"/>
                      </a:lnTo>
                      <a:lnTo>
                        <a:pt x="217" y="124"/>
                      </a:lnTo>
                      <a:lnTo>
                        <a:pt x="217" y="123"/>
                      </a:lnTo>
                      <a:lnTo>
                        <a:pt x="217" y="124"/>
                      </a:lnTo>
                      <a:lnTo>
                        <a:pt x="217" y="123"/>
                      </a:lnTo>
                      <a:lnTo>
                        <a:pt x="216" y="123"/>
                      </a:lnTo>
                      <a:lnTo>
                        <a:pt x="216" y="124"/>
                      </a:lnTo>
                      <a:lnTo>
                        <a:pt x="216" y="125"/>
                      </a:lnTo>
                      <a:lnTo>
                        <a:pt x="215" y="124"/>
                      </a:lnTo>
                      <a:lnTo>
                        <a:pt x="214" y="124"/>
                      </a:lnTo>
                      <a:lnTo>
                        <a:pt x="213" y="125"/>
                      </a:lnTo>
                      <a:lnTo>
                        <a:pt x="213" y="124"/>
                      </a:lnTo>
                      <a:lnTo>
                        <a:pt x="211" y="124"/>
                      </a:lnTo>
                      <a:lnTo>
                        <a:pt x="211" y="125"/>
                      </a:lnTo>
                      <a:lnTo>
                        <a:pt x="213" y="126"/>
                      </a:lnTo>
                      <a:lnTo>
                        <a:pt x="213" y="127"/>
                      </a:lnTo>
                      <a:lnTo>
                        <a:pt x="211" y="127"/>
                      </a:lnTo>
                      <a:lnTo>
                        <a:pt x="210" y="128"/>
                      </a:lnTo>
                      <a:lnTo>
                        <a:pt x="209" y="128"/>
                      </a:lnTo>
                      <a:lnTo>
                        <a:pt x="210" y="128"/>
                      </a:lnTo>
                      <a:lnTo>
                        <a:pt x="210" y="130"/>
                      </a:lnTo>
                      <a:lnTo>
                        <a:pt x="210" y="131"/>
                      </a:lnTo>
                      <a:lnTo>
                        <a:pt x="211" y="131"/>
                      </a:lnTo>
                      <a:lnTo>
                        <a:pt x="211" y="132"/>
                      </a:lnTo>
                      <a:lnTo>
                        <a:pt x="210" y="132"/>
                      </a:lnTo>
                      <a:lnTo>
                        <a:pt x="210" y="131"/>
                      </a:lnTo>
                      <a:lnTo>
                        <a:pt x="209" y="131"/>
                      </a:lnTo>
                      <a:lnTo>
                        <a:pt x="208" y="131"/>
                      </a:lnTo>
                      <a:lnTo>
                        <a:pt x="207" y="131"/>
                      </a:lnTo>
                      <a:lnTo>
                        <a:pt x="206" y="132"/>
                      </a:lnTo>
                      <a:lnTo>
                        <a:pt x="206" y="133"/>
                      </a:lnTo>
                      <a:lnTo>
                        <a:pt x="207" y="133"/>
                      </a:lnTo>
                      <a:lnTo>
                        <a:pt x="207" y="134"/>
                      </a:lnTo>
                      <a:lnTo>
                        <a:pt x="206" y="134"/>
                      </a:lnTo>
                      <a:lnTo>
                        <a:pt x="204" y="133"/>
                      </a:lnTo>
                      <a:lnTo>
                        <a:pt x="200" y="133"/>
                      </a:lnTo>
                      <a:lnTo>
                        <a:pt x="197" y="133"/>
                      </a:lnTo>
                      <a:lnTo>
                        <a:pt x="195" y="134"/>
                      </a:lnTo>
                      <a:lnTo>
                        <a:pt x="192" y="135"/>
                      </a:lnTo>
                      <a:lnTo>
                        <a:pt x="192" y="134"/>
                      </a:lnTo>
                      <a:lnTo>
                        <a:pt x="190" y="134"/>
                      </a:lnTo>
                      <a:lnTo>
                        <a:pt x="190" y="133"/>
                      </a:lnTo>
                      <a:lnTo>
                        <a:pt x="192" y="133"/>
                      </a:lnTo>
                      <a:lnTo>
                        <a:pt x="190" y="133"/>
                      </a:lnTo>
                      <a:lnTo>
                        <a:pt x="187" y="132"/>
                      </a:lnTo>
                      <a:lnTo>
                        <a:pt x="185" y="132"/>
                      </a:lnTo>
                      <a:lnTo>
                        <a:pt x="178" y="131"/>
                      </a:lnTo>
                      <a:lnTo>
                        <a:pt x="173" y="130"/>
                      </a:lnTo>
                      <a:lnTo>
                        <a:pt x="172" y="130"/>
                      </a:lnTo>
                      <a:lnTo>
                        <a:pt x="171" y="128"/>
                      </a:lnTo>
                      <a:lnTo>
                        <a:pt x="166" y="128"/>
                      </a:lnTo>
                      <a:lnTo>
                        <a:pt x="166" y="130"/>
                      </a:lnTo>
                      <a:lnTo>
                        <a:pt x="165" y="130"/>
                      </a:lnTo>
                      <a:lnTo>
                        <a:pt x="164" y="131"/>
                      </a:lnTo>
                      <a:lnTo>
                        <a:pt x="163" y="130"/>
                      </a:lnTo>
                      <a:lnTo>
                        <a:pt x="161" y="130"/>
                      </a:lnTo>
                      <a:lnTo>
                        <a:pt x="161" y="131"/>
                      </a:lnTo>
                      <a:lnTo>
                        <a:pt x="161" y="132"/>
                      </a:lnTo>
                      <a:lnTo>
                        <a:pt x="160" y="133"/>
                      </a:lnTo>
                      <a:lnTo>
                        <a:pt x="159" y="133"/>
                      </a:lnTo>
                      <a:lnTo>
                        <a:pt x="159" y="134"/>
                      </a:lnTo>
                      <a:lnTo>
                        <a:pt x="158" y="134"/>
                      </a:lnTo>
                      <a:lnTo>
                        <a:pt x="157" y="134"/>
                      </a:lnTo>
                      <a:lnTo>
                        <a:pt x="157" y="135"/>
                      </a:lnTo>
                      <a:lnTo>
                        <a:pt x="156" y="137"/>
                      </a:lnTo>
                      <a:lnTo>
                        <a:pt x="153" y="135"/>
                      </a:lnTo>
                      <a:lnTo>
                        <a:pt x="154" y="134"/>
                      </a:lnTo>
                      <a:lnTo>
                        <a:pt x="153" y="134"/>
                      </a:lnTo>
                      <a:lnTo>
                        <a:pt x="150" y="134"/>
                      </a:lnTo>
                      <a:lnTo>
                        <a:pt x="150" y="133"/>
                      </a:lnTo>
                      <a:lnTo>
                        <a:pt x="149" y="133"/>
                      </a:lnTo>
                      <a:lnTo>
                        <a:pt x="149" y="134"/>
                      </a:lnTo>
                      <a:lnTo>
                        <a:pt x="147" y="134"/>
                      </a:lnTo>
                      <a:lnTo>
                        <a:pt x="146" y="134"/>
                      </a:lnTo>
                      <a:lnTo>
                        <a:pt x="146" y="133"/>
                      </a:lnTo>
                      <a:lnTo>
                        <a:pt x="142" y="133"/>
                      </a:lnTo>
                      <a:lnTo>
                        <a:pt x="140" y="133"/>
                      </a:lnTo>
                      <a:lnTo>
                        <a:pt x="140" y="134"/>
                      </a:lnTo>
                      <a:lnTo>
                        <a:pt x="137" y="134"/>
                      </a:lnTo>
                      <a:lnTo>
                        <a:pt x="132" y="134"/>
                      </a:lnTo>
                      <a:lnTo>
                        <a:pt x="131" y="134"/>
                      </a:lnTo>
                      <a:lnTo>
                        <a:pt x="130" y="133"/>
                      </a:lnTo>
                      <a:lnTo>
                        <a:pt x="125" y="133"/>
                      </a:lnTo>
                      <a:lnTo>
                        <a:pt x="125" y="134"/>
                      </a:lnTo>
                      <a:lnTo>
                        <a:pt x="124" y="134"/>
                      </a:lnTo>
                      <a:lnTo>
                        <a:pt x="119" y="134"/>
                      </a:lnTo>
                      <a:lnTo>
                        <a:pt x="113" y="134"/>
                      </a:lnTo>
                      <a:lnTo>
                        <a:pt x="106" y="134"/>
                      </a:lnTo>
                      <a:lnTo>
                        <a:pt x="97" y="134"/>
                      </a:lnTo>
                      <a:lnTo>
                        <a:pt x="92" y="134"/>
                      </a:lnTo>
                      <a:lnTo>
                        <a:pt x="89" y="134"/>
                      </a:lnTo>
                      <a:lnTo>
                        <a:pt x="88" y="134"/>
                      </a:lnTo>
                      <a:lnTo>
                        <a:pt x="86" y="134"/>
                      </a:lnTo>
                      <a:lnTo>
                        <a:pt x="86" y="135"/>
                      </a:lnTo>
                      <a:lnTo>
                        <a:pt x="86" y="137"/>
                      </a:lnTo>
                      <a:lnTo>
                        <a:pt x="86" y="138"/>
                      </a:lnTo>
                      <a:lnTo>
                        <a:pt x="85" y="138"/>
                      </a:lnTo>
                      <a:lnTo>
                        <a:pt x="85" y="139"/>
                      </a:lnTo>
                      <a:lnTo>
                        <a:pt x="83" y="141"/>
                      </a:lnTo>
                      <a:lnTo>
                        <a:pt x="83" y="142"/>
                      </a:lnTo>
                      <a:lnTo>
                        <a:pt x="82" y="144"/>
                      </a:lnTo>
                      <a:lnTo>
                        <a:pt x="83" y="144"/>
                      </a:lnTo>
                      <a:lnTo>
                        <a:pt x="83" y="145"/>
                      </a:lnTo>
                      <a:lnTo>
                        <a:pt x="82" y="146"/>
                      </a:lnTo>
                      <a:lnTo>
                        <a:pt x="82" y="147"/>
                      </a:lnTo>
                      <a:lnTo>
                        <a:pt x="83" y="148"/>
                      </a:lnTo>
                      <a:lnTo>
                        <a:pt x="83" y="149"/>
                      </a:lnTo>
                      <a:lnTo>
                        <a:pt x="83" y="151"/>
                      </a:lnTo>
                      <a:lnTo>
                        <a:pt x="85" y="151"/>
                      </a:lnTo>
                      <a:lnTo>
                        <a:pt x="85" y="152"/>
                      </a:lnTo>
                      <a:lnTo>
                        <a:pt x="86" y="153"/>
                      </a:lnTo>
                      <a:lnTo>
                        <a:pt x="87" y="153"/>
                      </a:lnTo>
                      <a:lnTo>
                        <a:pt x="88" y="153"/>
                      </a:lnTo>
                      <a:lnTo>
                        <a:pt x="87" y="154"/>
                      </a:lnTo>
                      <a:lnTo>
                        <a:pt x="86" y="154"/>
                      </a:lnTo>
                      <a:lnTo>
                        <a:pt x="86" y="155"/>
                      </a:lnTo>
                      <a:lnTo>
                        <a:pt x="86" y="156"/>
                      </a:lnTo>
                      <a:lnTo>
                        <a:pt x="87" y="156"/>
                      </a:lnTo>
                      <a:lnTo>
                        <a:pt x="87" y="158"/>
                      </a:lnTo>
                      <a:lnTo>
                        <a:pt x="88" y="158"/>
                      </a:lnTo>
                      <a:lnTo>
                        <a:pt x="88" y="159"/>
                      </a:lnTo>
                      <a:lnTo>
                        <a:pt x="87" y="160"/>
                      </a:lnTo>
                      <a:lnTo>
                        <a:pt x="87" y="161"/>
                      </a:lnTo>
                      <a:lnTo>
                        <a:pt x="87" y="162"/>
                      </a:lnTo>
                      <a:lnTo>
                        <a:pt x="87" y="166"/>
                      </a:lnTo>
                      <a:lnTo>
                        <a:pt x="88" y="167"/>
                      </a:lnTo>
                      <a:lnTo>
                        <a:pt x="88" y="168"/>
                      </a:lnTo>
                      <a:lnTo>
                        <a:pt x="88" y="170"/>
                      </a:lnTo>
                      <a:lnTo>
                        <a:pt x="89" y="172"/>
                      </a:lnTo>
                      <a:lnTo>
                        <a:pt x="89" y="173"/>
                      </a:lnTo>
                      <a:lnTo>
                        <a:pt x="88" y="174"/>
                      </a:lnTo>
                      <a:lnTo>
                        <a:pt x="87" y="175"/>
                      </a:lnTo>
                      <a:lnTo>
                        <a:pt x="87" y="176"/>
                      </a:lnTo>
                      <a:lnTo>
                        <a:pt x="88" y="176"/>
                      </a:lnTo>
                      <a:lnTo>
                        <a:pt x="88" y="177"/>
                      </a:lnTo>
                      <a:lnTo>
                        <a:pt x="89" y="177"/>
                      </a:lnTo>
                      <a:lnTo>
                        <a:pt x="88" y="179"/>
                      </a:lnTo>
                      <a:lnTo>
                        <a:pt x="88" y="180"/>
                      </a:lnTo>
                      <a:lnTo>
                        <a:pt x="88" y="181"/>
                      </a:lnTo>
                      <a:lnTo>
                        <a:pt x="89" y="182"/>
                      </a:lnTo>
                      <a:lnTo>
                        <a:pt x="90" y="183"/>
                      </a:lnTo>
                      <a:lnTo>
                        <a:pt x="89" y="184"/>
                      </a:lnTo>
                      <a:lnTo>
                        <a:pt x="89" y="186"/>
                      </a:lnTo>
                      <a:lnTo>
                        <a:pt x="88" y="186"/>
                      </a:lnTo>
                      <a:lnTo>
                        <a:pt x="87" y="186"/>
                      </a:lnTo>
                      <a:lnTo>
                        <a:pt x="83" y="181"/>
                      </a:lnTo>
                      <a:lnTo>
                        <a:pt x="82" y="179"/>
                      </a:lnTo>
                      <a:lnTo>
                        <a:pt x="81" y="176"/>
                      </a:lnTo>
                      <a:lnTo>
                        <a:pt x="80" y="175"/>
                      </a:lnTo>
                      <a:lnTo>
                        <a:pt x="79" y="176"/>
                      </a:lnTo>
                      <a:lnTo>
                        <a:pt x="78" y="176"/>
                      </a:lnTo>
                      <a:lnTo>
                        <a:pt x="78" y="175"/>
                      </a:lnTo>
                      <a:lnTo>
                        <a:pt x="76" y="173"/>
                      </a:lnTo>
                      <a:lnTo>
                        <a:pt x="75" y="172"/>
                      </a:lnTo>
                      <a:lnTo>
                        <a:pt x="74" y="172"/>
                      </a:lnTo>
                      <a:lnTo>
                        <a:pt x="74" y="170"/>
                      </a:lnTo>
                      <a:lnTo>
                        <a:pt x="74" y="169"/>
                      </a:lnTo>
                      <a:lnTo>
                        <a:pt x="73" y="170"/>
                      </a:lnTo>
                      <a:lnTo>
                        <a:pt x="72" y="172"/>
                      </a:lnTo>
                      <a:lnTo>
                        <a:pt x="71" y="172"/>
                      </a:lnTo>
                      <a:lnTo>
                        <a:pt x="71" y="170"/>
                      </a:lnTo>
                      <a:lnTo>
                        <a:pt x="69" y="170"/>
                      </a:lnTo>
                      <a:lnTo>
                        <a:pt x="68" y="169"/>
                      </a:lnTo>
                      <a:lnTo>
                        <a:pt x="64" y="169"/>
                      </a:lnTo>
                      <a:lnTo>
                        <a:pt x="61" y="169"/>
                      </a:lnTo>
                      <a:lnTo>
                        <a:pt x="60" y="169"/>
                      </a:lnTo>
                      <a:lnTo>
                        <a:pt x="59" y="168"/>
                      </a:lnTo>
                      <a:lnTo>
                        <a:pt x="59" y="169"/>
                      </a:lnTo>
                      <a:lnTo>
                        <a:pt x="58" y="169"/>
                      </a:lnTo>
                      <a:lnTo>
                        <a:pt x="57" y="169"/>
                      </a:lnTo>
                      <a:lnTo>
                        <a:pt x="55" y="169"/>
                      </a:lnTo>
                      <a:lnTo>
                        <a:pt x="55" y="170"/>
                      </a:lnTo>
                      <a:lnTo>
                        <a:pt x="54" y="170"/>
                      </a:lnTo>
                      <a:lnTo>
                        <a:pt x="52" y="170"/>
                      </a:lnTo>
                      <a:lnTo>
                        <a:pt x="51" y="172"/>
                      </a:lnTo>
                      <a:lnTo>
                        <a:pt x="50" y="172"/>
                      </a:lnTo>
                      <a:lnTo>
                        <a:pt x="50" y="173"/>
                      </a:lnTo>
                      <a:lnTo>
                        <a:pt x="49" y="173"/>
                      </a:lnTo>
                      <a:lnTo>
                        <a:pt x="47" y="173"/>
                      </a:lnTo>
                      <a:lnTo>
                        <a:pt x="47" y="174"/>
                      </a:lnTo>
                      <a:lnTo>
                        <a:pt x="46" y="174"/>
                      </a:lnTo>
                      <a:lnTo>
                        <a:pt x="45" y="173"/>
                      </a:lnTo>
                      <a:lnTo>
                        <a:pt x="44" y="173"/>
                      </a:lnTo>
                      <a:lnTo>
                        <a:pt x="44" y="174"/>
                      </a:lnTo>
                      <a:lnTo>
                        <a:pt x="43" y="175"/>
                      </a:lnTo>
                      <a:lnTo>
                        <a:pt x="42" y="175"/>
                      </a:lnTo>
                      <a:lnTo>
                        <a:pt x="40" y="175"/>
                      </a:lnTo>
                      <a:lnTo>
                        <a:pt x="39" y="176"/>
                      </a:lnTo>
                      <a:lnTo>
                        <a:pt x="40" y="176"/>
                      </a:lnTo>
                      <a:lnTo>
                        <a:pt x="39" y="177"/>
                      </a:lnTo>
                      <a:lnTo>
                        <a:pt x="39" y="179"/>
                      </a:lnTo>
                      <a:lnTo>
                        <a:pt x="39" y="180"/>
                      </a:lnTo>
                      <a:lnTo>
                        <a:pt x="38" y="180"/>
                      </a:lnTo>
                      <a:lnTo>
                        <a:pt x="37" y="180"/>
                      </a:lnTo>
                      <a:lnTo>
                        <a:pt x="37" y="181"/>
                      </a:lnTo>
                      <a:lnTo>
                        <a:pt x="37" y="180"/>
                      </a:lnTo>
                      <a:lnTo>
                        <a:pt x="36" y="179"/>
                      </a:lnTo>
                      <a:lnTo>
                        <a:pt x="35" y="179"/>
                      </a:lnTo>
                      <a:lnTo>
                        <a:pt x="33" y="179"/>
                      </a:lnTo>
                      <a:lnTo>
                        <a:pt x="32" y="177"/>
                      </a:lnTo>
                      <a:lnTo>
                        <a:pt x="32" y="176"/>
                      </a:lnTo>
                      <a:lnTo>
                        <a:pt x="33" y="176"/>
                      </a:lnTo>
                      <a:lnTo>
                        <a:pt x="32" y="175"/>
                      </a:lnTo>
                      <a:lnTo>
                        <a:pt x="31" y="176"/>
                      </a:lnTo>
                      <a:lnTo>
                        <a:pt x="31" y="177"/>
                      </a:lnTo>
                      <a:lnTo>
                        <a:pt x="30" y="177"/>
                      </a:lnTo>
                      <a:lnTo>
                        <a:pt x="30" y="176"/>
                      </a:lnTo>
                      <a:lnTo>
                        <a:pt x="29" y="176"/>
                      </a:lnTo>
                      <a:lnTo>
                        <a:pt x="29" y="177"/>
                      </a:lnTo>
                      <a:lnTo>
                        <a:pt x="28" y="177"/>
                      </a:lnTo>
                      <a:lnTo>
                        <a:pt x="26" y="177"/>
                      </a:lnTo>
                      <a:lnTo>
                        <a:pt x="26" y="176"/>
                      </a:lnTo>
                      <a:lnTo>
                        <a:pt x="25" y="176"/>
                      </a:lnTo>
                      <a:lnTo>
                        <a:pt x="25" y="175"/>
                      </a:lnTo>
                      <a:lnTo>
                        <a:pt x="24" y="175"/>
                      </a:lnTo>
                      <a:lnTo>
                        <a:pt x="25" y="176"/>
                      </a:lnTo>
                      <a:lnTo>
                        <a:pt x="24" y="176"/>
                      </a:lnTo>
                      <a:lnTo>
                        <a:pt x="24" y="175"/>
                      </a:lnTo>
                      <a:lnTo>
                        <a:pt x="23" y="175"/>
                      </a:lnTo>
                      <a:lnTo>
                        <a:pt x="23" y="174"/>
                      </a:lnTo>
                      <a:lnTo>
                        <a:pt x="23" y="175"/>
                      </a:lnTo>
                      <a:lnTo>
                        <a:pt x="24" y="174"/>
                      </a:lnTo>
                      <a:lnTo>
                        <a:pt x="24" y="173"/>
                      </a:lnTo>
                      <a:lnTo>
                        <a:pt x="23" y="173"/>
                      </a:lnTo>
                      <a:lnTo>
                        <a:pt x="23" y="172"/>
                      </a:lnTo>
                      <a:lnTo>
                        <a:pt x="22" y="172"/>
                      </a:lnTo>
                      <a:lnTo>
                        <a:pt x="21" y="172"/>
                      </a:lnTo>
                      <a:lnTo>
                        <a:pt x="19" y="172"/>
                      </a:lnTo>
                      <a:lnTo>
                        <a:pt x="18" y="170"/>
                      </a:lnTo>
                      <a:lnTo>
                        <a:pt x="18" y="169"/>
                      </a:lnTo>
                      <a:lnTo>
                        <a:pt x="18" y="168"/>
                      </a:lnTo>
                      <a:lnTo>
                        <a:pt x="17" y="168"/>
                      </a:lnTo>
                      <a:lnTo>
                        <a:pt x="17" y="167"/>
                      </a:lnTo>
                      <a:lnTo>
                        <a:pt x="18" y="167"/>
                      </a:lnTo>
                      <a:lnTo>
                        <a:pt x="18" y="166"/>
                      </a:lnTo>
                      <a:lnTo>
                        <a:pt x="17" y="166"/>
                      </a:lnTo>
                      <a:lnTo>
                        <a:pt x="17" y="165"/>
                      </a:lnTo>
                      <a:lnTo>
                        <a:pt x="16" y="165"/>
                      </a:lnTo>
                      <a:lnTo>
                        <a:pt x="15" y="165"/>
                      </a:lnTo>
                      <a:lnTo>
                        <a:pt x="16" y="165"/>
                      </a:lnTo>
                      <a:lnTo>
                        <a:pt x="15" y="165"/>
                      </a:lnTo>
                      <a:lnTo>
                        <a:pt x="15" y="163"/>
                      </a:lnTo>
                      <a:lnTo>
                        <a:pt x="16" y="163"/>
                      </a:lnTo>
                      <a:lnTo>
                        <a:pt x="15" y="162"/>
                      </a:lnTo>
                      <a:lnTo>
                        <a:pt x="14" y="162"/>
                      </a:lnTo>
                      <a:lnTo>
                        <a:pt x="14" y="161"/>
                      </a:lnTo>
                      <a:lnTo>
                        <a:pt x="15" y="161"/>
                      </a:lnTo>
                      <a:lnTo>
                        <a:pt x="14" y="160"/>
                      </a:lnTo>
                      <a:lnTo>
                        <a:pt x="14" y="161"/>
                      </a:lnTo>
                      <a:lnTo>
                        <a:pt x="14" y="160"/>
                      </a:lnTo>
                      <a:lnTo>
                        <a:pt x="14" y="159"/>
                      </a:lnTo>
                      <a:lnTo>
                        <a:pt x="12" y="158"/>
                      </a:lnTo>
                      <a:lnTo>
                        <a:pt x="11" y="159"/>
                      </a:lnTo>
                      <a:lnTo>
                        <a:pt x="10" y="158"/>
                      </a:lnTo>
                      <a:lnTo>
                        <a:pt x="9" y="158"/>
                      </a:lnTo>
                      <a:lnTo>
                        <a:pt x="8" y="158"/>
                      </a:lnTo>
                      <a:lnTo>
                        <a:pt x="7" y="158"/>
                      </a:lnTo>
                      <a:lnTo>
                        <a:pt x="5" y="158"/>
                      </a:lnTo>
                      <a:lnTo>
                        <a:pt x="5" y="159"/>
                      </a:lnTo>
                      <a:lnTo>
                        <a:pt x="4" y="159"/>
                      </a:lnTo>
                      <a:lnTo>
                        <a:pt x="4" y="158"/>
                      </a:lnTo>
                      <a:lnTo>
                        <a:pt x="3" y="158"/>
                      </a:lnTo>
                      <a:lnTo>
                        <a:pt x="3" y="156"/>
                      </a:lnTo>
                      <a:lnTo>
                        <a:pt x="2" y="156"/>
                      </a:lnTo>
                      <a:lnTo>
                        <a:pt x="1" y="155"/>
                      </a:lnTo>
                      <a:lnTo>
                        <a:pt x="1" y="154"/>
                      </a:lnTo>
                      <a:lnTo>
                        <a:pt x="0" y="154"/>
                      </a:lnTo>
                      <a:lnTo>
                        <a:pt x="1" y="154"/>
                      </a:lnTo>
                      <a:lnTo>
                        <a:pt x="1" y="152"/>
                      </a:lnTo>
                      <a:lnTo>
                        <a:pt x="1" y="151"/>
                      </a:lnTo>
                      <a:lnTo>
                        <a:pt x="2" y="149"/>
                      </a:lnTo>
                      <a:lnTo>
                        <a:pt x="2" y="148"/>
                      </a:lnTo>
                      <a:lnTo>
                        <a:pt x="2" y="147"/>
                      </a:lnTo>
                      <a:lnTo>
                        <a:pt x="1" y="146"/>
                      </a:lnTo>
                      <a:lnTo>
                        <a:pt x="2" y="144"/>
                      </a:lnTo>
                      <a:lnTo>
                        <a:pt x="2" y="142"/>
                      </a:lnTo>
                      <a:lnTo>
                        <a:pt x="3" y="140"/>
                      </a:lnTo>
                      <a:lnTo>
                        <a:pt x="2" y="139"/>
                      </a:lnTo>
                      <a:lnTo>
                        <a:pt x="2" y="138"/>
                      </a:lnTo>
                      <a:lnTo>
                        <a:pt x="1" y="137"/>
                      </a:lnTo>
                      <a:lnTo>
                        <a:pt x="1" y="135"/>
                      </a:lnTo>
                      <a:lnTo>
                        <a:pt x="1" y="134"/>
                      </a:lnTo>
                      <a:lnTo>
                        <a:pt x="1" y="133"/>
                      </a:lnTo>
                      <a:lnTo>
                        <a:pt x="4" y="132"/>
                      </a:lnTo>
                      <a:lnTo>
                        <a:pt x="5" y="132"/>
                      </a:lnTo>
                      <a:lnTo>
                        <a:pt x="7" y="131"/>
                      </a:lnTo>
                      <a:lnTo>
                        <a:pt x="7" y="130"/>
                      </a:lnTo>
                      <a:lnTo>
                        <a:pt x="8" y="128"/>
                      </a:lnTo>
                      <a:lnTo>
                        <a:pt x="8" y="127"/>
                      </a:lnTo>
                      <a:lnTo>
                        <a:pt x="8" y="124"/>
                      </a:lnTo>
                      <a:lnTo>
                        <a:pt x="8" y="123"/>
                      </a:lnTo>
                      <a:lnTo>
                        <a:pt x="9" y="123"/>
                      </a:lnTo>
                      <a:lnTo>
                        <a:pt x="9" y="121"/>
                      </a:lnTo>
                      <a:lnTo>
                        <a:pt x="9" y="120"/>
                      </a:lnTo>
                      <a:lnTo>
                        <a:pt x="9" y="118"/>
                      </a:lnTo>
                      <a:lnTo>
                        <a:pt x="9" y="117"/>
                      </a:lnTo>
                      <a:lnTo>
                        <a:pt x="8" y="116"/>
                      </a:lnTo>
                      <a:lnTo>
                        <a:pt x="7" y="116"/>
                      </a:lnTo>
                      <a:lnTo>
                        <a:pt x="7" y="114"/>
                      </a:lnTo>
                      <a:lnTo>
                        <a:pt x="7" y="113"/>
                      </a:lnTo>
                      <a:lnTo>
                        <a:pt x="8" y="112"/>
                      </a:lnTo>
                      <a:lnTo>
                        <a:pt x="7" y="112"/>
                      </a:lnTo>
                      <a:lnTo>
                        <a:pt x="7" y="111"/>
                      </a:lnTo>
                      <a:lnTo>
                        <a:pt x="7" y="110"/>
                      </a:lnTo>
                      <a:lnTo>
                        <a:pt x="5" y="110"/>
                      </a:lnTo>
                      <a:lnTo>
                        <a:pt x="4" y="110"/>
                      </a:lnTo>
                      <a:lnTo>
                        <a:pt x="3" y="110"/>
                      </a:lnTo>
                      <a:lnTo>
                        <a:pt x="3" y="109"/>
                      </a:lnTo>
                      <a:lnTo>
                        <a:pt x="4" y="109"/>
                      </a:lnTo>
                      <a:lnTo>
                        <a:pt x="5" y="109"/>
                      </a:lnTo>
                      <a:lnTo>
                        <a:pt x="7" y="109"/>
                      </a:lnTo>
                      <a:lnTo>
                        <a:pt x="8" y="109"/>
                      </a:lnTo>
                      <a:lnTo>
                        <a:pt x="8" y="107"/>
                      </a:lnTo>
                      <a:lnTo>
                        <a:pt x="9" y="106"/>
                      </a:lnTo>
                      <a:lnTo>
                        <a:pt x="10" y="105"/>
                      </a:lnTo>
                      <a:lnTo>
                        <a:pt x="11" y="105"/>
                      </a:lnTo>
                      <a:lnTo>
                        <a:pt x="12" y="104"/>
                      </a:lnTo>
                      <a:lnTo>
                        <a:pt x="14" y="104"/>
                      </a:lnTo>
                      <a:lnTo>
                        <a:pt x="15" y="104"/>
                      </a:lnTo>
                      <a:lnTo>
                        <a:pt x="16" y="104"/>
                      </a:lnTo>
                      <a:lnTo>
                        <a:pt x="17" y="103"/>
                      </a:lnTo>
                      <a:lnTo>
                        <a:pt x="18" y="103"/>
                      </a:lnTo>
                      <a:lnTo>
                        <a:pt x="19" y="103"/>
                      </a:lnTo>
                      <a:lnTo>
                        <a:pt x="21" y="103"/>
                      </a:lnTo>
                      <a:lnTo>
                        <a:pt x="22" y="103"/>
                      </a:lnTo>
                      <a:lnTo>
                        <a:pt x="23" y="103"/>
                      </a:lnTo>
                      <a:lnTo>
                        <a:pt x="24" y="103"/>
                      </a:lnTo>
                      <a:lnTo>
                        <a:pt x="24" y="102"/>
                      </a:lnTo>
                      <a:lnTo>
                        <a:pt x="25" y="102"/>
                      </a:lnTo>
                      <a:lnTo>
                        <a:pt x="25" y="100"/>
                      </a:lnTo>
                      <a:lnTo>
                        <a:pt x="26" y="100"/>
                      </a:lnTo>
                      <a:lnTo>
                        <a:pt x="28" y="100"/>
                      </a:lnTo>
                      <a:lnTo>
                        <a:pt x="28" y="99"/>
                      </a:lnTo>
                      <a:lnTo>
                        <a:pt x="29" y="98"/>
                      </a:lnTo>
                      <a:lnTo>
                        <a:pt x="30" y="98"/>
                      </a:lnTo>
                      <a:lnTo>
                        <a:pt x="29" y="97"/>
                      </a:lnTo>
                      <a:lnTo>
                        <a:pt x="32" y="95"/>
                      </a:lnTo>
                      <a:lnTo>
                        <a:pt x="32" y="93"/>
                      </a:lnTo>
                      <a:lnTo>
                        <a:pt x="32" y="92"/>
                      </a:lnTo>
                      <a:lnTo>
                        <a:pt x="33" y="92"/>
                      </a:lnTo>
                      <a:lnTo>
                        <a:pt x="33" y="93"/>
                      </a:lnTo>
                      <a:lnTo>
                        <a:pt x="35" y="92"/>
                      </a:lnTo>
                      <a:lnTo>
                        <a:pt x="35" y="91"/>
                      </a:lnTo>
                      <a:lnTo>
                        <a:pt x="33" y="89"/>
                      </a:lnTo>
                      <a:lnTo>
                        <a:pt x="33" y="88"/>
                      </a:lnTo>
                      <a:lnTo>
                        <a:pt x="35" y="88"/>
                      </a:lnTo>
                      <a:lnTo>
                        <a:pt x="35" y="86"/>
                      </a:lnTo>
                      <a:lnTo>
                        <a:pt x="36" y="85"/>
                      </a:lnTo>
                      <a:lnTo>
                        <a:pt x="35" y="85"/>
                      </a:lnTo>
                      <a:lnTo>
                        <a:pt x="35" y="83"/>
                      </a:lnTo>
                      <a:lnTo>
                        <a:pt x="33" y="83"/>
                      </a:lnTo>
                      <a:lnTo>
                        <a:pt x="32" y="82"/>
                      </a:lnTo>
                      <a:lnTo>
                        <a:pt x="32" y="79"/>
                      </a:lnTo>
                      <a:lnTo>
                        <a:pt x="33" y="79"/>
                      </a:lnTo>
                      <a:lnTo>
                        <a:pt x="35" y="78"/>
                      </a:lnTo>
                      <a:lnTo>
                        <a:pt x="36" y="78"/>
                      </a:lnTo>
                      <a:lnTo>
                        <a:pt x="37" y="79"/>
                      </a:lnTo>
                      <a:lnTo>
                        <a:pt x="38" y="79"/>
                      </a:lnTo>
                      <a:lnTo>
                        <a:pt x="39" y="79"/>
                      </a:lnTo>
                      <a:lnTo>
                        <a:pt x="40" y="78"/>
                      </a:lnTo>
                      <a:lnTo>
                        <a:pt x="40" y="76"/>
                      </a:lnTo>
                      <a:lnTo>
                        <a:pt x="40" y="75"/>
                      </a:lnTo>
                      <a:lnTo>
                        <a:pt x="40" y="72"/>
                      </a:lnTo>
                      <a:lnTo>
                        <a:pt x="40" y="71"/>
                      </a:lnTo>
                      <a:lnTo>
                        <a:pt x="39" y="71"/>
                      </a:lnTo>
                      <a:lnTo>
                        <a:pt x="38" y="70"/>
                      </a:lnTo>
                      <a:lnTo>
                        <a:pt x="37" y="68"/>
                      </a:lnTo>
                      <a:lnTo>
                        <a:pt x="37" y="67"/>
                      </a:lnTo>
                      <a:lnTo>
                        <a:pt x="36" y="67"/>
                      </a:lnTo>
                      <a:lnTo>
                        <a:pt x="37" y="67"/>
                      </a:lnTo>
                      <a:lnTo>
                        <a:pt x="37" y="65"/>
                      </a:lnTo>
                      <a:lnTo>
                        <a:pt x="37" y="64"/>
                      </a:lnTo>
                      <a:lnTo>
                        <a:pt x="39" y="64"/>
                      </a:lnTo>
                      <a:lnTo>
                        <a:pt x="40" y="64"/>
                      </a:lnTo>
                      <a:lnTo>
                        <a:pt x="39" y="63"/>
                      </a:lnTo>
                      <a:lnTo>
                        <a:pt x="39" y="62"/>
                      </a:lnTo>
                      <a:lnTo>
                        <a:pt x="40" y="62"/>
                      </a:lnTo>
                      <a:lnTo>
                        <a:pt x="40" y="61"/>
                      </a:lnTo>
                      <a:lnTo>
                        <a:pt x="42" y="61"/>
                      </a:lnTo>
                      <a:lnTo>
                        <a:pt x="43" y="61"/>
                      </a:lnTo>
                      <a:lnTo>
                        <a:pt x="43" y="60"/>
                      </a:lnTo>
                      <a:lnTo>
                        <a:pt x="44" y="58"/>
                      </a:lnTo>
                      <a:lnTo>
                        <a:pt x="44" y="57"/>
                      </a:lnTo>
                      <a:lnTo>
                        <a:pt x="45" y="57"/>
                      </a:lnTo>
                      <a:lnTo>
                        <a:pt x="46" y="56"/>
                      </a:lnTo>
                      <a:lnTo>
                        <a:pt x="47" y="56"/>
                      </a:lnTo>
                      <a:lnTo>
                        <a:pt x="47" y="55"/>
                      </a:lnTo>
                      <a:lnTo>
                        <a:pt x="49" y="55"/>
                      </a:lnTo>
                      <a:lnTo>
                        <a:pt x="47" y="55"/>
                      </a:lnTo>
                      <a:lnTo>
                        <a:pt x="47" y="54"/>
                      </a:lnTo>
                      <a:lnTo>
                        <a:pt x="49" y="54"/>
                      </a:lnTo>
                      <a:lnTo>
                        <a:pt x="49" y="55"/>
                      </a:lnTo>
                      <a:lnTo>
                        <a:pt x="50" y="55"/>
                      </a:lnTo>
                      <a:lnTo>
                        <a:pt x="50" y="56"/>
                      </a:lnTo>
                      <a:lnTo>
                        <a:pt x="49" y="56"/>
                      </a:lnTo>
                      <a:lnTo>
                        <a:pt x="49" y="57"/>
                      </a:lnTo>
                      <a:lnTo>
                        <a:pt x="47" y="57"/>
                      </a:lnTo>
                      <a:lnTo>
                        <a:pt x="49" y="57"/>
                      </a:lnTo>
                      <a:lnTo>
                        <a:pt x="50" y="57"/>
                      </a:lnTo>
                      <a:lnTo>
                        <a:pt x="51" y="57"/>
                      </a:lnTo>
                      <a:lnTo>
                        <a:pt x="52" y="58"/>
                      </a:lnTo>
                      <a:lnTo>
                        <a:pt x="53" y="58"/>
                      </a:lnTo>
                      <a:lnTo>
                        <a:pt x="55" y="61"/>
                      </a:lnTo>
                      <a:lnTo>
                        <a:pt x="58" y="62"/>
                      </a:lnTo>
                      <a:lnTo>
                        <a:pt x="60" y="63"/>
                      </a:lnTo>
                      <a:lnTo>
                        <a:pt x="61" y="63"/>
                      </a:lnTo>
                      <a:lnTo>
                        <a:pt x="61" y="64"/>
                      </a:lnTo>
                      <a:lnTo>
                        <a:pt x="62" y="64"/>
                      </a:lnTo>
                      <a:lnTo>
                        <a:pt x="64" y="64"/>
                      </a:lnTo>
                      <a:lnTo>
                        <a:pt x="65" y="64"/>
                      </a:lnTo>
                      <a:lnTo>
                        <a:pt x="65" y="63"/>
                      </a:lnTo>
                      <a:lnTo>
                        <a:pt x="65" y="62"/>
                      </a:lnTo>
                      <a:lnTo>
                        <a:pt x="65" y="61"/>
                      </a:lnTo>
                      <a:lnTo>
                        <a:pt x="66" y="61"/>
                      </a:lnTo>
                      <a:lnTo>
                        <a:pt x="71" y="61"/>
                      </a:lnTo>
                      <a:lnTo>
                        <a:pt x="69" y="53"/>
                      </a:lnTo>
                      <a:lnTo>
                        <a:pt x="71" y="51"/>
                      </a:lnTo>
                      <a:lnTo>
                        <a:pt x="71" y="50"/>
                      </a:lnTo>
                      <a:lnTo>
                        <a:pt x="71" y="48"/>
                      </a:lnTo>
                      <a:lnTo>
                        <a:pt x="69" y="47"/>
                      </a:lnTo>
                      <a:lnTo>
                        <a:pt x="71" y="47"/>
                      </a:lnTo>
                      <a:lnTo>
                        <a:pt x="72" y="47"/>
                      </a:lnTo>
                      <a:lnTo>
                        <a:pt x="73" y="48"/>
                      </a:lnTo>
                      <a:lnTo>
                        <a:pt x="74" y="48"/>
                      </a:lnTo>
                      <a:lnTo>
                        <a:pt x="75" y="48"/>
                      </a:lnTo>
                      <a:lnTo>
                        <a:pt x="76" y="49"/>
                      </a:lnTo>
                      <a:lnTo>
                        <a:pt x="76" y="50"/>
                      </a:lnTo>
                      <a:lnTo>
                        <a:pt x="78" y="50"/>
                      </a:lnTo>
                      <a:lnTo>
                        <a:pt x="78" y="49"/>
                      </a:lnTo>
                      <a:lnTo>
                        <a:pt x="79" y="49"/>
                      </a:lnTo>
                      <a:lnTo>
                        <a:pt x="80" y="49"/>
                      </a:lnTo>
                      <a:lnTo>
                        <a:pt x="81" y="49"/>
                      </a:lnTo>
                      <a:lnTo>
                        <a:pt x="82" y="48"/>
                      </a:lnTo>
                      <a:lnTo>
                        <a:pt x="81" y="46"/>
                      </a:lnTo>
                      <a:lnTo>
                        <a:pt x="81" y="43"/>
                      </a:lnTo>
                      <a:lnTo>
                        <a:pt x="81" y="42"/>
                      </a:lnTo>
                      <a:lnTo>
                        <a:pt x="82" y="41"/>
                      </a:lnTo>
                      <a:lnTo>
                        <a:pt x="83" y="37"/>
                      </a:lnTo>
                      <a:lnTo>
                        <a:pt x="83" y="35"/>
                      </a:lnTo>
                      <a:lnTo>
                        <a:pt x="88" y="33"/>
                      </a:lnTo>
                      <a:lnTo>
                        <a:pt x="89" y="33"/>
                      </a:lnTo>
                      <a:lnTo>
                        <a:pt x="90" y="30"/>
                      </a:lnTo>
                      <a:lnTo>
                        <a:pt x="92" y="29"/>
                      </a:lnTo>
                      <a:lnTo>
                        <a:pt x="94" y="28"/>
                      </a:lnTo>
                      <a:lnTo>
                        <a:pt x="96" y="28"/>
                      </a:lnTo>
                      <a:lnTo>
                        <a:pt x="99" y="28"/>
                      </a:lnTo>
                      <a:lnTo>
                        <a:pt x="106" y="32"/>
                      </a:lnTo>
                      <a:lnTo>
                        <a:pt x="107" y="32"/>
                      </a:lnTo>
                      <a:lnTo>
                        <a:pt x="108" y="32"/>
                      </a:lnTo>
                      <a:lnTo>
                        <a:pt x="109" y="30"/>
                      </a:lnTo>
                      <a:lnTo>
                        <a:pt x="110" y="30"/>
                      </a:lnTo>
                      <a:lnTo>
                        <a:pt x="110" y="22"/>
                      </a:lnTo>
                      <a:lnTo>
                        <a:pt x="110" y="21"/>
                      </a:lnTo>
                      <a:lnTo>
                        <a:pt x="111" y="21"/>
                      </a:lnTo>
                      <a:lnTo>
                        <a:pt x="113" y="21"/>
                      </a:lnTo>
                      <a:lnTo>
                        <a:pt x="116" y="21"/>
                      </a:lnTo>
                      <a:lnTo>
                        <a:pt x="118" y="21"/>
                      </a:lnTo>
                      <a:lnTo>
                        <a:pt x="121" y="20"/>
                      </a:lnTo>
                      <a:lnTo>
                        <a:pt x="131" y="13"/>
                      </a:lnTo>
                      <a:lnTo>
                        <a:pt x="132" y="12"/>
                      </a:lnTo>
                      <a:lnTo>
                        <a:pt x="138" y="11"/>
                      </a:lnTo>
                      <a:lnTo>
                        <a:pt x="139" y="11"/>
                      </a:lnTo>
                      <a:lnTo>
                        <a:pt x="140" y="9"/>
                      </a:lnTo>
                      <a:lnTo>
                        <a:pt x="147" y="4"/>
                      </a:lnTo>
                      <a:lnTo>
                        <a:pt x="149" y="1"/>
                      </a:lnTo>
                      <a:lnTo>
                        <a:pt x="150" y="1"/>
                      </a:lnTo>
                      <a:lnTo>
                        <a:pt x="151" y="1"/>
                      </a:lnTo>
                      <a:lnTo>
                        <a:pt x="158" y="0"/>
                      </a:lnTo>
                      <a:lnTo>
                        <a:pt x="159" y="0"/>
                      </a:lnTo>
                      <a:lnTo>
                        <a:pt x="159" y="1"/>
                      </a:lnTo>
                      <a:lnTo>
                        <a:pt x="160" y="2"/>
                      </a:lnTo>
                      <a:lnTo>
                        <a:pt x="160" y="4"/>
                      </a:lnTo>
                      <a:lnTo>
                        <a:pt x="161" y="4"/>
                      </a:lnTo>
                      <a:lnTo>
                        <a:pt x="163" y="2"/>
                      </a:lnTo>
                      <a:lnTo>
                        <a:pt x="165" y="1"/>
                      </a:lnTo>
                      <a:lnTo>
                        <a:pt x="166" y="1"/>
                      </a:lnTo>
                      <a:lnTo>
                        <a:pt x="168" y="1"/>
                      </a:lnTo>
                      <a:lnTo>
                        <a:pt x="173" y="4"/>
                      </a:lnTo>
                      <a:lnTo>
                        <a:pt x="181" y="6"/>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9" name="Freeform 76">
                  <a:extLst>
                    <a:ext uri="{FF2B5EF4-FFF2-40B4-BE49-F238E27FC236}">
                      <a16:creationId xmlns:a16="http://schemas.microsoft.com/office/drawing/2014/main" id="{348C6192-268D-8562-1A02-AF6C00B55D26}"/>
                    </a:ext>
                  </a:extLst>
                </p:cNvPr>
                <p:cNvSpPr>
                  <a:spLocks/>
                </p:cNvSpPr>
                <p:nvPr/>
              </p:nvSpPr>
              <p:spPr bwMode="auto">
                <a:xfrm>
                  <a:off x="6916000" y="4411957"/>
                  <a:ext cx="316948" cy="333173"/>
                </a:xfrm>
                <a:custGeom>
                  <a:avLst/>
                  <a:gdLst>
                    <a:gd name="T0" fmla="*/ 171 w 293"/>
                    <a:gd name="T1" fmla="*/ 16 h 308"/>
                    <a:gd name="T2" fmla="*/ 181 w 293"/>
                    <a:gd name="T3" fmla="*/ 28 h 308"/>
                    <a:gd name="T4" fmla="*/ 189 w 293"/>
                    <a:gd name="T5" fmla="*/ 47 h 308"/>
                    <a:gd name="T6" fmla="*/ 199 w 293"/>
                    <a:gd name="T7" fmla="*/ 62 h 308"/>
                    <a:gd name="T8" fmla="*/ 207 w 293"/>
                    <a:gd name="T9" fmla="*/ 69 h 308"/>
                    <a:gd name="T10" fmla="*/ 222 w 293"/>
                    <a:gd name="T11" fmla="*/ 75 h 308"/>
                    <a:gd name="T12" fmla="*/ 236 w 293"/>
                    <a:gd name="T13" fmla="*/ 89 h 308"/>
                    <a:gd name="T14" fmla="*/ 241 w 293"/>
                    <a:gd name="T15" fmla="*/ 101 h 308"/>
                    <a:gd name="T16" fmla="*/ 247 w 293"/>
                    <a:gd name="T17" fmla="*/ 116 h 308"/>
                    <a:gd name="T18" fmla="*/ 254 w 293"/>
                    <a:gd name="T19" fmla="*/ 126 h 308"/>
                    <a:gd name="T20" fmla="*/ 270 w 293"/>
                    <a:gd name="T21" fmla="*/ 129 h 308"/>
                    <a:gd name="T22" fmla="*/ 284 w 293"/>
                    <a:gd name="T23" fmla="*/ 136 h 308"/>
                    <a:gd name="T24" fmla="*/ 291 w 293"/>
                    <a:gd name="T25" fmla="*/ 144 h 308"/>
                    <a:gd name="T26" fmla="*/ 281 w 293"/>
                    <a:gd name="T27" fmla="*/ 151 h 308"/>
                    <a:gd name="T28" fmla="*/ 271 w 293"/>
                    <a:gd name="T29" fmla="*/ 159 h 308"/>
                    <a:gd name="T30" fmla="*/ 256 w 293"/>
                    <a:gd name="T31" fmla="*/ 164 h 308"/>
                    <a:gd name="T32" fmla="*/ 250 w 293"/>
                    <a:gd name="T33" fmla="*/ 172 h 308"/>
                    <a:gd name="T34" fmla="*/ 245 w 293"/>
                    <a:gd name="T35" fmla="*/ 179 h 308"/>
                    <a:gd name="T36" fmla="*/ 238 w 293"/>
                    <a:gd name="T37" fmla="*/ 185 h 308"/>
                    <a:gd name="T38" fmla="*/ 231 w 293"/>
                    <a:gd name="T39" fmla="*/ 187 h 308"/>
                    <a:gd name="T40" fmla="*/ 222 w 293"/>
                    <a:gd name="T41" fmla="*/ 194 h 308"/>
                    <a:gd name="T42" fmla="*/ 218 w 293"/>
                    <a:gd name="T43" fmla="*/ 201 h 308"/>
                    <a:gd name="T44" fmla="*/ 206 w 293"/>
                    <a:gd name="T45" fmla="*/ 223 h 308"/>
                    <a:gd name="T46" fmla="*/ 189 w 293"/>
                    <a:gd name="T47" fmla="*/ 233 h 308"/>
                    <a:gd name="T48" fmla="*/ 182 w 293"/>
                    <a:gd name="T49" fmla="*/ 244 h 308"/>
                    <a:gd name="T50" fmla="*/ 160 w 293"/>
                    <a:gd name="T51" fmla="*/ 268 h 308"/>
                    <a:gd name="T52" fmla="*/ 141 w 293"/>
                    <a:gd name="T53" fmla="*/ 269 h 308"/>
                    <a:gd name="T54" fmla="*/ 126 w 293"/>
                    <a:gd name="T55" fmla="*/ 264 h 308"/>
                    <a:gd name="T56" fmla="*/ 112 w 293"/>
                    <a:gd name="T57" fmla="*/ 255 h 308"/>
                    <a:gd name="T58" fmla="*/ 98 w 293"/>
                    <a:gd name="T59" fmla="*/ 254 h 308"/>
                    <a:gd name="T60" fmla="*/ 90 w 293"/>
                    <a:gd name="T61" fmla="*/ 259 h 308"/>
                    <a:gd name="T62" fmla="*/ 87 w 293"/>
                    <a:gd name="T63" fmla="*/ 270 h 308"/>
                    <a:gd name="T64" fmla="*/ 83 w 293"/>
                    <a:gd name="T65" fmla="*/ 280 h 308"/>
                    <a:gd name="T66" fmla="*/ 74 w 293"/>
                    <a:gd name="T67" fmla="*/ 289 h 308"/>
                    <a:gd name="T68" fmla="*/ 58 w 293"/>
                    <a:gd name="T69" fmla="*/ 300 h 308"/>
                    <a:gd name="T70" fmla="*/ 48 w 293"/>
                    <a:gd name="T71" fmla="*/ 306 h 308"/>
                    <a:gd name="T72" fmla="*/ 25 w 293"/>
                    <a:gd name="T73" fmla="*/ 306 h 308"/>
                    <a:gd name="T74" fmla="*/ 20 w 293"/>
                    <a:gd name="T75" fmla="*/ 298 h 308"/>
                    <a:gd name="T76" fmla="*/ 27 w 293"/>
                    <a:gd name="T77" fmla="*/ 282 h 308"/>
                    <a:gd name="T78" fmla="*/ 21 w 293"/>
                    <a:gd name="T79" fmla="*/ 265 h 308"/>
                    <a:gd name="T80" fmla="*/ 18 w 293"/>
                    <a:gd name="T81" fmla="*/ 256 h 308"/>
                    <a:gd name="T82" fmla="*/ 13 w 293"/>
                    <a:gd name="T83" fmla="*/ 247 h 308"/>
                    <a:gd name="T84" fmla="*/ 0 w 293"/>
                    <a:gd name="T85" fmla="*/ 234 h 308"/>
                    <a:gd name="T86" fmla="*/ 0 w 293"/>
                    <a:gd name="T87" fmla="*/ 181 h 308"/>
                    <a:gd name="T88" fmla="*/ 22 w 293"/>
                    <a:gd name="T89" fmla="*/ 140 h 308"/>
                    <a:gd name="T90" fmla="*/ 32 w 293"/>
                    <a:gd name="T91" fmla="*/ 124 h 308"/>
                    <a:gd name="T92" fmla="*/ 32 w 293"/>
                    <a:gd name="T93" fmla="*/ 98 h 308"/>
                    <a:gd name="T94" fmla="*/ 30 w 293"/>
                    <a:gd name="T95" fmla="*/ 53 h 308"/>
                    <a:gd name="T96" fmla="*/ 30 w 293"/>
                    <a:gd name="T97" fmla="*/ 31 h 308"/>
                    <a:gd name="T98" fmla="*/ 32 w 293"/>
                    <a:gd name="T99" fmla="*/ 18 h 308"/>
                    <a:gd name="T100" fmla="*/ 48 w 293"/>
                    <a:gd name="T101" fmla="*/ 17 h 308"/>
                    <a:gd name="T102" fmla="*/ 75 w 293"/>
                    <a:gd name="T103" fmla="*/ 11 h 308"/>
                    <a:gd name="T104" fmla="*/ 104 w 293"/>
                    <a:gd name="T105" fmla="*/ 7 h 308"/>
                    <a:gd name="T106" fmla="*/ 111 w 293"/>
                    <a:gd name="T107" fmla="*/ 16 h 308"/>
                    <a:gd name="T108" fmla="*/ 117 w 293"/>
                    <a:gd name="T109" fmla="*/ 21 h 308"/>
                    <a:gd name="T110" fmla="*/ 127 w 293"/>
                    <a:gd name="T111" fmla="*/ 11 h 308"/>
                    <a:gd name="T112" fmla="*/ 139 w 293"/>
                    <a:gd name="T113" fmla="*/ 5 h 308"/>
                    <a:gd name="T114" fmla="*/ 148 w 293"/>
                    <a:gd name="T115" fmla="*/ 5 h 308"/>
                    <a:gd name="T116" fmla="*/ 157 w 293"/>
                    <a:gd name="T117" fmla="*/ 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308">
                      <a:moveTo>
                        <a:pt x="165" y="0"/>
                      </a:moveTo>
                      <a:lnTo>
                        <a:pt x="164" y="3"/>
                      </a:lnTo>
                      <a:lnTo>
                        <a:pt x="164" y="4"/>
                      </a:lnTo>
                      <a:lnTo>
                        <a:pt x="164" y="5"/>
                      </a:lnTo>
                      <a:lnTo>
                        <a:pt x="165" y="7"/>
                      </a:lnTo>
                      <a:lnTo>
                        <a:pt x="167" y="10"/>
                      </a:lnTo>
                      <a:lnTo>
                        <a:pt x="168" y="10"/>
                      </a:lnTo>
                      <a:lnTo>
                        <a:pt x="168" y="11"/>
                      </a:lnTo>
                      <a:lnTo>
                        <a:pt x="169" y="12"/>
                      </a:lnTo>
                      <a:lnTo>
                        <a:pt x="170" y="13"/>
                      </a:lnTo>
                      <a:lnTo>
                        <a:pt x="171" y="16"/>
                      </a:lnTo>
                      <a:lnTo>
                        <a:pt x="172" y="17"/>
                      </a:lnTo>
                      <a:lnTo>
                        <a:pt x="172" y="18"/>
                      </a:lnTo>
                      <a:lnTo>
                        <a:pt x="172" y="19"/>
                      </a:lnTo>
                      <a:lnTo>
                        <a:pt x="174" y="20"/>
                      </a:lnTo>
                      <a:lnTo>
                        <a:pt x="175" y="23"/>
                      </a:lnTo>
                      <a:lnTo>
                        <a:pt x="176" y="23"/>
                      </a:lnTo>
                      <a:lnTo>
                        <a:pt x="177" y="24"/>
                      </a:lnTo>
                      <a:lnTo>
                        <a:pt x="178" y="26"/>
                      </a:lnTo>
                      <a:lnTo>
                        <a:pt x="179" y="26"/>
                      </a:lnTo>
                      <a:lnTo>
                        <a:pt x="181" y="27"/>
                      </a:lnTo>
                      <a:lnTo>
                        <a:pt x="181" y="28"/>
                      </a:lnTo>
                      <a:lnTo>
                        <a:pt x="182" y="30"/>
                      </a:lnTo>
                      <a:lnTo>
                        <a:pt x="182" y="32"/>
                      </a:lnTo>
                      <a:lnTo>
                        <a:pt x="183" y="34"/>
                      </a:lnTo>
                      <a:lnTo>
                        <a:pt x="186" y="38"/>
                      </a:lnTo>
                      <a:lnTo>
                        <a:pt x="188" y="40"/>
                      </a:lnTo>
                      <a:lnTo>
                        <a:pt x="188" y="41"/>
                      </a:lnTo>
                      <a:lnTo>
                        <a:pt x="186" y="42"/>
                      </a:lnTo>
                      <a:lnTo>
                        <a:pt x="186" y="44"/>
                      </a:lnTo>
                      <a:lnTo>
                        <a:pt x="188" y="44"/>
                      </a:lnTo>
                      <a:lnTo>
                        <a:pt x="188" y="46"/>
                      </a:lnTo>
                      <a:lnTo>
                        <a:pt x="189" y="47"/>
                      </a:lnTo>
                      <a:lnTo>
                        <a:pt x="190" y="48"/>
                      </a:lnTo>
                      <a:lnTo>
                        <a:pt x="192" y="56"/>
                      </a:lnTo>
                      <a:lnTo>
                        <a:pt x="193" y="58"/>
                      </a:lnTo>
                      <a:lnTo>
                        <a:pt x="195" y="59"/>
                      </a:lnTo>
                      <a:lnTo>
                        <a:pt x="196" y="59"/>
                      </a:lnTo>
                      <a:lnTo>
                        <a:pt x="198" y="59"/>
                      </a:lnTo>
                      <a:lnTo>
                        <a:pt x="198" y="60"/>
                      </a:lnTo>
                      <a:lnTo>
                        <a:pt x="199" y="60"/>
                      </a:lnTo>
                      <a:lnTo>
                        <a:pt x="199" y="61"/>
                      </a:lnTo>
                      <a:lnTo>
                        <a:pt x="198" y="61"/>
                      </a:lnTo>
                      <a:lnTo>
                        <a:pt x="199" y="62"/>
                      </a:lnTo>
                      <a:lnTo>
                        <a:pt x="200" y="62"/>
                      </a:lnTo>
                      <a:lnTo>
                        <a:pt x="202" y="63"/>
                      </a:lnTo>
                      <a:lnTo>
                        <a:pt x="202" y="65"/>
                      </a:lnTo>
                      <a:lnTo>
                        <a:pt x="203" y="65"/>
                      </a:lnTo>
                      <a:lnTo>
                        <a:pt x="204" y="65"/>
                      </a:lnTo>
                      <a:lnTo>
                        <a:pt x="204" y="66"/>
                      </a:lnTo>
                      <a:lnTo>
                        <a:pt x="206" y="66"/>
                      </a:lnTo>
                      <a:lnTo>
                        <a:pt x="206" y="67"/>
                      </a:lnTo>
                      <a:lnTo>
                        <a:pt x="206" y="68"/>
                      </a:lnTo>
                      <a:lnTo>
                        <a:pt x="207" y="68"/>
                      </a:lnTo>
                      <a:lnTo>
                        <a:pt x="207" y="69"/>
                      </a:lnTo>
                      <a:lnTo>
                        <a:pt x="210" y="69"/>
                      </a:lnTo>
                      <a:lnTo>
                        <a:pt x="211" y="70"/>
                      </a:lnTo>
                      <a:lnTo>
                        <a:pt x="211" y="72"/>
                      </a:lnTo>
                      <a:lnTo>
                        <a:pt x="212" y="72"/>
                      </a:lnTo>
                      <a:lnTo>
                        <a:pt x="213" y="72"/>
                      </a:lnTo>
                      <a:lnTo>
                        <a:pt x="214" y="72"/>
                      </a:lnTo>
                      <a:lnTo>
                        <a:pt x="218" y="73"/>
                      </a:lnTo>
                      <a:lnTo>
                        <a:pt x="219" y="74"/>
                      </a:lnTo>
                      <a:lnTo>
                        <a:pt x="220" y="74"/>
                      </a:lnTo>
                      <a:lnTo>
                        <a:pt x="221" y="74"/>
                      </a:lnTo>
                      <a:lnTo>
                        <a:pt x="222" y="75"/>
                      </a:lnTo>
                      <a:lnTo>
                        <a:pt x="224" y="76"/>
                      </a:lnTo>
                      <a:lnTo>
                        <a:pt x="225" y="76"/>
                      </a:lnTo>
                      <a:lnTo>
                        <a:pt x="226" y="76"/>
                      </a:lnTo>
                      <a:lnTo>
                        <a:pt x="227" y="77"/>
                      </a:lnTo>
                      <a:lnTo>
                        <a:pt x="228" y="81"/>
                      </a:lnTo>
                      <a:lnTo>
                        <a:pt x="228" y="84"/>
                      </a:lnTo>
                      <a:lnTo>
                        <a:pt x="228" y="90"/>
                      </a:lnTo>
                      <a:lnTo>
                        <a:pt x="229" y="89"/>
                      </a:lnTo>
                      <a:lnTo>
                        <a:pt x="231" y="89"/>
                      </a:lnTo>
                      <a:lnTo>
                        <a:pt x="234" y="89"/>
                      </a:lnTo>
                      <a:lnTo>
                        <a:pt x="236" y="89"/>
                      </a:lnTo>
                      <a:lnTo>
                        <a:pt x="239" y="89"/>
                      </a:lnTo>
                      <a:lnTo>
                        <a:pt x="240" y="89"/>
                      </a:lnTo>
                      <a:lnTo>
                        <a:pt x="241" y="89"/>
                      </a:lnTo>
                      <a:lnTo>
                        <a:pt x="241" y="90"/>
                      </a:lnTo>
                      <a:lnTo>
                        <a:pt x="242" y="90"/>
                      </a:lnTo>
                      <a:lnTo>
                        <a:pt x="242" y="93"/>
                      </a:lnTo>
                      <a:lnTo>
                        <a:pt x="241" y="94"/>
                      </a:lnTo>
                      <a:lnTo>
                        <a:pt x="241" y="95"/>
                      </a:lnTo>
                      <a:lnTo>
                        <a:pt x="242" y="97"/>
                      </a:lnTo>
                      <a:lnTo>
                        <a:pt x="242" y="98"/>
                      </a:lnTo>
                      <a:lnTo>
                        <a:pt x="241" y="101"/>
                      </a:lnTo>
                      <a:lnTo>
                        <a:pt x="241" y="102"/>
                      </a:lnTo>
                      <a:lnTo>
                        <a:pt x="241" y="103"/>
                      </a:lnTo>
                      <a:lnTo>
                        <a:pt x="241" y="104"/>
                      </a:lnTo>
                      <a:lnTo>
                        <a:pt x="241" y="105"/>
                      </a:lnTo>
                      <a:lnTo>
                        <a:pt x="241" y="107"/>
                      </a:lnTo>
                      <a:lnTo>
                        <a:pt x="241" y="109"/>
                      </a:lnTo>
                      <a:lnTo>
                        <a:pt x="241" y="110"/>
                      </a:lnTo>
                      <a:lnTo>
                        <a:pt x="242" y="111"/>
                      </a:lnTo>
                      <a:lnTo>
                        <a:pt x="245" y="114"/>
                      </a:lnTo>
                      <a:lnTo>
                        <a:pt x="246" y="115"/>
                      </a:lnTo>
                      <a:lnTo>
                        <a:pt x="247" y="116"/>
                      </a:lnTo>
                      <a:lnTo>
                        <a:pt x="248" y="117"/>
                      </a:lnTo>
                      <a:lnTo>
                        <a:pt x="248" y="118"/>
                      </a:lnTo>
                      <a:lnTo>
                        <a:pt x="248" y="119"/>
                      </a:lnTo>
                      <a:lnTo>
                        <a:pt x="249" y="122"/>
                      </a:lnTo>
                      <a:lnTo>
                        <a:pt x="249" y="123"/>
                      </a:lnTo>
                      <a:lnTo>
                        <a:pt x="249" y="124"/>
                      </a:lnTo>
                      <a:lnTo>
                        <a:pt x="250" y="124"/>
                      </a:lnTo>
                      <a:lnTo>
                        <a:pt x="250" y="125"/>
                      </a:lnTo>
                      <a:lnTo>
                        <a:pt x="252" y="125"/>
                      </a:lnTo>
                      <a:lnTo>
                        <a:pt x="252" y="126"/>
                      </a:lnTo>
                      <a:lnTo>
                        <a:pt x="254" y="126"/>
                      </a:lnTo>
                      <a:lnTo>
                        <a:pt x="256" y="126"/>
                      </a:lnTo>
                      <a:lnTo>
                        <a:pt x="260" y="126"/>
                      </a:lnTo>
                      <a:lnTo>
                        <a:pt x="261" y="126"/>
                      </a:lnTo>
                      <a:lnTo>
                        <a:pt x="262" y="128"/>
                      </a:lnTo>
                      <a:lnTo>
                        <a:pt x="266" y="129"/>
                      </a:lnTo>
                      <a:lnTo>
                        <a:pt x="267" y="129"/>
                      </a:lnTo>
                      <a:lnTo>
                        <a:pt x="268" y="129"/>
                      </a:lnTo>
                      <a:lnTo>
                        <a:pt x="268" y="128"/>
                      </a:lnTo>
                      <a:lnTo>
                        <a:pt x="269" y="128"/>
                      </a:lnTo>
                      <a:lnTo>
                        <a:pt x="269" y="129"/>
                      </a:lnTo>
                      <a:lnTo>
                        <a:pt x="270" y="129"/>
                      </a:lnTo>
                      <a:lnTo>
                        <a:pt x="271" y="129"/>
                      </a:lnTo>
                      <a:lnTo>
                        <a:pt x="272" y="130"/>
                      </a:lnTo>
                      <a:lnTo>
                        <a:pt x="274" y="130"/>
                      </a:lnTo>
                      <a:lnTo>
                        <a:pt x="278" y="132"/>
                      </a:lnTo>
                      <a:lnTo>
                        <a:pt x="279" y="132"/>
                      </a:lnTo>
                      <a:lnTo>
                        <a:pt x="281" y="132"/>
                      </a:lnTo>
                      <a:lnTo>
                        <a:pt x="282" y="132"/>
                      </a:lnTo>
                      <a:lnTo>
                        <a:pt x="282" y="133"/>
                      </a:lnTo>
                      <a:lnTo>
                        <a:pt x="284" y="133"/>
                      </a:lnTo>
                      <a:lnTo>
                        <a:pt x="284" y="135"/>
                      </a:lnTo>
                      <a:lnTo>
                        <a:pt x="284" y="136"/>
                      </a:lnTo>
                      <a:lnTo>
                        <a:pt x="283" y="136"/>
                      </a:lnTo>
                      <a:lnTo>
                        <a:pt x="283" y="137"/>
                      </a:lnTo>
                      <a:lnTo>
                        <a:pt x="283" y="138"/>
                      </a:lnTo>
                      <a:lnTo>
                        <a:pt x="283" y="139"/>
                      </a:lnTo>
                      <a:lnTo>
                        <a:pt x="284" y="140"/>
                      </a:lnTo>
                      <a:lnTo>
                        <a:pt x="284" y="142"/>
                      </a:lnTo>
                      <a:lnTo>
                        <a:pt x="285" y="143"/>
                      </a:lnTo>
                      <a:lnTo>
                        <a:pt x="286" y="143"/>
                      </a:lnTo>
                      <a:lnTo>
                        <a:pt x="290" y="143"/>
                      </a:lnTo>
                      <a:lnTo>
                        <a:pt x="290" y="144"/>
                      </a:lnTo>
                      <a:lnTo>
                        <a:pt x="291" y="144"/>
                      </a:lnTo>
                      <a:lnTo>
                        <a:pt x="291" y="145"/>
                      </a:lnTo>
                      <a:lnTo>
                        <a:pt x="293" y="146"/>
                      </a:lnTo>
                      <a:lnTo>
                        <a:pt x="292" y="146"/>
                      </a:lnTo>
                      <a:lnTo>
                        <a:pt x="290" y="146"/>
                      </a:lnTo>
                      <a:lnTo>
                        <a:pt x="289" y="146"/>
                      </a:lnTo>
                      <a:lnTo>
                        <a:pt x="289" y="147"/>
                      </a:lnTo>
                      <a:lnTo>
                        <a:pt x="288" y="147"/>
                      </a:lnTo>
                      <a:lnTo>
                        <a:pt x="284" y="147"/>
                      </a:lnTo>
                      <a:lnTo>
                        <a:pt x="283" y="149"/>
                      </a:lnTo>
                      <a:lnTo>
                        <a:pt x="282" y="150"/>
                      </a:lnTo>
                      <a:lnTo>
                        <a:pt x="281" y="151"/>
                      </a:lnTo>
                      <a:lnTo>
                        <a:pt x="282" y="153"/>
                      </a:lnTo>
                      <a:lnTo>
                        <a:pt x="281" y="153"/>
                      </a:lnTo>
                      <a:lnTo>
                        <a:pt x="281" y="156"/>
                      </a:lnTo>
                      <a:lnTo>
                        <a:pt x="279" y="156"/>
                      </a:lnTo>
                      <a:lnTo>
                        <a:pt x="278" y="156"/>
                      </a:lnTo>
                      <a:lnTo>
                        <a:pt x="277" y="156"/>
                      </a:lnTo>
                      <a:lnTo>
                        <a:pt x="277" y="157"/>
                      </a:lnTo>
                      <a:lnTo>
                        <a:pt x="276" y="157"/>
                      </a:lnTo>
                      <a:lnTo>
                        <a:pt x="275" y="157"/>
                      </a:lnTo>
                      <a:lnTo>
                        <a:pt x="274" y="158"/>
                      </a:lnTo>
                      <a:lnTo>
                        <a:pt x="271" y="159"/>
                      </a:lnTo>
                      <a:lnTo>
                        <a:pt x="270" y="159"/>
                      </a:lnTo>
                      <a:lnTo>
                        <a:pt x="269" y="159"/>
                      </a:lnTo>
                      <a:lnTo>
                        <a:pt x="268" y="160"/>
                      </a:lnTo>
                      <a:lnTo>
                        <a:pt x="266" y="159"/>
                      </a:lnTo>
                      <a:lnTo>
                        <a:pt x="263" y="159"/>
                      </a:lnTo>
                      <a:lnTo>
                        <a:pt x="262" y="160"/>
                      </a:lnTo>
                      <a:lnTo>
                        <a:pt x="261" y="160"/>
                      </a:lnTo>
                      <a:lnTo>
                        <a:pt x="260" y="161"/>
                      </a:lnTo>
                      <a:lnTo>
                        <a:pt x="259" y="163"/>
                      </a:lnTo>
                      <a:lnTo>
                        <a:pt x="257" y="163"/>
                      </a:lnTo>
                      <a:lnTo>
                        <a:pt x="256" y="164"/>
                      </a:lnTo>
                      <a:lnTo>
                        <a:pt x="256" y="165"/>
                      </a:lnTo>
                      <a:lnTo>
                        <a:pt x="256" y="166"/>
                      </a:lnTo>
                      <a:lnTo>
                        <a:pt x="255" y="166"/>
                      </a:lnTo>
                      <a:lnTo>
                        <a:pt x="255" y="167"/>
                      </a:lnTo>
                      <a:lnTo>
                        <a:pt x="254" y="167"/>
                      </a:lnTo>
                      <a:lnTo>
                        <a:pt x="254" y="168"/>
                      </a:lnTo>
                      <a:lnTo>
                        <a:pt x="253" y="168"/>
                      </a:lnTo>
                      <a:lnTo>
                        <a:pt x="253" y="170"/>
                      </a:lnTo>
                      <a:lnTo>
                        <a:pt x="253" y="171"/>
                      </a:lnTo>
                      <a:lnTo>
                        <a:pt x="252" y="172"/>
                      </a:lnTo>
                      <a:lnTo>
                        <a:pt x="250" y="172"/>
                      </a:lnTo>
                      <a:lnTo>
                        <a:pt x="249" y="172"/>
                      </a:lnTo>
                      <a:lnTo>
                        <a:pt x="249" y="173"/>
                      </a:lnTo>
                      <a:lnTo>
                        <a:pt x="249" y="175"/>
                      </a:lnTo>
                      <a:lnTo>
                        <a:pt x="248" y="177"/>
                      </a:lnTo>
                      <a:lnTo>
                        <a:pt x="247" y="178"/>
                      </a:lnTo>
                      <a:lnTo>
                        <a:pt x="246" y="178"/>
                      </a:lnTo>
                      <a:lnTo>
                        <a:pt x="245" y="179"/>
                      </a:lnTo>
                      <a:lnTo>
                        <a:pt x="245" y="178"/>
                      </a:lnTo>
                      <a:lnTo>
                        <a:pt x="243" y="178"/>
                      </a:lnTo>
                      <a:lnTo>
                        <a:pt x="243" y="179"/>
                      </a:lnTo>
                      <a:lnTo>
                        <a:pt x="245" y="179"/>
                      </a:lnTo>
                      <a:lnTo>
                        <a:pt x="245" y="180"/>
                      </a:lnTo>
                      <a:lnTo>
                        <a:pt x="243" y="180"/>
                      </a:lnTo>
                      <a:lnTo>
                        <a:pt x="243" y="181"/>
                      </a:lnTo>
                      <a:lnTo>
                        <a:pt x="242" y="181"/>
                      </a:lnTo>
                      <a:lnTo>
                        <a:pt x="241" y="180"/>
                      </a:lnTo>
                      <a:lnTo>
                        <a:pt x="240" y="181"/>
                      </a:lnTo>
                      <a:lnTo>
                        <a:pt x="239" y="181"/>
                      </a:lnTo>
                      <a:lnTo>
                        <a:pt x="239" y="182"/>
                      </a:lnTo>
                      <a:lnTo>
                        <a:pt x="238" y="182"/>
                      </a:lnTo>
                      <a:lnTo>
                        <a:pt x="238" y="184"/>
                      </a:lnTo>
                      <a:lnTo>
                        <a:pt x="238" y="185"/>
                      </a:lnTo>
                      <a:lnTo>
                        <a:pt x="238" y="186"/>
                      </a:lnTo>
                      <a:lnTo>
                        <a:pt x="236" y="186"/>
                      </a:lnTo>
                      <a:lnTo>
                        <a:pt x="236" y="187"/>
                      </a:lnTo>
                      <a:lnTo>
                        <a:pt x="235" y="187"/>
                      </a:lnTo>
                      <a:lnTo>
                        <a:pt x="234" y="187"/>
                      </a:lnTo>
                      <a:lnTo>
                        <a:pt x="233" y="188"/>
                      </a:lnTo>
                      <a:lnTo>
                        <a:pt x="233" y="187"/>
                      </a:lnTo>
                      <a:lnTo>
                        <a:pt x="232" y="187"/>
                      </a:lnTo>
                      <a:lnTo>
                        <a:pt x="232" y="188"/>
                      </a:lnTo>
                      <a:lnTo>
                        <a:pt x="231" y="188"/>
                      </a:lnTo>
                      <a:lnTo>
                        <a:pt x="231" y="187"/>
                      </a:lnTo>
                      <a:lnTo>
                        <a:pt x="231" y="188"/>
                      </a:lnTo>
                      <a:lnTo>
                        <a:pt x="229" y="189"/>
                      </a:lnTo>
                      <a:lnTo>
                        <a:pt x="228" y="189"/>
                      </a:lnTo>
                      <a:lnTo>
                        <a:pt x="227" y="191"/>
                      </a:lnTo>
                      <a:lnTo>
                        <a:pt x="226" y="191"/>
                      </a:lnTo>
                      <a:lnTo>
                        <a:pt x="226" y="192"/>
                      </a:lnTo>
                      <a:lnTo>
                        <a:pt x="225" y="192"/>
                      </a:lnTo>
                      <a:lnTo>
                        <a:pt x="224" y="192"/>
                      </a:lnTo>
                      <a:lnTo>
                        <a:pt x="224" y="193"/>
                      </a:lnTo>
                      <a:lnTo>
                        <a:pt x="222" y="193"/>
                      </a:lnTo>
                      <a:lnTo>
                        <a:pt x="222" y="194"/>
                      </a:lnTo>
                      <a:lnTo>
                        <a:pt x="222" y="195"/>
                      </a:lnTo>
                      <a:lnTo>
                        <a:pt x="221" y="194"/>
                      </a:lnTo>
                      <a:lnTo>
                        <a:pt x="221" y="195"/>
                      </a:lnTo>
                      <a:lnTo>
                        <a:pt x="221" y="196"/>
                      </a:lnTo>
                      <a:lnTo>
                        <a:pt x="220" y="196"/>
                      </a:lnTo>
                      <a:lnTo>
                        <a:pt x="220" y="195"/>
                      </a:lnTo>
                      <a:lnTo>
                        <a:pt x="220" y="196"/>
                      </a:lnTo>
                      <a:lnTo>
                        <a:pt x="219" y="198"/>
                      </a:lnTo>
                      <a:lnTo>
                        <a:pt x="219" y="199"/>
                      </a:lnTo>
                      <a:lnTo>
                        <a:pt x="219" y="200"/>
                      </a:lnTo>
                      <a:lnTo>
                        <a:pt x="218" y="201"/>
                      </a:lnTo>
                      <a:lnTo>
                        <a:pt x="218" y="202"/>
                      </a:lnTo>
                      <a:lnTo>
                        <a:pt x="218" y="203"/>
                      </a:lnTo>
                      <a:lnTo>
                        <a:pt x="215" y="212"/>
                      </a:lnTo>
                      <a:lnTo>
                        <a:pt x="215" y="214"/>
                      </a:lnTo>
                      <a:lnTo>
                        <a:pt x="215" y="216"/>
                      </a:lnTo>
                      <a:lnTo>
                        <a:pt x="214" y="217"/>
                      </a:lnTo>
                      <a:lnTo>
                        <a:pt x="213" y="217"/>
                      </a:lnTo>
                      <a:lnTo>
                        <a:pt x="211" y="219"/>
                      </a:lnTo>
                      <a:lnTo>
                        <a:pt x="210" y="220"/>
                      </a:lnTo>
                      <a:lnTo>
                        <a:pt x="207" y="222"/>
                      </a:lnTo>
                      <a:lnTo>
                        <a:pt x="206" y="223"/>
                      </a:lnTo>
                      <a:lnTo>
                        <a:pt x="205" y="223"/>
                      </a:lnTo>
                      <a:lnTo>
                        <a:pt x="204" y="224"/>
                      </a:lnTo>
                      <a:lnTo>
                        <a:pt x="204" y="227"/>
                      </a:lnTo>
                      <a:lnTo>
                        <a:pt x="203" y="228"/>
                      </a:lnTo>
                      <a:lnTo>
                        <a:pt x="202" y="230"/>
                      </a:lnTo>
                      <a:lnTo>
                        <a:pt x="200" y="229"/>
                      </a:lnTo>
                      <a:lnTo>
                        <a:pt x="199" y="229"/>
                      </a:lnTo>
                      <a:lnTo>
                        <a:pt x="198" y="229"/>
                      </a:lnTo>
                      <a:lnTo>
                        <a:pt x="197" y="229"/>
                      </a:lnTo>
                      <a:lnTo>
                        <a:pt x="193" y="230"/>
                      </a:lnTo>
                      <a:lnTo>
                        <a:pt x="189" y="233"/>
                      </a:lnTo>
                      <a:lnTo>
                        <a:pt x="188" y="233"/>
                      </a:lnTo>
                      <a:lnTo>
                        <a:pt x="185" y="233"/>
                      </a:lnTo>
                      <a:lnTo>
                        <a:pt x="185" y="234"/>
                      </a:lnTo>
                      <a:lnTo>
                        <a:pt x="184" y="234"/>
                      </a:lnTo>
                      <a:lnTo>
                        <a:pt x="184" y="235"/>
                      </a:lnTo>
                      <a:lnTo>
                        <a:pt x="184" y="237"/>
                      </a:lnTo>
                      <a:lnTo>
                        <a:pt x="184" y="238"/>
                      </a:lnTo>
                      <a:lnTo>
                        <a:pt x="184" y="240"/>
                      </a:lnTo>
                      <a:lnTo>
                        <a:pt x="183" y="242"/>
                      </a:lnTo>
                      <a:lnTo>
                        <a:pt x="183" y="243"/>
                      </a:lnTo>
                      <a:lnTo>
                        <a:pt x="182" y="244"/>
                      </a:lnTo>
                      <a:lnTo>
                        <a:pt x="182" y="247"/>
                      </a:lnTo>
                      <a:lnTo>
                        <a:pt x="179" y="252"/>
                      </a:lnTo>
                      <a:lnTo>
                        <a:pt x="178" y="257"/>
                      </a:lnTo>
                      <a:lnTo>
                        <a:pt x="177" y="258"/>
                      </a:lnTo>
                      <a:lnTo>
                        <a:pt x="176" y="262"/>
                      </a:lnTo>
                      <a:lnTo>
                        <a:pt x="176" y="264"/>
                      </a:lnTo>
                      <a:lnTo>
                        <a:pt x="171" y="266"/>
                      </a:lnTo>
                      <a:lnTo>
                        <a:pt x="169" y="268"/>
                      </a:lnTo>
                      <a:lnTo>
                        <a:pt x="163" y="269"/>
                      </a:lnTo>
                      <a:lnTo>
                        <a:pt x="161" y="269"/>
                      </a:lnTo>
                      <a:lnTo>
                        <a:pt x="160" y="268"/>
                      </a:lnTo>
                      <a:lnTo>
                        <a:pt x="158" y="268"/>
                      </a:lnTo>
                      <a:lnTo>
                        <a:pt x="157" y="268"/>
                      </a:lnTo>
                      <a:lnTo>
                        <a:pt x="156" y="269"/>
                      </a:lnTo>
                      <a:lnTo>
                        <a:pt x="154" y="270"/>
                      </a:lnTo>
                      <a:lnTo>
                        <a:pt x="151" y="271"/>
                      </a:lnTo>
                      <a:lnTo>
                        <a:pt x="150" y="271"/>
                      </a:lnTo>
                      <a:lnTo>
                        <a:pt x="149" y="270"/>
                      </a:lnTo>
                      <a:lnTo>
                        <a:pt x="147" y="271"/>
                      </a:lnTo>
                      <a:lnTo>
                        <a:pt x="146" y="270"/>
                      </a:lnTo>
                      <a:lnTo>
                        <a:pt x="143" y="269"/>
                      </a:lnTo>
                      <a:lnTo>
                        <a:pt x="141" y="269"/>
                      </a:lnTo>
                      <a:lnTo>
                        <a:pt x="140" y="268"/>
                      </a:lnTo>
                      <a:lnTo>
                        <a:pt x="139" y="269"/>
                      </a:lnTo>
                      <a:lnTo>
                        <a:pt x="138" y="269"/>
                      </a:lnTo>
                      <a:lnTo>
                        <a:pt x="136" y="269"/>
                      </a:lnTo>
                      <a:lnTo>
                        <a:pt x="135" y="268"/>
                      </a:lnTo>
                      <a:lnTo>
                        <a:pt x="133" y="265"/>
                      </a:lnTo>
                      <a:lnTo>
                        <a:pt x="132" y="264"/>
                      </a:lnTo>
                      <a:lnTo>
                        <a:pt x="129" y="264"/>
                      </a:lnTo>
                      <a:lnTo>
                        <a:pt x="127" y="265"/>
                      </a:lnTo>
                      <a:lnTo>
                        <a:pt x="126" y="265"/>
                      </a:lnTo>
                      <a:lnTo>
                        <a:pt x="126" y="264"/>
                      </a:lnTo>
                      <a:lnTo>
                        <a:pt x="125" y="264"/>
                      </a:lnTo>
                      <a:lnTo>
                        <a:pt x="124" y="264"/>
                      </a:lnTo>
                      <a:lnTo>
                        <a:pt x="122" y="264"/>
                      </a:lnTo>
                      <a:lnTo>
                        <a:pt x="122" y="263"/>
                      </a:lnTo>
                      <a:lnTo>
                        <a:pt x="121" y="262"/>
                      </a:lnTo>
                      <a:lnTo>
                        <a:pt x="120" y="261"/>
                      </a:lnTo>
                      <a:lnTo>
                        <a:pt x="119" y="259"/>
                      </a:lnTo>
                      <a:lnTo>
                        <a:pt x="118" y="258"/>
                      </a:lnTo>
                      <a:lnTo>
                        <a:pt x="117" y="258"/>
                      </a:lnTo>
                      <a:lnTo>
                        <a:pt x="115" y="257"/>
                      </a:lnTo>
                      <a:lnTo>
                        <a:pt x="112" y="255"/>
                      </a:lnTo>
                      <a:lnTo>
                        <a:pt x="111" y="254"/>
                      </a:lnTo>
                      <a:lnTo>
                        <a:pt x="110" y="254"/>
                      </a:lnTo>
                      <a:lnTo>
                        <a:pt x="110" y="252"/>
                      </a:lnTo>
                      <a:lnTo>
                        <a:pt x="108" y="252"/>
                      </a:lnTo>
                      <a:lnTo>
                        <a:pt x="107" y="252"/>
                      </a:lnTo>
                      <a:lnTo>
                        <a:pt x="106" y="252"/>
                      </a:lnTo>
                      <a:lnTo>
                        <a:pt x="105" y="251"/>
                      </a:lnTo>
                      <a:lnTo>
                        <a:pt x="103" y="251"/>
                      </a:lnTo>
                      <a:lnTo>
                        <a:pt x="101" y="251"/>
                      </a:lnTo>
                      <a:lnTo>
                        <a:pt x="100" y="252"/>
                      </a:lnTo>
                      <a:lnTo>
                        <a:pt x="98" y="254"/>
                      </a:lnTo>
                      <a:lnTo>
                        <a:pt x="97" y="254"/>
                      </a:lnTo>
                      <a:lnTo>
                        <a:pt x="97" y="252"/>
                      </a:lnTo>
                      <a:lnTo>
                        <a:pt x="96" y="252"/>
                      </a:lnTo>
                      <a:lnTo>
                        <a:pt x="94" y="254"/>
                      </a:lnTo>
                      <a:lnTo>
                        <a:pt x="93" y="255"/>
                      </a:lnTo>
                      <a:lnTo>
                        <a:pt x="93" y="256"/>
                      </a:lnTo>
                      <a:lnTo>
                        <a:pt x="92" y="256"/>
                      </a:lnTo>
                      <a:lnTo>
                        <a:pt x="91" y="256"/>
                      </a:lnTo>
                      <a:lnTo>
                        <a:pt x="91" y="258"/>
                      </a:lnTo>
                      <a:lnTo>
                        <a:pt x="90" y="258"/>
                      </a:lnTo>
                      <a:lnTo>
                        <a:pt x="90" y="259"/>
                      </a:lnTo>
                      <a:lnTo>
                        <a:pt x="89" y="261"/>
                      </a:lnTo>
                      <a:lnTo>
                        <a:pt x="89" y="262"/>
                      </a:lnTo>
                      <a:lnTo>
                        <a:pt x="89" y="263"/>
                      </a:lnTo>
                      <a:lnTo>
                        <a:pt x="90" y="263"/>
                      </a:lnTo>
                      <a:lnTo>
                        <a:pt x="89" y="264"/>
                      </a:lnTo>
                      <a:lnTo>
                        <a:pt x="89" y="265"/>
                      </a:lnTo>
                      <a:lnTo>
                        <a:pt x="89" y="266"/>
                      </a:lnTo>
                      <a:lnTo>
                        <a:pt x="87" y="268"/>
                      </a:lnTo>
                      <a:lnTo>
                        <a:pt x="86" y="269"/>
                      </a:lnTo>
                      <a:lnTo>
                        <a:pt x="86" y="270"/>
                      </a:lnTo>
                      <a:lnTo>
                        <a:pt x="87" y="270"/>
                      </a:lnTo>
                      <a:lnTo>
                        <a:pt x="87" y="271"/>
                      </a:lnTo>
                      <a:lnTo>
                        <a:pt x="86" y="271"/>
                      </a:lnTo>
                      <a:lnTo>
                        <a:pt x="86" y="272"/>
                      </a:lnTo>
                      <a:lnTo>
                        <a:pt x="85" y="273"/>
                      </a:lnTo>
                      <a:lnTo>
                        <a:pt x="86" y="273"/>
                      </a:lnTo>
                      <a:lnTo>
                        <a:pt x="86" y="275"/>
                      </a:lnTo>
                      <a:lnTo>
                        <a:pt x="86" y="276"/>
                      </a:lnTo>
                      <a:lnTo>
                        <a:pt x="85" y="277"/>
                      </a:lnTo>
                      <a:lnTo>
                        <a:pt x="84" y="277"/>
                      </a:lnTo>
                      <a:lnTo>
                        <a:pt x="84" y="278"/>
                      </a:lnTo>
                      <a:lnTo>
                        <a:pt x="83" y="280"/>
                      </a:lnTo>
                      <a:lnTo>
                        <a:pt x="83" y="282"/>
                      </a:lnTo>
                      <a:lnTo>
                        <a:pt x="82" y="282"/>
                      </a:lnTo>
                      <a:lnTo>
                        <a:pt x="80" y="283"/>
                      </a:lnTo>
                      <a:lnTo>
                        <a:pt x="80" y="284"/>
                      </a:lnTo>
                      <a:lnTo>
                        <a:pt x="79" y="284"/>
                      </a:lnTo>
                      <a:lnTo>
                        <a:pt x="78" y="284"/>
                      </a:lnTo>
                      <a:lnTo>
                        <a:pt x="77" y="284"/>
                      </a:lnTo>
                      <a:lnTo>
                        <a:pt x="77" y="285"/>
                      </a:lnTo>
                      <a:lnTo>
                        <a:pt x="76" y="286"/>
                      </a:lnTo>
                      <a:lnTo>
                        <a:pt x="74" y="287"/>
                      </a:lnTo>
                      <a:lnTo>
                        <a:pt x="74" y="289"/>
                      </a:lnTo>
                      <a:lnTo>
                        <a:pt x="72" y="289"/>
                      </a:lnTo>
                      <a:lnTo>
                        <a:pt x="71" y="289"/>
                      </a:lnTo>
                      <a:lnTo>
                        <a:pt x="71" y="290"/>
                      </a:lnTo>
                      <a:lnTo>
                        <a:pt x="70" y="291"/>
                      </a:lnTo>
                      <a:lnTo>
                        <a:pt x="69" y="292"/>
                      </a:lnTo>
                      <a:lnTo>
                        <a:pt x="68" y="294"/>
                      </a:lnTo>
                      <a:lnTo>
                        <a:pt x="67" y="297"/>
                      </a:lnTo>
                      <a:lnTo>
                        <a:pt x="65" y="298"/>
                      </a:lnTo>
                      <a:lnTo>
                        <a:pt x="63" y="299"/>
                      </a:lnTo>
                      <a:lnTo>
                        <a:pt x="62" y="300"/>
                      </a:lnTo>
                      <a:lnTo>
                        <a:pt x="58" y="300"/>
                      </a:lnTo>
                      <a:lnTo>
                        <a:pt x="57" y="300"/>
                      </a:lnTo>
                      <a:lnTo>
                        <a:pt x="56" y="300"/>
                      </a:lnTo>
                      <a:lnTo>
                        <a:pt x="56" y="301"/>
                      </a:lnTo>
                      <a:lnTo>
                        <a:pt x="56" y="303"/>
                      </a:lnTo>
                      <a:lnTo>
                        <a:pt x="56" y="304"/>
                      </a:lnTo>
                      <a:lnTo>
                        <a:pt x="56" y="305"/>
                      </a:lnTo>
                      <a:lnTo>
                        <a:pt x="55" y="305"/>
                      </a:lnTo>
                      <a:lnTo>
                        <a:pt x="54" y="307"/>
                      </a:lnTo>
                      <a:lnTo>
                        <a:pt x="53" y="307"/>
                      </a:lnTo>
                      <a:lnTo>
                        <a:pt x="50" y="306"/>
                      </a:lnTo>
                      <a:lnTo>
                        <a:pt x="48" y="306"/>
                      </a:lnTo>
                      <a:lnTo>
                        <a:pt x="46" y="306"/>
                      </a:lnTo>
                      <a:lnTo>
                        <a:pt x="44" y="306"/>
                      </a:lnTo>
                      <a:lnTo>
                        <a:pt x="41" y="306"/>
                      </a:lnTo>
                      <a:lnTo>
                        <a:pt x="40" y="306"/>
                      </a:lnTo>
                      <a:lnTo>
                        <a:pt x="37" y="307"/>
                      </a:lnTo>
                      <a:lnTo>
                        <a:pt x="36" y="307"/>
                      </a:lnTo>
                      <a:lnTo>
                        <a:pt x="32" y="306"/>
                      </a:lnTo>
                      <a:lnTo>
                        <a:pt x="30" y="305"/>
                      </a:lnTo>
                      <a:lnTo>
                        <a:pt x="29" y="305"/>
                      </a:lnTo>
                      <a:lnTo>
                        <a:pt x="27" y="305"/>
                      </a:lnTo>
                      <a:lnTo>
                        <a:pt x="25" y="306"/>
                      </a:lnTo>
                      <a:lnTo>
                        <a:pt x="23" y="307"/>
                      </a:lnTo>
                      <a:lnTo>
                        <a:pt x="22" y="308"/>
                      </a:lnTo>
                      <a:lnTo>
                        <a:pt x="22" y="307"/>
                      </a:lnTo>
                      <a:lnTo>
                        <a:pt x="22" y="306"/>
                      </a:lnTo>
                      <a:lnTo>
                        <a:pt x="21" y="306"/>
                      </a:lnTo>
                      <a:lnTo>
                        <a:pt x="21" y="305"/>
                      </a:lnTo>
                      <a:lnTo>
                        <a:pt x="20" y="305"/>
                      </a:lnTo>
                      <a:lnTo>
                        <a:pt x="20" y="304"/>
                      </a:lnTo>
                      <a:lnTo>
                        <a:pt x="20" y="301"/>
                      </a:lnTo>
                      <a:lnTo>
                        <a:pt x="20" y="300"/>
                      </a:lnTo>
                      <a:lnTo>
                        <a:pt x="20" y="298"/>
                      </a:lnTo>
                      <a:lnTo>
                        <a:pt x="21" y="298"/>
                      </a:lnTo>
                      <a:lnTo>
                        <a:pt x="20" y="297"/>
                      </a:lnTo>
                      <a:lnTo>
                        <a:pt x="20" y="296"/>
                      </a:lnTo>
                      <a:lnTo>
                        <a:pt x="20" y="294"/>
                      </a:lnTo>
                      <a:lnTo>
                        <a:pt x="20" y="292"/>
                      </a:lnTo>
                      <a:lnTo>
                        <a:pt x="21" y="291"/>
                      </a:lnTo>
                      <a:lnTo>
                        <a:pt x="22" y="289"/>
                      </a:lnTo>
                      <a:lnTo>
                        <a:pt x="25" y="286"/>
                      </a:lnTo>
                      <a:lnTo>
                        <a:pt x="25" y="285"/>
                      </a:lnTo>
                      <a:lnTo>
                        <a:pt x="26" y="284"/>
                      </a:lnTo>
                      <a:lnTo>
                        <a:pt x="27" y="282"/>
                      </a:lnTo>
                      <a:lnTo>
                        <a:pt x="26" y="279"/>
                      </a:lnTo>
                      <a:lnTo>
                        <a:pt x="26" y="276"/>
                      </a:lnTo>
                      <a:lnTo>
                        <a:pt x="26" y="273"/>
                      </a:lnTo>
                      <a:lnTo>
                        <a:pt x="25" y="271"/>
                      </a:lnTo>
                      <a:lnTo>
                        <a:pt x="23" y="271"/>
                      </a:lnTo>
                      <a:lnTo>
                        <a:pt x="23" y="270"/>
                      </a:lnTo>
                      <a:lnTo>
                        <a:pt x="23" y="268"/>
                      </a:lnTo>
                      <a:lnTo>
                        <a:pt x="22" y="268"/>
                      </a:lnTo>
                      <a:lnTo>
                        <a:pt x="22" y="266"/>
                      </a:lnTo>
                      <a:lnTo>
                        <a:pt x="21" y="266"/>
                      </a:lnTo>
                      <a:lnTo>
                        <a:pt x="21" y="265"/>
                      </a:lnTo>
                      <a:lnTo>
                        <a:pt x="21" y="264"/>
                      </a:lnTo>
                      <a:lnTo>
                        <a:pt x="21" y="263"/>
                      </a:lnTo>
                      <a:lnTo>
                        <a:pt x="21" y="262"/>
                      </a:lnTo>
                      <a:lnTo>
                        <a:pt x="20" y="261"/>
                      </a:lnTo>
                      <a:lnTo>
                        <a:pt x="20" y="259"/>
                      </a:lnTo>
                      <a:lnTo>
                        <a:pt x="21" y="258"/>
                      </a:lnTo>
                      <a:lnTo>
                        <a:pt x="20" y="258"/>
                      </a:lnTo>
                      <a:lnTo>
                        <a:pt x="20" y="257"/>
                      </a:lnTo>
                      <a:lnTo>
                        <a:pt x="19" y="257"/>
                      </a:lnTo>
                      <a:lnTo>
                        <a:pt x="19" y="256"/>
                      </a:lnTo>
                      <a:lnTo>
                        <a:pt x="18" y="256"/>
                      </a:lnTo>
                      <a:lnTo>
                        <a:pt x="18" y="255"/>
                      </a:lnTo>
                      <a:lnTo>
                        <a:pt x="18" y="254"/>
                      </a:lnTo>
                      <a:lnTo>
                        <a:pt x="16" y="254"/>
                      </a:lnTo>
                      <a:lnTo>
                        <a:pt x="16" y="252"/>
                      </a:lnTo>
                      <a:lnTo>
                        <a:pt x="16" y="251"/>
                      </a:lnTo>
                      <a:lnTo>
                        <a:pt x="15" y="251"/>
                      </a:lnTo>
                      <a:lnTo>
                        <a:pt x="15" y="250"/>
                      </a:lnTo>
                      <a:lnTo>
                        <a:pt x="14" y="250"/>
                      </a:lnTo>
                      <a:lnTo>
                        <a:pt x="14" y="249"/>
                      </a:lnTo>
                      <a:lnTo>
                        <a:pt x="14" y="248"/>
                      </a:lnTo>
                      <a:lnTo>
                        <a:pt x="13" y="247"/>
                      </a:lnTo>
                      <a:lnTo>
                        <a:pt x="13" y="244"/>
                      </a:lnTo>
                      <a:lnTo>
                        <a:pt x="12" y="243"/>
                      </a:lnTo>
                      <a:lnTo>
                        <a:pt x="8" y="241"/>
                      </a:lnTo>
                      <a:lnTo>
                        <a:pt x="6" y="238"/>
                      </a:lnTo>
                      <a:lnTo>
                        <a:pt x="5" y="238"/>
                      </a:lnTo>
                      <a:lnTo>
                        <a:pt x="4" y="238"/>
                      </a:lnTo>
                      <a:lnTo>
                        <a:pt x="4" y="237"/>
                      </a:lnTo>
                      <a:lnTo>
                        <a:pt x="1" y="236"/>
                      </a:lnTo>
                      <a:lnTo>
                        <a:pt x="1" y="235"/>
                      </a:lnTo>
                      <a:lnTo>
                        <a:pt x="0" y="235"/>
                      </a:lnTo>
                      <a:lnTo>
                        <a:pt x="0" y="234"/>
                      </a:lnTo>
                      <a:lnTo>
                        <a:pt x="0" y="228"/>
                      </a:lnTo>
                      <a:lnTo>
                        <a:pt x="0" y="222"/>
                      </a:lnTo>
                      <a:lnTo>
                        <a:pt x="0" y="216"/>
                      </a:lnTo>
                      <a:lnTo>
                        <a:pt x="0" y="210"/>
                      </a:lnTo>
                      <a:lnTo>
                        <a:pt x="0" y="205"/>
                      </a:lnTo>
                      <a:lnTo>
                        <a:pt x="0" y="203"/>
                      </a:lnTo>
                      <a:lnTo>
                        <a:pt x="0" y="199"/>
                      </a:lnTo>
                      <a:lnTo>
                        <a:pt x="0" y="193"/>
                      </a:lnTo>
                      <a:lnTo>
                        <a:pt x="0" y="187"/>
                      </a:lnTo>
                      <a:lnTo>
                        <a:pt x="0" y="185"/>
                      </a:lnTo>
                      <a:lnTo>
                        <a:pt x="0" y="181"/>
                      </a:lnTo>
                      <a:lnTo>
                        <a:pt x="0" y="175"/>
                      </a:lnTo>
                      <a:lnTo>
                        <a:pt x="0" y="170"/>
                      </a:lnTo>
                      <a:lnTo>
                        <a:pt x="0" y="164"/>
                      </a:lnTo>
                      <a:lnTo>
                        <a:pt x="0" y="159"/>
                      </a:lnTo>
                      <a:lnTo>
                        <a:pt x="0" y="153"/>
                      </a:lnTo>
                      <a:lnTo>
                        <a:pt x="0" y="149"/>
                      </a:lnTo>
                      <a:lnTo>
                        <a:pt x="0" y="143"/>
                      </a:lnTo>
                      <a:lnTo>
                        <a:pt x="0" y="140"/>
                      </a:lnTo>
                      <a:lnTo>
                        <a:pt x="7" y="140"/>
                      </a:lnTo>
                      <a:lnTo>
                        <a:pt x="14" y="140"/>
                      </a:lnTo>
                      <a:lnTo>
                        <a:pt x="22" y="140"/>
                      </a:lnTo>
                      <a:lnTo>
                        <a:pt x="29" y="140"/>
                      </a:lnTo>
                      <a:lnTo>
                        <a:pt x="30" y="140"/>
                      </a:lnTo>
                      <a:lnTo>
                        <a:pt x="32" y="139"/>
                      </a:lnTo>
                      <a:lnTo>
                        <a:pt x="32" y="138"/>
                      </a:lnTo>
                      <a:lnTo>
                        <a:pt x="32" y="136"/>
                      </a:lnTo>
                      <a:lnTo>
                        <a:pt x="32" y="133"/>
                      </a:lnTo>
                      <a:lnTo>
                        <a:pt x="32" y="132"/>
                      </a:lnTo>
                      <a:lnTo>
                        <a:pt x="32" y="130"/>
                      </a:lnTo>
                      <a:lnTo>
                        <a:pt x="32" y="128"/>
                      </a:lnTo>
                      <a:lnTo>
                        <a:pt x="32" y="126"/>
                      </a:lnTo>
                      <a:lnTo>
                        <a:pt x="32" y="124"/>
                      </a:lnTo>
                      <a:lnTo>
                        <a:pt x="32" y="122"/>
                      </a:lnTo>
                      <a:lnTo>
                        <a:pt x="32" y="121"/>
                      </a:lnTo>
                      <a:lnTo>
                        <a:pt x="32" y="118"/>
                      </a:lnTo>
                      <a:lnTo>
                        <a:pt x="32" y="116"/>
                      </a:lnTo>
                      <a:lnTo>
                        <a:pt x="32" y="115"/>
                      </a:lnTo>
                      <a:lnTo>
                        <a:pt x="32" y="112"/>
                      </a:lnTo>
                      <a:lnTo>
                        <a:pt x="32" y="110"/>
                      </a:lnTo>
                      <a:lnTo>
                        <a:pt x="32" y="109"/>
                      </a:lnTo>
                      <a:lnTo>
                        <a:pt x="32" y="107"/>
                      </a:lnTo>
                      <a:lnTo>
                        <a:pt x="32" y="103"/>
                      </a:lnTo>
                      <a:lnTo>
                        <a:pt x="32" y="98"/>
                      </a:lnTo>
                      <a:lnTo>
                        <a:pt x="32" y="94"/>
                      </a:lnTo>
                      <a:lnTo>
                        <a:pt x="32" y="90"/>
                      </a:lnTo>
                      <a:lnTo>
                        <a:pt x="30" y="86"/>
                      </a:lnTo>
                      <a:lnTo>
                        <a:pt x="30" y="82"/>
                      </a:lnTo>
                      <a:lnTo>
                        <a:pt x="30" y="77"/>
                      </a:lnTo>
                      <a:lnTo>
                        <a:pt x="30" y="74"/>
                      </a:lnTo>
                      <a:lnTo>
                        <a:pt x="30" y="69"/>
                      </a:lnTo>
                      <a:lnTo>
                        <a:pt x="30" y="65"/>
                      </a:lnTo>
                      <a:lnTo>
                        <a:pt x="30" y="61"/>
                      </a:lnTo>
                      <a:lnTo>
                        <a:pt x="30" y="56"/>
                      </a:lnTo>
                      <a:lnTo>
                        <a:pt x="30" y="53"/>
                      </a:lnTo>
                      <a:lnTo>
                        <a:pt x="30" y="48"/>
                      </a:lnTo>
                      <a:lnTo>
                        <a:pt x="30" y="46"/>
                      </a:lnTo>
                      <a:lnTo>
                        <a:pt x="30" y="45"/>
                      </a:lnTo>
                      <a:lnTo>
                        <a:pt x="30" y="40"/>
                      </a:lnTo>
                      <a:lnTo>
                        <a:pt x="30" y="39"/>
                      </a:lnTo>
                      <a:lnTo>
                        <a:pt x="30" y="38"/>
                      </a:lnTo>
                      <a:lnTo>
                        <a:pt x="30" y="37"/>
                      </a:lnTo>
                      <a:lnTo>
                        <a:pt x="30" y="34"/>
                      </a:lnTo>
                      <a:lnTo>
                        <a:pt x="30" y="33"/>
                      </a:lnTo>
                      <a:lnTo>
                        <a:pt x="30" y="32"/>
                      </a:lnTo>
                      <a:lnTo>
                        <a:pt x="30" y="31"/>
                      </a:lnTo>
                      <a:lnTo>
                        <a:pt x="30" y="30"/>
                      </a:lnTo>
                      <a:lnTo>
                        <a:pt x="30" y="28"/>
                      </a:lnTo>
                      <a:lnTo>
                        <a:pt x="30" y="27"/>
                      </a:lnTo>
                      <a:lnTo>
                        <a:pt x="30" y="25"/>
                      </a:lnTo>
                      <a:lnTo>
                        <a:pt x="30" y="24"/>
                      </a:lnTo>
                      <a:lnTo>
                        <a:pt x="30" y="23"/>
                      </a:lnTo>
                      <a:lnTo>
                        <a:pt x="30" y="21"/>
                      </a:lnTo>
                      <a:lnTo>
                        <a:pt x="30" y="20"/>
                      </a:lnTo>
                      <a:lnTo>
                        <a:pt x="30" y="19"/>
                      </a:lnTo>
                      <a:lnTo>
                        <a:pt x="30" y="18"/>
                      </a:lnTo>
                      <a:lnTo>
                        <a:pt x="32" y="18"/>
                      </a:lnTo>
                      <a:lnTo>
                        <a:pt x="33" y="18"/>
                      </a:lnTo>
                      <a:lnTo>
                        <a:pt x="34" y="18"/>
                      </a:lnTo>
                      <a:lnTo>
                        <a:pt x="36" y="18"/>
                      </a:lnTo>
                      <a:lnTo>
                        <a:pt x="37" y="18"/>
                      </a:lnTo>
                      <a:lnTo>
                        <a:pt x="40" y="18"/>
                      </a:lnTo>
                      <a:lnTo>
                        <a:pt x="41" y="17"/>
                      </a:lnTo>
                      <a:lnTo>
                        <a:pt x="42" y="17"/>
                      </a:lnTo>
                      <a:lnTo>
                        <a:pt x="43" y="17"/>
                      </a:lnTo>
                      <a:lnTo>
                        <a:pt x="46" y="17"/>
                      </a:lnTo>
                      <a:lnTo>
                        <a:pt x="47" y="17"/>
                      </a:lnTo>
                      <a:lnTo>
                        <a:pt x="48" y="17"/>
                      </a:lnTo>
                      <a:lnTo>
                        <a:pt x="49" y="17"/>
                      </a:lnTo>
                      <a:lnTo>
                        <a:pt x="51" y="16"/>
                      </a:lnTo>
                      <a:lnTo>
                        <a:pt x="54" y="16"/>
                      </a:lnTo>
                      <a:lnTo>
                        <a:pt x="56" y="16"/>
                      </a:lnTo>
                      <a:lnTo>
                        <a:pt x="60" y="14"/>
                      </a:lnTo>
                      <a:lnTo>
                        <a:pt x="62" y="14"/>
                      </a:lnTo>
                      <a:lnTo>
                        <a:pt x="64" y="13"/>
                      </a:lnTo>
                      <a:lnTo>
                        <a:pt x="68" y="13"/>
                      </a:lnTo>
                      <a:lnTo>
                        <a:pt x="70" y="12"/>
                      </a:lnTo>
                      <a:lnTo>
                        <a:pt x="72" y="12"/>
                      </a:lnTo>
                      <a:lnTo>
                        <a:pt x="75" y="11"/>
                      </a:lnTo>
                      <a:lnTo>
                        <a:pt x="78" y="11"/>
                      </a:lnTo>
                      <a:lnTo>
                        <a:pt x="80" y="11"/>
                      </a:lnTo>
                      <a:lnTo>
                        <a:pt x="83" y="10"/>
                      </a:lnTo>
                      <a:lnTo>
                        <a:pt x="85" y="10"/>
                      </a:lnTo>
                      <a:lnTo>
                        <a:pt x="89" y="9"/>
                      </a:lnTo>
                      <a:lnTo>
                        <a:pt x="91" y="9"/>
                      </a:lnTo>
                      <a:lnTo>
                        <a:pt x="93" y="7"/>
                      </a:lnTo>
                      <a:lnTo>
                        <a:pt x="98" y="7"/>
                      </a:lnTo>
                      <a:lnTo>
                        <a:pt x="100" y="7"/>
                      </a:lnTo>
                      <a:lnTo>
                        <a:pt x="103" y="7"/>
                      </a:lnTo>
                      <a:lnTo>
                        <a:pt x="104" y="7"/>
                      </a:lnTo>
                      <a:lnTo>
                        <a:pt x="104" y="9"/>
                      </a:lnTo>
                      <a:lnTo>
                        <a:pt x="105" y="9"/>
                      </a:lnTo>
                      <a:lnTo>
                        <a:pt x="105" y="10"/>
                      </a:lnTo>
                      <a:lnTo>
                        <a:pt x="106" y="11"/>
                      </a:lnTo>
                      <a:lnTo>
                        <a:pt x="106" y="12"/>
                      </a:lnTo>
                      <a:lnTo>
                        <a:pt x="107" y="12"/>
                      </a:lnTo>
                      <a:lnTo>
                        <a:pt x="107" y="13"/>
                      </a:lnTo>
                      <a:lnTo>
                        <a:pt x="108" y="13"/>
                      </a:lnTo>
                      <a:lnTo>
                        <a:pt x="108" y="14"/>
                      </a:lnTo>
                      <a:lnTo>
                        <a:pt x="110" y="14"/>
                      </a:lnTo>
                      <a:lnTo>
                        <a:pt x="111" y="16"/>
                      </a:lnTo>
                      <a:lnTo>
                        <a:pt x="111" y="17"/>
                      </a:lnTo>
                      <a:lnTo>
                        <a:pt x="112" y="18"/>
                      </a:lnTo>
                      <a:lnTo>
                        <a:pt x="112" y="19"/>
                      </a:lnTo>
                      <a:lnTo>
                        <a:pt x="112" y="20"/>
                      </a:lnTo>
                      <a:lnTo>
                        <a:pt x="112" y="21"/>
                      </a:lnTo>
                      <a:lnTo>
                        <a:pt x="112" y="23"/>
                      </a:lnTo>
                      <a:lnTo>
                        <a:pt x="113" y="23"/>
                      </a:lnTo>
                      <a:lnTo>
                        <a:pt x="114" y="23"/>
                      </a:lnTo>
                      <a:lnTo>
                        <a:pt x="115" y="23"/>
                      </a:lnTo>
                      <a:lnTo>
                        <a:pt x="115" y="21"/>
                      </a:lnTo>
                      <a:lnTo>
                        <a:pt x="117" y="21"/>
                      </a:lnTo>
                      <a:lnTo>
                        <a:pt x="120" y="18"/>
                      </a:lnTo>
                      <a:lnTo>
                        <a:pt x="120" y="17"/>
                      </a:lnTo>
                      <a:lnTo>
                        <a:pt x="121" y="17"/>
                      </a:lnTo>
                      <a:lnTo>
                        <a:pt x="121" y="16"/>
                      </a:lnTo>
                      <a:lnTo>
                        <a:pt x="122" y="16"/>
                      </a:lnTo>
                      <a:lnTo>
                        <a:pt x="122" y="14"/>
                      </a:lnTo>
                      <a:lnTo>
                        <a:pt x="124" y="13"/>
                      </a:lnTo>
                      <a:lnTo>
                        <a:pt x="125" y="13"/>
                      </a:lnTo>
                      <a:lnTo>
                        <a:pt x="126" y="12"/>
                      </a:lnTo>
                      <a:lnTo>
                        <a:pt x="127" y="12"/>
                      </a:lnTo>
                      <a:lnTo>
                        <a:pt x="127" y="11"/>
                      </a:lnTo>
                      <a:lnTo>
                        <a:pt x="128" y="11"/>
                      </a:lnTo>
                      <a:lnTo>
                        <a:pt x="129" y="11"/>
                      </a:lnTo>
                      <a:lnTo>
                        <a:pt x="129" y="10"/>
                      </a:lnTo>
                      <a:lnTo>
                        <a:pt x="132" y="9"/>
                      </a:lnTo>
                      <a:lnTo>
                        <a:pt x="133" y="7"/>
                      </a:lnTo>
                      <a:lnTo>
                        <a:pt x="134" y="7"/>
                      </a:lnTo>
                      <a:lnTo>
                        <a:pt x="135" y="7"/>
                      </a:lnTo>
                      <a:lnTo>
                        <a:pt x="136" y="6"/>
                      </a:lnTo>
                      <a:lnTo>
                        <a:pt x="136" y="5"/>
                      </a:lnTo>
                      <a:lnTo>
                        <a:pt x="138" y="5"/>
                      </a:lnTo>
                      <a:lnTo>
                        <a:pt x="139" y="5"/>
                      </a:lnTo>
                      <a:lnTo>
                        <a:pt x="140" y="6"/>
                      </a:lnTo>
                      <a:lnTo>
                        <a:pt x="140" y="7"/>
                      </a:lnTo>
                      <a:lnTo>
                        <a:pt x="141" y="7"/>
                      </a:lnTo>
                      <a:lnTo>
                        <a:pt x="141" y="9"/>
                      </a:lnTo>
                      <a:lnTo>
                        <a:pt x="142" y="9"/>
                      </a:lnTo>
                      <a:lnTo>
                        <a:pt x="143" y="9"/>
                      </a:lnTo>
                      <a:lnTo>
                        <a:pt x="144" y="9"/>
                      </a:lnTo>
                      <a:lnTo>
                        <a:pt x="144" y="7"/>
                      </a:lnTo>
                      <a:lnTo>
                        <a:pt x="146" y="6"/>
                      </a:lnTo>
                      <a:lnTo>
                        <a:pt x="147" y="5"/>
                      </a:lnTo>
                      <a:lnTo>
                        <a:pt x="148" y="5"/>
                      </a:lnTo>
                      <a:lnTo>
                        <a:pt x="148" y="4"/>
                      </a:lnTo>
                      <a:lnTo>
                        <a:pt x="149" y="4"/>
                      </a:lnTo>
                      <a:lnTo>
                        <a:pt x="149" y="3"/>
                      </a:lnTo>
                      <a:lnTo>
                        <a:pt x="150" y="3"/>
                      </a:lnTo>
                      <a:lnTo>
                        <a:pt x="151" y="2"/>
                      </a:lnTo>
                      <a:lnTo>
                        <a:pt x="153" y="2"/>
                      </a:lnTo>
                      <a:lnTo>
                        <a:pt x="155" y="0"/>
                      </a:lnTo>
                      <a:lnTo>
                        <a:pt x="156" y="0"/>
                      </a:lnTo>
                      <a:lnTo>
                        <a:pt x="156" y="2"/>
                      </a:lnTo>
                      <a:lnTo>
                        <a:pt x="157" y="0"/>
                      </a:lnTo>
                      <a:lnTo>
                        <a:pt x="157" y="2"/>
                      </a:lnTo>
                      <a:lnTo>
                        <a:pt x="158" y="0"/>
                      </a:lnTo>
                      <a:lnTo>
                        <a:pt x="158" y="2"/>
                      </a:lnTo>
                      <a:lnTo>
                        <a:pt x="160" y="2"/>
                      </a:lnTo>
                      <a:lnTo>
                        <a:pt x="161" y="0"/>
                      </a:lnTo>
                      <a:lnTo>
                        <a:pt x="162" y="0"/>
                      </a:lnTo>
                      <a:lnTo>
                        <a:pt x="163" y="0"/>
                      </a:lnTo>
                      <a:lnTo>
                        <a:pt x="165"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0" name="Freeform 77">
                  <a:extLst>
                    <a:ext uri="{FF2B5EF4-FFF2-40B4-BE49-F238E27FC236}">
                      <a16:creationId xmlns:a16="http://schemas.microsoft.com/office/drawing/2014/main" id="{FA692BD4-EF20-DA31-F5FF-A3640C2218B6}"/>
                    </a:ext>
                  </a:extLst>
                </p:cNvPr>
                <p:cNvSpPr>
                  <a:spLocks/>
                </p:cNvSpPr>
                <p:nvPr/>
              </p:nvSpPr>
              <p:spPr bwMode="auto">
                <a:xfrm>
                  <a:off x="6721288" y="3418928"/>
                  <a:ext cx="447838" cy="302885"/>
                </a:xfrm>
                <a:custGeom>
                  <a:avLst/>
                  <a:gdLst>
                    <a:gd name="T0" fmla="*/ 294 w 414"/>
                    <a:gd name="T1" fmla="*/ 51 h 280"/>
                    <a:gd name="T2" fmla="*/ 291 w 414"/>
                    <a:gd name="T3" fmla="*/ 69 h 280"/>
                    <a:gd name="T4" fmla="*/ 302 w 414"/>
                    <a:gd name="T5" fmla="*/ 74 h 280"/>
                    <a:gd name="T6" fmla="*/ 311 w 414"/>
                    <a:gd name="T7" fmla="*/ 88 h 280"/>
                    <a:gd name="T8" fmla="*/ 330 w 414"/>
                    <a:gd name="T9" fmla="*/ 91 h 280"/>
                    <a:gd name="T10" fmla="*/ 345 w 414"/>
                    <a:gd name="T11" fmla="*/ 104 h 280"/>
                    <a:gd name="T12" fmla="*/ 349 w 414"/>
                    <a:gd name="T13" fmla="*/ 118 h 280"/>
                    <a:gd name="T14" fmla="*/ 368 w 414"/>
                    <a:gd name="T15" fmla="*/ 128 h 280"/>
                    <a:gd name="T16" fmla="*/ 380 w 414"/>
                    <a:gd name="T17" fmla="*/ 142 h 280"/>
                    <a:gd name="T18" fmla="*/ 384 w 414"/>
                    <a:gd name="T19" fmla="*/ 153 h 280"/>
                    <a:gd name="T20" fmla="*/ 394 w 414"/>
                    <a:gd name="T21" fmla="*/ 163 h 280"/>
                    <a:gd name="T22" fmla="*/ 407 w 414"/>
                    <a:gd name="T23" fmla="*/ 172 h 280"/>
                    <a:gd name="T24" fmla="*/ 414 w 414"/>
                    <a:gd name="T25" fmla="*/ 189 h 280"/>
                    <a:gd name="T26" fmla="*/ 395 w 414"/>
                    <a:gd name="T27" fmla="*/ 192 h 280"/>
                    <a:gd name="T28" fmla="*/ 380 w 414"/>
                    <a:gd name="T29" fmla="*/ 188 h 280"/>
                    <a:gd name="T30" fmla="*/ 369 w 414"/>
                    <a:gd name="T31" fmla="*/ 186 h 280"/>
                    <a:gd name="T32" fmla="*/ 359 w 414"/>
                    <a:gd name="T33" fmla="*/ 182 h 280"/>
                    <a:gd name="T34" fmla="*/ 349 w 414"/>
                    <a:gd name="T35" fmla="*/ 184 h 280"/>
                    <a:gd name="T36" fmla="*/ 341 w 414"/>
                    <a:gd name="T37" fmla="*/ 193 h 280"/>
                    <a:gd name="T38" fmla="*/ 327 w 414"/>
                    <a:gd name="T39" fmla="*/ 194 h 280"/>
                    <a:gd name="T40" fmla="*/ 316 w 414"/>
                    <a:gd name="T41" fmla="*/ 191 h 280"/>
                    <a:gd name="T42" fmla="*/ 305 w 414"/>
                    <a:gd name="T43" fmla="*/ 196 h 280"/>
                    <a:gd name="T44" fmla="*/ 288 w 414"/>
                    <a:gd name="T45" fmla="*/ 203 h 280"/>
                    <a:gd name="T46" fmla="*/ 274 w 414"/>
                    <a:gd name="T47" fmla="*/ 200 h 280"/>
                    <a:gd name="T48" fmla="*/ 265 w 414"/>
                    <a:gd name="T49" fmla="*/ 205 h 280"/>
                    <a:gd name="T50" fmla="*/ 259 w 414"/>
                    <a:gd name="T51" fmla="*/ 217 h 280"/>
                    <a:gd name="T52" fmla="*/ 241 w 414"/>
                    <a:gd name="T53" fmla="*/ 217 h 280"/>
                    <a:gd name="T54" fmla="*/ 219 w 414"/>
                    <a:gd name="T55" fmla="*/ 214 h 280"/>
                    <a:gd name="T56" fmla="*/ 198 w 414"/>
                    <a:gd name="T57" fmla="*/ 212 h 280"/>
                    <a:gd name="T58" fmla="*/ 180 w 414"/>
                    <a:gd name="T59" fmla="*/ 194 h 280"/>
                    <a:gd name="T60" fmla="*/ 160 w 414"/>
                    <a:gd name="T61" fmla="*/ 188 h 280"/>
                    <a:gd name="T62" fmla="*/ 148 w 414"/>
                    <a:gd name="T63" fmla="*/ 200 h 280"/>
                    <a:gd name="T64" fmla="*/ 132 w 414"/>
                    <a:gd name="T65" fmla="*/ 215 h 280"/>
                    <a:gd name="T66" fmla="*/ 130 w 414"/>
                    <a:gd name="T67" fmla="*/ 236 h 280"/>
                    <a:gd name="T68" fmla="*/ 116 w 414"/>
                    <a:gd name="T69" fmla="*/ 238 h 280"/>
                    <a:gd name="T70" fmla="*/ 102 w 414"/>
                    <a:gd name="T71" fmla="*/ 236 h 280"/>
                    <a:gd name="T72" fmla="*/ 87 w 414"/>
                    <a:gd name="T73" fmla="*/ 238 h 280"/>
                    <a:gd name="T74" fmla="*/ 70 w 414"/>
                    <a:gd name="T75" fmla="*/ 243 h 280"/>
                    <a:gd name="T76" fmla="*/ 65 w 414"/>
                    <a:gd name="T77" fmla="*/ 266 h 280"/>
                    <a:gd name="T78" fmla="*/ 56 w 414"/>
                    <a:gd name="T79" fmla="*/ 270 h 280"/>
                    <a:gd name="T80" fmla="*/ 50 w 414"/>
                    <a:gd name="T81" fmla="*/ 255 h 280"/>
                    <a:gd name="T82" fmla="*/ 23 w 414"/>
                    <a:gd name="T83" fmla="*/ 229 h 280"/>
                    <a:gd name="T84" fmla="*/ 20 w 414"/>
                    <a:gd name="T85" fmla="*/ 212 h 280"/>
                    <a:gd name="T86" fmla="*/ 9 w 414"/>
                    <a:gd name="T87" fmla="*/ 187 h 280"/>
                    <a:gd name="T88" fmla="*/ 7 w 414"/>
                    <a:gd name="T89" fmla="*/ 175 h 280"/>
                    <a:gd name="T90" fmla="*/ 0 w 414"/>
                    <a:gd name="T91" fmla="*/ 160 h 280"/>
                    <a:gd name="T92" fmla="*/ 17 w 414"/>
                    <a:gd name="T93" fmla="*/ 139 h 280"/>
                    <a:gd name="T94" fmla="*/ 30 w 414"/>
                    <a:gd name="T95" fmla="*/ 119 h 280"/>
                    <a:gd name="T96" fmla="*/ 51 w 414"/>
                    <a:gd name="T97" fmla="*/ 111 h 280"/>
                    <a:gd name="T98" fmla="*/ 66 w 414"/>
                    <a:gd name="T99" fmla="*/ 102 h 280"/>
                    <a:gd name="T100" fmla="*/ 79 w 414"/>
                    <a:gd name="T101" fmla="*/ 109 h 280"/>
                    <a:gd name="T102" fmla="*/ 95 w 414"/>
                    <a:gd name="T103" fmla="*/ 101 h 280"/>
                    <a:gd name="T104" fmla="*/ 134 w 414"/>
                    <a:gd name="T105" fmla="*/ 96 h 280"/>
                    <a:gd name="T106" fmla="*/ 149 w 414"/>
                    <a:gd name="T107" fmla="*/ 74 h 280"/>
                    <a:gd name="T108" fmla="*/ 156 w 414"/>
                    <a:gd name="T109" fmla="*/ 65 h 280"/>
                    <a:gd name="T110" fmla="*/ 174 w 414"/>
                    <a:gd name="T111" fmla="*/ 63 h 280"/>
                    <a:gd name="T112" fmla="*/ 186 w 414"/>
                    <a:gd name="T113" fmla="*/ 61 h 280"/>
                    <a:gd name="T114" fmla="*/ 200 w 414"/>
                    <a:gd name="T115" fmla="*/ 53 h 280"/>
                    <a:gd name="T116" fmla="*/ 210 w 414"/>
                    <a:gd name="T117" fmla="*/ 41 h 280"/>
                    <a:gd name="T118" fmla="*/ 226 w 414"/>
                    <a:gd name="T119" fmla="*/ 26 h 280"/>
                    <a:gd name="T120" fmla="*/ 233 w 414"/>
                    <a:gd name="T121" fmla="*/ 14 h 280"/>
                    <a:gd name="T122" fmla="*/ 248 w 414"/>
                    <a:gd name="T123" fmla="*/ 6 h 280"/>
                    <a:gd name="T124" fmla="*/ 263 w 414"/>
                    <a:gd name="T125" fmla="*/ 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4" h="280">
                      <a:moveTo>
                        <a:pt x="269" y="3"/>
                      </a:moveTo>
                      <a:lnTo>
                        <a:pt x="269" y="4"/>
                      </a:lnTo>
                      <a:lnTo>
                        <a:pt x="273" y="11"/>
                      </a:lnTo>
                      <a:lnTo>
                        <a:pt x="277" y="13"/>
                      </a:lnTo>
                      <a:lnTo>
                        <a:pt x="283" y="19"/>
                      </a:lnTo>
                      <a:lnTo>
                        <a:pt x="288" y="27"/>
                      </a:lnTo>
                      <a:lnTo>
                        <a:pt x="293" y="35"/>
                      </a:lnTo>
                      <a:lnTo>
                        <a:pt x="294" y="38"/>
                      </a:lnTo>
                      <a:lnTo>
                        <a:pt x="295" y="42"/>
                      </a:lnTo>
                      <a:lnTo>
                        <a:pt x="294" y="44"/>
                      </a:lnTo>
                      <a:lnTo>
                        <a:pt x="294" y="45"/>
                      </a:lnTo>
                      <a:lnTo>
                        <a:pt x="293" y="47"/>
                      </a:lnTo>
                      <a:lnTo>
                        <a:pt x="293" y="48"/>
                      </a:lnTo>
                      <a:lnTo>
                        <a:pt x="293" y="49"/>
                      </a:lnTo>
                      <a:lnTo>
                        <a:pt x="293" y="51"/>
                      </a:lnTo>
                      <a:lnTo>
                        <a:pt x="294" y="51"/>
                      </a:lnTo>
                      <a:lnTo>
                        <a:pt x="294" y="52"/>
                      </a:lnTo>
                      <a:lnTo>
                        <a:pt x="293" y="54"/>
                      </a:lnTo>
                      <a:lnTo>
                        <a:pt x="293" y="55"/>
                      </a:lnTo>
                      <a:lnTo>
                        <a:pt x="293" y="56"/>
                      </a:lnTo>
                      <a:lnTo>
                        <a:pt x="292" y="59"/>
                      </a:lnTo>
                      <a:lnTo>
                        <a:pt x="291" y="59"/>
                      </a:lnTo>
                      <a:lnTo>
                        <a:pt x="290" y="60"/>
                      </a:lnTo>
                      <a:lnTo>
                        <a:pt x="290" y="59"/>
                      </a:lnTo>
                      <a:lnTo>
                        <a:pt x="288" y="60"/>
                      </a:lnTo>
                      <a:lnTo>
                        <a:pt x="287" y="65"/>
                      </a:lnTo>
                      <a:lnTo>
                        <a:pt x="288" y="66"/>
                      </a:lnTo>
                      <a:lnTo>
                        <a:pt x="290" y="66"/>
                      </a:lnTo>
                      <a:lnTo>
                        <a:pt x="291" y="65"/>
                      </a:lnTo>
                      <a:lnTo>
                        <a:pt x="292" y="66"/>
                      </a:lnTo>
                      <a:lnTo>
                        <a:pt x="292" y="67"/>
                      </a:lnTo>
                      <a:lnTo>
                        <a:pt x="291" y="69"/>
                      </a:lnTo>
                      <a:lnTo>
                        <a:pt x="290" y="72"/>
                      </a:lnTo>
                      <a:lnTo>
                        <a:pt x="288" y="72"/>
                      </a:lnTo>
                      <a:lnTo>
                        <a:pt x="288" y="73"/>
                      </a:lnTo>
                      <a:lnTo>
                        <a:pt x="290" y="74"/>
                      </a:lnTo>
                      <a:lnTo>
                        <a:pt x="291" y="75"/>
                      </a:lnTo>
                      <a:lnTo>
                        <a:pt x="291" y="74"/>
                      </a:lnTo>
                      <a:lnTo>
                        <a:pt x="292" y="74"/>
                      </a:lnTo>
                      <a:lnTo>
                        <a:pt x="293" y="74"/>
                      </a:lnTo>
                      <a:lnTo>
                        <a:pt x="294" y="74"/>
                      </a:lnTo>
                      <a:lnTo>
                        <a:pt x="295" y="74"/>
                      </a:lnTo>
                      <a:lnTo>
                        <a:pt x="297" y="75"/>
                      </a:lnTo>
                      <a:lnTo>
                        <a:pt x="297" y="74"/>
                      </a:lnTo>
                      <a:lnTo>
                        <a:pt x="298" y="74"/>
                      </a:lnTo>
                      <a:lnTo>
                        <a:pt x="299" y="74"/>
                      </a:lnTo>
                      <a:lnTo>
                        <a:pt x="301" y="74"/>
                      </a:lnTo>
                      <a:lnTo>
                        <a:pt x="302" y="74"/>
                      </a:lnTo>
                      <a:lnTo>
                        <a:pt x="304" y="75"/>
                      </a:lnTo>
                      <a:lnTo>
                        <a:pt x="305" y="75"/>
                      </a:lnTo>
                      <a:lnTo>
                        <a:pt x="306" y="75"/>
                      </a:lnTo>
                      <a:lnTo>
                        <a:pt x="309" y="75"/>
                      </a:lnTo>
                      <a:lnTo>
                        <a:pt x="311" y="75"/>
                      </a:lnTo>
                      <a:lnTo>
                        <a:pt x="312" y="75"/>
                      </a:lnTo>
                      <a:lnTo>
                        <a:pt x="313" y="75"/>
                      </a:lnTo>
                      <a:lnTo>
                        <a:pt x="312" y="76"/>
                      </a:lnTo>
                      <a:lnTo>
                        <a:pt x="312" y="77"/>
                      </a:lnTo>
                      <a:lnTo>
                        <a:pt x="313" y="79"/>
                      </a:lnTo>
                      <a:lnTo>
                        <a:pt x="312" y="80"/>
                      </a:lnTo>
                      <a:lnTo>
                        <a:pt x="309" y="83"/>
                      </a:lnTo>
                      <a:lnTo>
                        <a:pt x="309" y="84"/>
                      </a:lnTo>
                      <a:lnTo>
                        <a:pt x="309" y="86"/>
                      </a:lnTo>
                      <a:lnTo>
                        <a:pt x="311" y="87"/>
                      </a:lnTo>
                      <a:lnTo>
                        <a:pt x="311" y="88"/>
                      </a:lnTo>
                      <a:lnTo>
                        <a:pt x="312" y="88"/>
                      </a:lnTo>
                      <a:lnTo>
                        <a:pt x="313" y="88"/>
                      </a:lnTo>
                      <a:lnTo>
                        <a:pt x="314" y="88"/>
                      </a:lnTo>
                      <a:lnTo>
                        <a:pt x="315" y="88"/>
                      </a:lnTo>
                      <a:lnTo>
                        <a:pt x="315" y="89"/>
                      </a:lnTo>
                      <a:lnTo>
                        <a:pt x="316" y="89"/>
                      </a:lnTo>
                      <a:lnTo>
                        <a:pt x="318" y="88"/>
                      </a:lnTo>
                      <a:lnTo>
                        <a:pt x="319" y="88"/>
                      </a:lnTo>
                      <a:lnTo>
                        <a:pt x="320" y="89"/>
                      </a:lnTo>
                      <a:lnTo>
                        <a:pt x="321" y="90"/>
                      </a:lnTo>
                      <a:lnTo>
                        <a:pt x="322" y="90"/>
                      </a:lnTo>
                      <a:lnTo>
                        <a:pt x="324" y="90"/>
                      </a:lnTo>
                      <a:lnTo>
                        <a:pt x="327" y="90"/>
                      </a:lnTo>
                      <a:lnTo>
                        <a:pt x="328" y="90"/>
                      </a:lnTo>
                      <a:lnTo>
                        <a:pt x="329" y="91"/>
                      </a:lnTo>
                      <a:lnTo>
                        <a:pt x="330" y="91"/>
                      </a:lnTo>
                      <a:lnTo>
                        <a:pt x="331" y="91"/>
                      </a:lnTo>
                      <a:lnTo>
                        <a:pt x="335" y="94"/>
                      </a:lnTo>
                      <a:lnTo>
                        <a:pt x="335" y="95"/>
                      </a:lnTo>
                      <a:lnTo>
                        <a:pt x="335" y="96"/>
                      </a:lnTo>
                      <a:lnTo>
                        <a:pt x="336" y="97"/>
                      </a:lnTo>
                      <a:lnTo>
                        <a:pt x="336" y="98"/>
                      </a:lnTo>
                      <a:lnTo>
                        <a:pt x="338" y="100"/>
                      </a:lnTo>
                      <a:lnTo>
                        <a:pt x="338" y="101"/>
                      </a:lnTo>
                      <a:lnTo>
                        <a:pt x="340" y="101"/>
                      </a:lnTo>
                      <a:lnTo>
                        <a:pt x="341" y="101"/>
                      </a:lnTo>
                      <a:lnTo>
                        <a:pt x="342" y="101"/>
                      </a:lnTo>
                      <a:lnTo>
                        <a:pt x="343" y="101"/>
                      </a:lnTo>
                      <a:lnTo>
                        <a:pt x="344" y="101"/>
                      </a:lnTo>
                      <a:lnTo>
                        <a:pt x="344" y="102"/>
                      </a:lnTo>
                      <a:lnTo>
                        <a:pt x="345" y="103"/>
                      </a:lnTo>
                      <a:lnTo>
                        <a:pt x="345" y="104"/>
                      </a:lnTo>
                      <a:lnTo>
                        <a:pt x="345" y="105"/>
                      </a:lnTo>
                      <a:lnTo>
                        <a:pt x="345" y="107"/>
                      </a:lnTo>
                      <a:lnTo>
                        <a:pt x="345" y="108"/>
                      </a:lnTo>
                      <a:lnTo>
                        <a:pt x="345" y="109"/>
                      </a:lnTo>
                      <a:lnTo>
                        <a:pt x="343" y="110"/>
                      </a:lnTo>
                      <a:lnTo>
                        <a:pt x="342" y="110"/>
                      </a:lnTo>
                      <a:lnTo>
                        <a:pt x="342" y="111"/>
                      </a:lnTo>
                      <a:lnTo>
                        <a:pt x="343" y="112"/>
                      </a:lnTo>
                      <a:lnTo>
                        <a:pt x="345" y="114"/>
                      </a:lnTo>
                      <a:lnTo>
                        <a:pt x="345" y="115"/>
                      </a:lnTo>
                      <a:lnTo>
                        <a:pt x="347" y="115"/>
                      </a:lnTo>
                      <a:lnTo>
                        <a:pt x="347" y="116"/>
                      </a:lnTo>
                      <a:lnTo>
                        <a:pt x="348" y="116"/>
                      </a:lnTo>
                      <a:lnTo>
                        <a:pt x="348" y="117"/>
                      </a:lnTo>
                      <a:lnTo>
                        <a:pt x="348" y="118"/>
                      </a:lnTo>
                      <a:lnTo>
                        <a:pt x="349" y="118"/>
                      </a:lnTo>
                      <a:lnTo>
                        <a:pt x="350" y="119"/>
                      </a:lnTo>
                      <a:lnTo>
                        <a:pt x="351" y="121"/>
                      </a:lnTo>
                      <a:lnTo>
                        <a:pt x="352" y="121"/>
                      </a:lnTo>
                      <a:lnTo>
                        <a:pt x="354" y="121"/>
                      </a:lnTo>
                      <a:lnTo>
                        <a:pt x="356" y="122"/>
                      </a:lnTo>
                      <a:lnTo>
                        <a:pt x="358" y="123"/>
                      </a:lnTo>
                      <a:lnTo>
                        <a:pt x="359" y="124"/>
                      </a:lnTo>
                      <a:lnTo>
                        <a:pt x="361" y="124"/>
                      </a:lnTo>
                      <a:lnTo>
                        <a:pt x="362" y="124"/>
                      </a:lnTo>
                      <a:lnTo>
                        <a:pt x="362" y="125"/>
                      </a:lnTo>
                      <a:lnTo>
                        <a:pt x="363" y="125"/>
                      </a:lnTo>
                      <a:lnTo>
                        <a:pt x="364" y="126"/>
                      </a:lnTo>
                      <a:lnTo>
                        <a:pt x="365" y="126"/>
                      </a:lnTo>
                      <a:lnTo>
                        <a:pt x="365" y="128"/>
                      </a:lnTo>
                      <a:lnTo>
                        <a:pt x="366" y="128"/>
                      </a:lnTo>
                      <a:lnTo>
                        <a:pt x="368" y="128"/>
                      </a:lnTo>
                      <a:lnTo>
                        <a:pt x="368" y="129"/>
                      </a:lnTo>
                      <a:lnTo>
                        <a:pt x="369" y="129"/>
                      </a:lnTo>
                      <a:lnTo>
                        <a:pt x="370" y="129"/>
                      </a:lnTo>
                      <a:lnTo>
                        <a:pt x="370" y="130"/>
                      </a:lnTo>
                      <a:lnTo>
                        <a:pt x="370" y="131"/>
                      </a:lnTo>
                      <a:lnTo>
                        <a:pt x="370" y="132"/>
                      </a:lnTo>
                      <a:lnTo>
                        <a:pt x="371" y="132"/>
                      </a:lnTo>
                      <a:lnTo>
                        <a:pt x="371" y="133"/>
                      </a:lnTo>
                      <a:lnTo>
                        <a:pt x="372" y="135"/>
                      </a:lnTo>
                      <a:lnTo>
                        <a:pt x="373" y="135"/>
                      </a:lnTo>
                      <a:lnTo>
                        <a:pt x="375" y="137"/>
                      </a:lnTo>
                      <a:lnTo>
                        <a:pt x="376" y="137"/>
                      </a:lnTo>
                      <a:lnTo>
                        <a:pt x="377" y="138"/>
                      </a:lnTo>
                      <a:lnTo>
                        <a:pt x="379" y="139"/>
                      </a:lnTo>
                      <a:lnTo>
                        <a:pt x="380" y="140"/>
                      </a:lnTo>
                      <a:lnTo>
                        <a:pt x="380" y="142"/>
                      </a:lnTo>
                      <a:lnTo>
                        <a:pt x="380" y="143"/>
                      </a:lnTo>
                      <a:lnTo>
                        <a:pt x="379" y="144"/>
                      </a:lnTo>
                      <a:lnTo>
                        <a:pt x="378" y="145"/>
                      </a:lnTo>
                      <a:lnTo>
                        <a:pt x="377" y="146"/>
                      </a:lnTo>
                      <a:lnTo>
                        <a:pt x="378" y="146"/>
                      </a:lnTo>
                      <a:lnTo>
                        <a:pt x="378" y="147"/>
                      </a:lnTo>
                      <a:lnTo>
                        <a:pt x="378" y="149"/>
                      </a:lnTo>
                      <a:lnTo>
                        <a:pt x="379" y="149"/>
                      </a:lnTo>
                      <a:lnTo>
                        <a:pt x="379" y="150"/>
                      </a:lnTo>
                      <a:lnTo>
                        <a:pt x="380" y="150"/>
                      </a:lnTo>
                      <a:lnTo>
                        <a:pt x="380" y="151"/>
                      </a:lnTo>
                      <a:lnTo>
                        <a:pt x="382" y="151"/>
                      </a:lnTo>
                      <a:lnTo>
                        <a:pt x="383" y="151"/>
                      </a:lnTo>
                      <a:lnTo>
                        <a:pt x="383" y="152"/>
                      </a:lnTo>
                      <a:lnTo>
                        <a:pt x="384" y="152"/>
                      </a:lnTo>
                      <a:lnTo>
                        <a:pt x="384" y="153"/>
                      </a:lnTo>
                      <a:lnTo>
                        <a:pt x="385" y="153"/>
                      </a:lnTo>
                      <a:lnTo>
                        <a:pt x="385" y="154"/>
                      </a:lnTo>
                      <a:lnTo>
                        <a:pt x="385" y="156"/>
                      </a:lnTo>
                      <a:lnTo>
                        <a:pt x="384" y="156"/>
                      </a:lnTo>
                      <a:lnTo>
                        <a:pt x="383" y="157"/>
                      </a:lnTo>
                      <a:lnTo>
                        <a:pt x="383" y="158"/>
                      </a:lnTo>
                      <a:lnTo>
                        <a:pt x="384" y="158"/>
                      </a:lnTo>
                      <a:lnTo>
                        <a:pt x="385" y="158"/>
                      </a:lnTo>
                      <a:lnTo>
                        <a:pt x="385" y="159"/>
                      </a:lnTo>
                      <a:lnTo>
                        <a:pt x="386" y="159"/>
                      </a:lnTo>
                      <a:lnTo>
                        <a:pt x="386" y="160"/>
                      </a:lnTo>
                      <a:lnTo>
                        <a:pt x="388" y="160"/>
                      </a:lnTo>
                      <a:lnTo>
                        <a:pt x="391" y="160"/>
                      </a:lnTo>
                      <a:lnTo>
                        <a:pt x="393" y="161"/>
                      </a:lnTo>
                      <a:lnTo>
                        <a:pt x="394" y="161"/>
                      </a:lnTo>
                      <a:lnTo>
                        <a:pt x="394" y="163"/>
                      </a:lnTo>
                      <a:lnTo>
                        <a:pt x="394" y="164"/>
                      </a:lnTo>
                      <a:lnTo>
                        <a:pt x="395" y="165"/>
                      </a:lnTo>
                      <a:lnTo>
                        <a:pt x="397" y="165"/>
                      </a:lnTo>
                      <a:lnTo>
                        <a:pt x="397" y="164"/>
                      </a:lnTo>
                      <a:lnTo>
                        <a:pt x="398" y="165"/>
                      </a:lnTo>
                      <a:lnTo>
                        <a:pt x="398" y="166"/>
                      </a:lnTo>
                      <a:lnTo>
                        <a:pt x="399" y="166"/>
                      </a:lnTo>
                      <a:lnTo>
                        <a:pt x="400" y="165"/>
                      </a:lnTo>
                      <a:lnTo>
                        <a:pt x="400" y="166"/>
                      </a:lnTo>
                      <a:lnTo>
                        <a:pt x="401" y="167"/>
                      </a:lnTo>
                      <a:lnTo>
                        <a:pt x="402" y="167"/>
                      </a:lnTo>
                      <a:lnTo>
                        <a:pt x="405" y="168"/>
                      </a:lnTo>
                      <a:lnTo>
                        <a:pt x="405" y="170"/>
                      </a:lnTo>
                      <a:lnTo>
                        <a:pt x="406" y="170"/>
                      </a:lnTo>
                      <a:lnTo>
                        <a:pt x="407" y="171"/>
                      </a:lnTo>
                      <a:lnTo>
                        <a:pt x="407" y="172"/>
                      </a:lnTo>
                      <a:lnTo>
                        <a:pt x="407" y="173"/>
                      </a:lnTo>
                      <a:lnTo>
                        <a:pt x="407" y="174"/>
                      </a:lnTo>
                      <a:lnTo>
                        <a:pt x="408" y="174"/>
                      </a:lnTo>
                      <a:lnTo>
                        <a:pt x="408" y="175"/>
                      </a:lnTo>
                      <a:lnTo>
                        <a:pt x="407" y="179"/>
                      </a:lnTo>
                      <a:lnTo>
                        <a:pt x="408" y="180"/>
                      </a:lnTo>
                      <a:lnTo>
                        <a:pt x="408" y="181"/>
                      </a:lnTo>
                      <a:lnTo>
                        <a:pt x="408" y="182"/>
                      </a:lnTo>
                      <a:lnTo>
                        <a:pt x="409" y="185"/>
                      </a:lnTo>
                      <a:lnTo>
                        <a:pt x="411" y="186"/>
                      </a:lnTo>
                      <a:lnTo>
                        <a:pt x="412" y="187"/>
                      </a:lnTo>
                      <a:lnTo>
                        <a:pt x="413" y="188"/>
                      </a:lnTo>
                      <a:lnTo>
                        <a:pt x="413" y="189"/>
                      </a:lnTo>
                      <a:lnTo>
                        <a:pt x="414" y="189"/>
                      </a:lnTo>
                      <a:lnTo>
                        <a:pt x="414" y="191"/>
                      </a:lnTo>
                      <a:lnTo>
                        <a:pt x="414" y="189"/>
                      </a:lnTo>
                      <a:lnTo>
                        <a:pt x="413" y="189"/>
                      </a:lnTo>
                      <a:lnTo>
                        <a:pt x="412" y="189"/>
                      </a:lnTo>
                      <a:lnTo>
                        <a:pt x="411" y="189"/>
                      </a:lnTo>
                      <a:lnTo>
                        <a:pt x="411" y="188"/>
                      </a:lnTo>
                      <a:lnTo>
                        <a:pt x="409" y="188"/>
                      </a:lnTo>
                      <a:lnTo>
                        <a:pt x="408" y="188"/>
                      </a:lnTo>
                      <a:lnTo>
                        <a:pt x="406" y="187"/>
                      </a:lnTo>
                      <a:lnTo>
                        <a:pt x="405" y="186"/>
                      </a:lnTo>
                      <a:lnTo>
                        <a:pt x="402" y="186"/>
                      </a:lnTo>
                      <a:lnTo>
                        <a:pt x="401" y="186"/>
                      </a:lnTo>
                      <a:lnTo>
                        <a:pt x="400" y="187"/>
                      </a:lnTo>
                      <a:lnTo>
                        <a:pt x="399" y="188"/>
                      </a:lnTo>
                      <a:lnTo>
                        <a:pt x="398" y="189"/>
                      </a:lnTo>
                      <a:lnTo>
                        <a:pt x="397" y="191"/>
                      </a:lnTo>
                      <a:lnTo>
                        <a:pt x="397" y="192"/>
                      </a:lnTo>
                      <a:lnTo>
                        <a:pt x="395" y="192"/>
                      </a:lnTo>
                      <a:lnTo>
                        <a:pt x="395" y="191"/>
                      </a:lnTo>
                      <a:lnTo>
                        <a:pt x="394" y="192"/>
                      </a:lnTo>
                      <a:lnTo>
                        <a:pt x="394" y="191"/>
                      </a:lnTo>
                      <a:lnTo>
                        <a:pt x="393" y="189"/>
                      </a:lnTo>
                      <a:lnTo>
                        <a:pt x="392" y="189"/>
                      </a:lnTo>
                      <a:lnTo>
                        <a:pt x="391" y="189"/>
                      </a:lnTo>
                      <a:lnTo>
                        <a:pt x="390" y="191"/>
                      </a:lnTo>
                      <a:lnTo>
                        <a:pt x="388" y="191"/>
                      </a:lnTo>
                      <a:lnTo>
                        <a:pt x="387" y="189"/>
                      </a:lnTo>
                      <a:lnTo>
                        <a:pt x="387" y="191"/>
                      </a:lnTo>
                      <a:lnTo>
                        <a:pt x="386" y="191"/>
                      </a:lnTo>
                      <a:lnTo>
                        <a:pt x="385" y="191"/>
                      </a:lnTo>
                      <a:lnTo>
                        <a:pt x="384" y="191"/>
                      </a:lnTo>
                      <a:lnTo>
                        <a:pt x="383" y="189"/>
                      </a:lnTo>
                      <a:lnTo>
                        <a:pt x="382" y="188"/>
                      </a:lnTo>
                      <a:lnTo>
                        <a:pt x="380" y="188"/>
                      </a:lnTo>
                      <a:lnTo>
                        <a:pt x="379" y="188"/>
                      </a:lnTo>
                      <a:lnTo>
                        <a:pt x="378" y="188"/>
                      </a:lnTo>
                      <a:lnTo>
                        <a:pt x="378" y="187"/>
                      </a:lnTo>
                      <a:lnTo>
                        <a:pt x="377" y="187"/>
                      </a:lnTo>
                      <a:lnTo>
                        <a:pt x="377" y="186"/>
                      </a:lnTo>
                      <a:lnTo>
                        <a:pt x="377" y="187"/>
                      </a:lnTo>
                      <a:lnTo>
                        <a:pt x="376" y="187"/>
                      </a:lnTo>
                      <a:lnTo>
                        <a:pt x="376" y="186"/>
                      </a:lnTo>
                      <a:lnTo>
                        <a:pt x="375" y="185"/>
                      </a:lnTo>
                      <a:lnTo>
                        <a:pt x="373" y="185"/>
                      </a:lnTo>
                      <a:lnTo>
                        <a:pt x="372" y="185"/>
                      </a:lnTo>
                      <a:lnTo>
                        <a:pt x="371" y="185"/>
                      </a:lnTo>
                      <a:lnTo>
                        <a:pt x="372" y="186"/>
                      </a:lnTo>
                      <a:lnTo>
                        <a:pt x="371" y="186"/>
                      </a:lnTo>
                      <a:lnTo>
                        <a:pt x="370" y="186"/>
                      </a:lnTo>
                      <a:lnTo>
                        <a:pt x="369" y="186"/>
                      </a:lnTo>
                      <a:lnTo>
                        <a:pt x="369" y="185"/>
                      </a:lnTo>
                      <a:lnTo>
                        <a:pt x="368" y="185"/>
                      </a:lnTo>
                      <a:lnTo>
                        <a:pt x="368" y="186"/>
                      </a:lnTo>
                      <a:lnTo>
                        <a:pt x="366" y="186"/>
                      </a:lnTo>
                      <a:lnTo>
                        <a:pt x="366" y="187"/>
                      </a:lnTo>
                      <a:lnTo>
                        <a:pt x="365" y="187"/>
                      </a:lnTo>
                      <a:lnTo>
                        <a:pt x="365" y="186"/>
                      </a:lnTo>
                      <a:lnTo>
                        <a:pt x="364" y="186"/>
                      </a:lnTo>
                      <a:lnTo>
                        <a:pt x="363" y="186"/>
                      </a:lnTo>
                      <a:lnTo>
                        <a:pt x="363" y="185"/>
                      </a:lnTo>
                      <a:lnTo>
                        <a:pt x="362" y="185"/>
                      </a:lnTo>
                      <a:lnTo>
                        <a:pt x="362" y="184"/>
                      </a:lnTo>
                      <a:lnTo>
                        <a:pt x="362" y="185"/>
                      </a:lnTo>
                      <a:lnTo>
                        <a:pt x="361" y="185"/>
                      </a:lnTo>
                      <a:lnTo>
                        <a:pt x="359" y="184"/>
                      </a:lnTo>
                      <a:lnTo>
                        <a:pt x="359" y="182"/>
                      </a:lnTo>
                      <a:lnTo>
                        <a:pt x="358" y="182"/>
                      </a:lnTo>
                      <a:lnTo>
                        <a:pt x="357" y="182"/>
                      </a:lnTo>
                      <a:lnTo>
                        <a:pt x="356" y="182"/>
                      </a:lnTo>
                      <a:lnTo>
                        <a:pt x="357" y="182"/>
                      </a:lnTo>
                      <a:lnTo>
                        <a:pt x="357" y="181"/>
                      </a:lnTo>
                      <a:lnTo>
                        <a:pt x="356" y="181"/>
                      </a:lnTo>
                      <a:lnTo>
                        <a:pt x="356" y="180"/>
                      </a:lnTo>
                      <a:lnTo>
                        <a:pt x="355" y="180"/>
                      </a:lnTo>
                      <a:lnTo>
                        <a:pt x="354" y="180"/>
                      </a:lnTo>
                      <a:lnTo>
                        <a:pt x="355" y="181"/>
                      </a:lnTo>
                      <a:lnTo>
                        <a:pt x="354" y="181"/>
                      </a:lnTo>
                      <a:lnTo>
                        <a:pt x="352" y="181"/>
                      </a:lnTo>
                      <a:lnTo>
                        <a:pt x="351" y="182"/>
                      </a:lnTo>
                      <a:lnTo>
                        <a:pt x="350" y="182"/>
                      </a:lnTo>
                      <a:lnTo>
                        <a:pt x="349" y="182"/>
                      </a:lnTo>
                      <a:lnTo>
                        <a:pt x="349" y="184"/>
                      </a:lnTo>
                      <a:lnTo>
                        <a:pt x="348" y="184"/>
                      </a:lnTo>
                      <a:lnTo>
                        <a:pt x="348" y="185"/>
                      </a:lnTo>
                      <a:lnTo>
                        <a:pt x="348" y="186"/>
                      </a:lnTo>
                      <a:lnTo>
                        <a:pt x="347" y="186"/>
                      </a:lnTo>
                      <a:lnTo>
                        <a:pt x="347" y="187"/>
                      </a:lnTo>
                      <a:lnTo>
                        <a:pt x="348" y="187"/>
                      </a:lnTo>
                      <a:lnTo>
                        <a:pt x="348" y="188"/>
                      </a:lnTo>
                      <a:lnTo>
                        <a:pt x="348" y="189"/>
                      </a:lnTo>
                      <a:lnTo>
                        <a:pt x="348" y="191"/>
                      </a:lnTo>
                      <a:lnTo>
                        <a:pt x="347" y="191"/>
                      </a:lnTo>
                      <a:lnTo>
                        <a:pt x="347" y="192"/>
                      </a:lnTo>
                      <a:lnTo>
                        <a:pt x="345" y="192"/>
                      </a:lnTo>
                      <a:lnTo>
                        <a:pt x="344" y="192"/>
                      </a:lnTo>
                      <a:lnTo>
                        <a:pt x="342" y="192"/>
                      </a:lnTo>
                      <a:lnTo>
                        <a:pt x="341" y="192"/>
                      </a:lnTo>
                      <a:lnTo>
                        <a:pt x="341" y="193"/>
                      </a:lnTo>
                      <a:lnTo>
                        <a:pt x="340" y="193"/>
                      </a:lnTo>
                      <a:lnTo>
                        <a:pt x="340" y="194"/>
                      </a:lnTo>
                      <a:lnTo>
                        <a:pt x="338" y="194"/>
                      </a:lnTo>
                      <a:lnTo>
                        <a:pt x="337" y="193"/>
                      </a:lnTo>
                      <a:lnTo>
                        <a:pt x="336" y="193"/>
                      </a:lnTo>
                      <a:lnTo>
                        <a:pt x="335" y="193"/>
                      </a:lnTo>
                      <a:lnTo>
                        <a:pt x="334" y="194"/>
                      </a:lnTo>
                      <a:lnTo>
                        <a:pt x="333" y="194"/>
                      </a:lnTo>
                      <a:lnTo>
                        <a:pt x="331" y="194"/>
                      </a:lnTo>
                      <a:lnTo>
                        <a:pt x="330" y="195"/>
                      </a:lnTo>
                      <a:lnTo>
                        <a:pt x="329" y="195"/>
                      </a:lnTo>
                      <a:lnTo>
                        <a:pt x="328" y="195"/>
                      </a:lnTo>
                      <a:lnTo>
                        <a:pt x="327" y="195"/>
                      </a:lnTo>
                      <a:lnTo>
                        <a:pt x="326" y="195"/>
                      </a:lnTo>
                      <a:lnTo>
                        <a:pt x="326" y="194"/>
                      </a:lnTo>
                      <a:lnTo>
                        <a:pt x="327" y="194"/>
                      </a:lnTo>
                      <a:lnTo>
                        <a:pt x="326" y="194"/>
                      </a:lnTo>
                      <a:lnTo>
                        <a:pt x="326" y="193"/>
                      </a:lnTo>
                      <a:lnTo>
                        <a:pt x="324" y="193"/>
                      </a:lnTo>
                      <a:lnTo>
                        <a:pt x="324" y="192"/>
                      </a:lnTo>
                      <a:lnTo>
                        <a:pt x="323" y="192"/>
                      </a:lnTo>
                      <a:lnTo>
                        <a:pt x="322" y="191"/>
                      </a:lnTo>
                      <a:lnTo>
                        <a:pt x="322" y="189"/>
                      </a:lnTo>
                      <a:lnTo>
                        <a:pt x="321" y="189"/>
                      </a:lnTo>
                      <a:lnTo>
                        <a:pt x="320" y="189"/>
                      </a:lnTo>
                      <a:lnTo>
                        <a:pt x="319" y="189"/>
                      </a:lnTo>
                      <a:lnTo>
                        <a:pt x="319" y="191"/>
                      </a:lnTo>
                      <a:lnTo>
                        <a:pt x="319" y="189"/>
                      </a:lnTo>
                      <a:lnTo>
                        <a:pt x="318" y="189"/>
                      </a:lnTo>
                      <a:lnTo>
                        <a:pt x="318" y="188"/>
                      </a:lnTo>
                      <a:lnTo>
                        <a:pt x="318" y="189"/>
                      </a:lnTo>
                      <a:lnTo>
                        <a:pt x="316" y="191"/>
                      </a:lnTo>
                      <a:lnTo>
                        <a:pt x="318" y="191"/>
                      </a:lnTo>
                      <a:lnTo>
                        <a:pt x="318" y="192"/>
                      </a:lnTo>
                      <a:lnTo>
                        <a:pt x="315" y="193"/>
                      </a:lnTo>
                      <a:lnTo>
                        <a:pt x="314" y="193"/>
                      </a:lnTo>
                      <a:lnTo>
                        <a:pt x="314" y="194"/>
                      </a:lnTo>
                      <a:lnTo>
                        <a:pt x="314" y="195"/>
                      </a:lnTo>
                      <a:lnTo>
                        <a:pt x="313" y="195"/>
                      </a:lnTo>
                      <a:lnTo>
                        <a:pt x="313" y="194"/>
                      </a:lnTo>
                      <a:lnTo>
                        <a:pt x="312" y="194"/>
                      </a:lnTo>
                      <a:lnTo>
                        <a:pt x="311" y="195"/>
                      </a:lnTo>
                      <a:lnTo>
                        <a:pt x="309" y="195"/>
                      </a:lnTo>
                      <a:lnTo>
                        <a:pt x="308" y="195"/>
                      </a:lnTo>
                      <a:lnTo>
                        <a:pt x="307" y="196"/>
                      </a:lnTo>
                      <a:lnTo>
                        <a:pt x="305" y="196"/>
                      </a:lnTo>
                      <a:lnTo>
                        <a:pt x="305" y="198"/>
                      </a:lnTo>
                      <a:lnTo>
                        <a:pt x="305" y="196"/>
                      </a:lnTo>
                      <a:lnTo>
                        <a:pt x="304" y="196"/>
                      </a:lnTo>
                      <a:lnTo>
                        <a:pt x="304" y="198"/>
                      </a:lnTo>
                      <a:lnTo>
                        <a:pt x="304" y="199"/>
                      </a:lnTo>
                      <a:lnTo>
                        <a:pt x="302" y="199"/>
                      </a:lnTo>
                      <a:lnTo>
                        <a:pt x="301" y="198"/>
                      </a:lnTo>
                      <a:lnTo>
                        <a:pt x="301" y="199"/>
                      </a:lnTo>
                      <a:lnTo>
                        <a:pt x="300" y="199"/>
                      </a:lnTo>
                      <a:lnTo>
                        <a:pt x="299" y="199"/>
                      </a:lnTo>
                      <a:lnTo>
                        <a:pt x="298" y="199"/>
                      </a:lnTo>
                      <a:lnTo>
                        <a:pt x="297" y="200"/>
                      </a:lnTo>
                      <a:lnTo>
                        <a:pt x="295" y="200"/>
                      </a:lnTo>
                      <a:lnTo>
                        <a:pt x="294" y="201"/>
                      </a:lnTo>
                      <a:lnTo>
                        <a:pt x="292" y="201"/>
                      </a:lnTo>
                      <a:lnTo>
                        <a:pt x="290" y="202"/>
                      </a:lnTo>
                      <a:lnTo>
                        <a:pt x="290" y="203"/>
                      </a:lnTo>
                      <a:lnTo>
                        <a:pt x="288" y="203"/>
                      </a:lnTo>
                      <a:lnTo>
                        <a:pt x="287" y="203"/>
                      </a:lnTo>
                      <a:lnTo>
                        <a:pt x="287" y="205"/>
                      </a:lnTo>
                      <a:lnTo>
                        <a:pt x="287" y="206"/>
                      </a:lnTo>
                      <a:lnTo>
                        <a:pt x="286" y="206"/>
                      </a:lnTo>
                      <a:lnTo>
                        <a:pt x="285" y="206"/>
                      </a:lnTo>
                      <a:lnTo>
                        <a:pt x="285" y="205"/>
                      </a:lnTo>
                      <a:lnTo>
                        <a:pt x="284" y="205"/>
                      </a:lnTo>
                      <a:lnTo>
                        <a:pt x="283" y="205"/>
                      </a:lnTo>
                      <a:lnTo>
                        <a:pt x="281" y="203"/>
                      </a:lnTo>
                      <a:lnTo>
                        <a:pt x="280" y="202"/>
                      </a:lnTo>
                      <a:lnTo>
                        <a:pt x="279" y="201"/>
                      </a:lnTo>
                      <a:lnTo>
                        <a:pt x="278" y="201"/>
                      </a:lnTo>
                      <a:lnTo>
                        <a:pt x="277" y="201"/>
                      </a:lnTo>
                      <a:lnTo>
                        <a:pt x="276" y="201"/>
                      </a:lnTo>
                      <a:lnTo>
                        <a:pt x="274" y="201"/>
                      </a:lnTo>
                      <a:lnTo>
                        <a:pt x="274" y="200"/>
                      </a:lnTo>
                      <a:lnTo>
                        <a:pt x="273" y="200"/>
                      </a:lnTo>
                      <a:lnTo>
                        <a:pt x="273" y="199"/>
                      </a:lnTo>
                      <a:lnTo>
                        <a:pt x="273" y="198"/>
                      </a:lnTo>
                      <a:lnTo>
                        <a:pt x="272" y="198"/>
                      </a:lnTo>
                      <a:lnTo>
                        <a:pt x="271" y="199"/>
                      </a:lnTo>
                      <a:lnTo>
                        <a:pt x="271" y="198"/>
                      </a:lnTo>
                      <a:lnTo>
                        <a:pt x="270" y="199"/>
                      </a:lnTo>
                      <a:lnTo>
                        <a:pt x="270" y="200"/>
                      </a:lnTo>
                      <a:lnTo>
                        <a:pt x="270" y="201"/>
                      </a:lnTo>
                      <a:lnTo>
                        <a:pt x="269" y="201"/>
                      </a:lnTo>
                      <a:lnTo>
                        <a:pt x="267" y="201"/>
                      </a:lnTo>
                      <a:lnTo>
                        <a:pt x="266" y="201"/>
                      </a:lnTo>
                      <a:lnTo>
                        <a:pt x="266" y="202"/>
                      </a:lnTo>
                      <a:lnTo>
                        <a:pt x="266" y="203"/>
                      </a:lnTo>
                      <a:lnTo>
                        <a:pt x="265" y="203"/>
                      </a:lnTo>
                      <a:lnTo>
                        <a:pt x="265" y="205"/>
                      </a:lnTo>
                      <a:lnTo>
                        <a:pt x="265" y="206"/>
                      </a:lnTo>
                      <a:lnTo>
                        <a:pt x="265" y="207"/>
                      </a:lnTo>
                      <a:lnTo>
                        <a:pt x="264" y="207"/>
                      </a:lnTo>
                      <a:lnTo>
                        <a:pt x="264" y="208"/>
                      </a:lnTo>
                      <a:lnTo>
                        <a:pt x="263" y="209"/>
                      </a:lnTo>
                      <a:lnTo>
                        <a:pt x="262" y="209"/>
                      </a:lnTo>
                      <a:lnTo>
                        <a:pt x="260" y="209"/>
                      </a:lnTo>
                      <a:lnTo>
                        <a:pt x="260" y="210"/>
                      </a:lnTo>
                      <a:lnTo>
                        <a:pt x="260" y="212"/>
                      </a:lnTo>
                      <a:lnTo>
                        <a:pt x="262" y="212"/>
                      </a:lnTo>
                      <a:lnTo>
                        <a:pt x="262" y="213"/>
                      </a:lnTo>
                      <a:lnTo>
                        <a:pt x="260" y="213"/>
                      </a:lnTo>
                      <a:lnTo>
                        <a:pt x="260" y="214"/>
                      </a:lnTo>
                      <a:lnTo>
                        <a:pt x="259" y="215"/>
                      </a:lnTo>
                      <a:lnTo>
                        <a:pt x="259" y="216"/>
                      </a:lnTo>
                      <a:lnTo>
                        <a:pt x="259" y="217"/>
                      </a:lnTo>
                      <a:lnTo>
                        <a:pt x="258" y="217"/>
                      </a:lnTo>
                      <a:lnTo>
                        <a:pt x="258" y="219"/>
                      </a:lnTo>
                      <a:lnTo>
                        <a:pt x="257" y="219"/>
                      </a:lnTo>
                      <a:lnTo>
                        <a:pt x="257" y="220"/>
                      </a:lnTo>
                      <a:lnTo>
                        <a:pt x="256" y="220"/>
                      </a:lnTo>
                      <a:lnTo>
                        <a:pt x="251" y="220"/>
                      </a:lnTo>
                      <a:lnTo>
                        <a:pt x="249" y="220"/>
                      </a:lnTo>
                      <a:lnTo>
                        <a:pt x="248" y="219"/>
                      </a:lnTo>
                      <a:lnTo>
                        <a:pt x="247" y="219"/>
                      </a:lnTo>
                      <a:lnTo>
                        <a:pt x="247" y="217"/>
                      </a:lnTo>
                      <a:lnTo>
                        <a:pt x="245" y="217"/>
                      </a:lnTo>
                      <a:lnTo>
                        <a:pt x="244" y="217"/>
                      </a:lnTo>
                      <a:lnTo>
                        <a:pt x="243" y="217"/>
                      </a:lnTo>
                      <a:lnTo>
                        <a:pt x="242" y="216"/>
                      </a:lnTo>
                      <a:lnTo>
                        <a:pt x="241" y="216"/>
                      </a:lnTo>
                      <a:lnTo>
                        <a:pt x="241" y="217"/>
                      </a:lnTo>
                      <a:lnTo>
                        <a:pt x="238" y="216"/>
                      </a:lnTo>
                      <a:lnTo>
                        <a:pt x="237" y="216"/>
                      </a:lnTo>
                      <a:lnTo>
                        <a:pt x="236" y="215"/>
                      </a:lnTo>
                      <a:lnTo>
                        <a:pt x="235" y="215"/>
                      </a:lnTo>
                      <a:lnTo>
                        <a:pt x="234" y="215"/>
                      </a:lnTo>
                      <a:lnTo>
                        <a:pt x="233" y="215"/>
                      </a:lnTo>
                      <a:lnTo>
                        <a:pt x="231" y="215"/>
                      </a:lnTo>
                      <a:lnTo>
                        <a:pt x="230" y="215"/>
                      </a:lnTo>
                      <a:lnTo>
                        <a:pt x="227" y="216"/>
                      </a:lnTo>
                      <a:lnTo>
                        <a:pt x="226" y="216"/>
                      </a:lnTo>
                      <a:lnTo>
                        <a:pt x="224" y="215"/>
                      </a:lnTo>
                      <a:lnTo>
                        <a:pt x="223" y="216"/>
                      </a:lnTo>
                      <a:lnTo>
                        <a:pt x="223" y="215"/>
                      </a:lnTo>
                      <a:lnTo>
                        <a:pt x="222" y="215"/>
                      </a:lnTo>
                      <a:lnTo>
                        <a:pt x="220" y="214"/>
                      </a:lnTo>
                      <a:lnTo>
                        <a:pt x="219" y="214"/>
                      </a:lnTo>
                      <a:lnTo>
                        <a:pt x="217" y="214"/>
                      </a:lnTo>
                      <a:lnTo>
                        <a:pt x="217" y="215"/>
                      </a:lnTo>
                      <a:lnTo>
                        <a:pt x="216" y="215"/>
                      </a:lnTo>
                      <a:lnTo>
                        <a:pt x="215" y="215"/>
                      </a:lnTo>
                      <a:lnTo>
                        <a:pt x="215" y="214"/>
                      </a:lnTo>
                      <a:lnTo>
                        <a:pt x="214" y="214"/>
                      </a:lnTo>
                      <a:lnTo>
                        <a:pt x="214" y="213"/>
                      </a:lnTo>
                      <a:lnTo>
                        <a:pt x="213" y="212"/>
                      </a:lnTo>
                      <a:lnTo>
                        <a:pt x="212" y="212"/>
                      </a:lnTo>
                      <a:lnTo>
                        <a:pt x="209" y="210"/>
                      </a:lnTo>
                      <a:lnTo>
                        <a:pt x="206" y="210"/>
                      </a:lnTo>
                      <a:lnTo>
                        <a:pt x="205" y="210"/>
                      </a:lnTo>
                      <a:lnTo>
                        <a:pt x="203" y="210"/>
                      </a:lnTo>
                      <a:lnTo>
                        <a:pt x="202" y="210"/>
                      </a:lnTo>
                      <a:lnTo>
                        <a:pt x="200" y="210"/>
                      </a:lnTo>
                      <a:lnTo>
                        <a:pt x="198" y="212"/>
                      </a:lnTo>
                      <a:lnTo>
                        <a:pt x="196" y="212"/>
                      </a:lnTo>
                      <a:lnTo>
                        <a:pt x="196" y="210"/>
                      </a:lnTo>
                      <a:lnTo>
                        <a:pt x="193" y="208"/>
                      </a:lnTo>
                      <a:lnTo>
                        <a:pt x="193" y="207"/>
                      </a:lnTo>
                      <a:lnTo>
                        <a:pt x="193" y="206"/>
                      </a:lnTo>
                      <a:lnTo>
                        <a:pt x="193" y="205"/>
                      </a:lnTo>
                      <a:lnTo>
                        <a:pt x="192" y="203"/>
                      </a:lnTo>
                      <a:lnTo>
                        <a:pt x="191" y="203"/>
                      </a:lnTo>
                      <a:lnTo>
                        <a:pt x="191" y="201"/>
                      </a:lnTo>
                      <a:lnTo>
                        <a:pt x="190" y="200"/>
                      </a:lnTo>
                      <a:lnTo>
                        <a:pt x="188" y="200"/>
                      </a:lnTo>
                      <a:lnTo>
                        <a:pt x="186" y="199"/>
                      </a:lnTo>
                      <a:lnTo>
                        <a:pt x="185" y="199"/>
                      </a:lnTo>
                      <a:lnTo>
                        <a:pt x="184" y="196"/>
                      </a:lnTo>
                      <a:lnTo>
                        <a:pt x="181" y="195"/>
                      </a:lnTo>
                      <a:lnTo>
                        <a:pt x="180" y="194"/>
                      </a:lnTo>
                      <a:lnTo>
                        <a:pt x="179" y="194"/>
                      </a:lnTo>
                      <a:lnTo>
                        <a:pt x="179" y="193"/>
                      </a:lnTo>
                      <a:lnTo>
                        <a:pt x="176" y="193"/>
                      </a:lnTo>
                      <a:lnTo>
                        <a:pt x="174" y="193"/>
                      </a:lnTo>
                      <a:lnTo>
                        <a:pt x="174" y="192"/>
                      </a:lnTo>
                      <a:lnTo>
                        <a:pt x="174" y="191"/>
                      </a:lnTo>
                      <a:lnTo>
                        <a:pt x="173" y="191"/>
                      </a:lnTo>
                      <a:lnTo>
                        <a:pt x="173" y="189"/>
                      </a:lnTo>
                      <a:lnTo>
                        <a:pt x="171" y="189"/>
                      </a:lnTo>
                      <a:lnTo>
                        <a:pt x="171" y="188"/>
                      </a:lnTo>
                      <a:lnTo>
                        <a:pt x="170" y="188"/>
                      </a:lnTo>
                      <a:lnTo>
                        <a:pt x="166" y="188"/>
                      </a:lnTo>
                      <a:lnTo>
                        <a:pt x="165" y="188"/>
                      </a:lnTo>
                      <a:lnTo>
                        <a:pt x="164" y="188"/>
                      </a:lnTo>
                      <a:lnTo>
                        <a:pt x="163" y="188"/>
                      </a:lnTo>
                      <a:lnTo>
                        <a:pt x="160" y="188"/>
                      </a:lnTo>
                      <a:lnTo>
                        <a:pt x="159" y="188"/>
                      </a:lnTo>
                      <a:lnTo>
                        <a:pt x="159" y="189"/>
                      </a:lnTo>
                      <a:lnTo>
                        <a:pt x="158" y="189"/>
                      </a:lnTo>
                      <a:lnTo>
                        <a:pt x="156" y="192"/>
                      </a:lnTo>
                      <a:lnTo>
                        <a:pt x="155" y="193"/>
                      </a:lnTo>
                      <a:lnTo>
                        <a:pt x="153" y="193"/>
                      </a:lnTo>
                      <a:lnTo>
                        <a:pt x="153" y="194"/>
                      </a:lnTo>
                      <a:lnTo>
                        <a:pt x="152" y="194"/>
                      </a:lnTo>
                      <a:lnTo>
                        <a:pt x="151" y="194"/>
                      </a:lnTo>
                      <a:lnTo>
                        <a:pt x="150" y="194"/>
                      </a:lnTo>
                      <a:lnTo>
                        <a:pt x="150" y="195"/>
                      </a:lnTo>
                      <a:lnTo>
                        <a:pt x="149" y="195"/>
                      </a:lnTo>
                      <a:lnTo>
                        <a:pt x="149" y="196"/>
                      </a:lnTo>
                      <a:lnTo>
                        <a:pt x="149" y="198"/>
                      </a:lnTo>
                      <a:lnTo>
                        <a:pt x="148" y="199"/>
                      </a:lnTo>
                      <a:lnTo>
                        <a:pt x="148" y="200"/>
                      </a:lnTo>
                      <a:lnTo>
                        <a:pt x="146" y="201"/>
                      </a:lnTo>
                      <a:lnTo>
                        <a:pt x="145" y="201"/>
                      </a:lnTo>
                      <a:lnTo>
                        <a:pt x="144" y="203"/>
                      </a:lnTo>
                      <a:lnTo>
                        <a:pt x="143" y="203"/>
                      </a:lnTo>
                      <a:lnTo>
                        <a:pt x="143" y="205"/>
                      </a:lnTo>
                      <a:lnTo>
                        <a:pt x="142" y="206"/>
                      </a:lnTo>
                      <a:lnTo>
                        <a:pt x="142" y="207"/>
                      </a:lnTo>
                      <a:lnTo>
                        <a:pt x="139" y="210"/>
                      </a:lnTo>
                      <a:lnTo>
                        <a:pt x="139" y="212"/>
                      </a:lnTo>
                      <a:lnTo>
                        <a:pt x="138" y="213"/>
                      </a:lnTo>
                      <a:lnTo>
                        <a:pt x="136" y="213"/>
                      </a:lnTo>
                      <a:lnTo>
                        <a:pt x="135" y="213"/>
                      </a:lnTo>
                      <a:lnTo>
                        <a:pt x="134" y="213"/>
                      </a:lnTo>
                      <a:lnTo>
                        <a:pt x="132" y="213"/>
                      </a:lnTo>
                      <a:lnTo>
                        <a:pt x="132" y="214"/>
                      </a:lnTo>
                      <a:lnTo>
                        <a:pt x="132" y="215"/>
                      </a:lnTo>
                      <a:lnTo>
                        <a:pt x="134" y="216"/>
                      </a:lnTo>
                      <a:lnTo>
                        <a:pt x="134" y="217"/>
                      </a:lnTo>
                      <a:lnTo>
                        <a:pt x="135" y="219"/>
                      </a:lnTo>
                      <a:lnTo>
                        <a:pt x="135" y="221"/>
                      </a:lnTo>
                      <a:lnTo>
                        <a:pt x="136" y="223"/>
                      </a:lnTo>
                      <a:lnTo>
                        <a:pt x="136" y="226"/>
                      </a:lnTo>
                      <a:lnTo>
                        <a:pt x="135" y="227"/>
                      </a:lnTo>
                      <a:lnTo>
                        <a:pt x="135" y="228"/>
                      </a:lnTo>
                      <a:lnTo>
                        <a:pt x="135" y="229"/>
                      </a:lnTo>
                      <a:lnTo>
                        <a:pt x="135" y="230"/>
                      </a:lnTo>
                      <a:lnTo>
                        <a:pt x="134" y="234"/>
                      </a:lnTo>
                      <a:lnTo>
                        <a:pt x="135" y="241"/>
                      </a:lnTo>
                      <a:lnTo>
                        <a:pt x="134" y="241"/>
                      </a:lnTo>
                      <a:lnTo>
                        <a:pt x="132" y="240"/>
                      </a:lnTo>
                      <a:lnTo>
                        <a:pt x="131" y="237"/>
                      </a:lnTo>
                      <a:lnTo>
                        <a:pt x="130" y="236"/>
                      </a:lnTo>
                      <a:lnTo>
                        <a:pt x="129" y="236"/>
                      </a:lnTo>
                      <a:lnTo>
                        <a:pt x="129" y="237"/>
                      </a:lnTo>
                      <a:lnTo>
                        <a:pt x="128" y="237"/>
                      </a:lnTo>
                      <a:lnTo>
                        <a:pt x="128" y="238"/>
                      </a:lnTo>
                      <a:lnTo>
                        <a:pt x="127" y="238"/>
                      </a:lnTo>
                      <a:lnTo>
                        <a:pt x="127" y="237"/>
                      </a:lnTo>
                      <a:lnTo>
                        <a:pt x="124" y="238"/>
                      </a:lnTo>
                      <a:lnTo>
                        <a:pt x="123" y="238"/>
                      </a:lnTo>
                      <a:lnTo>
                        <a:pt x="122" y="240"/>
                      </a:lnTo>
                      <a:lnTo>
                        <a:pt x="122" y="241"/>
                      </a:lnTo>
                      <a:lnTo>
                        <a:pt x="121" y="241"/>
                      </a:lnTo>
                      <a:lnTo>
                        <a:pt x="120" y="241"/>
                      </a:lnTo>
                      <a:lnTo>
                        <a:pt x="120" y="240"/>
                      </a:lnTo>
                      <a:lnTo>
                        <a:pt x="119" y="238"/>
                      </a:lnTo>
                      <a:lnTo>
                        <a:pt x="117" y="238"/>
                      </a:lnTo>
                      <a:lnTo>
                        <a:pt x="116" y="238"/>
                      </a:lnTo>
                      <a:lnTo>
                        <a:pt x="115" y="238"/>
                      </a:lnTo>
                      <a:lnTo>
                        <a:pt x="115" y="240"/>
                      </a:lnTo>
                      <a:lnTo>
                        <a:pt x="114" y="240"/>
                      </a:lnTo>
                      <a:lnTo>
                        <a:pt x="113" y="238"/>
                      </a:lnTo>
                      <a:lnTo>
                        <a:pt x="112" y="240"/>
                      </a:lnTo>
                      <a:lnTo>
                        <a:pt x="110" y="240"/>
                      </a:lnTo>
                      <a:lnTo>
                        <a:pt x="110" y="238"/>
                      </a:lnTo>
                      <a:lnTo>
                        <a:pt x="109" y="238"/>
                      </a:lnTo>
                      <a:lnTo>
                        <a:pt x="109" y="237"/>
                      </a:lnTo>
                      <a:lnTo>
                        <a:pt x="108" y="236"/>
                      </a:lnTo>
                      <a:lnTo>
                        <a:pt x="108" y="237"/>
                      </a:lnTo>
                      <a:lnTo>
                        <a:pt x="107" y="237"/>
                      </a:lnTo>
                      <a:lnTo>
                        <a:pt x="107" y="236"/>
                      </a:lnTo>
                      <a:lnTo>
                        <a:pt x="106" y="236"/>
                      </a:lnTo>
                      <a:lnTo>
                        <a:pt x="103" y="236"/>
                      </a:lnTo>
                      <a:lnTo>
                        <a:pt x="102" y="236"/>
                      </a:lnTo>
                      <a:lnTo>
                        <a:pt x="101" y="236"/>
                      </a:lnTo>
                      <a:lnTo>
                        <a:pt x="100" y="235"/>
                      </a:lnTo>
                      <a:lnTo>
                        <a:pt x="99" y="235"/>
                      </a:lnTo>
                      <a:lnTo>
                        <a:pt x="99" y="234"/>
                      </a:lnTo>
                      <a:lnTo>
                        <a:pt x="98" y="234"/>
                      </a:lnTo>
                      <a:lnTo>
                        <a:pt x="96" y="235"/>
                      </a:lnTo>
                      <a:lnTo>
                        <a:pt x="95" y="235"/>
                      </a:lnTo>
                      <a:lnTo>
                        <a:pt x="94" y="236"/>
                      </a:lnTo>
                      <a:lnTo>
                        <a:pt x="94" y="237"/>
                      </a:lnTo>
                      <a:lnTo>
                        <a:pt x="93" y="237"/>
                      </a:lnTo>
                      <a:lnTo>
                        <a:pt x="92" y="236"/>
                      </a:lnTo>
                      <a:lnTo>
                        <a:pt x="91" y="236"/>
                      </a:lnTo>
                      <a:lnTo>
                        <a:pt x="91" y="237"/>
                      </a:lnTo>
                      <a:lnTo>
                        <a:pt x="89" y="238"/>
                      </a:lnTo>
                      <a:lnTo>
                        <a:pt x="88" y="238"/>
                      </a:lnTo>
                      <a:lnTo>
                        <a:pt x="87" y="238"/>
                      </a:lnTo>
                      <a:lnTo>
                        <a:pt x="86" y="238"/>
                      </a:lnTo>
                      <a:lnTo>
                        <a:pt x="85" y="238"/>
                      </a:lnTo>
                      <a:lnTo>
                        <a:pt x="84" y="240"/>
                      </a:lnTo>
                      <a:lnTo>
                        <a:pt x="82" y="240"/>
                      </a:lnTo>
                      <a:lnTo>
                        <a:pt x="82" y="238"/>
                      </a:lnTo>
                      <a:lnTo>
                        <a:pt x="81" y="238"/>
                      </a:lnTo>
                      <a:lnTo>
                        <a:pt x="80" y="238"/>
                      </a:lnTo>
                      <a:lnTo>
                        <a:pt x="79" y="238"/>
                      </a:lnTo>
                      <a:lnTo>
                        <a:pt x="79" y="240"/>
                      </a:lnTo>
                      <a:lnTo>
                        <a:pt x="78" y="240"/>
                      </a:lnTo>
                      <a:lnTo>
                        <a:pt x="74" y="240"/>
                      </a:lnTo>
                      <a:lnTo>
                        <a:pt x="73" y="240"/>
                      </a:lnTo>
                      <a:lnTo>
                        <a:pt x="72" y="240"/>
                      </a:lnTo>
                      <a:lnTo>
                        <a:pt x="71" y="241"/>
                      </a:lnTo>
                      <a:lnTo>
                        <a:pt x="70" y="242"/>
                      </a:lnTo>
                      <a:lnTo>
                        <a:pt x="70" y="243"/>
                      </a:lnTo>
                      <a:lnTo>
                        <a:pt x="68" y="245"/>
                      </a:lnTo>
                      <a:lnTo>
                        <a:pt x="68" y="248"/>
                      </a:lnTo>
                      <a:lnTo>
                        <a:pt x="68" y="249"/>
                      </a:lnTo>
                      <a:lnTo>
                        <a:pt x="67" y="251"/>
                      </a:lnTo>
                      <a:lnTo>
                        <a:pt x="66" y="251"/>
                      </a:lnTo>
                      <a:lnTo>
                        <a:pt x="66" y="252"/>
                      </a:lnTo>
                      <a:lnTo>
                        <a:pt x="67" y="254"/>
                      </a:lnTo>
                      <a:lnTo>
                        <a:pt x="67" y="255"/>
                      </a:lnTo>
                      <a:lnTo>
                        <a:pt x="67" y="256"/>
                      </a:lnTo>
                      <a:lnTo>
                        <a:pt x="66" y="258"/>
                      </a:lnTo>
                      <a:lnTo>
                        <a:pt x="66" y="259"/>
                      </a:lnTo>
                      <a:lnTo>
                        <a:pt x="67" y="261"/>
                      </a:lnTo>
                      <a:lnTo>
                        <a:pt x="67" y="262"/>
                      </a:lnTo>
                      <a:lnTo>
                        <a:pt x="66" y="263"/>
                      </a:lnTo>
                      <a:lnTo>
                        <a:pt x="65" y="265"/>
                      </a:lnTo>
                      <a:lnTo>
                        <a:pt x="65" y="266"/>
                      </a:lnTo>
                      <a:lnTo>
                        <a:pt x="64" y="269"/>
                      </a:lnTo>
                      <a:lnTo>
                        <a:pt x="63" y="272"/>
                      </a:lnTo>
                      <a:lnTo>
                        <a:pt x="62" y="275"/>
                      </a:lnTo>
                      <a:lnTo>
                        <a:pt x="59" y="277"/>
                      </a:lnTo>
                      <a:lnTo>
                        <a:pt x="58" y="280"/>
                      </a:lnTo>
                      <a:lnTo>
                        <a:pt x="58" y="279"/>
                      </a:lnTo>
                      <a:lnTo>
                        <a:pt x="57" y="279"/>
                      </a:lnTo>
                      <a:lnTo>
                        <a:pt x="57" y="278"/>
                      </a:lnTo>
                      <a:lnTo>
                        <a:pt x="57" y="277"/>
                      </a:lnTo>
                      <a:lnTo>
                        <a:pt x="56" y="277"/>
                      </a:lnTo>
                      <a:lnTo>
                        <a:pt x="56" y="276"/>
                      </a:lnTo>
                      <a:lnTo>
                        <a:pt x="56" y="275"/>
                      </a:lnTo>
                      <a:lnTo>
                        <a:pt x="56" y="273"/>
                      </a:lnTo>
                      <a:lnTo>
                        <a:pt x="55" y="272"/>
                      </a:lnTo>
                      <a:lnTo>
                        <a:pt x="55" y="271"/>
                      </a:lnTo>
                      <a:lnTo>
                        <a:pt x="56" y="270"/>
                      </a:lnTo>
                      <a:lnTo>
                        <a:pt x="56" y="269"/>
                      </a:lnTo>
                      <a:lnTo>
                        <a:pt x="55" y="268"/>
                      </a:lnTo>
                      <a:lnTo>
                        <a:pt x="55" y="266"/>
                      </a:lnTo>
                      <a:lnTo>
                        <a:pt x="56" y="265"/>
                      </a:lnTo>
                      <a:lnTo>
                        <a:pt x="55" y="265"/>
                      </a:lnTo>
                      <a:lnTo>
                        <a:pt x="53" y="265"/>
                      </a:lnTo>
                      <a:lnTo>
                        <a:pt x="53" y="264"/>
                      </a:lnTo>
                      <a:lnTo>
                        <a:pt x="53" y="263"/>
                      </a:lnTo>
                      <a:lnTo>
                        <a:pt x="55" y="262"/>
                      </a:lnTo>
                      <a:lnTo>
                        <a:pt x="55" y="261"/>
                      </a:lnTo>
                      <a:lnTo>
                        <a:pt x="55" y="259"/>
                      </a:lnTo>
                      <a:lnTo>
                        <a:pt x="53" y="258"/>
                      </a:lnTo>
                      <a:lnTo>
                        <a:pt x="53" y="257"/>
                      </a:lnTo>
                      <a:lnTo>
                        <a:pt x="52" y="257"/>
                      </a:lnTo>
                      <a:lnTo>
                        <a:pt x="51" y="257"/>
                      </a:lnTo>
                      <a:lnTo>
                        <a:pt x="50" y="255"/>
                      </a:lnTo>
                      <a:lnTo>
                        <a:pt x="50" y="254"/>
                      </a:lnTo>
                      <a:lnTo>
                        <a:pt x="49" y="254"/>
                      </a:lnTo>
                      <a:lnTo>
                        <a:pt x="48" y="254"/>
                      </a:lnTo>
                      <a:lnTo>
                        <a:pt x="46" y="254"/>
                      </a:lnTo>
                      <a:lnTo>
                        <a:pt x="46" y="252"/>
                      </a:lnTo>
                      <a:lnTo>
                        <a:pt x="46" y="254"/>
                      </a:lnTo>
                      <a:lnTo>
                        <a:pt x="45" y="254"/>
                      </a:lnTo>
                      <a:lnTo>
                        <a:pt x="43" y="250"/>
                      </a:lnTo>
                      <a:lnTo>
                        <a:pt x="39" y="248"/>
                      </a:lnTo>
                      <a:lnTo>
                        <a:pt x="36" y="244"/>
                      </a:lnTo>
                      <a:lnTo>
                        <a:pt x="34" y="241"/>
                      </a:lnTo>
                      <a:lnTo>
                        <a:pt x="30" y="237"/>
                      </a:lnTo>
                      <a:lnTo>
                        <a:pt x="28" y="236"/>
                      </a:lnTo>
                      <a:lnTo>
                        <a:pt x="28" y="235"/>
                      </a:lnTo>
                      <a:lnTo>
                        <a:pt x="25" y="233"/>
                      </a:lnTo>
                      <a:lnTo>
                        <a:pt x="23" y="229"/>
                      </a:lnTo>
                      <a:lnTo>
                        <a:pt x="21" y="224"/>
                      </a:lnTo>
                      <a:lnTo>
                        <a:pt x="22" y="224"/>
                      </a:lnTo>
                      <a:lnTo>
                        <a:pt x="23" y="224"/>
                      </a:lnTo>
                      <a:lnTo>
                        <a:pt x="24" y="223"/>
                      </a:lnTo>
                      <a:lnTo>
                        <a:pt x="25" y="223"/>
                      </a:lnTo>
                      <a:lnTo>
                        <a:pt x="25" y="222"/>
                      </a:lnTo>
                      <a:lnTo>
                        <a:pt x="24" y="222"/>
                      </a:lnTo>
                      <a:lnTo>
                        <a:pt x="24" y="221"/>
                      </a:lnTo>
                      <a:lnTo>
                        <a:pt x="23" y="221"/>
                      </a:lnTo>
                      <a:lnTo>
                        <a:pt x="23" y="220"/>
                      </a:lnTo>
                      <a:lnTo>
                        <a:pt x="22" y="219"/>
                      </a:lnTo>
                      <a:lnTo>
                        <a:pt x="22" y="216"/>
                      </a:lnTo>
                      <a:lnTo>
                        <a:pt x="22" y="215"/>
                      </a:lnTo>
                      <a:lnTo>
                        <a:pt x="21" y="214"/>
                      </a:lnTo>
                      <a:lnTo>
                        <a:pt x="20" y="213"/>
                      </a:lnTo>
                      <a:lnTo>
                        <a:pt x="20" y="212"/>
                      </a:lnTo>
                      <a:lnTo>
                        <a:pt x="18" y="212"/>
                      </a:lnTo>
                      <a:lnTo>
                        <a:pt x="13" y="208"/>
                      </a:lnTo>
                      <a:lnTo>
                        <a:pt x="11" y="207"/>
                      </a:lnTo>
                      <a:lnTo>
                        <a:pt x="10" y="206"/>
                      </a:lnTo>
                      <a:lnTo>
                        <a:pt x="10" y="203"/>
                      </a:lnTo>
                      <a:lnTo>
                        <a:pt x="10" y="201"/>
                      </a:lnTo>
                      <a:lnTo>
                        <a:pt x="10" y="200"/>
                      </a:lnTo>
                      <a:lnTo>
                        <a:pt x="10" y="199"/>
                      </a:lnTo>
                      <a:lnTo>
                        <a:pt x="10" y="196"/>
                      </a:lnTo>
                      <a:lnTo>
                        <a:pt x="9" y="195"/>
                      </a:lnTo>
                      <a:lnTo>
                        <a:pt x="9" y="194"/>
                      </a:lnTo>
                      <a:lnTo>
                        <a:pt x="9" y="193"/>
                      </a:lnTo>
                      <a:lnTo>
                        <a:pt x="9" y="192"/>
                      </a:lnTo>
                      <a:lnTo>
                        <a:pt x="9" y="191"/>
                      </a:lnTo>
                      <a:lnTo>
                        <a:pt x="9" y="188"/>
                      </a:lnTo>
                      <a:lnTo>
                        <a:pt x="9" y="187"/>
                      </a:lnTo>
                      <a:lnTo>
                        <a:pt x="8" y="187"/>
                      </a:lnTo>
                      <a:lnTo>
                        <a:pt x="8" y="186"/>
                      </a:lnTo>
                      <a:lnTo>
                        <a:pt x="7" y="186"/>
                      </a:lnTo>
                      <a:lnTo>
                        <a:pt x="6" y="186"/>
                      </a:lnTo>
                      <a:lnTo>
                        <a:pt x="6" y="185"/>
                      </a:lnTo>
                      <a:lnTo>
                        <a:pt x="4" y="185"/>
                      </a:lnTo>
                      <a:lnTo>
                        <a:pt x="4" y="184"/>
                      </a:lnTo>
                      <a:lnTo>
                        <a:pt x="6" y="184"/>
                      </a:lnTo>
                      <a:lnTo>
                        <a:pt x="6" y="182"/>
                      </a:lnTo>
                      <a:lnTo>
                        <a:pt x="6" y="181"/>
                      </a:lnTo>
                      <a:lnTo>
                        <a:pt x="7" y="181"/>
                      </a:lnTo>
                      <a:lnTo>
                        <a:pt x="7" y="180"/>
                      </a:lnTo>
                      <a:lnTo>
                        <a:pt x="7" y="179"/>
                      </a:lnTo>
                      <a:lnTo>
                        <a:pt x="8" y="178"/>
                      </a:lnTo>
                      <a:lnTo>
                        <a:pt x="8" y="177"/>
                      </a:lnTo>
                      <a:lnTo>
                        <a:pt x="7" y="175"/>
                      </a:lnTo>
                      <a:lnTo>
                        <a:pt x="7" y="174"/>
                      </a:lnTo>
                      <a:lnTo>
                        <a:pt x="7" y="173"/>
                      </a:lnTo>
                      <a:lnTo>
                        <a:pt x="7" y="172"/>
                      </a:lnTo>
                      <a:lnTo>
                        <a:pt x="8" y="171"/>
                      </a:lnTo>
                      <a:lnTo>
                        <a:pt x="8" y="170"/>
                      </a:lnTo>
                      <a:lnTo>
                        <a:pt x="8" y="166"/>
                      </a:lnTo>
                      <a:lnTo>
                        <a:pt x="7" y="165"/>
                      </a:lnTo>
                      <a:lnTo>
                        <a:pt x="7" y="164"/>
                      </a:lnTo>
                      <a:lnTo>
                        <a:pt x="6" y="164"/>
                      </a:lnTo>
                      <a:lnTo>
                        <a:pt x="6" y="165"/>
                      </a:lnTo>
                      <a:lnTo>
                        <a:pt x="4" y="165"/>
                      </a:lnTo>
                      <a:lnTo>
                        <a:pt x="3" y="165"/>
                      </a:lnTo>
                      <a:lnTo>
                        <a:pt x="2" y="164"/>
                      </a:lnTo>
                      <a:lnTo>
                        <a:pt x="2" y="163"/>
                      </a:lnTo>
                      <a:lnTo>
                        <a:pt x="1" y="161"/>
                      </a:lnTo>
                      <a:lnTo>
                        <a:pt x="0" y="160"/>
                      </a:lnTo>
                      <a:lnTo>
                        <a:pt x="1" y="160"/>
                      </a:lnTo>
                      <a:lnTo>
                        <a:pt x="1" y="159"/>
                      </a:lnTo>
                      <a:lnTo>
                        <a:pt x="2" y="159"/>
                      </a:lnTo>
                      <a:lnTo>
                        <a:pt x="1" y="159"/>
                      </a:lnTo>
                      <a:lnTo>
                        <a:pt x="2" y="158"/>
                      </a:lnTo>
                      <a:lnTo>
                        <a:pt x="3" y="158"/>
                      </a:lnTo>
                      <a:lnTo>
                        <a:pt x="4" y="157"/>
                      </a:lnTo>
                      <a:lnTo>
                        <a:pt x="4" y="156"/>
                      </a:lnTo>
                      <a:lnTo>
                        <a:pt x="6" y="156"/>
                      </a:lnTo>
                      <a:lnTo>
                        <a:pt x="10" y="153"/>
                      </a:lnTo>
                      <a:lnTo>
                        <a:pt x="11" y="153"/>
                      </a:lnTo>
                      <a:lnTo>
                        <a:pt x="13" y="151"/>
                      </a:lnTo>
                      <a:lnTo>
                        <a:pt x="13" y="150"/>
                      </a:lnTo>
                      <a:lnTo>
                        <a:pt x="13" y="149"/>
                      </a:lnTo>
                      <a:lnTo>
                        <a:pt x="14" y="147"/>
                      </a:lnTo>
                      <a:lnTo>
                        <a:pt x="17" y="139"/>
                      </a:lnTo>
                      <a:lnTo>
                        <a:pt x="17" y="138"/>
                      </a:lnTo>
                      <a:lnTo>
                        <a:pt x="18" y="138"/>
                      </a:lnTo>
                      <a:lnTo>
                        <a:pt x="21" y="137"/>
                      </a:lnTo>
                      <a:lnTo>
                        <a:pt x="21" y="136"/>
                      </a:lnTo>
                      <a:lnTo>
                        <a:pt x="21" y="135"/>
                      </a:lnTo>
                      <a:lnTo>
                        <a:pt x="22" y="133"/>
                      </a:lnTo>
                      <a:lnTo>
                        <a:pt x="23" y="131"/>
                      </a:lnTo>
                      <a:lnTo>
                        <a:pt x="23" y="129"/>
                      </a:lnTo>
                      <a:lnTo>
                        <a:pt x="24" y="128"/>
                      </a:lnTo>
                      <a:lnTo>
                        <a:pt x="25" y="128"/>
                      </a:lnTo>
                      <a:lnTo>
                        <a:pt x="25" y="126"/>
                      </a:lnTo>
                      <a:lnTo>
                        <a:pt x="25" y="124"/>
                      </a:lnTo>
                      <a:lnTo>
                        <a:pt x="25" y="123"/>
                      </a:lnTo>
                      <a:lnTo>
                        <a:pt x="27" y="122"/>
                      </a:lnTo>
                      <a:lnTo>
                        <a:pt x="28" y="121"/>
                      </a:lnTo>
                      <a:lnTo>
                        <a:pt x="30" y="119"/>
                      </a:lnTo>
                      <a:lnTo>
                        <a:pt x="31" y="118"/>
                      </a:lnTo>
                      <a:lnTo>
                        <a:pt x="32" y="117"/>
                      </a:lnTo>
                      <a:lnTo>
                        <a:pt x="34" y="117"/>
                      </a:lnTo>
                      <a:lnTo>
                        <a:pt x="32" y="116"/>
                      </a:lnTo>
                      <a:lnTo>
                        <a:pt x="35" y="114"/>
                      </a:lnTo>
                      <a:lnTo>
                        <a:pt x="35" y="112"/>
                      </a:lnTo>
                      <a:lnTo>
                        <a:pt x="36" y="114"/>
                      </a:lnTo>
                      <a:lnTo>
                        <a:pt x="37" y="114"/>
                      </a:lnTo>
                      <a:lnTo>
                        <a:pt x="39" y="112"/>
                      </a:lnTo>
                      <a:lnTo>
                        <a:pt x="41" y="114"/>
                      </a:lnTo>
                      <a:lnTo>
                        <a:pt x="42" y="115"/>
                      </a:lnTo>
                      <a:lnTo>
                        <a:pt x="44" y="115"/>
                      </a:lnTo>
                      <a:lnTo>
                        <a:pt x="49" y="114"/>
                      </a:lnTo>
                      <a:lnTo>
                        <a:pt x="50" y="114"/>
                      </a:lnTo>
                      <a:lnTo>
                        <a:pt x="51" y="112"/>
                      </a:lnTo>
                      <a:lnTo>
                        <a:pt x="51" y="111"/>
                      </a:lnTo>
                      <a:lnTo>
                        <a:pt x="52" y="111"/>
                      </a:lnTo>
                      <a:lnTo>
                        <a:pt x="53" y="110"/>
                      </a:lnTo>
                      <a:lnTo>
                        <a:pt x="56" y="110"/>
                      </a:lnTo>
                      <a:lnTo>
                        <a:pt x="57" y="110"/>
                      </a:lnTo>
                      <a:lnTo>
                        <a:pt x="58" y="110"/>
                      </a:lnTo>
                      <a:lnTo>
                        <a:pt x="58" y="109"/>
                      </a:lnTo>
                      <a:lnTo>
                        <a:pt x="59" y="109"/>
                      </a:lnTo>
                      <a:lnTo>
                        <a:pt x="60" y="109"/>
                      </a:lnTo>
                      <a:lnTo>
                        <a:pt x="63" y="108"/>
                      </a:lnTo>
                      <a:lnTo>
                        <a:pt x="64" y="108"/>
                      </a:lnTo>
                      <a:lnTo>
                        <a:pt x="64" y="105"/>
                      </a:lnTo>
                      <a:lnTo>
                        <a:pt x="64" y="104"/>
                      </a:lnTo>
                      <a:lnTo>
                        <a:pt x="65" y="104"/>
                      </a:lnTo>
                      <a:lnTo>
                        <a:pt x="66" y="104"/>
                      </a:lnTo>
                      <a:lnTo>
                        <a:pt x="66" y="103"/>
                      </a:lnTo>
                      <a:lnTo>
                        <a:pt x="66" y="102"/>
                      </a:lnTo>
                      <a:lnTo>
                        <a:pt x="67" y="102"/>
                      </a:lnTo>
                      <a:lnTo>
                        <a:pt x="68" y="102"/>
                      </a:lnTo>
                      <a:lnTo>
                        <a:pt x="68" y="103"/>
                      </a:lnTo>
                      <a:lnTo>
                        <a:pt x="68" y="104"/>
                      </a:lnTo>
                      <a:lnTo>
                        <a:pt x="70" y="105"/>
                      </a:lnTo>
                      <a:lnTo>
                        <a:pt x="71" y="105"/>
                      </a:lnTo>
                      <a:lnTo>
                        <a:pt x="71" y="107"/>
                      </a:lnTo>
                      <a:lnTo>
                        <a:pt x="71" y="108"/>
                      </a:lnTo>
                      <a:lnTo>
                        <a:pt x="72" y="109"/>
                      </a:lnTo>
                      <a:lnTo>
                        <a:pt x="73" y="109"/>
                      </a:lnTo>
                      <a:lnTo>
                        <a:pt x="74" y="111"/>
                      </a:lnTo>
                      <a:lnTo>
                        <a:pt x="75" y="112"/>
                      </a:lnTo>
                      <a:lnTo>
                        <a:pt x="77" y="112"/>
                      </a:lnTo>
                      <a:lnTo>
                        <a:pt x="78" y="111"/>
                      </a:lnTo>
                      <a:lnTo>
                        <a:pt x="78" y="110"/>
                      </a:lnTo>
                      <a:lnTo>
                        <a:pt x="79" y="109"/>
                      </a:lnTo>
                      <a:lnTo>
                        <a:pt x="80" y="109"/>
                      </a:lnTo>
                      <a:lnTo>
                        <a:pt x="81" y="109"/>
                      </a:lnTo>
                      <a:lnTo>
                        <a:pt x="82" y="109"/>
                      </a:lnTo>
                      <a:lnTo>
                        <a:pt x="82" y="108"/>
                      </a:lnTo>
                      <a:lnTo>
                        <a:pt x="84" y="108"/>
                      </a:lnTo>
                      <a:lnTo>
                        <a:pt x="85" y="108"/>
                      </a:lnTo>
                      <a:lnTo>
                        <a:pt x="85" y="107"/>
                      </a:lnTo>
                      <a:lnTo>
                        <a:pt x="86" y="108"/>
                      </a:lnTo>
                      <a:lnTo>
                        <a:pt x="87" y="108"/>
                      </a:lnTo>
                      <a:lnTo>
                        <a:pt x="87" y="107"/>
                      </a:lnTo>
                      <a:lnTo>
                        <a:pt x="88" y="105"/>
                      </a:lnTo>
                      <a:lnTo>
                        <a:pt x="89" y="105"/>
                      </a:lnTo>
                      <a:lnTo>
                        <a:pt x="89" y="104"/>
                      </a:lnTo>
                      <a:lnTo>
                        <a:pt x="91" y="103"/>
                      </a:lnTo>
                      <a:lnTo>
                        <a:pt x="95" y="102"/>
                      </a:lnTo>
                      <a:lnTo>
                        <a:pt x="95" y="101"/>
                      </a:lnTo>
                      <a:lnTo>
                        <a:pt x="96" y="101"/>
                      </a:lnTo>
                      <a:lnTo>
                        <a:pt x="98" y="101"/>
                      </a:lnTo>
                      <a:lnTo>
                        <a:pt x="99" y="100"/>
                      </a:lnTo>
                      <a:lnTo>
                        <a:pt x="100" y="100"/>
                      </a:lnTo>
                      <a:lnTo>
                        <a:pt x="101" y="100"/>
                      </a:lnTo>
                      <a:lnTo>
                        <a:pt x="102" y="98"/>
                      </a:lnTo>
                      <a:lnTo>
                        <a:pt x="103" y="98"/>
                      </a:lnTo>
                      <a:lnTo>
                        <a:pt x="103" y="97"/>
                      </a:lnTo>
                      <a:lnTo>
                        <a:pt x="105" y="98"/>
                      </a:lnTo>
                      <a:lnTo>
                        <a:pt x="109" y="98"/>
                      </a:lnTo>
                      <a:lnTo>
                        <a:pt x="110" y="98"/>
                      </a:lnTo>
                      <a:lnTo>
                        <a:pt x="112" y="98"/>
                      </a:lnTo>
                      <a:lnTo>
                        <a:pt x="114" y="97"/>
                      </a:lnTo>
                      <a:lnTo>
                        <a:pt x="117" y="97"/>
                      </a:lnTo>
                      <a:lnTo>
                        <a:pt x="131" y="96"/>
                      </a:lnTo>
                      <a:lnTo>
                        <a:pt x="134" y="96"/>
                      </a:lnTo>
                      <a:lnTo>
                        <a:pt x="135" y="95"/>
                      </a:lnTo>
                      <a:lnTo>
                        <a:pt x="135" y="93"/>
                      </a:lnTo>
                      <a:lnTo>
                        <a:pt x="135" y="91"/>
                      </a:lnTo>
                      <a:lnTo>
                        <a:pt x="136" y="90"/>
                      </a:lnTo>
                      <a:lnTo>
                        <a:pt x="137" y="90"/>
                      </a:lnTo>
                      <a:lnTo>
                        <a:pt x="139" y="89"/>
                      </a:lnTo>
                      <a:lnTo>
                        <a:pt x="141" y="88"/>
                      </a:lnTo>
                      <a:lnTo>
                        <a:pt x="142" y="87"/>
                      </a:lnTo>
                      <a:lnTo>
                        <a:pt x="143" y="86"/>
                      </a:lnTo>
                      <a:lnTo>
                        <a:pt x="143" y="84"/>
                      </a:lnTo>
                      <a:lnTo>
                        <a:pt x="144" y="83"/>
                      </a:lnTo>
                      <a:lnTo>
                        <a:pt x="146" y="80"/>
                      </a:lnTo>
                      <a:lnTo>
                        <a:pt x="149" y="77"/>
                      </a:lnTo>
                      <a:lnTo>
                        <a:pt x="149" y="76"/>
                      </a:lnTo>
                      <a:lnTo>
                        <a:pt x="150" y="75"/>
                      </a:lnTo>
                      <a:lnTo>
                        <a:pt x="149" y="74"/>
                      </a:lnTo>
                      <a:lnTo>
                        <a:pt x="148" y="74"/>
                      </a:lnTo>
                      <a:lnTo>
                        <a:pt x="144" y="72"/>
                      </a:lnTo>
                      <a:lnTo>
                        <a:pt x="143" y="70"/>
                      </a:lnTo>
                      <a:lnTo>
                        <a:pt x="142" y="70"/>
                      </a:lnTo>
                      <a:lnTo>
                        <a:pt x="142" y="69"/>
                      </a:lnTo>
                      <a:lnTo>
                        <a:pt x="143" y="68"/>
                      </a:lnTo>
                      <a:lnTo>
                        <a:pt x="144" y="68"/>
                      </a:lnTo>
                      <a:lnTo>
                        <a:pt x="145" y="67"/>
                      </a:lnTo>
                      <a:lnTo>
                        <a:pt x="146" y="66"/>
                      </a:lnTo>
                      <a:lnTo>
                        <a:pt x="149" y="65"/>
                      </a:lnTo>
                      <a:lnTo>
                        <a:pt x="150" y="65"/>
                      </a:lnTo>
                      <a:lnTo>
                        <a:pt x="151" y="65"/>
                      </a:lnTo>
                      <a:lnTo>
                        <a:pt x="152" y="65"/>
                      </a:lnTo>
                      <a:lnTo>
                        <a:pt x="153" y="65"/>
                      </a:lnTo>
                      <a:lnTo>
                        <a:pt x="155" y="65"/>
                      </a:lnTo>
                      <a:lnTo>
                        <a:pt x="156" y="65"/>
                      </a:lnTo>
                      <a:lnTo>
                        <a:pt x="157" y="65"/>
                      </a:lnTo>
                      <a:lnTo>
                        <a:pt x="158" y="65"/>
                      </a:lnTo>
                      <a:lnTo>
                        <a:pt x="158" y="66"/>
                      </a:lnTo>
                      <a:lnTo>
                        <a:pt x="158" y="65"/>
                      </a:lnTo>
                      <a:lnTo>
                        <a:pt x="159" y="65"/>
                      </a:lnTo>
                      <a:lnTo>
                        <a:pt x="160" y="65"/>
                      </a:lnTo>
                      <a:lnTo>
                        <a:pt x="163" y="65"/>
                      </a:lnTo>
                      <a:lnTo>
                        <a:pt x="164" y="65"/>
                      </a:lnTo>
                      <a:lnTo>
                        <a:pt x="165" y="65"/>
                      </a:lnTo>
                      <a:lnTo>
                        <a:pt x="166" y="65"/>
                      </a:lnTo>
                      <a:lnTo>
                        <a:pt x="167" y="65"/>
                      </a:lnTo>
                      <a:lnTo>
                        <a:pt x="169" y="65"/>
                      </a:lnTo>
                      <a:lnTo>
                        <a:pt x="170" y="63"/>
                      </a:lnTo>
                      <a:lnTo>
                        <a:pt x="171" y="63"/>
                      </a:lnTo>
                      <a:lnTo>
                        <a:pt x="172" y="63"/>
                      </a:lnTo>
                      <a:lnTo>
                        <a:pt x="174" y="63"/>
                      </a:lnTo>
                      <a:lnTo>
                        <a:pt x="176" y="63"/>
                      </a:lnTo>
                      <a:lnTo>
                        <a:pt x="177" y="63"/>
                      </a:lnTo>
                      <a:lnTo>
                        <a:pt x="177" y="62"/>
                      </a:lnTo>
                      <a:lnTo>
                        <a:pt x="178" y="62"/>
                      </a:lnTo>
                      <a:lnTo>
                        <a:pt x="178" y="61"/>
                      </a:lnTo>
                      <a:lnTo>
                        <a:pt x="179" y="62"/>
                      </a:lnTo>
                      <a:lnTo>
                        <a:pt x="179" y="61"/>
                      </a:lnTo>
                      <a:lnTo>
                        <a:pt x="180" y="61"/>
                      </a:lnTo>
                      <a:lnTo>
                        <a:pt x="181" y="61"/>
                      </a:lnTo>
                      <a:lnTo>
                        <a:pt x="181" y="60"/>
                      </a:lnTo>
                      <a:lnTo>
                        <a:pt x="183" y="61"/>
                      </a:lnTo>
                      <a:lnTo>
                        <a:pt x="184" y="61"/>
                      </a:lnTo>
                      <a:lnTo>
                        <a:pt x="185" y="61"/>
                      </a:lnTo>
                      <a:lnTo>
                        <a:pt x="185" y="60"/>
                      </a:lnTo>
                      <a:lnTo>
                        <a:pt x="185" y="61"/>
                      </a:lnTo>
                      <a:lnTo>
                        <a:pt x="186" y="61"/>
                      </a:lnTo>
                      <a:lnTo>
                        <a:pt x="187" y="61"/>
                      </a:lnTo>
                      <a:lnTo>
                        <a:pt x="190" y="61"/>
                      </a:lnTo>
                      <a:lnTo>
                        <a:pt x="191" y="61"/>
                      </a:lnTo>
                      <a:lnTo>
                        <a:pt x="192" y="61"/>
                      </a:lnTo>
                      <a:lnTo>
                        <a:pt x="193" y="60"/>
                      </a:lnTo>
                      <a:lnTo>
                        <a:pt x="193" y="59"/>
                      </a:lnTo>
                      <a:lnTo>
                        <a:pt x="194" y="59"/>
                      </a:lnTo>
                      <a:lnTo>
                        <a:pt x="194" y="58"/>
                      </a:lnTo>
                      <a:lnTo>
                        <a:pt x="194" y="56"/>
                      </a:lnTo>
                      <a:lnTo>
                        <a:pt x="195" y="56"/>
                      </a:lnTo>
                      <a:lnTo>
                        <a:pt x="195" y="55"/>
                      </a:lnTo>
                      <a:lnTo>
                        <a:pt x="196" y="55"/>
                      </a:lnTo>
                      <a:lnTo>
                        <a:pt x="198" y="55"/>
                      </a:lnTo>
                      <a:lnTo>
                        <a:pt x="199" y="55"/>
                      </a:lnTo>
                      <a:lnTo>
                        <a:pt x="199" y="54"/>
                      </a:lnTo>
                      <a:lnTo>
                        <a:pt x="200" y="53"/>
                      </a:lnTo>
                      <a:lnTo>
                        <a:pt x="201" y="53"/>
                      </a:lnTo>
                      <a:lnTo>
                        <a:pt x="202" y="53"/>
                      </a:lnTo>
                      <a:lnTo>
                        <a:pt x="202" y="52"/>
                      </a:lnTo>
                      <a:lnTo>
                        <a:pt x="203" y="52"/>
                      </a:lnTo>
                      <a:lnTo>
                        <a:pt x="205" y="52"/>
                      </a:lnTo>
                      <a:lnTo>
                        <a:pt x="205" y="51"/>
                      </a:lnTo>
                      <a:lnTo>
                        <a:pt x="205" y="49"/>
                      </a:lnTo>
                      <a:lnTo>
                        <a:pt x="206" y="49"/>
                      </a:lnTo>
                      <a:lnTo>
                        <a:pt x="207" y="47"/>
                      </a:lnTo>
                      <a:lnTo>
                        <a:pt x="208" y="47"/>
                      </a:lnTo>
                      <a:lnTo>
                        <a:pt x="208" y="46"/>
                      </a:lnTo>
                      <a:lnTo>
                        <a:pt x="209" y="46"/>
                      </a:lnTo>
                      <a:lnTo>
                        <a:pt x="209" y="45"/>
                      </a:lnTo>
                      <a:lnTo>
                        <a:pt x="209" y="44"/>
                      </a:lnTo>
                      <a:lnTo>
                        <a:pt x="209" y="42"/>
                      </a:lnTo>
                      <a:lnTo>
                        <a:pt x="210" y="41"/>
                      </a:lnTo>
                      <a:lnTo>
                        <a:pt x="212" y="40"/>
                      </a:lnTo>
                      <a:lnTo>
                        <a:pt x="212" y="41"/>
                      </a:lnTo>
                      <a:lnTo>
                        <a:pt x="213" y="40"/>
                      </a:lnTo>
                      <a:lnTo>
                        <a:pt x="214" y="39"/>
                      </a:lnTo>
                      <a:lnTo>
                        <a:pt x="214" y="38"/>
                      </a:lnTo>
                      <a:lnTo>
                        <a:pt x="216" y="37"/>
                      </a:lnTo>
                      <a:lnTo>
                        <a:pt x="216" y="35"/>
                      </a:lnTo>
                      <a:lnTo>
                        <a:pt x="219" y="34"/>
                      </a:lnTo>
                      <a:lnTo>
                        <a:pt x="219" y="33"/>
                      </a:lnTo>
                      <a:lnTo>
                        <a:pt x="220" y="34"/>
                      </a:lnTo>
                      <a:lnTo>
                        <a:pt x="221" y="34"/>
                      </a:lnTo>
                      <a:lnTo>
                        <a:pt x="222" y="34"/>
                      </a:lnTo>
                      <a:lnTo>
                        <a:pt x="223" y="33"/>
                      </a:lnTo>
                      <a:lnTo>
                        <a:pt x="223" y="32"/>
                      </a:lnTo>
                      <a:lnTo>
                        <a:pt x="226" y="27"/>
                      </a:lnTo>
                      <a:lnTo>
                        <a:pt x="226" y="26"/>
                      </a:lnTo>
                      <a:lnTo>
                        <a:pt x="227" y="26"/>
                      </a:lnTo>
                      <a:lnTo>
                        <a:pt x="228" y="26"/>
                      </a:lnTo>
                      <a:lnTo>
                        <a:pt x="229" y="26"/>
                      </a:lnTo>
                      <a:lnTo>
                        <a:pt x="230" y="26"/>
                      </a:lnTo>
                      <a:lnTo>
                        <a:pt x="230" y="25"/>
                      </a:lnTo>
                      <a:lnTo>
                        <a:pt x="231" y="25"/>
                      </a:lnTo>
                      <a:lnTo>
                        <a:pt x="231" y="24"/>
                      </a:lnTo>
                      <a:lnTo>
                        <a:pt x="233" y="24"/>
                      </a:lnTo>
                      <a:lnTo>
                        <a:pt x="233" y="23"/>
                      </a:lnTo>
                      <a:lnTo>
                        <a:pt x="233" y="21"/>
                      </a:lnTo>
                      <a:lnTo>
                        <a:pt x="234" y="19"/>
                      </a:lnTo>
                      <a:lnTo>
                        <a:pt x="234" y="18"/>
                      </a:lnTo>
                      <a:lnTo>
                        <a:pt x="233" y="18"/>
                      </a:lnTo>
                      <a:lnTo>
                        <a:pt x="233" y="17"/>
                      </a:lnTo>
                      <a:lnTo>
                        <a:pt x="233" y="16"/>
                      </a:lnTo>
                      <a:lnTo>
                        <a:pt x="233" y="14"/>
                      </a:lnTo>
                      <a:lnTo>
                        <a:pt x="233" y="13"/>
                      </a:lnTo>
                      <a:lnTo>
                        <a:pt x="233" y="12"/>
                      </a:lnTo>
                      <a:lnTo>
                        <a:pt x="234" y="12"/>
                      </a:lnTo>
                      <a:lnTo>
                        <a:pt x="235" y="12"/>
                      </a:lnTo>
                      <a:lnTo>
                        <a:pt x="235" y="11"/>
                      </a:lnTo>
                      <a:lnTo>
                        <a:pt x="236" y="11"/>
                      </a:lnTo>
                      <a:lnTo>
                        <a:pt x="237" y="11"/>
                      </a:lnTo>
                      <a:lnTo>
                        <a:pt x="238" y="11"/>
                      </a:lnTo>
                      <a:lnTo>
                        <a:pt x="240" y="10"/>
                      </a:lnTo>
                      <a:lnTo>
                        <a:pt x="242" y="9"/>
                      </a:lnTo>
                      <a:lnTo>
                        <a:pt x="242" y="7"/>
                      </a:lnTo>
                      <a:lnTo>
                        <a:pt x="242" y="6"/>
                      </a:lnTo>
                      <a:lnTo>
                        <a:pt x="243" y="6"/>
                      </a:lnTo>
                      <a:lnTo>
                        <a:pt x="245" y="6"/>
                      </a:lnTo>
                      <a:lnTo>
                        <a:pt x="247" y="6"/>
                      </a:lnTo>
                      <a:lnTo>
                        <a:pt x="248" y="6"/>
                      </a:lnTo>
                      <a:lnTo>
                        <a:pt x="248" y="5"/>
                      </a:lnTo>
                      <a:lnTo>
                        <a:pt x="249" y="4"/>
                      </a:lnTo>
                      <a:lnTo>
                        <a:pt x="250" y="4"/>
                      </a:lnTo>
                      <a:lnTo>
                        <a:pt x="251" y="4"/>
                      </a:lnTo>
                      <a:lnTo>
                        <a:pt x="251" y="3"/>
                      </a:lnTo>
                      <a:lnTo>
                        <a:pt x="252" y="3"/>
                      </a:lnTo>
                      <a:lnTo>
                        <a:pt x="254" y="2"/>
                      </a:lnTo>
                      <a:lnTo>
                        <a:pt x="255" y="2"/>
                      </a:lnTo>
                      <a:lnTo>
                        <a:pt x="256" y="0"/>
                      </a:lnTo>
                      <a:lnTo>
                        <a:pt x="257" y="0"/>
                      </a:lnTo>
                      <a:lnTo>
                        <a:pt x="258" y="0"/>
                      </a:lnTo>
                      <a:lnTo>
                        <a:pt x="258" y="2"/>
                      </a:lnTo>
                      <a:lnTo>
                        <a:pt x="259" y="2"/>
                      </a:lnTo>
                      <a:lnTo>
                        <a:pt x="260" y="2"/>
                      </a:lnTo>
                      <a:lnTo>
                        <a:pt x="262" y="2"/>
                      </a:lnTo>
                      <a:lnTo>
                        <a:pt x="263" y="2"/>
                      </a:lnTo>
                      <a:lnTo>
                        <a:pt x="264" y="2"/>
                      </a:lnTo>
                      <a:lnTo>
                        <a:pt x="265" y="3"/>
                      </a:lnTo>
                      <a:lnTo>
                        <a:pt x="267" y="3"/>
                      </a:lnTo>
                      <a:lnTo>
                        <a:pt x="269"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1" name="Freeform 78">
                  <a:extLst>
                    <a:ext uri="{FF2B5EF4-FFF2-40B4-BE49-F238E27FC236}">
                      <a16:creationId xmlns:a16="http://schemas.microsoft.com/office/drawing/2014/main" id="{849D2D2A-B52A-314D-9F5E-253699A31884}"/>
                    </a:ext>
                  </a:extLst>
                </p:cNvPr>
                <p:cNvSpPr>
                  <a:spLocks noEditPoints="1"/>
                </p:cNvSpPr>
                <p:nvPr/>
              </p:nvSpPr>
              <p:spPr bwMode="auto">
                <a:xfrm>
                  <a:off x="5930541" y="3437317"/>
                  <a:ext cx="209856" cy="220673"/>
                </a:xfrm>
                <a:custGeom>
                  <a:avLst/>
                  <a:gdLst>
                    <a:gd name="T0" fmla="*/ 76 w 194"/>
                    <a:gd name="T1" fmla="*/ 3 h 204"/>
                    <a:gd name="T2" fmla="*/ 75 w 194"/>
                    <a:gd name="T3" fmla="*/ 13 h 204"/>
                    <a:gd name="T4" fmla="*/ 85 w 194"/>
                    <a:gd name="T5" fmla="*/ 11 h 204"/>
                    <a:gd name="T6" fmla="*/ 102 w 194"/>
                    <a:gd name="T7" fmla="*/ 14 h 204"/>
                    <a:gd name="T8" fmla="*/ 111 w 194"/>
                    <a:gd name="T9" fmla="*/ 17 h 204"/>
                    <a:gd name="T10" fmla="*/ 115 w 194"/>
                    <a:gd name="T11" fmla="*/ 23 h 204"/>
                    <a:gd name="T12" fmla="*/ 121 w 194"/>
                    <a:gd name="T13" fmla="*/ 31 h 204"/>
                    <a:gd name="T14" fmla="*/ 129 w 194"/>
                    <a:gd name="T15" fmla="*/ 30 h 204"/>
                    <a:gd name="T16" fmla="*/ 137 w 194"/>
                    <a:gd name="T17" fmla="*/ 31 h 204"/>
                    <a:gd name="T18" fmla="*/ 148 w 194"/>
                    <a:gd name="T19" fmla="*/ 27 h 204"/>
                    <a:gd name="T20" fmla="*/ 168 w 194"/>
                    <a:gd name="T21" fmla="*/ 25 h 204"/>
                    <a:gd name="T22" fmla="*/ 179 w 194"/>
                    <a:gd name="T23" fmla="*/ 34 h 204"/>
                    <a:gd name="T24" fmla="*/ 189 w 194"/>
                    <a:gd name="T25" fmla="*/ 44 h 204"/>
                    <a:gd name="T26" fmla="*/ 190 w 194"/>
                    <a:gd name="T27" fmla="*/ 56 h 204"/>
                    <a:gd name="T28" fmla="*/ 191 w 194"/>
                    <a:gd name="T29" fmla="*/ 84 h 204"/>
                    <a:gd name="T30" fmla="*/ 180 w 194"/>
                    <a:gd name="T31" fmla="*/ 99 h 204"/>
                    <a:gd name="T32" fmla="*/ 171 w 194"/>
                    <a:gd name="T33" fmla="*/ 129 h 204"/>
                    <a:gd name="T34" fmla="*/ 182 w 194"/>
                    <a:gd name="T35" fmla="*/ 162 h 204"/>
                    <a:gd name="T36" fmla="*/ 187 w 194"/>
                    <a:gd name="T37" fmla="*/ 175 h 204"/>
                    <a:gd name="T38" fmla="*/ 175 w 194"/>
                    <a:gd name="T39" fmla="*/ 177 h 204"/>
                    <a:gd name="T40" fmla="*/ 170 w 194"/>
                    <a:gd name="T41" fmla="*/ 172 h 204"/>
                    <a:gd name="T42" fmla="*/ 169 w 194"/>
                    <a:gd name="T43" fmla="*/ 175 h 204"/>
                    <a:gd name="T44" fmla="*/ 155 w 194"/>
                    <a:gd name="T45" fmla="*/ 176 h 204"/>
                    <a:gd name="T46" fmla="*/ 155 w 194"/>
                    <a:gd name="T47" fmla="*/ 174 h 204"/>
                    <a:gd name="T48" fmla="*/ 151 w 194"/>
                    <a:gd name="T49" fmla="*/ 170 h 204"/>
                    <a:gd name="T50" fmla="*/ 144 w 194"/>
                    <a:gd name="T51" fmla="*/ 172 h 204"/>
                    <a:gd name="T52" fmla="*/ 133 w 194"/>
                    <a:gd name="T53" fmla="*/ 174 h 204"/>
                    <a:gd name="T54" fmla="*/ 127 w 194"/>
                    <a:gd name="T55" fmla="*/ 174 h 204"/>
                    <a:gd name="T56" fmla="*/ 125 w 194"/>
                    <a:gd name="T57" fmla="*/ 177 h 204"/>
                    <a:gd name="T58" fmla="*/ 135 w 194"/>
                    <a:gd name="T59" fmla="*/ 174 h 204"/>
                    <a:gd name="T60" fmla="*/ 123 w 194"/>
                    <a:gd name="T61" fmla="*/ 177 h 204"/>
                    <a:gd name="T62" fmla="*/ 111 w 194"/>
                    <a:gd name="T63" fmla="*/ 176 h 204"/>
                    <a:gd name="T64" fmla="*/ 105 w 194"/>
                    <a:gd name="T65" fmla="*/ 178 h 204"/>
                    <a:gd name="T66" fmla="*/ 111 w 194"/>
                    <a:gd name="T67" fmla="*/ 177 h 204"/>
                    <a:gd name="T68" fmla="*/ 108 w 194"/>
                    <a:gd name="T69" fmla="*/ 178 h 204"/>
                    <a:gd name="T70" fmla="*/ 71 w 194"/>
                    <a:gd name="T71" fmla="*/ 189 h 204"/>
                    <a:gd name="T72" fmla="*/ 48 w 194"/>
                    <a:gd name="T73" fmla="*/ 198 h 204"/>
                    <a:gd name="T74" fmla="*/ 35 w 194"/>
                    <a:gd name="T75" fmla="*/ 191 h 204"/>
                    <a:gd name="T76" fmla="*/ 37 w 194"/>
                    <a:gd name="T77" fmla="*/ 178 h 204"/>
                    <a:gd name="T78" fmla="*/ 38 w 194"/>
                    <a:gd name="T79" fmla="*/ 169 h 204"/>
                    <a:gd name="T80" fmla="*/ 36 w 194"/>
                    <a:gd name="T81" fmla="*/ 157 h 204"/>
                    <a:gd name="T82" fmla="*/ 27 w 194"/>
                    <a:gd name="T83" fmla="*/ 151 h 204"/>
                    <a:gd name="T84" fmla="*/ 16 w 194"/>
                    <a:gd name="T85" fmla="*/ 142 h 204"/>
                    <a:gd name="T86" fmla="*/ 6 w 194"/>
                    <a:gd name="T87" fmla="*/ 137 h 204"/>
                    <a:gd name="T88" fmla="*/ 9 w 194"/>
                    <a:gd name="T89" fmla="*/ 128 h 204"/>
                    <a:gd name="T90" fmla="*/ 9 w 194"/>
                    <a:gd name="T91" fmla="*/ 113 h 204"/>
                    <a:gd name="T92" fmla="*/ 9 w 194"/>
                    <a:gd name="T93" fmla="*/ 101 h 204"/>
                    <a:gd name="T94" fmla="*/ 15 w 194"/>
                    <a:gd name="T95" fmla="*/ 93 h 204"/>
                    <a:gd name="T96" fmla="*/ 18 w 194"/>
                    <a:gd name="T97" fmla="*/ 83 h 204"/>
                    <a:gd name="T98" fmla="*/ 19 w 194"/>
                    <a:gd name="T99" fmla="*/ 72 h 204"/>
                    <a:gd name="T100" fmla="*/ 29 w 194"/>
                    <a:gd name="T101" fmla="*/ 72 h 204"/>
                    <a:gd name="T102" fmla="*/ 21 w 194"/>
                    <a:gd name="T103" fmla="*/ 59 h 204"/>
                    <a:gd name="T104" fmla="*/ 21 w 194"/>
                    <a:gd name="T105" fmla="*/ 49 h 204"/>
                    <a:gd name="T106" fmla="*/ 14 w 194"/>
                    <a:gd name="T107" fmla="*/ 29 h 204"/>
                    <a:gd name="T108" fmla="*/ 19 w 194"/>
                    <a:gd name="T109" fmla="*/ 18 h 204"/>
                    <a:gd name="T110" fmla="*/ 28 w 194"/>
                    <a:gd name="T111" fmla="*/ 10 h 204"/>
                    <a:gd name="T112" fmla="*/ 38 w 194"/>
                    <a:gd name="T113" fmla="*/ 13 h 204"/>
                    <a:gd name="T114" fmla="*/ 50 w 194"/>
                    <a:gd name="T115" fmla="*/ 16 h 204"/>
                    <a:gd name="T116" fmla="*/ 62 w 194"/>
                    <a:gd name="T117" fmla="*/ 9 h 204"/>
                    <a:gd name="T118" fmla="*/ 65 w 194"/>
                    <a:gd name="T119" fmla="*/ 4 h 204"/>
                    <a:gd name="T120" fmla="*/ 75 w 194"/>
                    <a:gd name="T121" fmla="*/ 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4" h="204">
                      <a:moveTo>
                        <a:pt x="173" y="177"/>
                      </a:moveTo>
                      <a:lnTo>
                        <a:pt x="175" y="177"/>
                      </a:lnTo>
                      <a:lnTo>
                        <a:pt x="176" y="178"/>
                      </a:lnTo>
                      <a:lnTo>
                        <a:pt x="175" y="178"/>
                      </a:lnTo>
                      <a:lnTo>
                        <a:pt x="171" y="178"/>
                      </a:lnTo>
                      <a:lnTo>
                        <a:pt x="171" y="177"/>
                      </a:lnTo>
                      <a:lnTo>
                        <a:pt x="172" y="176"/>
                      </a:lnTo>
                      <a:lnTo>
                        <a:pt x="173" y="176"/>
                      </a:lnTo>
                      <a:lnTo>
                        <a:pt x="173" y="177"/>
                      </a:lnTo>
                      <a:close/>
                      <a:moveTo>
                        <a:pt x="75" y="1"/>
                      </a:moveTo>
                      <a:lnTo>
                        <a:pt x="73" y="2"/>
                      </a:lnTo>
                      <a:lnTo>
                        <a:pt x="75" y="2"/>
                      </a:lnTo>
                      <a:lnTo>
                        <a:pt x="76" y="2"/>
                      </a:lnTo>
                      <a:lnTo>
                        <a:pt x="76" y="3"/>
                      </a:lnTo>
                      <a:lnTo>
                        <a:pt x="75" y="3"/>
                      </a:lnTo>
                      <a:lnTo>
                        <a:pt x="75" y="4"/>
                      </a:lnTo>
                      <a:lnTo>
                        <a:pt x="75" y="6"/>
                      </a:lnTo>
                      <a:lnTo>
                        <a:pt x="73" y="6"/>
                      </a:lnTo>
                      <a:lnTo>
                        <a:pt x="73" y="7"/>
                      </a:lnTo>
                      <a:lnTo>
                        <a:pt x="75" y="7"/>
                      </a:lnTo>
                      <a:lnTo>
                        <a:pt x="76" y="7"/>
                      </a:lnTo>
                      <a:lnTo>
                        <a:pt x="76" y="8"/>
                      </a:lnTo>
                      <a:lnTo>
                        <a:pt x="76" y="9"/>
                      </a:lnTo>
                      <a:lnTo>
                        <a:pt x="76" y="10"/>
                      </a:lnTo>
                      <a:lnTo>
                        <a:pt x="76" y="11"/>
                      </a:lnTo>
                      <a:lnTo>
                        <a:pt x="76" y="13"/>
                      </a:lnTo>
                      <a:lnTo>
                        <a:pt x="76" y="14"/>
                      </a:lnTo>
                      <a:lnTo>
                        <a:pt x="75" y="13"/>
                      </a:lnTo>
                      <a:lnTo>
                        <a:pt x="75" y="14"/>
                      </a:lnTo>
                      <a:lnTo>
                        <a:pt x="75" y="15"/>
                      </a:lnTo>
                      <a:lnTo>
                        <a:pt x="76" y="15"/>
                      </a:lnTo>
                      <a:lnTo>
                        <a:pt x="76" y="16"/>
                      </a:lnTo>
                      <a:lnTo>
                        <a:pt x="79" y="17"/>
                      </a:lnTo>
                      <a:lnTo>
                        <a:pt x="82" y="17"/>
                      </a:lnTo>
                      <a:lnTo>
                        <a:pt x="82" y="16"/>
                      </a:lnTo>
                      <a:lnTo>
                        <a:pt x="83" y="16"/>
                      </a:lnTo>
                      <a:lnTo>
                        <a:pt x="83" y="15"/>
                      </a:lnTo>
                      <a:lnTo>
                        <a:pt x="83" y="14"/>
                      </a:lnTo>
                      <a:lnTo>
                        <a:pt x="85" y="15"/>
                      </a:lnTo>
                      <a:lnTo>
                        <a:pt x="85" y="14"/>
                      </a:lnTo>
                      <a:lnTo>
                        <a:pt x="85" y="13"/>
                      </a:lnTo>
                      <a:lnTo>
                        <a:pt x="85" y="11"/>
                      </a:lnTo>
                      <a:lnTo>
                        <a:pt x="86" y="11"/>
                      </a:lnTo>
                      <a:lnTo>
                        <a:pt x="88" y="9"/>
                      </a:lnTo>
                      <a:lnTo>
                        <a:pt x="92" y="9"/>
                      </a:lnTo>
                      <a:lnTo>
                        <a:pt x="94" y="8"/>
                      </a:lnTo>
                      <a:lnTo>
                        <a:pt x="95" y="8"/>
                      </a:lnTo>
                      <a:lnTo>
                        <a:pt x="97" y="9"/>
                      </a:lnTo>
                      <a:lnTo>
                        <a:pt x="98" y="9"/>
                      </a:lnTo>
                      <a:lnTo>
                        <a:pt x="98" y="10"/>
                      </a:lnTo>
                      <a:lnTo>
                        <a:pt x="99" y="11"/>
                      </a:lnTo>
                      <a:lnTo>
                        <a:pt x="100" y="11"/>
                      </a:lnTo>
                      <a:lnTo>
                        <a:pt x="100" y="13"/>
                      </a:lnTo>
                      <a:lnTo>
                        <a:pt x="101" y="13"/>
                      </a:lnTo>
                      <a:lnTo>
                        <a:pt x="101" y="14"/>
                      </a:lnTo>
                      <a:lnTo>
                        <a:pt x="102" y="14"/>
                      </a:lnTo>
                      <a:lnTo>
                        <a:pt x="102" y="13"/>
                      </a:lnTo>
                      <a:lnTo>
                        <a:pt x="104" y="13"/>
                      </a:lnTo>
                      <a:lnTo>
                        <a:pt x="105" y="13"/>
                      </a:lnTo>
                      <a:lnTo>
                        <a:pt x="106" y="13"/>
                      </a:lnTo>
                      <a:lnTo>
                        <a:pt x="107" y="13"/>
                      </a:lnTo>
                      <a:lnTo>
                        <a:pt x="108" y="14"/>
                      </a:lnTo>
                      <a:lnTo>
                        <a:pt x="109" y="13"/>
                      </a:lnTo>
                      <a:lnTo>
                        <a:pt x="111" y="14"/>
                      </a:lnTo>
                      <a:lnTo>
                        <a:pt x="111" y="15"/>
                      </a:lnTo>
                      <a:lnTo>
                        <a:pt x="111" y="16"/>
                      </a:lnTo>
                      <a:lnTo>
                        <a:pt x="111" y="15"/>
                      </a:lnTo>
                      <a:lnTo>
                        <a:pt x="112" y="16"/>
                      </a:lnTo>
                      <a:lnTo>
                        <a:pt x="111" y="16"/>
                      </a:lnTo>
                      <a:lnTo>
                        <a:pt x="111" y="17"/>
                      </a:lnTo>
                      <a:lnTo>
                        <a:pt x="112" y="17"/>
                      </a:lnTo>
                      <a:lnTo>
                        <a:pt x="113" y="18"/>
                      </a:lnTo>
                      <a:lnTo>
                        <a:pt x="112" y="18"/>
                      </a:lnTo>
                      <a:lnTo>
                        <a:pt x="112" y="20"/>
                      </a:lnTo>
                      <a:lnTo>
                        <a:pt x="113" y="20"/>
                      </a:lnTo>
                      <a:lnTo>
                        <a:pt x="112" y="20"/>
                      </a:lnTo>
                      <a:lnTo>
                        <a:pt x="113" y="20"/>
                      </a:lnTo>
                      <a:lnTo>
                        <a:pt x="114" y="20"/>
                      </a:lnTo>
                      <a:lnTo>
                        <a:pt x="114" y="21"/>
                      </a:lnTo>
                      <a:lnTo>
                        <a:pt x="115" y="21"/>
                      </a:lnTo>
                      <a:lnTo>
                        <a:pt x="115" y="22"/>
                      </a:lnTo>
                      <a:lnTo>
                        <a:pt x="114" y="22"/>
                      </a:lnTo>
                      <a:lnTo>
                        <a:pt x="114" y="23"/>
                      </a:lnTo>
                      <a:lnTo>
                        <a:pt x="115" y="23"/>
                      </a:lnTo>
                      <a:lnTo>
                        <a:pt x="115" y="24"/>
                      </a:lnTo>
                      <a:lnTo>
                        <a:pt x="115" y="25"/>
                      </a:lnTo>
                      <a:lnTo>
                        <a:pt x="116" y="27"/>
                      </a:lnTo>
                      <a:lnTo>
                        <a:pt x="118" y="27"/>
                      </a:lnTo>
                      <a:lnTo>
                        <a:pt x="119" y="27"/>
                      </a:lnTo>
                      <a:lnTo>
                        <a:pt x="120" y="27"/>
                      </a:lnTo>
                      <a:lnTo>
                        <a:pt x="120" y="28"/>
                      </a:lnTo>
                      <a:lnTo>
                        <a:pt x="121" y="28"/>
                      </a:lnTo>
                      <a:lnTo>
                        <a:pt x="121" y="29"/>
                      </a:lnTo>
                      <a:lnTo>
                        <a:pt x="120" y="30"/>
                      </a:lnTo>
                      <a:lnTo>
                        <a:pt x="120" y="29"/>
                      </a:lnTo>
                      <a:lnTo>
                        <a:pt x="120" y="30"/>
                      </a:lnTo>
                      <a:lnTo>
                        <a:pt x="121" y="30"/>
                      </a:lnTo>
                      <a:lnTo>
                        <a:pt x="121" y="31"/>
                      </a:lnTo>
                      <a:lnTo>
                        <a:pt x="122" y="31"/>
                      </a:lnTo>
                      <a:lnTo>
                        <a:pt x="121" y="30"/>
                      </a:lnTo>
                      <a:lnTo>
                        <a:pt x="122" y="30"/>
                      </a:lnTo>
                      <a:lnTo>
                        <a:pt x="122" y="31"/>
                      </a:lnTo>
                      <a:lnTo>
                        <a:pt x="123" y="31"/>
                      </a:lnTo>
                      <a:lnTo>
                        <a:pt x="123" y="32"/>
                      </a:lnTo>
                      <a:lnTo>
                        <a:pt x="125" y="32"/>
                      </a:lnTo>
                      <a:lnTo>
                        <a:pt x="126" y="32"/>
                      </a:lnTo>
                      <a:lnTo>
                        <a:pt x="126" y="31"/>
                      </a:lnTo>
                      <a:lnTo>
                        <a:pt x="127" y="31"/>
                      </a:lnTo>
                      <a:lnTo>
                        <a:pt x="127" y="32"/>
                      </a:lnTo>
                      <a:lnTo>
                        <a:pt x="128" y="32"/>
                      </a:lnTo>
                      <a:lnTo>
                        <a:pt x="128" y="31"/>
                      </a:lnTo>
                      <a:lnTo>
                        <a:pt x="129" y="30"/>
                      </a:lnTo>
                      <a:lnTo>
                        <a:pt x="130" y="31"/>
                      </a:lnTo>
                      <a:lnTo>
                        <a:pt x="129" y="31"/>
                      </a:lnTo>
                      <a:lnTo>
                        <a:pt x="129" y="32"/>
                      </a:lnTo>
                      <a:lnTo>
                        <a:pt x="130" y="34"/>
                      </a:lnTo>
                      <a:lnTo>
                        <a:pt x="132" y="34"/>
                      </a:lnTo>
                      <a:lnTo>
                        <a:pt x="133" y="34"/>
                      </a:lnTo>
                      <a:lnTo>
                        <a:pt x="134" y="35"/>
                      </a:lnTo>
                      <a:lnTo>
                        <a:pt x="134" y="36"/>
                      </a:lnTo>
                      <a:lnTo>
                        <a:pt x="134" y="35"/>
                      </a:lnTo>
                      <a:lnTo>
                        <a:pt x="135" y="35"/>
                      </a:lnTo>
                      <a:lnTo>
                        <a:pt x="136" y="35"/>
                      </a:lnTo>
                      <a:lnTo>
                        <a:pt x="136" y="34"/>
                      </a:lnTo>
                      <a:lnTo>
                        <a:pt x="136" y="32"/>
                      </a:lnTo>
                      <a:lnTo>
                        <a:pt x="137" y="31"/>
                      </a:lnTo>
                      <a:lnTo>
                        <a:pt x="136" y="31"/>
                      </a:lnTo>
                      <a:lnTo>
                        <a:pt x="137" y="30"/>
                      </a:lnTo>
                      <a:lnTo>
                        <a:pt x="139" y="30"/>
                      </a:lnTo>
                      <a:lnTo>
                        <a:pt x="140" y="30"/>
                      </a:lnTo>
                      <a:lnTo>
                        <a:pt x="141" y="29"/>
                      </a:lnTo>
                      <a:lnTo>
                        <a:pt x="141" y="28"/>
                      </a:lnTo>
                      <a:lnTo>
                        <a:pt x="142" y="28"/>
                      </a:lnTo>
                      <a:lnTo>
                        <a:pt x="143" y="29"/>
                      </a:lnTo>
                      <a:lnTo>
                        <a:pt x="144" y="29"/>
                      </a:lnTo>
                      <a:lnTo>
                        <a:pt x="144" y="28"/>
                      </a:lnTo>
                      <a:lnTo>
                        <a:pt x="146" y="28"/>
                      </a:lnTo>
                      <a:lnTo>
                        <a:pt x="147" y="28"/>
                      </a:lnTo>
                      <a:lnTo>
                        <a:pt x="147" y="27"/>
                      </a:lnTo>
                      <a:lnTo>
                        <a:pt x="148" y="27"/>
                      </a:lnTo>
                      <a:lnTo>
                        <a:pt x="149" y="25"/>
                      </a:lnTo>
                      <a:lnTo>
                        <a:pt x="151" y="25"/>
                      </a:lnTo>
                      <a:lnTo>
                        <a:pt x="152" y="25"/>
                      </a:lnTo>
                      <a:lnTo>
                        <a:pt x="152" y="24"/>
                      </a:lnTo>
                      <a:lnTo>
                        <a:pt x="154" y="24"/>
                      </a:lnTo>
                      <a:lnTo>
                        <a:pt x="155" y="24"/>
                      </a:lnTo>
                      <a:lnTo>
                        <a:pt x="156" y="24"/>
                      </a:lnTo>
                      <a:lnTo>
                        <a:pt x="156" y="23"/>
                      </a:lnTo>
                      <a:lnTo>
                        <a:pt x="157" y="24"/>
                      </a:lnTo>
                      <a:lnTo>
                        <a:pt x="158" y="24"/>
                      </a:lnTo>
                      <a:lnTo>
                        <a:pt x="161" y="24"/>
                      </a:lnTo>
                      <a:lnTo>
                        <a:pt x="165" y="24"/>
                      </a:lnTo>
                      <a:lnTo>
                        <a:pt x="166" y="25"/>
                      </a:lnTo>
                      <a:lnTo>
                        <a:pt x="168" y="25"/>
                      </a:lnTo>
                      <a:lnTo>
                        <a:pt x="168" y="27"/>
                      </a:lnTo>
                      <a:lnTo>
                        <a:pt x="169" y="27"/>
                      </a:lnTo>
                      <a:lnTo>
                        <a:pt x="170" y="25"/>
                      </a:lnTo>
                      <a:lnTo>
                        <a:pt x="171" y="24"/>
                      </a:lnTo>
                      <a:lnTo>
                        <a:pt x="171" y="25"/>
                      </a:lnTo>
                      <a:lnTo>
                        <a:pt x="171" y="27"/>
                      </a:lnTo>
                      <a:lnTo>
                        <a:pt x="172" y="27"/>
                      </a:lnTo>
                      <a:lnTo>
                        <a:pt x="173" y="28"/>
                      </a:lnTo>
                      <a:lnTo>
                        <a:pt x="175" y="30"/>
                      </a:lnTo>
                      <a:lnTo>
                        <a:pt x="175" y="31"/>
                      </a:lnTo>
                      <a:lnTo>
                        <a:pt x="176" y="31"/>
                      </a:lnTo>
                      <a:lnTo>
                        <a:pt x="177" y="30"/>
                      </a:lnTo>
                      <a:lnTo>
                        <a:pt x="178" y="31"/>
                      </a:lnTo>
                      <a:lnTo>
                        <a:pt x="179" y="34"/>
                      </a:lnTo>
                      <a:lnTo>
                        <a:pt x="180" y="36"/>
                      </a:lnTo>
                      <a:lnTo>
                        <a:pt x="184" y="41"/>
                      </a:lnTo>
                      <a:lnTo>
                        <a:pt x="185" y="41"/>
                      </a:lnTo>
                      <a:lnTo>
                        <a:pt x="186" y="41"/>
                      </a:lnTo>
                      <a:lnTo>
                        <a:pt x="186" y="39"/>
                      </a:lnTo>
                      <a:lnTo>
                        <a:pt x="187" y="38"/>
                      </a:lnTo>
                      <a:lnTo>
                        <a:pt x="189" y="38"/>
                      </a:lnTo>
                      <a:lnTo>
                        <a:pt x="189" y="39"/>
                      </a:lnTo>
                      <a:lnTo>
                        <a:pt x="187" y="41"/>
                      </a:lnTo>
                      <a:lnTo>
                        <a:pt x="189" y="41"/>
                      </a:lnTo>
                      <a:lnTo>
                        <a:pt x="189" y="42"/>
                      </a:lnTo>
                      <a:lnTo>
                        <a:pt x="187" y="43"/>
                      </a:lnTo>
                      <a:lnTo>
                        <a:pt x="187" y="44"/>
                      </a:lnTo>
                      <a:lnTo>
                        <a:pt x="189" y="44"/>
                      </a:lnTo>
                      <a:lnTo>
                        <a:pt x="189" y="45"/>
                      </a:lnTo>
                      <a:lnTo>
                        <a:pt x="189" y="46"/>
                      </a:lnTo>
                      <a:lnTo>
                        <a:pt x="187" y="46"/>
                      </a:lnTo>
                      <a:lnTo>
                        <a:pt x="187" y="48"/>
                      </a:lnTo>
                      <a:lnTo>
                        <a:pt x="186" y="49"/>
                      </a:lnTo>
                      <a:lnTo>
                        <a:pt x="185" y="49"/>
                      </a:lnTo>
                      <a:lnTo>
                        <a:pt x="185" y="50"/>
                      </a:lnTo>
                      <a:lnTo>
                        <a:pt x="185" y="51"/>
                      </a:lnTo>
                      <a:lnTo>
                        <a:pt x="185" y="52"/>
                      </a:lnTo>
                      <a:lnTo>
                        <a:pt x="186" y="52"/>
                      </a:lnTo>
                      <a:lnTo>
                        <a:pt x="187" y="52"/>
                      </a:lnTo>
                      <a:lnTo>
                        <a:pt x="189" y="53"/>
                      </a:lnTo>
                      <a:lnTo>
                        <a:pt x="189" y="55"/>
                      </a:lnTo>
                      <a:lnTo>
                        <a:pt x="190" y="56"/>
                      </a:lnTo>
                      <a:lnTo>
                        <a:pt x="190" y="57"/>
                      </a:lnTo>
                      <a:lnTo>
                        <a:pt x="191" y="59"/>
                      </a:lnTo>
                      <a:lnTo>
                        <a:pt x="190" y="60"/>
                      </a:lnTo>
                      <a:lnTo>
                        <a:pt x="191" y="60"/>
                      </a:lnTo>
                      <a:lnTo>
                        <a:pt x="191" y="62"/>
                      </a:lnTo>
                      <a:lnTo>
                        <a:pt x="192" y="70"/>
                      </a:lnTo>
                      <a:lnTo>
                        <a:pt x="194" y="79"/>
                      </a:lnTo>
                      <a:lnTo>
                        <a:pt x="193" y="79"/>
                      </a:lnTo>
                      <a:lnTo>
                        <a:pt x="192" y="80"/>
                      </a:lnTo>
                      <a:lnTo>
                        <a:pt x="191" y="80"/>
                      </a:lnTo>
                      <a:lnTo>
                        <a:pt x="190" y="81"/>
                      </a:lnTo>
                      <a:lnTo>
                        <a:pt x="191" y="81"/>
                      </a:lnTo>
                      <a:lnTo>
                        <a:pt x="191" y="83"/>
                      </a:lnTo>
                      <a:lnTo>
                        <a:pt x="191" y="84"/>
                      </a:lnTo>
                      <a:lnTo>
                        <a:pt x="191" y="85"/>
                      </a:lnTo>
                      <a:lnTo>
                        <a:pt x="190" y="85"/>
                      </a:lnTo>
                      <a:lnTo>
                        <a:pt x="189" y="85"/>
                      </a:lnTo>
                      <a:lnTo>
                        <a:pt x="187" y="86"/>
                      </a:lnTo>
                      <a:lnTo>
                        <a:pt x="186" y="87"/>
                      </a:lnTo>
                      <a:lnTo>
                        <a:pt x="185" y="88"/>
                      </a:lnTo>
                      <a:lnTo>
                        <a:pt x="185" y="87"/>
                      </a:lnTo>
                      <a:lnTo>
                        <a:pt x="185" y="90"/>
                      </a:lnTo>
                      <a:lnTo>
                        <a:pt x="185" y="91"/>
                      </a:lnTo>
                      <a:lnTo>
                        <a:pt x="184" y="91"/>
                      </a:lnTo>
                      <a:lnTo>
                        <a:pt x="184" y="92"/>
                      </a:lnTo>
                      <a:lnTo>
                        <a:pt x="183" y="93"/>
                      </a:lnTo>
                      <a:lnTo>
                        <a:pt x="180" y="98"/>
                      </a:lnTo>
                      <a:lnTo>
                        <a:pt x="180" y="99"/>
                      </a:lnTo>
                      <a:lnTo>
                        <a:pt x="179" y="109"/>
                      </a:lnTo>
                      <a:lnTo>
                        <a:pt x="179" y="111"/>
                      </a:lnTo>
                      <a:lnTo>
                        <a:pt x="179" y="112"/>
                      </a:lnTo>
                      <a:lnTo>
                        <a:pt x="178" y="113"/>
                      </a:lnTo>
                      <a:lnTo>
                        <a:pt x="178" y="114"/>
                      </a:lnTo>
                      <a:lnTo>
                        <a:pt x="177" y="115"/>
                      </a:lnTo>
                      <a:lnTo>
                        <a:pt x="176" y="116"/>
                      </a:lnTo>
                      <a:lnTo>
                        <a:pt x="171" y="122"/>
                      </a:lnTo>
                      <a:lnTo>
                        <a:pt x="171" y="123"/>
                      </a:lnTo>
                      <a:lnTo>
                        <a:pt x="171" y="125"/>
                      </a:lnTo>
                      <a:lnTo>
                        <a:pt x="171" y="126"/>
                      </a:lnTo>
                      <a:lnTo>
                        <a:pt x="172" y="127"/>
                      </a:lnTo>
                      <a:lnTo>
                        <a:pt x="171" y="128"/>
                      </a:lnTo>
                      <a:lnTo>
                        <a:pt x="171" y="129"/>
                      </a:lnTo>
                      <a:lnTo>
                        <a:pt x="171" y="130"/>
                      </a:lnTo>
                      <a:lnTo>
                        <a:pt x="173" y="141"/>
                      </a:lnTo>
                      <a:lnTo>
                        <a:pt x="173" y="142"/>
                      </a:lnTo>
                      <a:lnTo>
                        <a:pt x="175" y="142"/>
                      </a:lnTo>
                      <a:lnTo>
                        <a:pt x="176" y="144"/>
                      </a:lnTo>
                      <a:lnTo>
                        <a:pt x="177" y="150"/>
                      </a:lnTo>
                      <a:lnTo>
                        <a:pt x="178" y="153"/>
                      </a:lnTo>
                      <a:lnTo>
                        <a:pt x="178" y="154"/>
                      </a:lnTo>
                      <a:lnTo>
                        <a:pt x="178" y="155"/>
                      </a:lnTo>
                      <a:lnTo>
                        <a:pt x="178" y="158"/>
                      </a:lnTo>
                      <a:lnTo>
                        <a:pt x="180" y="158"/>
                      </a:lnTo>
                      <a:lnTo>
                        <a:pt x="180" y="161"/>
                      </a:lnTo>
                      <a:lnTo>
                        <a:pt x="180" y="162"/>
                      </a:lnTo>
                      <a:lnTo>
                        <a:pt x="182" y="162"/>
                      </a:lnTo>
                      <a:lnTo>
                        <a:pt x="183" y="161"/>
                      </a:lnTo>
                      <a:lnTo>
                        <a:pt x="185" y="162"/>
                      </a:lnTo>
                      <a:lnTo>
                        <a:pt x="186" y="162"/>
                      </a:lnTo>
                      <a:lnTo>
                        <a:pt x="186" y="163"/>
                      </a:lnTo>
                      <a:lnTo>
                        <a:pt x="186" y="164"/>
                      </a:lnTo>
                      <a:lnTo>
                        <a:pt x="187" y="167"/>
                      </a:lnTo>
                      <a:lnTo>
                        <a:pt x="187" y="169"/>
                      </a:lnTo>
                      <a:lnTo>
                        <a:pt x="189" y="169"/>
                      </a:lnTo>
                      <a:lnTo>
                        <a:pt x="187" y="170"/>
                      </a:lnTo>
                      <a:lnTo>
                        <a:pt x="186" y="170"/>
                      </a:lnTo>
                      <a:lnTo>
                        <a:pt x="186" y="172"/>
                      </a:lnTo>
                      <a:lnTo>
                        <a:pt x="186" y="174"/>
                      </a:lnTo>
                      <a:lnTo>
                        <a:pt x="186" y="175"/>
                      </a:lnTo>
                      <a:lnTo>
                        <a:pt x="187" y="175"/>
                      </a:lnTo>
                      <a:lnTo>
                        <a:pt x="187" y="176"/>
                      </a:lnTo>
                      <a:lnTo>
                        <a:pt x="186" y="176"/>
                      </a:lnTo>
                      <a:lnTo>
                        <a:pt x="186" y="177"/>
                      </a:lnTo>
                      <a:lnTo>
                        <a:pt x="184" y="177"/>
                      </a:lnTo>
                      <a:lnTo>
                        <a:pt x="184" y="176"/>
                      </a:lnTo>
                      <a:lnTo>
                        <a:pt x="182" y="176"/>
                      </a:lnTo>
                      <a:lnTo>
                        <a:pt x="182" y="177"/>
                      </a:lnTo>
                      <a:lnTo>
                        <a:pt x="180" y="177"/>
                      </a:lnTo>
                      <a:lnTo>
                        <a:pt x="179" y="177"/>
                      </a:lnTo>
                      <a:lnTo>
                        <a:pt x="178" y="177"/>
                      </a:lnTo>
                      <a:lnTo>
                        <a:pt x="178" y="176"/>
                      </a:lnTo>
                      <a:lnTo>
                        <a:pt x="177" y="177"/>
                      </a:lnTo>
                      <a:lnTo>
                        <a:pt x="176" y="177"/>
                      </a:lnTo>
                      <a:lnTo>
                        <a:pt x="175" y="177"/>
                      </a:lnTo>
                      <a:lnTo>
                        <a:pt x="175" y="176"/>
                      </a:lnTo>
                      <a:lnTo>
                        <a:pt x="173" y="175"/>
                      </a:lnTo>
                      <a:lnTo>
                        <a:pt x="173" y="174"/>
                      </a:lnTo>
                      <a:lnTo>
                        <a:pt x="175" y="172"/>
                      </a:lnTo>
                      <a:lnTo>
                        <a:pt x="175" y="171"/>
                      </a:lnTo>
                      <a:lnTo>
                        <a:pt x="176" y="171"/>
                      </a:lnTo>
                      <a:lnTo>
                        <a:pt x="176" y="170"/>
                      </a:lnTo>
                      <a:lnTo>
                        <a:pt x="175" y="170"/>
                      </a:lnTo>
                      <a:lnTo>
                        <a:pt x="173" y="170"/>
                      </a:lnTo>
                      <a:lnTo>
                        <a:pt x="172" y="170"/>
                      </a:lnTo>
                      <a:lnTo>
                        <a:pt x="171" y="170"/>
                      </a:lnTo>
                      <a:lnTo>
                        <a:pt x="171" y="171"/>
                      </a:lnTo>
                      <a:lnTo>
                        <a:pt x="171" y="172"/>
                      </a:lnTo>
                      <a:lnTo>
                        <a:pt x="170" y="172"/>
                      </a:lnTo>
                      <a:lnTo>
                        <a:pt x="171" y="172"/>
                      </a:lnTo>
                      <a:lnTo>
                        <a:pt x="171" y="174"/>
                      </a:lnTo>
                      <a:lnTo>
                        <a:pt x="170" y="174"/>
                      </a:lnTo>
                      <a:lnTo>
                        <a:pt x="171" y="174"/>
                      </a:lnTo>
                      <a:lnTo>
                        <a:pt x="170" y="174"/>
                      </a:lnTo>
                      <a:lnTo>
                        <a:pt x="171" y="174"/>
                      </a:lnTo>
                      <a:lnTo>
                        <a:pt x="172" y="174"/>
                      </a:lnTo>
                      <a:lnTo>
                        <a:pt x="171" y="175"/>
                      </a:lnTo>
                      <a:lnTo>
                        <a:pt x="171" y="174"/>
                      </a:lnTo>
                      <a:lnTo>
                        <a:pt x="171" y="175"/>
                      </a:lnTo>
                      <a:lnTo>
                        <a:pt x="170" y="175"/>
                      </a:lnTo>
                      <a:lnTo>
                        <a:pt x="170" y="176"/>
                      </a:lnTo>
                      <a:lnTo>
                        <a:pt x="170" y="175"/>
                      </a:lnTo>
                      <a:lnTo>
                        <a:pt x="169" y="175"/>
                      </a:lnTo>
                      <a:lnTo>
                        <a:pt x="170" y="176"/>
                      </a:lnTo>
                      <a:lnTo>
                        <a:pt x="170" y="177"/>
                      </a:lnTo>
                      <a:lnTo>
                        <a:pt x="171" y="177"/>
                      </a:lnTo>
                      <a:lnTo>
                        <a:pt x="170" y="177"/>
                      </a:lnTo>
                      <a:lnTo>
                        <a:pt x="168" y="177"/>
                      </a:lnTo>
                      <a:lnTo>
                        <a:pt x="159" y="176"/>
                      </a:lnTo>
                      <a:lnTo>
                        <a:pt x="158" y="176"/>
                      </a:lnTo>
                      <a:lnTo>
                        <a:pt x="157" y="176"/>
                      </a:lnTo>
                      <a:lnTo>
                        <a:pt x="157" y="175"/>
                      </a:lnTo>
                      <a:lnTo>
                        <a:pt x="156" y="175"/>
                      </a:lnTo>
                      <a:lnTo>
                        <a:pt x="157" y="174"/>
                      </a:lnTo>
                      <a:lnTo>
                        <a:pt x="156" y="175"/>
                      </a:lnTo>
                      <a:lnTo>
                        <a:pt x="156" y="176"/>
                      </a:lnTo>
                      <a:lnTo>
                        <a:pt x="155" y="176"/>
                      </a:lnTo>
                      <a:lnTo>
                        <a:pt x="155" y="175"/>
                      </a:lnTo>
                      <a:lnTo>
                        <a:pt x="154" y="176"/>
                      </a:lnTo>
                      <a:lnTo>
                        <a:pt x="152" y="175"/>
                      </a:lnTo>
                      <a:lnTo>
                        <a:pt x="151" y="175"/>
                      </a:lnTo>
                      <a:lnTo>
                        <a:pt x="149" y="175"/>
                      </a:lnTo>
                      <a:lnTo>
                        <a:pt x="148" y="174"/>
                      </a:lnTo>
                      <a:lnTo>
                        <a:pt x="149" y="174"/>
                      </a:lnTo>
                      <a:lnTo>
                        <a:pt x="150" y="172"/>
                      </a:lnTo>
                      <a:lnTo>
                        <a:pt x="150" y="174"/>
                      </a:lnTo>
                      <a:lnTo>
                        <a:pt x="151" y="174"/>
                      </a:lnTo>
                      <a:lnTo>
                        <a:pt x="151" y="172"/>
                      </a:lnTo>
                      <a:lnTo>
                        <a:pt x="152" y="174"/>
                      </a:lnTo>
                      <a:lnTo>
                        <a:pt x="154" y="174"/>
                      </a:lnTo>
                      <a:lnTo>
                        <a:pt x="155" y="174"/>
                      </a:lnTo>
                      <a:lnTo>
                        <a:pt x="156" y="174"/>
                      </a:lnTo>
                      <a:lnTo>
                        <a:pt x="157" y="172"/>
                      </a:lnTo>
                      <a:lnTo>
                        <a:pt x="156" y="172"/>
                      </a:lnTo>
                      <a:lnTo>
                        <a:pt x="156" y="171"/>
                      </a:lnTo>
                      <a:lnTo>
                        <a:pt x="156" y="170"/>
                      </a:lnTo>
                      <a:lnTo>
                        <a:pt x="155" y="170"/>
                      </a:lnTo>
                      <a:lnTo>
                        <a:pt x="154" y="170"/>
                      </a:lnTo>
                      <a:lnTo>
                        <a:pt x="155" y="171"/>
                      </a:lnTo>
                      <a:lnTo>
                        <a:pt x="156" y="172"/>
                      </a:lnTo>
                      <a:lnTo>
                        <a:pt x="155" y="172"/>
                      </a:lnTo>
                      <a:lnTo>
                        <a:pt x="154" y="172"/>
                      </a:lnTo>
                      <a:lnTo>
                        <a:pt x="152" y="172"/>
                      </a:lnTo>
                      <a:lnTo>
                        <a:pt x="151" y="171"/>
                      </a:lnTo>
                      <a:lnTo>
                        <a:pt x="151" y="170"/>
                      </a:lnTo>
                      <a:lnTo>
                        <a:pt x="150" y="170"/>
                      </a:lnTo>
                      <a:lnTo>
                        <a:pt x="150" y="171"/>
                      </a:lnTo>
                      <a:lnTo>
                        <a:pt x="149" y="171"/>
                      </a:lnTo>
                      <a:lnTo>
                        <a:pt x="148" y="171"/>
                      </a:lnTo>
                      <a:lnTo>
                        <a:pt x="148" y="172"/>
                      </a:lnTo>
                      <a:lnTo>
                        <a:pt x="149" y="172"/>
                      </a:lnTo>
                      <a:lnTo>
                        <a:pt x="150" y="172"/>
                      </a:lnTo>
                      <a:lnTo>
                        <a:pt x="149" y="172"/>
                      </a:lnTo>
                      <a:lnTo>
                        <a:pt x="149" y="174"/>
                      </a:lnTo>
                      <a:lnTo>
                        <a:pt x="148" y="174"/>
                      </a:lnTo>
                      <a:lnTo>
                        <a:pt x="148" y="172"/>
                      </a:lnTo>
                      <a:lnTo>
                        <a:pt x="147" y="172"/>
                      </a:lnTo>
                      <a:lnTo>
                        <a:pt x="146" y="172"/>
                      </a:lnTo>
                      <a:lnTo>
                        <a:pt x="144" y="172"/>
                      </a:lnTo>
                      <a:lnTo>
                        <a:pt x="143" y="172"/>
                      </a:lnTo>
                      <a:lnTo>
                        <a:pt x="142" y="172"/>
                      </a:lnTo>
                      <a:lnTo>
                        <a:pt x="141" y="172"/>
                      </a:lnTo>
                      <a:lnTo>
                        <a:pt x="140" y="172"/>
                      </a:lnTo>
                      <a:lnTo>
                        <a:pt x="139" y="172"/>
                      </a:lnTo>
                      <a:lnTo>
                        <a:pt x="137" y="172"/>
                      </a:lnTo>
                      <a:lnTo>
                        <a:pt x="136" y="174"/>
                      </a:lnTo>
                      <a:lnTo>
                        <a:pt x="136" y="172"/>
                      </a:lnTo>
                      <a:lnTo>
                        <a:pt x="135" y="172"/>
                      </a:lnTo>
                      <a:lnTo>
                        <a:pt x="134" y="172"/>
                      </a:lnTo>
                      <a:lnTo>
                        <a:pt x="133" y="172"/>
                      </a:lnTo>
                      <a:lnTo>
                        <a:pt x="133" y="174"/>
                      </a:lnTo>
                      <a:lnTo>
                        <a:pt x="134" y="174"/>
                      </a:lnTo>
                      <a:lnTo>
                        <a:pt x="133" y="174"/>
                      </a:lnTo>
                      <a:lnTo>
                        <a:pt x="130" y="174"/>
                      </a:lnTo>
                      <a:lnTo>
                        <a:pt x="130" y="172"/>
                      </a:lnTo>
                      <a:lnTo>
                        <a:pt x="129" y="172"/>
                      </a:lnTo>
                      <a:lnTo>
                        <a:pt x="129" y="174"/>
                      </a:lnTo>
                      <a:lnTo>
                        <a:pt x="130" y="174"/>
                      </a:lnTo>
                      <a:lnTo>
                        <a:pt x="129" y="174"/>
                      </a:lnTo>
                      <a:lnTo>
                        <a:pt x="128" y="175"/>
                      </a:lnTo>
                      <a:lnTo>
                        <a:pt x="128" y="174"/>
                      </a:lnTo>
                      <a:lnTo>
                        <a:pt x="127" y="174"/>
                      </a:lnTo>
                      <a:lnTo>
                        <a:pt x="127" y="175"/>
                      </a:lnTo>
                      <a:lnTo>
                        <a:pt x="126" y="175"/>
                      </a:lnTo>
                      <a:lnTo>
                        <a:pt x="125" y="174"/>
                      </a:lnTo>
                      <a:lnTo>
                        <a:pt x="126" y="174"/>
                      </a:lnTo>
                      <a:lnTo>
                        <a:pt x="127" y="174"/>
                      </a:lnTo>
                      <a:lnTo>
                        <a:pt x="126" y="174"/>
                      </a:lnTo>
                      <a:lnTo>
                        <a:pt x="126" y="172"/>
                      </a:lnTo>
                      <a:lnTo>
                        <a:pt x="127" y="172"/>
                      </a:lnTo>
                      <a:lnTo>
                        <a:pt x="126" y="172"/>
                      </a:lnTo>
                      <a:lnTo>
                        <a:pt x="126" y="174"/>
                      </a:lnTo>
                      <a:lnTo>
                        <a:pt x="125" y="174"/>
                      </a:lnTo>
                      <a:lnTo>
                        <a:pt x="123" y="174"/>
                      </a:lnTo>
                      <a:lnTo>
                        <a:pt x="125" y="174"/>
                      </a:lnTo>
                      <a:lnTo>
                        <a:pt x="125" y="175"/>
                      </a:lnTo>
                      <a:lnTo>
                        <a:pt x="123" y="175"/>
                      </a:lnTo>
                      <a:lnTo>
                        <a:pt x="122" y="176"/>
                      </a:lnTo>
                      <a:lnTo>
                        <a:pt x="122" y="177"/>
                      </a:lnTo>
                      <a:lnTo>
                        <a:pt x="123" y="177"/>
                      </a:lnTo>
                      <a:lnTo>
                        <a:pt x="125" y="177"/>
                      </a:lnTo>
                      <a:lnTo>
                        <a:pt x="125" y="176"/>
                      </a:lnTo>
                      <a:lnTo>
                        <a:pt x="126" y="176"/>
                      </a:lnTo>
                      <a:lnTo>
                        <a:pt x="127" y="176"/>
                      </a:lnTo>
                      <a:lnTo>
                        <a:pt x="127" y="175"/>
                      </a:lnTo>
                      <a:lnTo>
                        <a:pt x="128" y="175"/>
                      </a:lnTo>
                      <a:lnTo>
                        <a:pt x="129" y="176"/>
                      </a:lnTo>
                      <a:lnTo>
                        <a:pt x="130" y="176"/>
                      </a:lnTo>
                      <a:lnTo>
                        <a:pt x="129" y="176"/>
                      </a:lnTo>
                      <a:lnTo>
                        <a:pt x="129" y="175"/>
                      </a:lnTo>
                      <a:lnTo>
                        <a:pt x="130" y="175"/>
                      </a:lnTo>
                      <a:lnTo>
                        <a:pt x="132" y="175"/>
                      </a:lnTo>
                      <a:lnTo>
                        <a:pt x="134" y="175"/>
                      </a:lnTo>
                      <a:lnTo>
                        <a:pt x="135" y="175"/>
                      </a:lnTo>
                      <a:lnTo>
                        <a:pt x="135" y="174"/>
                      </a:lnTo>
                      <a:lnTo>
                        <a:pt x="136" y="174"/>
                      </a:lnTo>
                      <a:lnTo>
                        <a:pt x="137" y="175"/>
                      </a:lnTo>
                      <a:lnTo>
                        <a:pt x="137" y="174"/>
                      </a:lnTo>
                      <a:lnTo>
                        <a:pt x="139" y="174"/>
                      </a:lnTo>
                      <a:lnTo>
                        <a:pt x="140" y="174"/>
                      </a:lnTo>
                      <a:lnTo>
                        <a:pt x="141" y="174"/>
                      </a:lnTo>
                      <a:lnTo>
                        <a:pt x="142" y="172"/>
                      </a:lnTo>
                      <a:lnTo>
                        <a:pt x="146" y="172"/>
                      </a:lnTo>
                      <a:lnTo>
                        <a:pt x="147" y="174"/>
                      </a:lnTo>
                      <a:lnTo>
                        <a:pt x="146" y="174"/>
                      </a:lnTo>
                      <a:lnTo>
                        <a:pt x="148" y="175"/>
                      </a:lnTo>
                      <a:lnTo>
                        <a:pt x="139" y="175"/>
                      </a:lnTo>
                      <a:lnTo>
                        <a:pt x="128" y="176"/>
                      </a:lnTo>
                      <a:lnTo>
                        <a:pt x="123" y="177"/>
                      </a:lnTo>
                      <a:lnTo>
                        <a:pt x="120" y="178"/>
                      </a:lnTo>
                      <a:lnTo>
                        <a:pt x="119" y="178"/>
                      </a:lnTo>
                      <a:lnTo>
                        <a:pt x="118" y="178"/>
                      </a:lnTo>
                      <a:lnTo>
                        <a:pt x="116" y="178"/>
                      </a:lnTo>
                      <a:lnTo>
                        <a:pt x="116" y="177"/>
                      </a:lnTo>
                      <a:lnTo>
                        <a:pt x="118" y="177"/>
                      </a:lnTo>
                      <a:lnTo>
                        <a:pt x="116" y="177"/>
                      </a:lnTo>
                      <a:lnTo>
                        <a:pt x="115" y="176"/>
                      </a:lnTo>
                      <a:lnTo>
                        <a:pt x="116" y="176"/>
                      </a:lnTo>
                      <a:lnTo>
                        <a:pt x="115" y="175"/>
                      </a:lnTo>
                      <a:lnTo>
                        <a:pt x="114" y="176"/>
                      </a:lnTo>
                      <a:lnTo>
                        <a:pt x="113" y="176"/>
                      </a:lnTo>
                      <a:lnTo>
                        <a:pt x="112" y="176"/>
                      </a:lnTo>
                      <a:lnTo>
                        <a:pt x="111" y="176"/>
                      </a:lnTo>
                      <a:lnTo>
                        <a:pt x="109" y="175"/>
                      </a:lnTo>
                      <a:lnTo>
                        <a:pt x="109" y="176"/>
                      </a:lnTo>
                      <a:lnTo>
                        <a:pt x="108" y="175"/>
                      </a:lnTo>
                      <a:lnTo>
                        <a:pt x="108" y="176"/>
                      </a:lnTo>
                      <a:lnTo>
                        <a:pt x="107" y="176"/>
                      </a:lnTo>
                      <a:lnTo>
                        <a:pt x="107" y="175"/>
                      </a:lnTo>
                      <a:lnTo>
                        <a:pt x="106" y="175"/>
                      </a:lnTo>
                      <a:lnTo>
                        <a:pt x="106" y="176"/>
                      </a:lnTo>
                      <a:lnTo>
                        <a:pt x="105" y="176"/>
                      </a:lnTo>
                      <a:lnTo>
                        <a:pt x="106" y="176"/>
                      </a:lnTo>
                      <a:lnTo>
                        <a:pt x="107" y="176"/>
                      </a:lnTo>
                      <a:lnTo>
                        <a:pt x="106" y="177"/>
                      </a:lnTo>
                      <a:lnTo>
                        <a:pt x="105" y="177"/>
                      </a:lnTo>
                      <a:lnTo>
                        <a:pt x="105" y="178"/>
                      </a:lnTo>
                      <a:lnTo>
                        <a:pt x="104" y="177"/>
                      </a:lnTo>
                      <a:lnTo>
                        <a:pt x="102" y="177"/>
                      </a:lnTo>
                      <a:lnTo>
                        <a:pt x="104" y="178"/>
                      </a:lnTo>
                      <a:lnTo>
                        <a:pt x="105" y="178"/>
                      </a:lnTo>
                      <a:lnTo>
                        <a:pt x="106" y="178"/>
                      </a:lnTo>
                      <a:lnTo>
                        <a:pt x="107" y="178"/>
                      </a:lnTo>
                      <a:lnTo>
                        <a:pt x="106" y="178"/>
                      </a:lnTo>
                      <a:lnTo>
                        <a:pt x="105" y="178"/>
                      </a:lnTo>
                      <a:lnTo>
                        <a:pt x="105" y="177"/>
                      </a:lnTo>
                      <a:lnTo>
                        <a:pt x="106" y="177"/>
                      </a:lnTo>
                      <a:lnTo>
                        <a:pt x="107" y="177"/>
                      </a:lnTo>
                      <a:lnTo>
                        <a:pt x="108" y="177"/>
                      </a:lnTo>
                      <a:lnTo>
                        <a:pt x="109" y="177"/>
                      </a:lnTo>
                      <a:lnTo>
                        <a:pt x="111" y="177"/>
                      </a:lnTo>
                      <a:lnTo>
                        <a:pt x="109" y="177"/>
                      </a:lnTo>
                      <a:lnTo>
                        <a:pt x="109" y="176"/>
                      </a:lnTo>
                      <a:lnTo>
                        <a:pt x="108" y="176"/>
                      </a:lnTo>
                      <a:lnTo>
                        <a:pt x="109" y="176"/>
                      </a:lnTo>
                      <a:lnTo>
                        <a:pt x="111" y="176"/>
                      </a:lnTo>
                      <a:lnTo>
                        <a:pt x="112" y="177"/>
                      </a:lnTo>
                      <a:lnTo>
                        <a:pt x="113" y="177"/>
                      </a:lnTo>
                      <a:lnTo>
                        <a:pt x="113" y="176"/>
                      </a:lnTo>
                      <a:lnTo>
                        <a:pt x="114" y="176"/>
                      </a:lnTo>
                      <a:lnTo>
                        <a:pt x="115" y="176"/>
                      </a:lnTo>
                      <a:lnTo>
                        <a:pt x="115" y="177"/>
                      </a:lnTo>
                      <a:lnTo>
                        <a:pt x="115" y="178"/>
                      </a:lnTo>
                      <a:lnTo>
                        <a:pt x="116" y="178"/>
                      </a:lnTo>
                      <a:lnTo>
                        <a:pt x="108" y="178"/>
                      </a:lnTo>
                      <a:lnTo>
                        <a:pt x="107" y="179"/>
                      </a:lnTo>
                      <a:lnTo>
                        <a:pt x="100" y="179"/>
                      </a:lnTo>
                      <a:lnTo>
                        <a:pt x="99" y="179"/>
                      </a:lnTo>
                      <a:lnTo>
                        <a:pt x="99" y="178"/>
                      </a:lnTo>
                      <a:lnTo>
                        <a:pt x="98" y="179"/>
                      </a:lnTo>
                      <a:lnTo>
                        <a:pt x="99" y="179"/>
                      </a:lnTo>
                      <a:lnTo>
                        <a:pt x="97" y="181"/>
                      </a:lnTo>
                      <a:lnTo>
                        <a:pt x="90" y="182"/>
                      </a:lnTo>
                      <a:lnTo>
                        <a:pt x="88" y="182"/>
                      </a:lnTo>
                      <a:lnTo>
                        <a:pt x="85" y="183"/>
                      </a:lnTo>
                      <a:lnTo>
                        <a:pt x="84" y="183"/>
                      </a:lnTo>
                      <a:lnTo>
                        <a:pt x="83" y="184"/>
                      </a:lnTo>
                      <a:lnTo>
                        <a:pt x="80" y="185"/>
                      </a:lnTo>
                      <a:lnTo>
                        <a:pt x="71" y="189"/>
                      </a:lnTo>
                      <a:lnTo>
                        <a:pt x="71" y="190"/>
                      </a:lnTo>
                      <a:lnTo>
                        <a:pt x="68" y="190"/>
                      </a:lnTo>
                      <a:lnTo>
                        <a:pt x="66" y="190"/>
                      </a:lnTo>
                      <a:lnTo>
                        <a:pt x="66" y="191"/>
                      </a:lnTo>
                      <a:lnTo>
                        <a:pt x="65" y="191"/>
                      </a:lnTo>
                      <a:lnTo>
                        <a:pt x="64" y="191"/>
                      </a:lnTo>
                      <a:lnTo>
                        <a:pt x="61" y="193"/>
                      </a:lnTo>
                      <a:lnTo>
                        <a:pt x="57" y="193"/>
                      </a:lnTo>
                      <a:lnTo>
                        <a:pt x="56" y="193"/>
                      </a:lnTo>
                      <a:lnTo>
                        <a:pt x="55" y="195"/>
                      </a:lnTo>
                      <a:lnTo>
                        <a:pt x="52" y="197"/>
                      </a:lnTo>
                      <a:lnTo>
                        <a:pt x="51" y="198"/>
                      </a:lnTo>
                      <a:lnTo>
                        <a:pt x="50" y="198"/>
                      </a:lnTo>
                      <a:lnTo>
                        <a:pt x="48" y="198"/>
                      </a:lnTo>
                      <a:lnTo>
                        <a:pt x="45" y="199"/>
                      </a:lnTo>
                      <a:lnTo>
                        <a:pt x="44" y="200"/>
                      </a:lnTo>
                      <a:lnTo>
                        <a:pt x="43" y="200"/>
                      </a:lnTo>
                      <a:lnTo>
                        <a:pt x="42" y="202"/>
                      </a:lnTo>
                      <a:lnTo>
                        <a:pt x="40" y="204"/>
                      </a:lnTo>
                      <a:lnTo>
                        <a:pt x="38" y="204"/>
                      </a:lnTo>
                      <a:lnTo>
                        <a:pt x="37" y="204"/>
                      </a:lnTo>
                      <a:lnTo>
                        <a:pt x="36" y="204"/>
                      </a:lnTo>
                      <a:lnTo>
                        <a:pt x="35" y="203"/>
                      </a:lnTo>
                      <a:lnTo>
                        <a:pt x="35" y="202"/>
                      </a:lnTo>
                      <a:lnTo>
                        <a:pt x="35" y="200"/>
                      </a:lnTo>
                      <a:lnTo>
                        <a:pt x="35" y="199"/>
                      </a:lnTo>
                      <a:lnTo>
                        <a:pt x="35" y="192"/>
                      </a:lnTo>
                      <a:lnTo>
                        <a:pt x="35" y="191"/>
                      </a:lnTo>
                      <a:lnTo>
                        <a:pt x="34" y="190"/>
                      </a:lnTo>
                      <a:lnTo>
                        <a:pt x="34" y="189"/>
                      </a:lnTo>
                      <a:lnTo>
                        <a:pt x="34" y="188"/>
                      </a:lnTo>
                      <a:lnTo>
                        <a:pt x="34" y="186"/>
                      </a:lnTo>
                      <a:lnTo>
                        <a:pt x="35" y="186"/>
                      </a:lnTo>
                      <a:lnTo>
                        <a:pt x="35" y="185"/>
                      </a:lnTo>
                      <a:lnTo>
                        <a:pt x="35" y="184"/>
                      </a:lnTo>
                      <a:lnTo>
                        <a:pt x="35" y="183"/>
                      </a:lnTo>
                      <a:lnTo>
                        <a:pt x="34" y="182"/>
                      </a:lnTo>
                      <a:lnTo>
                        <a:pt x="34" y="181"/>
                      </a:lnTo>
                      <a:lnTo>
                        <a:pt x="35" y="181"/>
                      </a:lnTo>
                      <a:lnTo>
                        <a:pt x="36" y="181"/>
                      </a:lnTo>
                      <a:lnTo>
                        <a:pt x="37" y="179"/>
                      </a:lnTo>
                      <a:lnTo>
                        <a:pt x="37" y="178"/>
                      </a:lnTo>
                      <a:lnTo>
                        <a:pt x="37" y="176"/>
                      </a:lnTo>
                      <a:lnTo>
                        <a:pt x="37" y="175"/>
                      </a:lnTo>
                      <a:lnTo>
                        <a:pt x="38" y="175"/>
                      </a:lnTo>
                      <a:lnTo>
                        <a:pt x="38" y="174"/>
                      </a:lnTo>
                      <a:lnTo>
                        <a:pt x="38" y="175"/>
                      </a:lnTo>
                      <a:lnTo>
                        <a:pt x="40" y="175"/>
                      </a:lnTo>
                      <a:lnTo>
                        <a:pt x="40" y="174"/>
                      </a:lnTo>
                      <a:lnTo>
                        <a:pt x="40" y="172"/>
                      </a:lnTo>
                      <a:lnTo>
                        <a:pt x="40" y="171"/>
                      </a:lnTo>
                      <a:lnTo>
                        <a:pt x="38" y="171"/>
                      </a:lnTo>
                      <a:lnTo>
                        <a:pt x="38" y="170"/>
                      </a:lnTo>
                      <a:lnTo>
                        <a:pt x="38" y="169"/>
                      </a:lnTo>
                      <a:lnTo>
                        <a:pt x="38" y="170"/>
                      </a:lnTo>
                      <a:lnTo>
                        <a:pt x="38" y="169"/>
                      </a:lnTo>
                      <a:lnTo>
                        <a:pt x="38" y="168"/>
                      </a:lnTo>
                      <a:lnTo>
                        <a:pt x="40" y="168"/>
                      </a:lnTo>
                      <a:lnTo>
                        <a:pt x="40" y="167"/>
                      </a:lnTo>
                      <a:lnTo>
                        <a:pt x="40" y="165"/>
                      </a:lnTo>
                      <a:lnTo>
                        <a:pt x="40" y="164"/>
                      </a:lnTo>
                      <a:lnTo>
                        <a:pt x="40" y="163"/>
                      </a:lnTo>
                      <a:lnTo>
                        <a:pt x="38" y="163"/>
                      </a:lnTo>
                      <a:lnTo>
                        <a:pt x="38" y="160"/>
                      </a:lnTo>
                      <a:lnTo>
                        <a:pt x="38" y="158"/>
                      </a:lnTo>
                      <a:lnTo>
                        <a:pt x="38" y="157"/>
                      </a:lnTo>
                      <a:lnTo>
                        <a:pt x="38" y="156"/>
                      </a:lnTo>
                      <a:lnTo>
                        <a:pt x="37" y="156"/>
                      </a:lnTo>
                      <a:lnTo>
                        <a:pt x="37" y="157"/>
                      </a:lnTo>
                      <a:lnTo>
                        <a:pt x="36" y="157"/>
                      </a:lnTo>
                      <a:lnTo>
                        <a:pt x="35" y="156"/>
                      </a:lnTo>
                      <a:lnTo>
                        <a:pt x="35" y="157"/>
                      </a:lnTo>
                      <a:lnTo>
                        <a:pt x="34" y="156"/>
                      </a:lnTo>
                      <a:lnTo>
                        <a:pt x="34" y="155"/>
                      </a:lnTo>
                      <a:lnTo>
                        <a:pt x="33" y="155"/>
                      </a:lnTo>
                      <a:lnTo>
                        <a:pt x="31" y="155"/>
                      </a:lnTo>
                      <a:lnTo>
                        <a:pt x="31" y="154"/>
                      </a:lnTo>
                      <a:lnTo>
                        <a:pt x="30" y="154"/>
                      </a:lnTo>
                      <a:lnTo>
                        <a:pt x="30" y="155"/>
                      </a:lnTo>
                      <a:lnTo>
                        <a:pt x="29" y="155"/>
                      </a:lnTo>
                      <a:lnTo>
                        <a:pt x="29" y="154"/>
                      </a:lnTo>
                      <a:lnTo>
                        <a:pt x="28" y="154"/>
                      </a:lnTo>
                      <a:lnTo>
                        <a:pt x="27" y="153"/>
                      </a:lnTo>
                      <a:lnTo>
                        <a:pt x="27" y="151"/>
                      </a:lnTo>
                      <a:lnTo>
                        <a:pt x="27" y="150"/>
                      </a:lnTo>
                      <a:lnTo>
                        <a:pt x="27" y="149"/>
                      </a:lnTo>
                      <a:lnTo>
                        <a:pt x="26" y="149"/>
                      </a:lnTo>
                      <a:lnTo>
                        <a:pt x="24" y="149"/>
                      </a:lnTo>
                      <a:lnTo>
                        <a:pt x="24" y="148"/>
                      </a:lnTo>
                      <a:lnTo>
                        <a:pt x="24" y="147"/>
                      </a:lnTo>
                      <a:lnTo>
                        <a:pt x="26" y="146"/>
                      </a:lnTo>
                      <a:lnTo>
                        <a:pt x="24" y="144"/>
                      </a:lnTo>
                      <a:lnTo>
                        <a:pt x="23" y="143"/>
                      </a:lnTo>
                      <a:lnTo>
                        <a:pt x="22" y="143"/>
                      </a:lnTo>
                      <a:lnTo>
                        <a:pt x="20" y="143"/>
                      </a:lnTo>
                      <a:lnTo>
                        <a:pt x="20" y="142"/>
                      </a:lnTo>
                      <a:lnTo>
                        <a:pt x="19" y="142"/>
                      </a:lnTo>
                      <a:lnTo>
                        <a:pt x="16" y="142"/>
                      </a:lnTo>
                      <a:lnTo>
                        <a:pt x="16" y="143"/>
                      </a:lnTo>
                      <a:lnTo>
                        <a:pt x="15" y="143"/>
                      </a:lnTo>
                      <a:lnTo>
                        <a:pt x="14" y="143"/>
                      </a:lnTo>
                      <a:lnTo>
                        <a:pt x="14" y="142"/>
                      </a:lnTo>
                      <a:lnTo>
                        <a:pt x="12" y="142"/>
                      </a:lnTo>
                      <a:lnTo>
                        <a:pt x="11" y="142"/>
                      </a:lnTo>
                      <a:lnTo>
                        <a:pt x="11" y="141"/>
                      </a:lnTo>
                      <a:lnTo>
                        <a:pt x="9" y="141"/>
                      </a:lnTo>
                      <a:lnTo>
                        <a:pt x="8" y="141"/>
                      </a:lnTo>
                      <a:lnTo>
                        <a:pt x="7" y="141"/>
                      </a:lnTo>
                      <a:lnTo>
                        <a:pt x="7" y="140"/>
                      </a:lnTo>
                      <a:lnTo>
                        <a:pt x="7" y="139"/>
                      </a:lnTo>
                      <a:lnTo>
                        <a:pt x="7" y="137"/>
                      </a:lnTo>
                      <a:lnTo>
                        <a:pt x="6" y="137"/>
                      </a:lnTo>
                      <a:lnTo>
                        <a:pt x="6" y="136"/>
                      </a:lnTo>
                      <a:lnTo>
                        <a:pt x="5" y="137"/>
                      </a:lnTo>
                      <a:lnTo>
                        <a:pt x="5" y="139"/>
                      </a:lnTo>
                      <a:lnTo>
                        <a:pt x="4" y="139"/>
                      </a:lnTo>
                      <a:lnTo>
                        <a:pt x="2" y="137"/>
                      </a:lnTo>
                      <a:lnTo>
                        <a:pt x="2" y="136"/>
                      </a:lnTo>
                      <a:lnTo>
                        <a:pt x="1" y="136"/>
                      </a:lnTo>
                      <a:lnTo>
                        <a:pt x="0" y="136"/>
                      </a:lnTo>
                      <a:lnTo>
                        <a:pt x="1" y="135"/>
                      </a:lnTo>
                      <a:lnTo>
                        <a:pt x="2" y="135"/>
                      </a:lnTo>
                      <a:lnTo>
                        <a:pt x="2" y="134"/>
                      </a:lnTo>
                      <a:lnTo>
                        <a:pt x="4" y="134"/>
                      </a:lnTo>
                      <a:lnTo>
                        <a:pt x="6" y="132"/>
                      </a:lnTo>
                      <a:lnTo>
                        <a:pt x="9" y="128"/>
                      </a:lnTo>
                      <a:lnTo>
                        <a:pt x="9" y="127"/>
                      </a:lnTo>
                      <a:lnTo>
                        <a:pt x="11" y="126"/>
                      </a:lnTo>
                      <a:lnTo>
                        <a:pt x="11" y="125"/>
                      </a:lnTo>
                      <a:lnTo>
                        <a:pt x="9" y="125"/>
                      </a:lnTo>
                      <a:lnTo>
                        <a:pt x="9" y="123"/>
                      </a:lnTo>
                      <a:lnTo>
                        <a:pt x="9" y="122"/>
                      </a:lnTo>
                      <a:lnTo>
                        <a:pt x="9" y="121"/>
                      </a:lnTo>
                      <a:lnTo>
                        <a:pt x="11" y="121"/>
                      </a:lnTo>
                      <a:lnTo>
                        <a:pt x="11" y="120"/>
                      </a:lnTo>
                      <a:lnTo>
                        <a:pt x="11" y="116"/>
                      </a:lnTo>
                      <a:lnTo>
                        <a:pt x="11" y="115"/>
                      </a:lnTo>
                      <a:lnTo>
                        <a:pt x="9" y="115"/>
                      </a:lnTo>
                      <a:lnTo>
                        <a:pt x="9" y="114"/>
                      </a:lnTo>
                      <a:lnTo>
                        <a:pt x="9" y="113"/>
                      </a:lnTo>
                      <a:lnTo>
                        <a:pt x="8" y="113"/>
                      </a:lnTo>
                      <a:lnTo>
                        <a:pt x="8" y="112"/>
                      </a:lnTo>
                      <a:lnTo>
                        <a:pt x="8" y="111"/>
                      </a:lnTo>
                      <a:lnTo>
                        <a:pt x="7" y="111"/>
                      </a:lnTo>
                      <a:lnTo>
                        <a:pt x="7" y="109"/>
                      </a:lnTo>
                      <a:lnTo>
                        <a:pt x="7" y="106"/>
                      </a:lnTo>
                      <a:lnTo>
                        <a:pt x="6" y="105"/>
                      </a:lnTo>
                      <a:lnTo>
                        <a:pt x="6" y="104"/>
                      </a:lnTo>
                      <a:lnTo>
                        <a:pt x="5" y="102"/>
                      </a:lnTo>
                      <a:lnTo>
                        <a:pt x="6" y="101"/>
                      </a:lnTo>
                      <a:lnTo>
                        <a:pt x="7" y="100"/>
                      </a:lnTo>
                      <a:lnTo>
                        <a:pt x="7" y="101"/>
                      </a:lnTo>
                      <a:lnTo>
                        <a:pt x="8" y="101"/>
                      </a:lnTo>
                      <a:lnTo>
                        <a:pt x="9" y="101"/>
                      </a:lnTo>
                      <a:lnTo>
                        <a:pt x="11" y="101"/>
                      </a:lnTo>
                      <a:lnTo>
                        <a:pt x="12" y="102"/>
                      </a:lnTo>
                      <a:lnTo>
                        <a:pt x="13" y="102"/>
                      </a:lnTo>
                      <a:lnTo>
                        <a:pt x="13" y="101"/>
                      </a:lnTo>
                      <a:lnTo>
                        <a:pt x="13" y="100"/>
                      </a:lnTo>
                      <a:lnTo>
                        <a:pt x="14" y="100"/>
                      </a:lnTo>
                      <a:lnTo>
                        <a:pt x="14" y="99"/>
                      </a:lnTo>
                      <a:lnTo>
                        <a:pt x="15" y="99"/>
                      </a:lnTo>
                      <a:lnTo>
                        <a:pt x="14" y="99"/>
                      </a:lnTo>
                      <a:lnTo>
                        <a:pt x="15" y="98"/>
                      </a:lnTo>
                      <a:lnTo>
                        <a:pt x="15" y="97"/>
                      </a:lnTo>
                      <a:lnTo>
                        <a:pt x="16" y="95"/>
                      </a:lnTo>
                      <a:lnTo>
                        <a:pt x="16" y="94"/>
                      </a:lnTo>
                      <a:lnTo>
                        <a:pt x="15" y="93"/>
                      </a:lnTo>
                      <a:lnTo>
                        <a:pt x="15" y="92"/>
                      </a:lnTo>
                      <a:lnTo>
                        <a:pt x="18" y="90"/>
                      </a:lnTo>
                      <a:lnTo>
                        <a:pt x="18" y="88"/>
                      </a:lnTo>
                      <a:lnTo>
                        <a:pt x="18" y="87"/>
                      </a:lnTo>
                      <a:lnTo>
                        <a:pt x="19" y="87"/>
                      </a:lnTo>
                      <a:lnTo>
                        <a:pt x="20" y="87"/>
                      </a:lnTo>
                      <a:lnTo>
                        <a:pt x="21" y="87"/>
                      </a:lnTo>
                      <a:lnTo>
                        <a:pt x="20" y="86"/>
                      </a:lnTo>
                      <a:lnTo>
                        <a:pt x="19" y="85"/>
                      </a:lnTo>
                      <a:lnTo>
                        <a:pt x="19" y="84"/>
                      </a:lnTo>
                      <a:lnTo>
                        <a:pt x="19" y="83"/>
                      </a:lnTo>
                      <a:lnTo>
                        <a:pt x="20" y="83"/>
                      </a:lnTo>
                      <a:lnTo>
                        <a:pt x="19" y="83"/>
                      </a:lnTo>
                      <a:lnTo>
                        <a:pt x="18" y="83"/>
                      </a:lnTo>
                      <a:lnTo>
                        <a:pt x="16" y="83"/>
                      </a:lnTo>
                      <a:lnTo>
                        <a:pt x="14" y="83"/>
                      </a:lnTo>
                      <a:lnTo>
                        <a:pt x="11" y="80"/>
                      </a:lnTo>
                      <a:lnTo>
                        <a:pt x="12" y="79"/>
                      </a:lnTo>
                      <a:lnTo>
                        <a:pt x="12" y="78"/>
                      </a:lnTo>
                      <a:lnTo>
                        <a:pt x="12" y="76"/>
                      </a:lnTo>
                      <a:lnTo>
                        <a:pt x="12" y="74"/>
                      </a:lnTo>
                      <a:lnTo>
                        <a:pt x="12" y="73"/>
                      </a:lnTo>
                      <a:lnTo>
                        <a:pt x="13" y="72"/>
                      </a:lnTo>
                      <a:lnTo>
                        <a:pt x="14" y="72"/>
                      </a:lnTo>
                      <a:lnTo>
                        <a:pt x="15" y="72"/>
                      </a:lnTo>
                      <a:lnTo>
                        <a:pt x="16" y="72"/>
                      </a:lnTo>
                      <a:lnTo>
                        <a:pt x="18" y="72"/>
                      </a:lnTo>
                      <a:lnTo>
                        <a:pt x="19" y="72"/>
                      </a:lnTo>
                      <a:lnTo>
                        <a:pt x="20" y="72"/>
                      </a:lnTo>
                      <a:lnTo>
                        <a:pt x="21" y="72"/>
                      </a:lnTo>
                      <a:lnTo>
                        <a:pt x="21" y="73"/>
                      </a:lnTo>
                      <a:lnTo>
                        <a:pt x="22" y="74"/>
                      </a:lnTo>
                      <a:lnTo>
                        <a:pt x="23" y="74"/>
                      </a:lnTo>
                      <a:lnTo>
                        <a:pt x="24" y="74"/>
                      </a:lnTo>
                      <a:lnTo>
                        <a:pt x="24" y="73"/>
                      </a:lnTo>
                      <a:lnTo>
                        <a:pt x="26" y="73"/>
                      </a:lnTo>
                      <a:lnTo>
                        <a:pt x="27" y="76"/>
                      </a:lnTo>
                      <a:lnTo>
                        <a:pt x="28" y="77"/>
                      </a:lnTo>
                      <a:lnTo>
                        <a:pt x="30" y="76"/>
                      </a:lnTo>
                      <a:lnTo>
                        <a:pt x="29" y="74"/>
                      </a:lnTo>
                      <a:lnTo>
                        <a:pt x="29" y="73"/>
                      </a:lnTo>
                      <a:lnTo>
                        <a:pt x="29" y="72"/>
                      </a:lnTo>
                      <a:lnTo>
                        <a:pt x="29" y="71"/>
                      </a:lnTo>
                      <a:lnTo>
                        <a:pt x="29" y="70"/>
                      </a:lnTo>
                      <a:lnTo>
                        <a:pt x="29" y="69"/>
                      </a:lnTo>
                      <a:lnTo>
                        <a:pt x="29" y="67"/>
                      </a:lnTo>
                      <a:lnTo>
                        <a:pt x="28" y="67"/>
                      </a:lnTo>
                      <a:lnTo>
                        <a:pt x="27" y="66"/>
                      </a:lnTo>
                      <a:lnTo>
                        <a:pt x="27" y="65"/>
                      </a:lnTo>
                      <a:lnTo>
                        <a:pt x="26" y="65"/>
                      </a:lnTo>
                      <a:lnTo>
                        <a:pt x="26" y="64"/>
                      </a:lnTo>
                      <a:lnTo>
                        <a:pt x="24" y="64"/>
                      </a:lnTo>
                      <a:lnTo>
                        <a:pt x="22" y="64"/>
                      </a:lnTo>
                      <a:lnTo>
                        <a:pt x="20" y="63"/>
                      </a:lnTo>
                      <a:lnTo>
                        <a:pt x="20" y="62"/>
                      </a:lnTo>
                      <a:lnTo>
                        <a:pt x="21" y="59"/>
                      </a:lnTo>
                      <a:lnTo>
                        <a:pt x="21" y="58"/>
                      </a:lnTo>
                      <a:lnTo>
                        <a:pt x="21" y="57"/>
                      </a:lnTo>
                      <a:lnTo>
                        <a:pt x="21" y="56"/>
                      </a:lnTo>
                      <a:lnTo>
                        <a:pt x="22" y="56"/>
                      </a:lnTo>
                      <a:lnTo>
                        <a:pt x="24" y="55"/>
                      </a:lnTo>
                      <a:lnTo>
                        <a:pt x="26" y="55"/>
                      </a:lnTo>
                      <a:lnTo>
                        <a:pt x="27" y="53"/>
                      </a:lnTo>
                      <a:lnTo>
                        <a:pt x="26" y="52"/>
                      </a:lnTo>
                      <a:lnTo>
                        <a:pt x="24" y="52"/>
                      </a:lnTo>
                      <a:lnTo>
                        <a:pt x="24" y="51"/>
                      </a:lnTo>
                      <a:lnTo>
                        <a:pt x="23" y="51"/>
                      </a:lnTo>
                      <a:lnTo>
                        <a:pt x="22" y="51"/>
                      </a:lnTo>
                      <a:lnTo>
                        <a:pt x="21" y="50"/>
                      </a:lnTo>
                      <a:lnTo>
                        <a:pt x="21" y="49"/>
                      </a:lnTo>
                      <a:lnTo>
                        <a:pt x="22" y="46"/>
                      </a:lnTo>
                      <a:lnTo>
                        <a:pt x="22" y="45"/>
                      </a:lnTo>
                      <a:lnTo>
                        <a:pt x="23" y="43"/>
                      </a:lnTo>
                      <a:lnTo>
                        <a:pt x="21" y="43"/>
                      </a:lnTo>
                      <a:lnTo>
                        <a:pt x="20" y="43"/>
                      </a:lnTo>
                      <a:lnTo>
                        <a:pt x="19" y="44"/>
                      </a:lnTo>
                      <a:lnTo>
                        <a:pt x="18" y="44"/>
                      </a:lnTo>
                      <a:lnTo>
                        <a:pt x="16" y="43"/>
                      </a:lnTo>
                      <a:lnTo>
                        <a:pt x="14" y="41"/>
                      </a:lnTo>
                      <a:lnTo>
                        <a:pt x="14" y="39"/>
                      </a:lnTo>
                      <a:lnTo>
                        <a:pt x="14" y="38"/>
                      </a:lnTo>
                      <a:lnTo>
                        <a:pt x="14" y="37"/>
                      </a:lnTo>
                      <a:lnTo>
                        <a:pt x="15" y="29"/>
                      </a:lnTo>
                      <a:lnTo>
                        <a:pt x="14" y="29"/>
                      </a:lnTo>
                      <a:lnTo>
                        <a:pt x="14" y="28"/>
                      </a:lnTo>
                      <a:lnTo>
                        <a:pt x="14" y="27"/>
                      </a:lnTo>
                      <a:lnTo>
                        <a:pt x="13" y="27"/>
                      </a:lnTo>
                      <a:lnTo>
                        <a:pt x="13" y="25"/>
                      </a:lnTo>
                      <a:lnTo>
                        <a:pt x="14" y="25"/>
                      </a:lnTo>
                      <a:lnTo>
                        <a:pt x="13" y="24"/>
                      </a:lnTo>
                      <a:lnTo>
                        <a:pt x="14" y="24"/>
                      </a:lnTo>
                      <a:lnTo>
                        <a:pt x="14" y="23"/>
                      </a:lnTo>
                      <a:lnTo>
                        <a:pt x="15" y="22"/>
                      </a:lnTo>
                      <a:lnTo>
                        <a:pt x="16" y="22"/>
                      </a:lnTo>
                      <a:lnTo>
                        <a:pt x="18" y="21"/>
                      </a:lnTo>
                      <a:lnTo>
                        <a:pt x="18" y="20"/>
                      </a:lnTo>
                      <a:lnTo>
                        <a:pt x="19" y="20"/>
                      </a:lnTo>
                      <a:lnTo>
                        <a:pt x="19" y="18"/>
                      </a:lnTo>
                      <a:lnTo>
                        <a:pt x="20" y="18"/>
                      </a:lnTo>
                      <a:lnTo>
                        <a:pt x="21" y="18"/>
                      </a:lnTo>
                      <a:lnTo>
                        <a:pt x="22" y="18"/>
                      </a:lnTo>
                      <a:lnTo>
                        <a:pt x="22" y="17"/>
                      </a:lnTo>
                      <a:lnTo>
                        <a:pt x="23" y="17"/>
                      </a:lnTo>
                      <a:lnTo>
                        <a:pt x="24" y="16"/>
                      </a:lnTo>
                      <a:lnTo>
                        <a:pt x="24" y="15"/>
                      </a:lnTo>
                      <a:lnTo>
                        <a:pt x="26" y="15"/>
                      </a:lnTo>
                      <a:lnTo>
                        <a:pt x="26" y="14"/>
                      </a:lnTo>
                      <a:lnTo>
                        <a:pt x="26" y="13"/>
                      </a:lnTo>
                      <a:lnTo>
                        <a:pt x="27" y="13"/>
                      </a:lnTo>
                      <a:lnTo>
                        <a:pt x="27" y="11"/>
                      </a:lnTo>
                      <a:lnTo>
                        <a:pt x="28" y="11"/>
                      </a:lnTo>
                      <a:lnTo>
                        <a:pt x="28" y="10"/>
                      </a:lnTo>
                      <a:lnTo>
                        <a:pt x="28" y="11"/>
                      </a:lnTo>
                      <a:lnTo>
                        <a:pt x="28" y="10"/>
                      </a:lnTo>
                      <a:lnTo>
                        <a:pt x="29" y="10"/>
                      </a:lnTo>
                      <a:lnTo>
                        <a:pt x="29" y="9"/>
                      </a:lnTo>
                      <a:lnTo>
                        <a:pt x="30" y="10"/>
                      </a:lnTo>
                      <a:lnTo>
                        <a:pt x="31" y="10"/>
                      </a:lnTo>
                      <a:lnTo>
                        <a:pt x="33" y="10"/>
                      </a:lnTo>
                      <a:lnTo>
                        <a:pt x="34" y="9"/>
                      </a:lnTo>
                      <a:lnTo>
                        <a:pt x="35" y="9"/>
                      </a:lnTo>
                      <a:lnTo>
                        <a:pt x="35" y="10"/>
                      </a:lnTo>
                      <a:lnTo>
                        <a:pt x="35" y="11"/>
                      </a:lnTo>
                      <a:lnTo>
                        <a:pt x="36" y="13"/>
                      </a:lnTo>
                      <a:lnTo>
                        <a:pt x="37" y="13"/>
                      </a:lnTo>
                      <a:lnTo>
                        <a:pt x="38" y="13"/>
                      </a:lnTo>
                      <a:lnTo>
                        <a:pt x="38" y="15"/>
                      </a:lnTo>
                      <a:lnTo>
                        <a:pt x="38" y="16"/>
                      </a:lnTo>
                      <a:lnTo>
                        <a:pt x="40" y="16"/>
                      </a:lnTo>
                      <a:lnTo>
                        <a:pt x="41" y="16"/>
                      </a:lnTo>
                      <a:lnTo>
                        <a:pt x="43" y="16"/>
                      </a:lnTo>
                      <a:lnTo>
                        <a:pt x="47" y="17"/>
                      </a:lnTo>
                      <a:lnTo>
                        <a:pt x="48" y="17"/>
                      </a:lnTo>
                      <a:lnTo>
                        <a:pt x="48" y="18"/>
                      </a:lnTo>
                      <a:lnTo>
                        <a:pt x="49" y="18"/>
                      </a:lnTo>
                      <a:lnTo>
                        <a:pt x="50" y="18"/>
                      </a:lnTo>
                      <a:lnTo>
                        <a:pt x="51" y="18"/>
                      </a:lnTo>
                      <a:lnTo>
                        <a:pt x="51" y="17"/>
                      </a:lnTo>
                      <a:lnTo>
                        <a:pt x="51" y="16"/>
                      </a:lnTo>
                      <a:lnTo>
                        <a:pt x="50" y="16"/>
                      </a:lnTo>
                      <a:lnTo>
                        <a:pt x="50" y="15"/>
                      </a:lnTo>
                      <a:lnTo>
                        <a:pt x="51" y="13"/>
                      </a:lnTo>
                      <a:lnTo>
                        <a:pt x="52" y="13"/>
                      </a:lnTo>
                      <a:lnTo>
                        <a:pt x="54" y="13"/>
                      </a:lnTo>
                      <a:lnTo>
                        <a:pt x="55" y="13"/>
                      </a:lnTo>
                      <a:lnTo>
                        <a:pt x="56" y="11"/>
                      </a:lnTo>
                      <a:lnTo>
                        <a:pt x="57" y="11"/>
                      </a:lnTo>
                      <a:lnTo>
                        <a:pt x="58" y="11"/>
                      </a:lnTo>
                      <a:lnTo>
                        <a:pt x="59" y="13"/>
                      </a:lnTo>
                      <a:lnTo>
                        <a:pt x="61" y="13"/>
                      </a:lnTo>
                      <a:lnTo>
                        <a:pt x="61" y="11"/>
                      </a:lnTo>
                      <a:lnTo>
                        <a:pt x="61" y="10"/>
                      </a:lnTo>
                      <a:lnTo>
                        <a:pt x="62" y="10"/>
                      </a:lnTo>
                      <a:lnTo>
                        <a:pt x="62" y="9"/>
                      </a:lnTo>
                      <a:lnTo>
                        <a:pt x="61" y="9"/>
                      </a:lnTo>
                      <a:lnTo>
                        <a:pt x="59" y="8"/>
                      </a:lnTo>
                      <a:lnTo>
                        <a:pt x="59" y="7"/>
                      </a:lnTo>
                      <a:lnTo>
                        <a:pt x="61" y="6"/>
                      </a:lnTo>
                      <a:lnTo>
                        <a:pt x="61" y="4"/>
                      </a:lnTo>
                      <a:lnTo>
                        <a:pt x="59" y="4"/>
                      </a:lnTo>
                      <a:lnTo>
                        <a:pt x="59" y="3"/>
                      </a:lnTo>
                      <a:lnTo>
                        <a:pt x="61" y="3"/>
                      </a:lnTo>
                      <a:lnTo>
                        <a:pt x="61" y="2"/>
                      </a:lnTo>
                      <a:lnTo>
                        <a:pt x="62" y="2"/>
                      </a:lnTo>
                      <a:lnTo>
                        <a:pt x="62" y="3"/>
                      </a:lnTo>
                      <a:lnTo>
                        <a:pt x="63" y="3"/>
                      </a:lnTo>
                      <a:lnTo>
                        <a:pt x="63" y="4"/>
                      </a:lnTo>
                      <a:lnTo>
                        <a:pt x="65" y="4"/>
                      </a:lnTo>
                      <a:lnTo>
                        <a:pt x="65" y="6"/>
                      </a:lnTo>
                      <a:lnTo>
                        <a:pt x="66" y="6"/>
                      </a:lnTo>
                      <a:lnTo>
                        <a:pt x="68" y="6"/>
                      </a:lnTo>
                      <a:lnTo>
                        <a:pt x="69" y="6"/>
                      </a:lnTo>
                      <a:lnTo>
                        <a:pt x="69" y="4"/>
                      </a:lnTo>
                      <a:lnTo>
                        <a:pt x="69" y="3"/>
                      </a:lnTo>
                      <a:lnTo>
                        <a:pt x="68" y="3"/>
                      </a:lnTo>
                      <a:lnTo>
                        <a:pt x="68" y="2"/>
                      </a:lnTo>
                      <a:lnTo>
                        <a:pt x="69" y="1"/>
                      </a:lnTo>
                      <a:lnTo>
                        <a:pt x="70" y="1"/>
                      </a:lnTo>
                      <a:lnTo>
                        <a:pt x="71" y="1"/>
                      </a:lnTo>
                      <a:lnTo>
                        <a:pt x="72" y="0"/>
                      </a:lnTo>
                      <a:lnTo>
                        <a:pt x="73" y="0"/>
                      </a:lnTo>
                      <a:lnTo>
                        <a:pt x="75"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2" name="Freeform 79">
                  <a:extLst>
                    <a:ext uri="{FF2B5EF4-FFF2-40B4-BE49-F238E27FC236}">
                      <a16:creationId xmlns:a16="http://schemas.microsoft.com/office/drawing/2014/main" id="{1A50C6FF-F541-F518-62F4-2628F5D9CA8B}"/>
                    </a:ext>
                  </a:extLst>
                </p:cNvPr>
                <p:cNvSpPr>
                  <a:spLocks noEditPoints="1"/>
                </p:cNvSpPr>
                <p:nvPr/>
              </p:nvSpPr>
              <p:spPr bwMode="auto">
                <a:xfrm>
                  <a:off x="6520085" y="3347534"/>
                  <a:ext cx="263942" cy="394832"/>
                </a:xfrm>
                <a:custGeom>
                  <a:avLst/>
                  <a:gdLst>
                    <a:gd name="T0" fmla="*/ 181 w 244"/>
                    <a:gd name="T1" fmla="*/ 6 h 365"/>
                    <a:gd name="T2" fmla="*/ 188 w 244"/>
                    <a:gd name="T3" fmla="*/ 6 h 365"/>
                    <a:gd name="T4" fmla="*/ 197 w 244"/>
                    <a:gd name="T5" fmla="*/ 15 h 365"/>
                    <a:gd name="T6" fmla="*/ 201 w 244"/>
                    <a:gd name="T7" fmla="*/ 29 h 365"/>
                    <a:gd name="T8" fmla="*/ 207 w 244"/>
                    <a:gd name="T9" fmla="*/ 38 h 365"/>
                    <a:gd name="T10" fmla="*/ 207 w 244"/>
                    <a:gd name="T11" fmla="*/ 56 h 365"/>
                    <a:gd name="T12" fmla="*/ 209 w 244"/>
                    <a:gd name="T13" fmla="*/ 83 h 365"/>
                    <a:gd name="T14" fmla="*/ 224 w 244"/>
                    <a:gd name="T15" fmla="*/ 98 h 365"/>
                    <a:gd name="T16" fmla="*/ 180 w 244"/>
                    <a:gd name="T17" fmla="*/ 100 h 365"/>
                    <a:gd name="T18" fmla="*/ 201 w 244"/>
                    <a:gd name="T19" fmla="*/ 138 h 365"/>
                    <a:gd name="T20" fmla="*/ 216 w 244"/>
                    <a:gd name="T21" fmla="*/ 160 h 365"/>
                    <a:gd name="T22" fmla="*/ 216 w 244"/>
                    <a:gd name="T23" fmla="*/ 185 h 365"/>
                    <a:gd name="T24" fmla="*/ 203 w 244"/>
                    <a:gd name="T25" fmla="*/ 204 h 365"/>
                    <a:gd name="T26" fmla="*/ 187 w 244"/>
                    <a:gd name="T27" fmla="*/ 225 h 365"/>
                    <a:gd name="T28" fmla="*/ 193 w 244"/>
                    <a:gd name="T29" fmla="*/ 238 h 365"/>
                    <a:gd name="T30" fmla="*/ 192 w 244"/>
                    <a:gd name="T31" fmla="*/ 252 h 365"/>
                    <a:gd name="T32" fmla="*/ 196 w 244"/>
                    <a:gd name="T33" fmla="*/ 269 h 365"/>
                    <a:gd name="T34" fmla="*/ 211 w 244"/>
                    <a:gd name="T35" fmla="*/ 288 h 365"/>
                    <a:gd name="T36" fmla="*/ 231 w 244"/>
                    <a:gd name="T37" fmla="*/ 320 h 365"/>
                    <a:gd name="T38" fmla="*/ 239 w 244"/>
                    <a:gd name="T39" fmla="*/ 329 h 365"/>
                    <a:gd name="T40" fmla="*/ 243 w 244"/>
                    <a:gd name="T41" fmla="*/ 343 h 365"/>
                    <a:gd name="T42" fmla="*/ 239 w 244"/>
                    <a:gd name="T43" fmla="*/ 355 h 365"/>
                    <a:gd name="T44" fmla="*/ 232 w 244"/>
                    <a:gd name="T45" fmla="*/ 359 h 365"/>
                    <a:gd name="T46" fmla="*/ 214 w 244"/>
                    <a:gd name="T47" fmla="*/ 355 h 365"/>
                    <a:gd name="T48" fmla="*/ 202 w 244"/>
                    <a:gd name="T49" fmla="*/ 351 h 365"/>
                    <a:gd name="T50" fmla="*/ 192 w 244"/>
                    <a:gd name="T51" fmla="*/ 348 h 365"/>
                    <a:gd name="T52" fmla="*/ 152 w 244"/>
                    <a:gd name="T53" fmla="*/ 348 h 365"/>
                    <a:gd name="T54" fmla="*/ 137 w 244"/>
                    <a:gd name="T55" fmla="*/ 346 h 365"/>
                    <a:gd name="T56" fmla="*/ 116 w 244"/>
                    <a:gd name="T57" fmla="*/ 345 h 365"/>
                    <a:gd name="T58" fmla="*/ 90 w 244"/>
                    <a:gd name="T59" fmla="*/ 346 h 365"/>
                    <a:gd name="T60" fmla="*/ 42 w 244"/>
                    <a:gd name="T61" fmla="*/ 348 h 365"/>
                    <a:gd name="T62" fmla="*/ 45 w 244"/>
                    <a:gd name="T63" fmla="*/ 316 h 365"/>
                    <a:gd name="T64" fmla="*/ 40 w 244"/>
                    <a:gd name="T65" fmla="*/ 303 h 365"/>
                    <a:gd name="T66" fmla="*/ 36 w 244"/>
                    <a:gd name="T67" fmla="*/ 300 h 365"/>
                    <a:gd name="T68" fmla="*/ 40 w 244"/>
                    <a:gd name="T69" fmla="*/ 294 h 365"/>
                    <a:gd name="T70" fmla="*/ 37 w 244"/>
                    <a:gd name="T71" fmla="*/ 289 h 365"/>
                    <a:gd name="T72" fmla="*/ 30 w 244"/>
                    <a:gd name="T73" fmla="*/ 290 h 365"/>
                    <a:gd name="T74" fmla="*/ 26 w 244"/>
                    <a:gd name="T75" fmla="*/ 290 h 365"/>
                    <a:gd name="T76" fmla="*/ 12 w 244"/>
                    <a:gd name="T77" fmla="*/ 282 h 365"/>
                    <a:gd name="T78" fmla="*/ 9 w 244"/>
                    <a:gd name="T79" fmla="*/ 274 h 365"/>
                    <a:gd name="T80" fmla="*/ 2 w 244"/>
                    <a:gd name="T81" fmla="*/ 276 h 365"/>
                    <a:gd name="T82" fmla="*/ 2 w 244"/>
                    <a:gd name="T83" fmla="*/ 269 h 365"/>
                    <a:gd name="T84" fmla="*/ 10 w 244"/>
                    <a:gd name="T85" fmla="*/ 251 h 365"/>
                    <a:gd name="T86" fmla="*/ 10 w 244"/>
                    <a:gd name="T87" fmla="*/ 237 h 365"/>
                    <a:gd name="T88" fmla="*/ 24 w 244"/>
                    <a:gd name="T89" fmla="*/ 220 h 365"/>
                    <a:gd name="T90" fmla="*/ 40 w 244"/>
                    <a:gd name="T91" fmla="*/ 203 h 365"/>
                    <a:gd name="T92" fmla="*/ 64 w 244"/>
                    <a:gd name="T93" fmla="*/ 198 h 365"/>
                    <a:gd name="T94" fmla="*/ 79 w 244"/>
                    <a:gd name="T95" fmla="*/ 204 h 365"/>
                    <a:gd name="T96" fmla="*/ 89 w 244"/>
                    <a:gd name="T97" fmla="*/ 215 h 365"/>
                    <a:gd name="T98" fmla="*/ 99 w 244"/>
                    <a:gd name="T99" fmla="*/ 198 h 365"/>
                    <a:gd name="T100" fmla="*/ 106 w 244"/>
                    <a:gd name="T101" fmla="*/ 183 h 365"/>
                    <a:gd name="T102" fmla="*/ 117 w 244"/>
                    <a:gd name="T103" fmla="*/ 159 h 365"/>
                    <a:gd name="T104" fmla="*/ 125 w 244"/>
                    <a:gd name="T105" fmla="*/ 145 h 365"/>
                    <a:gd name="T106" fmla="*/ 138 w 244"/>
                    <a:gd name="T107" fmla="*/ 125 h 365"/>
                    <a:gd name="T108" fmla="*/ 149 w 244"/>
                    <a:gd name="T109" fmla="*/ 105 h 365"/>
                    <a:gd name="T110" fmla="*/ 157 w 244"/>
                    <a:gd name="T111" fmla="*/ 84 h 365"/>
                    <a:gd name="T112" fmla="*/ 177 w 244"/>
                    <a:gd name="T113" fmla="*/ 59 h 365"/>
                    <a:gd name="T114" fmla="*/ 193 w 244"/>
                    <a:gd name="T115" fmla="*/ 48 h 365"/>
                    <a:gd name="T116" fmla="*/ 194 w 244"/>
                    <a:gd name="T117" fmla="*/ 30 h 365"/>
                    <a:gd name="T118" fmla="*/ 179 w 244"/>
                    <a:gd name="T119" fmla="*/ 17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 h="365">
                      <a:moveTo>
                        <a:pt x="182" y="0"/>
                      </a:moveTo>
                      <a:lnTo>
                        <a:pt x="184" y="1"/>
                      </a:lnTo>
                      <a:lnTo>
                        <a:pt x="182" y="1"/>
                      </a:lnTo>
                      <a:lnTo>
                        <a:pt x="181" y="1"/>
                      </a:lnTo>
                      <a:lnTo>
                        <a:pt x="182" y="1"/>
                      </a:lnTo>
                      <a:lnTo>
                        <a:pt x="182" y="2"/>
                      </a:lnTo>
                      <a:lnTo>
                        <a:pt x="181" y="2"/>
                      </a:lnTo>
                      <a:lnTo>
                        <a:pt x="180" y="2"/>
                      </a:lnTo>
                      <a:lnTo>
                        <a:pt x="181" y="2"/>
                      </a:lnTo>
                      <a:lnTo>
                        <a:pt x="181" y="3"/>
                      </a:lnTo>
                      <a:lnTo>
                        <a:pt x="182" y="3"/>
                      </a:lnTo>
                      <a:lnTo>
                        <a:pt x="182" y="5"/>
                      </a:lnTo>
                      <a:lnTo>
                        <a:pt x="181" y="5"/>
                      </a:lnTo>
                      <a:lnTo>
                        <a:pt x="182" y="6"/>
                      </a:lnTo>
                      <a:lnTo>
                        <a:pt x="181" y="6"/>
                      </a:lnTo>
                      <a:lnTo>
                        <a:pt x="182" y="6"/>
                      </a:lnTo>
                      <a:lnTo>
                        <a:pt x="182" y="7"/>
                      </a:lnTo>
                      <a:lnTo>
                        <a:pt x="184" y="7"/>
                      </a:lnTo>
                      <a:lnTo>
                        <a:pt x="185" y="7"/>
                      </a:lnTo>
                      <a:lnTo>
                        <a:pt x="186" y="7"/>
                      </a:lnTo>
                      <a:lnTo>
                        <a:pt x="186" y="6"/>
                      </a:lnTo>
                      <a:lnTo>
                        <a:pt x="186" y="5"/>
                      </a:lnTo>
                      <a:lnTo>
                        <a:pt x="187" y="5"/>
                      </a:lnTo>
                      <a:lnTo>
                        <a:pt x="187" y="3"/>
                      </a:lnTo>
                      <a:lnTo>
                        <a:pt x="187" y="5"/>
                      </a:lnTo>
                      <a:lnTo>
                        <a:pt x="188" y="5"/>
                      </a:lnTo>
                      <a:lnTo>
                        <a:pt x="188" y="3"/>
                      </a:lnTo>
                      <a:lnTo>
                        <a:pt x="189" y="3"/>
                      </a:lnTo>
                      <a:lnTo>
                        <a:pt x="189" y="5"/>
                      </a:lnTo>
                      <a:lnTo>
                        <a:pt x="188" y="6"/>
                      </a:lnTo>
                      <a:lnTo>
                        <a:pt x="188" y="7"/>
                      </a:lnTo>
                      <a:lnTo>
                        <a:pt x="189" y="8"/>
                      </a:lnTo>
                      <a:lnTo>
                        <a:pt x="190" y="8"/>
                      </a:lnTo>
                      <a:lnTo>
                        <a:pt x="190" y="9"/>
                      </a:lnTo>
                      <a:lnTo>
                        <a:pt x="190" y="10"/>
                      </a:lnTo>
                      <a:lnTo>
                        <a:pt x="192" y="10"/>
                      </a:lnTo>
                      <a:lnTo>
                        <a:pt x="193" y="10"/>
                      </a:lnTo>
                      <a:lnTo>
                        <a:pt x="193" y="12"/>
                      </a:lnTo>
                      <a:lnTo>
                        <a:pt x="194" y="12"/>
                      </a:lnTo>
                      <a:lnTo>
                        <a:pt x="195" y="12"/>
                      </a:lnTo>
                      <a:lnTo>
                        <a:pt x="195" y="13"/>
                      </a:lnTo>
                      <a:lnTo>
                        <a:pt x="195" y="14"/>
                      </a:lnTo>
                      <a:lnTo>
                        <a:pt x="196" y="13"/>
                      </a:lnTo>
                      <a:lnTo>
                        <a:pt x="197" y="14"/>
                      </a:lnTo>
                      <a:lnTo>
                        <a:pt x="197" y="15"/>
                      </a:lnTo>
                      <a:lnTo>
                        <a:pt x="199" y="14"/>
                      </a:lnTo>
                      <a:lnTo>
                        <a:pt x="200" y="15"/>
                      </a:lnTo>
                      <a:lnTo>
                        <a:pt x="200" y="19"/>
                      </a:lnTo>
                      <a:lnTo>
                        <a:pt x="200" y="20"/>
                      </a:lnTo>
                      <a:lnTo>
                        <a:pt x="200" y="21"/>
                      </a:lnTo>
                      <a:lnTo>
                        <a:pt x="200" y="20"/>
                      </a:lnTo>
                      <a:lnTo>
                        <a:pt x="201" y="21"/>
                      </a:lnTo>
                      <a:lnTo>
                        <a:pt x="201" y="22"/>
                      </a:lnTo>
                      <a:lnTo>
                        <a:pt x="202" y="24"/>
                      </a:lnTo>
                      <a:lnTo>
                        <a:pt x="202" y="27"/>
                      </a:lnTo>
                      <a:lnTo>
                        <a:pt x="202" y="28"/>
                      </a:lnTo>
                      <a:lnTo>
                        <a:pt x="201" y="28"/>
                      </a:lnTo>
                      <a:lnTo>
                        <a:pt x="201" y="29"/>
                      </a:lnTo>
                      <a:lnTo>
                        <a:pt x="202" y="29"/>
                      </a:lnTo>
                      <a:lnTo>
                        <a:pt x="201" y="29"/>
                      </a:lnTo>
                      <a:lnTo>
                        <a:pt x="201" y="30"/>
                      </a:lnTo>
                      <a:lnTo>
                        <a:pt x="202" y="30"/>
                      </a:lnTo>
                      <a:lnTo>
                        <a:pt x="202" y="31"/>
                      </a:lnTo>
                      <a:lnTo>
                        <a:pt x="203" y="31"/>
                      </a:lnTo>
                      <a:lnTo>
                        <a:pt x="203" y="33"/>
                      </a:lnTo>
                      <a:lnTo>
                        <a:pt x="204" y="31"/>
                      </a:lnTo>
                      <a:lnTo>
                        <a:pt x="206" y="31"/>
                      </a:lnTo>
                      <a:lnTo>
                        <a:pt x="207" y="33"/>
                      </a:lnTo>
                      <a:lnTo>
                        <a:pt x="206" y="33"/>
                      </a:lnTo>
                      <a:lnTo>
                        <a:pt x="206" y="34"/>
                      </a:lnTo>
                      <a:lnTo>
                        <a:pt x="207" y="34"/>
                      </a:lnTo>
                      <a:lnTo>
                        <a:pt x="207" y="35"/>
                      </a:lnTo>
                      <a:lnTo>
                        <a:pt x="207" y="36"/>
                      </a:lnTo>
                      <a:lnTo>
                        <a:pt x="207" y="37"/>
                      </a:lnTo>
                      <a:lnTo>
                        <a:pt x="207" y="38"/>
                      </a:lnTo>
                      <a:lnTo>
                        <a:pt x="206" y="38"/>
                      </a:lnTo>
                      <a:lnTo>
                        <a:pt x="207" y="40"/>
                      </a:lnTo>
                      <a:lnTo>
                        <a:pt x="208" y="40"/>
                      </a:lnTo>
                      <a:lnTo>
                        <a:pt x="208" y="42"/>
                      </a:lnTo>
                      <a:lnTo>
                        <a:pt x="208" y="43"/>
                      </a:lnTo>
                      <a:lnTo>
                        <a:pt x="208" y="44"/>
                      </a:lnTo>
                      <a:lnTo>
                        <a:pt x="207" y="44"/>
                      </a:lnTo>
                      <a:lnTo>
                        <a:pt x="207" y="45"/>
                      </a:lnTo>
                      <a:lnTo>
                        <a:pt x="208" y="48"/>
                      </a:lnTo>
                      <a:lnTo>
                        <a:pt x="209" y="49"/>
                      </a:lnTo>
                      <a:lnTo>
                        <a:pt x="209" y="50"/>
                      </a:lnTo>
                      <a:lnTo>
                        <a:pt x="209" y="51"/>
                      </a:lnTo>
                      <a:lnTo>
                        <a:pt x="207" y="52"/>
                      </a:lnTo>
                      <a:lnTo>
                        <a:pt x="207" y="54"/>
                      </a:lnTo>
                      <a:lnTo>
                        <a:pt x="207" y="56"/>
                      </a:lnTo>
                      <a:lnTo>
                        <a:pt x="207" y="57"/>
                      </a:lnTo>
                      <a:lnTo>
                        <a:pt x="207" y="58"/>
                      </a:lnTo>
                      <a:lnTo>
                        <a:pt x="206" y="59"/>
                      </a:lnTo>
                      <a:lnTo>
                        <a:pt x="206" y="62"/>
                      </a:lnTo>
                      <a:lnTo>
                        <a:pt x="206" y="65"/>
                      </a:lnTo>
                      <a:lnTo>
                        <a:pt x="206" y="68"/>
                      </a:lnTo>
                      <a:lnTo>
                        <a:pt x="207" y="70"/>
                      </a:lnTo>
                      <a:lnTo>
                        <a:pt x="208" y="71"/>
                      </a:lnTo>
                      <a:lnTo>
                        <a:pt x="207" y="71"/>
                      </a:lnTo>
                      <a:lnTo>
                        <a:pt x="207" y="72"/>
                      </a:lnTo>
                      <a:lnTo>
                        <a:pt x="207" y="75"/>
                      </a:lnTo>
                      <a:lnTo>
                        <a:pt x="209" y="79"/>
                      </a:lnTo>
                      <a:lnTo>
                        <a:pt x="209" y="80"/>
                      </a:lnTo>
                      <a:lnTo>
                        <a:pt x="209" y="82"/>
                      </a:lnTo>
                      <a:lnTo>
                        <a:pt x="209" y="83"/>
                      </a:lnTo>
                      <a:lnTo>
                        <a:pt x="210" y="83"/>
                      </a:lnTo>
                      <a:lnTo>
                        <a:pt x="211" y="83"/>
                      </a:lnTo>
                      <a:lnTo>
                        <a:pt x="211" y="84"/>
                      </a:lnTo>
                      <a:lnTo>
                        <a:pt x="213" y="84"/>
                      </a:lnTo>
                      <a:lnTo>
                        <a:pt x="213" y="85"/>
                      </a:lnTo>
                      <a:lnTo>
                        <a:pt x="213" y="86"/>
                      </a:lnTo>
                      <a:lnTo>
                        <a:pt x="214" y="86"/>
                      </a:lnTo>
                      <a:lnTo>
                        <a:pt x="214" y="87"/>
                      </a:lnTo>
                      <a:lnTo>
                        <a:pt x="214" y="89"/>
                      </a:lnTo>
                      <a:lnTo>
                        <a:pt x="215" y="90"/>
                      </a:lnTo>
                      <a:lnTo>
                        <a:pt x="218" y="93"/>
                      </a:lnTo>
                      <a:lnTo>
                        <a:pt x="220" y="96"/>
                      </a:lnTo>
                      <a:lnTo>
                        <a:pt x="221" y="96"/>
                      </a:lnTo>
                      <a:lnTo>
                        <a:pt x="222" y="97"/>
                      </a:lnTo>
                      <a:lnTo>
                        <a:pt x="224" y="98"/>
                      </a:lnTo>
                      <a:lnTo>
                        <a:pt x="225" y="99"/>
                      </a:lnTo>
                      <a:lnTo>
                        <a:pt x="227" y="100"/>
                      </a:lnTo>
                      <a:lnTo>
                        <a:pt x="218" y="101"/>
                      </a:lnTo>
                      <a:lnTo>
                        <a:pt x="217" y="101"/>
                      </a:lnTo>
                      <a:lnTo>
                        <a:pt x="211" y="100"/>
                      </a:lnTo>
                      <a:lnTo>
                        <a:pt x="210" y="100"/>
                      </a:lnTo>
                      <a:lnTo>
                        <a:pt x="208" y="100"/>
                      </a:lnTo>
                      <a:lnTo>
                        <a:pt x="207" y="101"/>
                      </a:lnTo>
                      <a:lnTo>
                        <a:pt x="206" y="101"/>
                      </a:lnTo>
                      <a:lnTo>
                        <a:pt x="203" y="101"/>
                      </a:lnTo>
                      <a:lnTo>
                        <a:pt x="202" y="101"/>
                      </a:lnTo>
                      <a:lnTo>
                        <a:pt x="197" y="103"/>
                      </a:lnTo>
                      <a:lnTo>
                        <a:pt x="196" y="103"/>
                      </a:lnTo>
                      <a:lnTo>
                        <a:pt x="187" y="100"/>
                      </a:lnTo>
                      <a:lnTo>
                        <a:pt x="180" y="100"/>
                      </a:lnTo>
                      <a:lnTo>
                        <a:pt x="179" y="100"/>
                      </a:lnTo>
                      <a:lnTo>
                        <a:pt x="179" y="101"/>
                      </a:lnTo>
                      <a:lnTo>
                        <a:pt x="177" y="105"/>
                      </a:lnTo>
                      <a:lnTo>
                        <a:pt x="177" y="106"/>
                      </a:lnTo>
                      <a:lnTo>
                        <a:pt x="173" y="108"/>
                      </a:lnTo>
                      <a:lnTo>
                        <a:pt x="172" y="111"/>
                      </a:lnTo>
                      <a:lnTo>
                        <a:pt x="172" y="112"/>
                      </a:lnTo>
                      <a:lnTo>
                        <a:pt x="174" y="113"/>
                      </a:lnTo>
                      <a:lnTo>
                        <a:pt x="184" y="124"/>
                      </a:lnTo>
                      <a:lnTo>
                        <a:pt x="184" y="126"/>
                      </a:lnTo>
                      <a:lnTo>
                        <a:pt x="185" y="126"/>
                      </a:lnTo>
                      <a:lnTo>
                        <a:pt x="192" y="132"/>
                      </a:lnTo>
                      <a:lnTo>
                        <a:pt x="199" y="138"/>
                      </a:lnTo>
                      <a:lnTo>
                        <a:pt x="200" y="138"/>
                      </a:lnTo>
                      <a:lnTo>
                        <a:pt x="201" y="138"/>
                      </a:lnTo>
                      <a:lnTo>
                        <a:pt x="202" y="139"/>
                      </a:lnTo>
                      <a:lnTo>
                        <a:pt x="202" y="140"/>
                      </a:lnTo>
                      <a:lnTo>
                        <a:pt x="203" y="140"/>
                      </a:lnTo>
                      <a:lnTo>
                        <a:pt x="203" y="141"/>
                      </a:lnTo>
                      <a:lnTo>
                        <a:pt x="203" y="142"/>
                      </a:lnTo>
                      <a:lnTo>
                        <a:pt x="204" y="142"/>
                      </a:lnTo>
                      <a:lnTo>
                        <a:pt x="206" y="142"/>
                      </a:lnTo>
                      <a:lnTo>
                        <a:pt x="207" y="142"/>
                      </a:lnTo>
                      <a:lnTo>
                        <a:pt x="207" y="143"/>
                      </a:lnTo>
                      <a:lnTo>
                        <a:pt x="208" y="143"/>
                      </a:lnTo>
                      <a:lnTo>
                        <a:pt x="209" y="146"/>
                      </a:lnTo>
                      <a:lnTo>
                        <a:pt x="210" y="148"/>
                      </a:lnTo>
                      <a:lnTo>
                        <a:pt x="211" y="148"/>
                      </a:lnTo>
                      <a:lnTo>
                        <a:pt x="211" y="150"/>
                      </a:lnTo>
                      <a:lnTo>
                        <a:pt x="216" y="160"/>
                      </a:lnTo>
                      <a:lnTo>
                        <a:pt x="218" y="166"/>
                      </a:lnTo>
                      <a:lnTo>
                        <a:pt x="220" y="169"/>
                      </a:lnTo>
                      <a:lnTo>
                        <a:pt x="221" y="170"/>
                      </a:lnTo>
                      <a:lnTo>
                        <a:pt x="222" y="170"/>
                      </a:lnTo>
                      <a:lnTo>
                        <a:pt x="223" y="170"/>
                      </a:lnTo>
                      <a:lnTo>
                        <a:pt x="223" y="174"/>
                      </a:lnTo>
                      <a:lnTo>
                        <a:pt x="223" y="175"/>
                      </a:lnTo>
                      <a:lnTo>
                        <a:pt x="222" y="177"/>
                      </a:lnTo>
                      <a:lnTo>
                        <a:pt x="221" y="178"/>
                      </a:lnTo>
                      <a:lnTo>
                        <a:pt x="221" y="180"/>
                      </a:lnTo>
                      <a:lnTo>
                        <a:pt x="218" y="182"/>
                      </a:lnTo>
                      <a:lnTo>
                        <a:pt x="220" y="183"/>
                      </a:lnTo>
                      <a:lnTo>
                        <a:pt x="218" y="183"/>
                      </a:lnTo>
                      <a:lnTo>
                        <a:pt x="217" y="184"/>
                      </a:lnTo>
                      <a:lnTo>
                        <a:pt x="216" y="185"/>
                      </a:lnTo>
                      <a:lnTo>
                        <a:pt x="214" y="187"/>
                      </a:lnTo>
                      <a:lnTo>
                        <a:pt x="213" y="188"/>
                      </a:lnTo>
                      <a:lnTo>
                        <a:pt x="211" y="189"/>
                      </a:lnTo>
                      <a:lnTo>
                        <a:pt x="211" y="190"/>
                      </a:lnTo>
                      <a:lnTo>
                        <a:pt x="211" y="192"/>
                      </a:lnTo>
                      <a:lnTo>
                        <a:pt x="211" y="194"/>
                      </a:lnTo>
                      <a:lnTo>
                        <a:pt x="210" y="194"/>
                      </a:lnTo>
                      <a:lnTo>
                        <a:pt x="209" y="195"/>
                      </a:lnTo>
                      <a:lnTo>
                        <a:pt x="209" y="197"/>
                      </a:lnTo>
                      <a:lnTo>
                        <a:pt x="208" y="199"/>
                      </a:lnTo>
                      <a:lnTo>
                        <a:pt x="207" y="201"/>
                      </a:lnTo>
                      <a:lnTo>
                        <a:pt x="207" y="202"/>
                      </a:lnTo>
                      <a:lnTo>
                        <a:pt x="207" y="203"/>
                      </a:lnTo>
                      <a:lnTo>
                        <a:pt x="204" y="204"/>
                      </a:lnTo>
                      <a:lnTo>
                        <a:pt x="203" y="204"/>
                      </a:lnTo>
                      <a:lnTo>
                        <a:pt x="203" y="205"/>
                      </a:lnTo>
                      <a:lnTo>
                        <a:pt x="200" y="213"/>
                      </a:lnTo>
                      <a:lnTo>
                        <a:pt x="199" y="215"/>
                      </a:lnTo>
                      <a:lnTo>
                        <a:pt x="199" y="216"/>
                      </a:lnTo>
                      <a:lnTo>
                        <a:pt x="199" y="217"/>
                      </a:lnTo>
                      <a:lnTo>
                        <a:pt x="197" y="219"/>
                      </a:lnTo>
                      <a:lnTo>
                        <a:pt x="196" y="219"/>
                      </a:lnTo>
                      <a:lnTo>
                        <a:pt x="192" y="222"/>
                      </a:lnTo>
                      <a:lnTo>
                        <a:pt x="190" y="222"/>
                      </a:lnTo>
                      <a:lnTo>
                        <a:pt x="190" y="223"/>
                      </a:lnTo>
                      <a:lnTo>
                        <a:pt x="189" y="224"/>
                      </a:lnTo>
                      <a:lnTo>
                        <a:pt x="188" y="224"/>
                      </a:lnTo>
                      <a:lnTo>
                        <a:pt x="187" y="225"/>
                      </a:lnTo>
                      <a:lnTo>
                        <a:pt x="188" y="225"/>
                      </a:lnTo>
                      <a:lnTo>
                        <a:pt x="187" y="225"/>
                      </a:lnTo>
                      <a:lnTo>
                        <a:pt x="187" y="226"/>
                      </a:lnTo>
                      <a:lnTo>
                        <a:pt x="186" y="226"/>
                      </a:lnTo>
                      <a:lnTo>
                        <a:pt x="187" y="227"/>
                      </a:lnTo>
                      <a:lnTo>
                        <a:pt x="188" y="229"/>
                      </a:lnTo>
                      <a:lnTo>
                        <a:pt x="188" y="230"/>
                      </a:lnTo>
                      <a:lnTo>
                        <a:pt x="189" y="231"/>
                      </a:lnTo>
                      <a:lnTo>
                        <a:pt x="190" y="231"/>
                      </a:lnTo>
                      <a:lnTo>
                        <a:pt x="192" y="231"/>
                      </a:lnTo>
                      <a:lnTo>
                        <a:pt x="192" y="230"/>
                      </a:lnTo>
                      <a:lnTo>
                        <a:pt x="193" y="230"/>
                      </a:lnTo>
                      <a:lnTo>
                        <a:pt x="193" y="231"/>
                      </a:lnTo>
                      <a:lnTo>
                        <a:pt x="194" y="232"/>
                      </a:lnTo>
                      <a:lnTo>
                        <a:pt x="194" y="236"/>
                      </a:lnTo>
                      <a:lnTo>
                        <a:pt x="194" y="237"/>
                      </a:lnTo>
                      <a:lnTo>
                        <a:pt x="193" y="238"/>
                      </a:lnTo>
                      <a:lnTo>
                        <a:pt x="193" y="239"/>
                      </a:lnTo>
                      <a:lnTo>
                        <a:pt x="193" y="240"/>
                      </a:lnTo>
                      <a:lnTo>
                        <a:pt x="193" y="241"/>
                      </a:lnTo>
                      <a:lnTo>
                        <a:pt x="194" y="243"/>
                      </a:lnTo>
                      <a:lnTo>
                        <a:pt x="194" y="244"/>
                      </a:lnTo>
                      <a:lnTo>
                        <a:pt x="193" y="245"/>
                      </a:lnTo>
                      <a:lnTo>
                        <a:pt x="193" y="246"/>
                      </a:lnTo>
                      <a:lnTo>
                        <a:pt x="193" y="247"/>
                      </a:lnTo>
                      <a:lnTo>
                        <a:pt x="192" y="247"/>
                      </a:lnTo>
                      <a:lnTo>
                        <a:pt x="192" y="248"/>
                      </a:lnTo>
                      <a:lnTo>
                        <a:pt x="192" y="250"/>
                      </a:lnTo>
                      <a:lnTo>
                        <a:pt x="190" y="250"/>
                      </a:lnTo>
                      <a:lnTo>
                        <a:pt x="190" y="251"/>
                      </a:lnTo>
                      <a:lnTo>
                        <a:pt x="192" y="251"/>
                      </a:lnTo>
                      <a:lnTo>
                        <a:pt x="192" y="252"/>
                      </a:lnTo>
                      <a:lnTo>
                        <a:pt x="193" y="252"/>
                      </a:lnTo>
                      <a:lnTo>
                        <a:pt x="194" y="252"/>
                      </a:lnTo>
                      <a:lnTo>
                        <a:pt x="194" y="253"/>
                      </a:lnTo>
                      <a:lnTo>
                        <a:pt x="195" y="253"/>
                      </a:lnTo>
                      <a:lnTo>
                        <a:pt x="195" y="254"/>
                      </a:lnTo>
                      <a:lnTo>
                        <a:pt x="195" y="257"/>
                      </a:lnTo>
                      <a:lnTo>
                        <a:pt x="195" y="258"/>
                      </a:lnTo>
                      <a:lnTo>
                        <a:pt x="195" y="259"/>
                      </a:lnTo>
                      <a:lnTo>
                        <a:pt x="195" y="260"/>
                      </a:lnTo>
                      <a:lnTo>
                        <a:pt x="195" y="261"/>
                      </a:lnTo>
                      <a:lnTo>
                        <a:pt x="196" y="262"/>
                      </a:lnTo>
                      <a:lnTo>
                        <a:pt x="196" y="265"/>
                      </a:lnTo>
                      <a:lnTo>
                        <a:pt x="196" y="266"/>
                      </a:lnTo>
                      <a:lnTo>
                        <a:pt x="196" y="267"/>
                      </a:lnTo>
                      <a:lnTo>
                        <a:pt x="196" y="269"/>
                      </a:lnTo>
                      <a:lnTo>
                        <a:pt x="196" y="272"/>
                      </a:lnTo>
                      <a:lnTo>
                        <a:pt x="197" y="273"/>
                      </a:lnTo>
                      <a:lnTo>
                        <a:pt x="199" y="274"/>
                      </a:lnTo>
                      <a:lnTo>
                        <a:pt x="204" y="278"/>
                      </a:lnTo>
                      <a:lnTo>
                        <a:pt x="206" y="278"/>
                      </a:lnTo>
                      <a:lnTo>
                        <a:pt x="206" y="279"/>
                      </a:lnTo>
                      <a:lnTo>
                        <a:pt x="207" y="280"/>
                      </a:lnTo>
                      <a:lnTo>
                        <a:pt x="208" y="281"/>
                      </a:lnTo>
                      <a:lnTo>
                        <a:pt x="208" y="282"/>
                      </a:lnTo>
                      <a:lnTo>
                        <a:pt x="208" y="285"/>
                      </a:lnTo>
                      <a:lnTo>
                        <a:pt x="209" y="286"/>
                      </a:lnTo>
                      <a:lnTo>
                        <a:pt x="209" y="287"/>
                      </a:lnTo>
                      <a:lnTo>
                        <a:pt x="210" y="287"/>
                      </a:lnTo>
                      <a:lnTo>
                        <a:pt x="210" y="288"/>
                      </a:lnTo>
                      <a:lnTo>
                        <a:pt x="211" y="288"/>
                      </a:lnTo>
                      <a:lnTo>
                        <a:pt x="211" y="289"/>
                      </a:lnTo>
                      <a:lnTo>
                        <a:pt x="210" y="289"/>
                      </a:lnTo>
                      <a:lnTo>
                        <a:pt x="209" y="290"/>
                      </a:lnTo>
                      <a:lnTo>
                        <a:pt x="208" y="290"/>
                      </a:lnTo>
                      <a:lnTo>
                        <a:pt x="207" y="290"/>
                      </a:lnTo>
                      <a:lnTo>
                        <a:pt x="209" y="295"/>
                      </a:lnTo>
                      <a:lnTo>
                        <a:pt x="211" y="299"/>
                      </a:lnTo>
                      <a:lnTo>
                        <a:pt x="214" y="301"/>
                      </a:lnTo>
                      <a:lnTo>
                        <a:pt x="214" y="302"/>
                      </a:lnTo>
                      <a:lnTo>
                        <a:pt x="216" y="303"/>
                      </a:lnTo>
                      <a:lnTo>
                        <a:pt x="220" y="307"/>
                      </a:lnTo>
                      <a:lnTo>
                        <a:pt x="222" y="310"/>
                      </a:lnTo>
                      <a:lnTo>
                        <a:pt x="225" y="314"/>
                      </a:lnTo>
                      <a:lnTo>
                        <a:pt x="229" y="316"/>
                      </a:lnTo>
                      <a:lnTo>
                        <a:pt x="231" y="320"/>
                      </a:lnTo>
                      <a:lnTo>
                        <a:pt x="232" y="320"/>
                      </a:lnTo>
                      <a:lnTo>
                        <a:pt x="232" y="318"/>
                      </a:lnTo>
                      <a:lnTo>
                        <a:pt x="232" y="320"/>
                      </a:lnTo>
                      <a:lnTo>
                        <a:pt x="234" y="320"/>
                      </a:lnTo>
                      <a:lnTo>
                        <a:pt x="235" y="320"/>
                      </a:lnTo>
                      <a:lnTo>
                        <a:pt x="236" y="320"/>
                      </a:lnTo>
                      <a:lnTo>
                        <a:pt x="236" y="321"/>
                      </a:lnTo>
                      <a:lnTo>
                        <a:pt x="237" y="323"/>
                      </a:lnTo>
                      <a:lnTo>
                        <a:pt x="238" y="323"/>
                      </a:lnTo>
                      <a:lnTo>
                        <a:pt x="239" y="323"/>
                      </a:lnTo>
                      <a:lnTo>
                        <a:pt x="239" y="324"/>
                      </a:lnTo>
                      <a:lnTo>
                        <a:pt x="241" y="325"/>
                      </a:lnTo>
                      <a:lnTo>
                        <a:pt x="241" y="327"/>
                      </a:lnTo>
                      <a:lnTo>
                        <a:pt x="241" y="328"/>
                      </a:lnTo>
                      <a:lnTo>
                        <a:pt x="239" y="329"/>
                      </a:lnTo>
                      <a:lnTo>
                        <a:pt x="239" y="330"/>
                      </a:lnTo>
                      <a:lnTo>
                        <a:pt x="239" y="331"/>
                      </a:lnTo>
                      <a:lnTo>
                        <a:pt x="241" y="331"/>
                      </a:lnTo>
                      <a:lnTo>
                        <a:pt x="242" y="331"/>
                      </a:lnTo>
                      <a:lnTo>
                        <a:pt x="241" y="332"/>
                      </a:lnTo>
                      <a:lnTo>
                        <a:pt x="241" y="334"/>
                      </a:lnTo>
                      <a:lnTo>
                        <a:pt x="242" y="335"/>
                      </a:lnTo>
                      <a:lnTo>
                        <a:pt x="242" y="336"/>
                      </a:lnTo>
                      <a:lnTo>
                        <a:pt x="241" y="337"/>
                      </a:lnTo>
                      <a:lnTo>
                        <a:pt x="241" y="338"/>
                      </a:lnTo>
                      <a:lnTo>
                        <a:pt x="242" y="339"/>
                      </a:lnTo>
                      <a:lnTo>
                        <a:pt x="242" y="341"/>
                      </a:lnTo>
                      <a:lnTo>
                        <a:pt x="242" y="342"/>
                      </a:lnTo>
                      <a:lnTo>
                        <a:pt x="242" y="343"/>
                      </a:lnTo>
                      <a:lnTo>
                        <a:pt x="243" y="343"/>
                      </a:lnTo>
                      <a:lnTo>
                        <a:pt x="243" y="344"/>
                      </a:lnTo>
                      <a:lnTo>
                        <a:pt x="243" y="345"/>
                      </a:lnTo>
                      <a:lnTo>
                        <a:pt x="244" y="345"/>
                      </a:lnTo>
                      <a:lnTo>
                        <a:pt x="244" y="346"/>
                      </a:lnTo>
                      <a:lnTo>
                        <a:pt x="244" y="348"/>
                      </a:lnTo>
                      <a:lnTo>
                        <a:pt x="243" y="349"/>
                      </a:lnTo>
                      <a:lnTo>
                        <a:pt x="243" y="348"/>
                      </a:lnTo>
                      <a:lnTo>
                        <a:pt x="242" y="348"/>
                      </a:lnTo>
                      <a:lnTo>
                        <a:pt x="241" y="349"/>
                      </a:lnTo>
                      <a:lnTo>
                        <a:pt x="241" y="350"/>
                      </a:lnTo>
                      <a:lnTo>
                        <a:pt x="241" y="351"/>
                      </a:lnTo>
                      <a:lnTo>
                        <a:pt x="241" y="352"/>
                      </a:lnTo>
                      <a:lnTo>
                        <a:pt x="241" y="353"/>
                      </a:lnTo>
                      <a:lnTo>
                        <a:pt x="239" y="353"/>
                      </a:lnTo>
                      <a:lnTo>
                        <a:pt x="239" y="355"/>
                      </a:lnTo>
                      <a:lnTo>
                        <a:pt x="241" y="355"/>
                      </a:lnTo>
                      <a:lnTo>
                        <a:pt x="241" y="356"/>
                      </a:lnTo>
                      <a:lnTo>
                        <a:pt x="242" y="359"/>
                      </a:lnTo>
                      <a:lnTo>
                        <a:pt x="243" y="363"/>
                      </a:lnTo>
                      <a:lnTo>
                        <a:pt x="242" y="363"/>
                      </a:lnTo>
                      <a:lnTo>
                        <a:pt x="241" y="365"/>
                      </a:lnTo>
                      <a:lnTo>
                        <a:pt x="239" y="363"/>
                      </a:lnTo>
                      <a:lnTo>
                        <a:pt x="238" y="363"/>
                      </a:lnTo>
                      <a:lnTo>
                        <a:pt x="238" y="362"/>
                      </a:lnTo>
                      <a:lnTo>
                        <a:pt x="237" y="362"/>
                      </a:lnTo>
                      <a:lnTo>
                        <a:pt x="236" y="360"/>
                      </a:lnTo>
                      <a:lnTo>
                        <a:pt x="235" y="360"/>
                      </a:lnTo>
                      <a:lnTo>
                        <a:pt x="235" y="359"/>
                      </a:lnTo>
                      <a:lnTo>
                        <a:pt x="234" y="359"/>
                      </a:lnTo>
                      <a:lnTo>
                        <a:pt x="232" y="359"/>
                      </a:lnTo>
                      <a:lnTo>
                        <a:pt x="232" y="358"/>
                      </a:lnTo>
                      <a:lnTo>
                        <a:pt x="231" y="358"/>
                      </a:lnTo>
                      <a:lnTo>
                        <a:pt x="230" y="357"/>
                      </a:lnTo>
                      <a:lnTo>
                        <a:pt x="229" y="357"/>
                      </a:lnTo>
                      <a:lnTo>
                        <a:pt x="229" y="356"/>
                      </a:lnTo>
                      <a:lnTo>
                        <a:pt x="225" y="356"/>
                      </a:lnTo>
                      <a:lnTo>
                        <a:pt x="223" y="355"/>
                      </a:lnTo>
                      <a:lnTo>
                        <a:pt x="222" y="355"/>
                      </a:lnTo>
                      <a:lnTo>
                        <a:pt x="220" y="355"/>
                      </a:lnTo>
                      <a:lnTo>
                        <a:pt x="218" y="356"/>
                      </a:lnTo>
                      <a:lnTo>
                        <a:pt x="217" y="357"/>
                      </a:lnTo>
                      <a:lnTo>
                        <a:pt x="216" y="356"/>
                      </a:lnTo>
                      <a:lnTo>
                        <a:pt x="216" y="355"/>
                      </a:lnTo>
                      <a:lnTo>
                        <a:pt x="215" y="355"/>
                      </a:lnTo>
                      <a:lnTo>
                        <a:pt x="214" y="355"/>
                      </a:lnTo>
                      <a:lnTo>
                        <a:pt x="214" y="353"/>
                      </a:lnTo>
                      <a:lnTo>
                        <a:pt x="213" y="353"/>
                      </a:lnTo>
                      <a:lnTo>
                        <a:pt x="211" y="353"/>
                      </a:lnTo>
                      <a:lnTo>
                        <a:pt x="211" y="352"/>
                      </a:lnTo>
                      <a:lnTo>
                        <a:pt x="210" y="353"/>
                      </a:lnTo>
                      <a:lnTo>
                        <a:pt x="209" y="355"/>
                      </a:lnTo>
                      <a:lnTo>
                        <a:pt x="208" y="355"/>
                      </a:lnTo>
                      <a:lnTo>
                        <a:pt x="207" y="355"/>
                      </a:lnTo>
                      <a:lnTo>
                        <a:pt x="206" y="353"/>
                      </a:lnTo>
                      <a:lnTo>
                        <a:pt x="204" y="353"/>
                      </a:lnTo>
                      <a:lnTo>
                        <a:pt x="204" y="355"/>
                      </a:lnTo>
                      <a:lnTo>
                        <a:pt x="203" y="353"/>
                      </a:lnTo>
                      <a:lnTo>
                        <a:pt x="203" y="352"/>
                      </a:lnTo>
                      <a:lnTo>
                        <a:pt x="202" y="352"/>
                      </a:lnTo>
                      <a:lnTo>
                        <a:pt x="202" y="351"/>
                      </a:lnTo>
                      <a:lnTo>
                        <a:pt x="201" y="351"/>
                      </a:lnTo>
                      <a:lnTo>
                        <a:pt x="201" y="352"/>
                      </a:lnTo>
                      <a:lnTo>
                        <a:pt x="199" y="352"/>
                      </a:lnTo>
                      <a:lnTo>
                        <a:pt x="199" y="351"/>
                      </a:lnTo>
                      <a:lnTo>
                        <a:pt x="197" y="351"/>
                      </a:lnTo>
                      <a:lnTo>
                        <a:pt x="199" y="351"/>
                      </a:lnTo>
                      <a:lnTo>
                        <a:pt x="197" y="350"/>
                      </a:lnTo>
                      <a:lnTo>
                        <a:pt x="197" y="351"/>
                      </a:lnTo>
                      <a:lnTo>
                        <a:pt x="196" y="351"/>
                      </a:lnTo>
                      <a:lnTo>
                        <a:pt x="196" y="350"/>
                      </a:lnTo>
                      <a:lnTo>
                        <a:pt x="195" y="350"/>
                      </a:lnTo>
                      <a:lnTo>
                        <a:pt x="195" y="349"/>
                      </a:lnTo>
                      <a:lnTo>
                        <a:pt x="194" y="349"/>
                      </a:lnTo>
                      <a:lnTo>
                        <a:pt x="193" y="348"/>
                      </a:lnTo>
                      <a:lnTo>
                        <a:pt x="192" y="348"/>
                      </a:lnTo>
                      <a:lnTo>
                        <a:pt x="192" y="349"/>
                      </a:lnTo>
                      <a:lnTo>
                        <a:pt x="189" y="350"/>
                      </a:lnTo>
                      <a:lnTo>
                        <a:pt x="188" y="350"/>
                      </a:lnTo>
                      <a:lnTo>
                        <a:pt x="187" y="350"/>
                      </a:lnTo>
                      <a:lnTo>
                        <a:pt x="187" y="349"/>
                      </a:lnTo>
                      <a:lnTo>
                        <a:pt x="185" y="349"/>
                      </a:lnTo>
                      <a:lnTo>
                        <a:pt x="184" y="350"/>
                      </a:lnTo>
                      <a:lnTo>
                        <a:pt x="180" y="350"/>
                      </a:lnTo>
                      <a:lnTo>
                        <a:pt x="174" y="350"/>
                      </a:lnTo>
                      <a:lnTo>
                        <a:pt x="168" y="350"/>
                      </a:lnTo>
                      <a:lnTo>
                        <a:pt x="164" y="350"/>
                      </a:lnTo>
                      <a:lnTo>
                        <a:pt x="163" y="350"/>
                      </a:lnTo>
                      <a:lnTo>
                        <a:pt x="158" y="350"/>
                      </a:lnTo>
                      <a:lnTo>
                        <a:pt x="152" y="349"/>
                      </a:lnTo>
                      <a:lnTo>
                        <a:pt x="152" y="348"/>
                      </a:lnTo>
                      <a:lnTo>
                        <a:pt x="152" y="346"/>
                      </a:lnTo>
                      <a:lnTo>
                        <a:pt x="151" y="346"/>
                      </a:lnTo>
                      <a:lnTo>
                        <a:pt x="150" y="346"/>
                      </a:lnTo>
                      <a:lnTo>
                        <a:pt x="149" y="345"/>
                      </a:lnTo>
                      <a:lnTo>
                        <a:pt x="147" y="345"/>
                      </a:lnTo>
                      <a:lnTo>
                        <a:pt x="146" y="345"/>
                      </a:lnTo>
                      <a:lnTo>
                        <a:pt x="146" y="346"/>
                      </a:lnTo>
                      <a:lnTo>
                        <a:pt x="145" y="346"/>
                      </a:lnTo>
                      <a:lnTo>
                        <a:pt x="144" y="346"/>
                      </a:lnTo>
                      <a:lnTo>
                        <a:pt x="143" y="346"/>
                      </a:lnTo>
                      <a:lnTo>
                        <a:pt x="142" y="346"/>
                      </a:lnTo>
                      <a:lnTo>
                        <a:pt x="140" y="346"/>
                      </a:lnTo>
                      <a:lnTo>
                        <a:pt x="139" y="346"/>
                      </a:lnTo>
                      <a:lnTo>
                        <a:pt x="138" y="346"/>
                      </a:lnTo>
                      <a:lnTo>
                        <a:pt x="137" y="346"/>
                      </a:lnTo>
                      <a:lnTo>
                        <a:pt x="136" y="346"/>
                      </a:lnTo>
                      <a:lnTo>
                        <a:pt x="135" y="348"/>
                      </a:lnTo>
                      <a:lnTo>
                        <a:pt x="130" y="346"/>
                      </a:lnTo>
                      <a:lnTo>
                        <a:pt x="129" y="345"/>
                      </a:lnTo>
                      <a:lnTo>
                        <a:pt x="129" y="346"/>
                      </a:lnTo>
                      <a:lnTo>
                        <a:pt x="128" y="345"/>
                      </a:lnTo>
                      <a:lnTo>
                        <a:pt x="126" y="345"/>
                      </a:lnTo>
                      <a:lnTo>
                        <a:pt x="125" y="345"/>
                      </a:lnTo>
                      <a:lnTo>
                        <a:pt x="123" y="345"/>
                      </a:lnTo>
                      <a:lnTo>
                        <a:pt x="122" y="345"/>
                      </a:lnTo>
                      <a:lnTo>
                        <a:pt x="121" y="345"/>
                      </a:lnTo>
                      <a:lnTo>
                        <a:pt x="120" y="345"/>
                      </a:lnTo>
                      <a:lnTo>
                        <a:pt x="118" y="345"/>
                      </a:lnTo>
                      <a:lnTo>
                        <a:pt x="117" y="345"/>
                      </a:lnTo>
                      <a:lnTo>
                        <a:pt x="116" y="345"/>
                      </a:lnTo>
                      <a:lnTo>
                        <a:pt x="115" y="345"/>
                      </a:lnTo>
                      <a:lnTo>
                        <a:pt x="114" y="345"/>
                      </a:lnTo>
                      <a:lnTo>
                        <a:pt x="113" y="345"/>
                      </a:lnTo>
                      <a:lnTo>
                        <a:pt x="110" y="345"/>
                      </a:lnTo>
                      <a:lnTo>
                        <a:pt x="108" y="345"/>
                      </a:lnTo>
                      <a:lnTo>
                        <a:pt x="104" y="345"/>
                      </a:lnTo>
                      <a:lnTo>
                        <a:pt x="103" y="346"/>
                      </a:lnTo>
                      <a:lnTo>
                        <a:pt x="103" y="345"/>
                      </a:lnTo>
                      <a:lnTo>
                        <a:pt x="102" y="345"/>
                      </a:lnTo>
                      <a:lnTo>
                        <a:pt x="101" y="345"/>
                      </a:lnTo>
                      <a:lnTo>
                        <a:pt x="101" y="344"/>
                      </a:lnTo>
                      <a:lnTo>
                        <a:pt x="100" y="344"/>
                      </a:lnTo>
                      <a:lnTo>
                        <a:pt x="99" y="345"/>
                      </a:lnTo>
                      <a:lnTo>
                        <a:pt x="90" y="345"/>
                      </a:lnTo>
                      <a:lnTo>
                        <a:pt x="90" y="346"/>
                      </a:lnTo>
                      <a:lnTo>
                        <a:pt x="90" y="348"/>
                      </a:lnTo>
                      <a:lnTo>
                        <a:pt x="90" y="349"/>
                      </a:lnTo>
                      <a:lnTo>
                        <a:pt x="89" y="349"/>
                      </a:lnTo>
                      <a:lnTo>
                        <a:pt x="89" y="350"/>
                      </a:lnTo>
                      <a:lnTo>
                        <a:pt x="80" y="350"/>
                      </a:lnTo>
                      <a:lnTo>
                        <a:pt x="71" y="350"/>
                      </a:lnTo>
                      <a:lnTo>
                        <a:pt x="61" y="350"/>
                      </a:lnTo>
                      <a:lnTo>
                        <a:pt x="60" y="350"/>
                      </a:lnTo>
                      <a:lnTo>
                        <a:pt x="53" y="350"/>
                      </a:lnTo>
                      <a:lnTo>
                        <a:pt x="52" y="350"/>
                      </a:lnTo>
                      <a:lnTo>
                        <a:pt x="47" y="350"/>
                      </a:lnTo>
                      <a:lnTo>
                        <a:pt x="45" y="349"/>
                      </a:lnTo>
                      <a:lnTo>
                        <a:pt x="44" y="349"/>
                      </a:lnTo>
                      <a:lnTo>
                        <a:pt x="43" y="348"/>
                      </a:lnTo>
                      <a:lnTo>
                        <a:pt x="42" y="348"/>
                      </a:lnTo>
                      <a:lnTo>
                        <a:pt x="42" y="346"/>
                      </a:lnTo>
                      <a:lnTo>
                        <a:pt x="42" y="345"/>
                      </a:lnTo>
                      <a:lnTo>
                        <a:pt x="42" y="344"/>
                      </a:lnTo>
                      <a:lnTo>
                        <a:pt x="42" y="343"/>
                      </a:lnTo>
                      <a:lnTo>
                        <a:pt x="42" y="337"/>
                      </a:lnTo>
                      <a:lnTo>
                        <a:pt x="43" y="334"/>
                      </a:lnTo>
                      <a:lnTo>
                        <a:pt x="44" y="331"/>
                      </a:lnTo>
                      <a:lnTo>
                        <a:pt x="44" y="328"/>
                      </a:lnTo>
                      <a:lnTo>
                        <a:pt x="44" y="325"/>
                      </a:lnTo>
                      <a:lnTo>
                        <a:pt x="45" y="324"/>
                      </a:lnTo>
                      <a:lnTo>
                        <a:pt x="45" y="323"/>
                      </a:lnTo>
                      <a:lnTo>
                        <a:pt x="46" y="323"/>
                      </a:lnTo>
                      <a:lnTo>
                        <a:pt x="46" y="322"/>
                      </a:lnTo>
                      <a:lnTo>
                        <a:pt x="46" y="321"/>
                      </a:lnTo>
                      <a:lnTo>
                        <a:pt x="45" y="316"/>
                      </a:lnTo>
                      <a:lnTo>
                        <a:pt x="44" y="316"/>
                      </a:lnTo>
                      <a:lnTo>
                        <a:pt x="44" y="315"/>
                      </a:lnTo>
                      <a:lnTo>
                        <a:pt x="45" y="315"/>
                      </a:lnTo>
                      <a:lnTo>
                        <a:pt x="44" y="315"/>
                      </a:lnTo>
                      <a:lnTo>
                        <a:pt x="44" y="314"/>
                      </a:lnTo>
                      <a:lnTo>
                        <a:pt x="43" y="313"/>
                      </a:lnTo>
                      <a:lnTo>
                        <a:pt x="40" y="310"/>
                      </a:lnTo>
                      <a:lnTo>
                        <a:pt x="39" y="309"/>
                      </a:lnTo>
                      <a:lnTo>
                        <a:pt x="36" y="307"/>
                      </a:lnTo>
                      <a:lnTo>
                        <a:pt x="37" y="307"/>
                      </a:lnTo>
                      <a:lnTo>
                        <a:pt x="38" y="306"/>
                      </a:lnTo>
                      <a:lnTo>
                        <a:pt x="40" y="304"/>
                      </a:lnTo>
                      <a:lnTo>
                        <a:pt x="40" y="303"/>
                      </a:lnTo>
                      <a:lnTo>
                        <a:pt x="42" y="303"/>
                      </a:lnTo>
                      <a:lnTo>
                        <a:pt x="40" y="303"/>
                      </a:lnTo>
                      <a:lnTo>
                        <a:pt x="39" y="303"/>
                      </a:lnTo>
                      <a:lnTo>
                        <a:pt x="39" y="304"/>
                      </a:lnTo>
                      <a:lnTo>
                        <a:pt x="38" y="304"/>
                      </a:lnTo>
                      <a:lnTo>
                        <a:pt x="36" y="304"/>
                      </a:lnTo>
                      <a:lnTo>
                        <a:pt x="36" y="303"/>
                      </a:lnTo>
                      <a:lnTo>
                        <a:pt x="35" y="301"/>
                      </a:lnTo>
                      <a:lnTo>
                        <a:pt x="33" y="300"/>
                      </a:lnTo>
                      <a:lnTo>
                        <a:pt x="33" y="299"/>
                      </a:lnTo>
                      <a:lnTo>
                        <a:pt x="33" y="297"/>
                      </a:lnTo>
                      <a:lnTo>
                        <a:pt x="33" y="299"/>
                      </a:lnTo>
                      <a:lnTo>
                        <a:pt x="35" y="299"/>
                      </a:lnTo>
                      <a:lnTo>
                        <a:pt x="35" y="300"/>
                      </a:lnTo>
                      <a:lnTo>
                        <a:pt x="36" y="300"/>
                      </a:lnTo>
                      <a:lnTo>
                        <a:pt x="37" y="300"/>
                      </a:lnTo>
                      <a:lnTo>
                        <a:pt x="36" y="300"/>
                      </a:lnTo>
                      <a:lnTo>
                        <a:pt x="35" y="300"/>
                      </a:lnTo>
                      <a:lnTo>
                        <a:pt x="35" y="299"/>
                      </a:lnTo>
                      <a:lnTo>
                        <a:pt x="35" y="297"/>
                      </a:lnTo>
                      <a:lnTo>
                        <a:pt x="35" y="296"/>
                      </a:lnTo>
                      <a:lnTo>
                        <a:pt x="36" y="296"/>
                      </a:lnTo>
                      <a:lnTo>
                        <a:pt x="37" y="297"/>
                      </a:lnTo>
                      <a:lnTo>
                        <a:pt x="38" y="296"/>
                      </a:lnTo>
                      <a:lnTo>
                        <a:pt x="38" y="297"/>
                      </a:lnTo>
                      <a:lnTo>
                        <a:pt x="39" y="297"/>
                      </a:lnTo>
                      <a:lnTo>
                        <a:pt x="39" y="296"/>
                      </a:lnTo>
                      <a:lnTo>
                        <a:pt x="38" y="296"/>
                      </a:lnTo>
                      <a:lnTo>
                        <a:pt x="37" y="295"/>
                      </a:lnTo>
                      <a:lnTo>
                        <a:pt x="38" y="294"/>
                      </a:lnTo>
                      <a:lnTo>
                        <a:pt x="39" y="294"/>
                      </a:lnTo>
                      <a:lnTo>
                        <a:pt x="40" y="294"/>
                      </a:lnTo>
                      <a:lnTo>
                        <a:pt x="39" y="294"/>
                      </a:lnTo>
                      <a:lnTo>
                        <a:pt x="40" y="294"/>
                      </a:lnTo>
                      <a:lnTo>
                        <a:pt x="40" y="293"/>
                      </a:lnTo>
                      <a:lnTo>
                        <a:pt x="37" y="294"/>
                      </a:lnTo>
                      <a:lnTo>
                        <a:pt x="36" y="294"/>
                      </a:lnTo>
                      <a:lnTo>
                        <a:pt x="36" y="293"/>
                      </a:lnTo>
                      <a:lnTo>
                        <a:pt x="36" y="292"/>
                      </a:lnTo>
                      <a:lnTo>
                        <a:pt x="37" y="292"/>
                      </a:lnTo>
                      <a:lnTo>
                        <a:pt x="37" y="290"/>
                      </a:lnTo>
                      <a:lnTo>
                        <a:pt x="38" y="289"/>
                      </a:lnTo>
                      <a:lnTo>
                        <a:pt x="39" y="288"/>
                      </a:lnTo>
                      <a:lnTo>
                        <a:pt x="38" y="288"/>
                      </a:lnTo>
                      <a:lnTo>
                        <a:pt x="38" y="289"/>
                      </a:lnTo>
                      <a:lnTo>
                        <a:pt x="38" y="288"/>
                      </a:lnTo>
                      <a:lnTo>
                        <a:pt x="37" y="289"/>
                      </a:lnTo>
                      <a:lnTo>
                        <a:pt x="36" y="290"/>
                      </a:lnTo>
                      <a:lnTo>
                        <a:pt x="35" y="292"/>
                      </a:lnTo>
                      <a:lnTo>
                        <a:pt x="33" y="292"/>
                      </a:lnTo>
                      <a:lnTo>
                        <a:pt x="33" y="290"/>
                      </a:lnTo>
                      <a:lnTo>
                        <a:pt x="33" y="292"/>
                      </a:lnTo>
                      <a:lnTo>
                        <a:pt x="32" y="290"/>
                      </a:lnTo>
                      <a:lnTo>
                        <a:pt x="31" y="289"/>
                      </a:lnTo>
                      <a:lnTo>
                        <a:pt x="31" y="288"/>
                      </a:lnTo>
                      <a:lnTo>
                        <a:pt x="30" y="289"/>
                      </a:lnTo>
                      <a:lnTo>
                        <a:pt x="31" y="290"/>
                      </a:lnTo>
                      <a:lnTo>
                        <a:pt x="32" y="292"/>
                      </a:lnTo>
                      <a:lnTo>
                        <a:pt x="32" y="293"/>
                      </a:lnTo>
                      <a:lnTo>
                        <a:pt x="31" y="293"/>
                      </a:lnTo>
                      <a:lnTo>
                        <a:pt x="30" y="292"/>
                      </a:lnTo>
                      <a:lnTo>
                        <a:pt x="30" y="290"/>
                      </a:lnTo>
                      <a:lnTo>
                        <a:pt x="30" y="292"/>
                      </a:lnTo>
                      <a:lnTo>
                        <a:pt x="29" y="292"/>
                      </a:lnTo>
                      <a:lnTo>
                        <a:pt x="30" y="293"/>
                      </a:lnTo>
                      <a:lnTo>
                        <a:pt x="30" y="294"/>
                      </a:lnTo>
                      <a:lnTo>
                        <a:pt x="31" y="294"/>
                      </a:lnTo>
                      <a:lnTo>
                        <a:pt x="31" y="295"/>
                      </a:lnTo>
                      <a:lnTo>
                        <a:pt x="30" y="295"/>
                      </a:lnTo>
                      <a:lnTo>
                        <a:pt x="29" y="295"/>
                      </a:lnTo>
                      <a:lnTo>
                        <a:pt x="28" y="295"/>
                      </a:lnTo>
                      <a:lnTo>
                        <a:pt x="26" y="295"/>
                      </a:lnTo>
                      <a:lnTo>
                        <a:pt x="25" y="294"/>
                      </a:lnTo>
                      <a:lnTo>
                        <a:pt x="25" y="293"/>
                      </a:lnTo>
                      <a:lnTo>
                        <a:pt x="25" y="292"/>
                      </a:lnTo>
                      <a:lnTo>
                        <a:pt x="26" y="292"/>
                      </a:lnTo>
                      <a:lnTo>
                        <a:pt x="26" y="290"/>
                      </a:lnTo>
                      <a:lnTo>
                        <a:pt x="25" y="292"/>
                      </a:lnTo>
                      <a:lnTo>
                        <a:pt x="24" y="293"/>
                      </a:lnTo>
                      <a:lnTo>
                        <a:pt x="23" y="293"/>
                      </a:lnTo>
                      <a:lnTo>
                        <a:pt x="22" y="293"/>
                      </a:lnTo>
                      <a:lnTo>
                        <a:pt x="23" y="292"/>
                      </a:lnTo>
                      <a:lnTo>
                        <a:pt x="22" y="292"/>
                      </a:lnTo>
                      <a:lnTo>
                        <a:pt x="21" y="292"/>
                      </a:lnTo>
                      <a:lnTo>
                        <a:pt x="19" y="292"/>
                      </a:lnTo>
                      <a:lnTo>
                        <a:pt x="18" y="290"/>
                      </a:lnTo>
                      <a:lnTo>
                        <a:pt x="15" y="289"/>
                      </a:lnTo>
                      <a:lnTo>
                        <a:pt x="15" y="288"/>
                      </a:lnTo>
                      <a:lnTo>
                        <a:pt x="15" y="286"/>
                      </a:lnTo>
                      <a:lnTo>
                        <a:pt x="15" y="285"/>
                      </a:lnTo>
                      <a:lnTo>
                        <a:pt x="14" y="283"/>
                      </a:lnTo>
                      <a:lnTo>
                        <a:pt x="12" y="282"/>
                      </a:lnTo>
                      <a:lnTo>
                        <a:pt x="12" y="278"/>
                      </a:lnTo>
                      <a:lnTo>
                        <a:pt x="12" y="276"/>
                      </a:lnTo>
                      <a:lnTo>
                        <a:pt x="14" y="275"/>
                      </a:lnTo>
                      <a:lnTo>
                        <a:pt x="14" y="274"/>
                      </a:lnTo>
                      <a:lnTo>
                        <a:pt x="12" y="275"/>
                      </a:lnTo>
                      <a:lnTo>
                        <a:pt x="12" y="274"/>
                      </a:lnTo>
                      <a:lnTo>
                        <a:pt x="12" y="273"/>
                      </a:lnTo>
                      <a:lnTo>
                        <a:pt x="11" y="273"/>
                      </a:lnTo>
                      <a:lnTo>
                        <a:pt x="11" y="272"/>
                      </a:lnTo>
                      <a:lnTo>
                        <a:pt x="10" y="272"/>
                      </a:lnTo>
                      <a:lnTo>
                        <a:pt x="11" y="274"/>
                      </a:lnTo>
                      <a:lnTo>
                        <a:pt x="11" y="275"/>
                      </a:lnTo>
                      <a:lnTo>
                        <a:pt x="10" y="274"/>
                      </a:lnTo>
                      <a:lnTo>
                        <a:pt x="9" y="273"/>
                      </a:lnTo>
                      <a:lnTo>
                        <a:pt x="9" y="274"/>
                      </a:lnTo>
                      <a:lnTo>
                        <a:pt x="9" y="275"/>
                      </a:lnTo>
                      <a:lnTo>
                        <a:pt x="8" y="274"/>
                      </a:lnTo>
                      <a:lnTo>
                        <a:pt x="7" y="274"/>
                      </a:lnTo>
                      <a:lnTo>
                        <a:pt x="7" y="273"/>
                      </a:lnTo>
                      <a:lnTo>
                        <a:pt x="7" y="272"/>
                      </a:lnTo>
                      <a:lnTo>
                        <a:pt x="4" y="271"/>
                      </a:lnTo>
                      <a:lnTo>
                        <a:pt x="4" y="268"/>
                      </a:lnTo>
                      <a:lnTo>
                        <a:pt x="4" y="269"/>
                      </a:lnTo>
                      <a:lnTo>
                        <a:pt x="4" y="271"/>
                      </a:lnTo>
                      <a:lnTo>
                        <a:pt x="4" y="272"/>
                      </a:lnTo>
                      <a:lnTo>
                        <a:pt x="5" y="274"/>
                      </a:lnTo>
                      <a:lnTo>
                        <a:pt x="7" y="275"/>
                      </a:lnTo>
                      <a:lnTo>
                        <a:pt x="7" y="276"/>
                      </a:lnTo>
                      <a:lnTo>
                        <a:pt x="5" y="276"/>
                      </a:lnTo>
                      <a:lnTo>
                        <a:pt x="2" y="276"/>
                      </a:lnTo>
                      <a:lnTo>
                        <a:pt x="2" y="275"/>
                      </a:lnTo>
                      <a:lnTo>
                        <a:pt x="3" y="275"/>
                      </a:lnTo>
                      <a:lnTo>
                        <a:pt x="2" y="275"/>
                      </a:lnTo>
                      <a:lnTo>
                        <a:pt x="2" y="276"/>
                      </a:lnTo>
                      <a:lnTo>
                        <a:pt x="1" y="276"/>
                      </a:lnTo>
                      <a:lnTo>
                        <a:pt x="0" y="275"/>
                      </a:lnTo>
                      <a:lnTo>
                        <a:pt x="0" y="274"/>
                      </a:lnTo>
                      <a:lnTo>
                        <a:pt x="1" y="274"/>
                      </a:lnTo>
                      <a:lnTo>
                        <a:pt x="1" y="273"/>
                      </a:lnTo>
                      <a:lnTo>
                        <a:pt x="0" y="273"/>
                      </a:lnTo>
                      <a:lnTo>
                        <a:pt x="0" y="272"/>
                      </a:lnTo>
                      <a:lnTo>
                        <a:pt x="1" y="272"/>
                      </a:lnTo>
                      <a:lnTo>
                        <a:pt x="1" y="271"/>
                      </a:lnTo>
                      <a:lnTo>
                        <a:pt x="2" y="271"/>
                      </a:lnTo>
                      <a:lnTo>
                        <a:pt x="2" y="269"/>
                      </a:lnTo>
                      <a:lnTo>
                        <a:pt x="2" y="268"/>
                      </a:lnTo>
                      <a:lnTo>
                        <a:pt x="2" y="267"/>
                      </a:lnTo>
                      <a:lnTo>
                        <a:pt x="2" y="266"/>
                      </a:lnTo>
                      <a:lnTo>
                        <a:pt x="3" y="266"/>
                      </a:lnTo>
                      <a:lnTo>
                        <a:pt x="3" y="265"/>
                      </a:lnTo>
                      <a:lnTo>
                        <a:pt x="3" y="264"/>
                      </a:lnTo>
                      <a:lnTo>
                        <a:pt x="4" y="264"/>
                      </a:lnTo>
                      <a:lnTo>
                        <a:pt x="4" y="262"/>
                      </a:lnTo>
                      <a:lnTo>
                        <a:pt x="5" y="260"/>
                      </a:lnTo>
                      <a:lnTo>
                        <a:pt x="7" y="259"/>
                      </a:lnTo>
                      <a:lnTo>
                        <a:pt x="7" y="258"/>
                      </a:lnTo>
                      <a:lnTo>
                        <a:pt x="8" y="257"/>
                      </a:lnTo>
                      <a:lnTo>
                        <a:pt x="8" y="255"/>
                      </a:lnTo>
                      <a:lnTo>
                        <a:pt x="9" y="255"/>
                      </a:lnTo>
                      <a:lnTo>
                        <a:pt x="10" y="251"/>
                      </a:lnTo>
                      <a:lnTo>
                        <a:pt x="9" y="250"/>
                      </a:lnTo>
                      <a:lnTo>
                        <a:pt x="10" y="248"/>
                      </a:lnTo>
                      <a:lnTo>
                        <a:pt x="10" y="247"/>
                      </a:lnTo>
                      <a:lnTo>
                        <a:pt x="10" y="246"/>
                      </a:lnTo>
                      <a:lnTo>
                        <a:pt x="10" y="245"/>
                      </a:lnTo>
                      <a:lnTo>
                        <a:pt x="10" y="244"/>
                      </a:lnTo>
                      <a:lnTo>
                        <a:pt x="11" y="244"/>
                      </a:lnTo>
                      <a:lnTo>
                        <a:pt x="11" y="243"/>
                      </a:lnTo>
                      <a:lnTo>
                        <a:pt x="12" y="243"/>
                      </a:lnTo>
                      <a:lnTo>
                        <a:pt x="12" y="241"/>
                      </a:lnTo>
                      <a:lnTo>
                        <a:pt x="11" y="240"/>
                      </a:lnTo>
                      <a:lnTo>
                        <a:pt x="10" y="239"/>
                      </a:lnTo>
                      <a:lnTo>
                        <a:pt x="9" y="238"/>
                      </a:lnTo>
                      <a:lnTo>
                        <a:pt x="10" y="238"/>
                      </a:lnTo>
                      <a:lnTo>
                        <a:pt x="10" y="237"/>
                      </a:lnTo>
                      <a:lnTo>
                        <a:pt x="11" y="237"/>
                      </a:lnTo>
                      <a:lnTo>
                        <a:pt x="11" y="236"/>
                      </a:lnTo>
                      <a:lnTo>
                        <a:pt x="10" y="236"/>
                      </a:lnTo>
                      <a:lnTo>
                        <a:pt x="10" y="234"/>
                      </a:lnTo>
                      <a:lnTo>
                        <a:pt x="10" y="233"/>
                      </a:lnTo>
                      <a:lnTo>
                        <a:pt x="11" y="233"/>
                      </a:lnTo>
                      <a:lnTo>
                        <a:pt x="12" y="232"/>
                      </a:lnTo>
                      <a:lnTo>
                        <a:pt x="14" y="232"/>
                      </a:lnTo>
                      <a:lnTo>
                        <a:pt x="15" y="232"/>
                      </a:lnTo>
                      <a:lnTo>
                        <a:pt x="15" y="231"/>
                      </a:lnTo>
                      <a:lnTo>
                        <a:pt x="16" y="230"/>
                      </a:lnTo>
                      <a:lnTo>
                        <a:pt x="16" y="229"/>
                      </a:lnTo>
                      <a:lnTo>
                        <a:pt x="19" y="225"/>
                      </a:lnTo>
                      <a:lnTo>
                        <a:pt x="24" y="222"/>
                      </a:lnTo>
                      <a:lnTo>
                        <a:pt x="24" y="220"/>
                      </a:lnTo>
                      <a:lnTo>
                        <a:pt x="25" y="219"/>
                      </a:lnTo>
                      <a:lnTo>
                        <a:pt x="26" y="218"/>
                      </a:lnTo>
                      <a:lnTo>
                        <a:pt x="28" y="218"/>
                      </a:lnTo>
                      <a:lnTo>
                        <a:pt x="29" y="218"/>
                      </a:lnTo>
                      <a:lnTo>
                        <a:pt x="30" y="216"/>
                      </a:lnTo>
                      <a:lnTo>
                        <a:pt x="31" y="216"/>
                      </a:lnTo>
                      <a:lnTo>
                        <a:pt x="32" y="215"/>
                      </a:lnTo>
                      <a:lnTo>
                        <a:pt x="33" y="213"/>
                      </a:lnTo>
                      <a:lnTo>
                        <a:pt x="33" y="212"/>
                      </a:lnTo>
                      <a:lnTo>
                        <a:pt x="35" y="212"/>
                      </a:lnTo>
                      <a:lnTo>
                        <a:pt x="36" y="212"/>
                      </a:lnTo>
                      <a:lnTo>
                        <a:pt x="37" y="212"/>
                      </a:lnTo>
                      <a:lnTo>
                        <a:pt x="37" y="211"/>
                      </a:lnTo>
                      <a:lnTo>
                        <a:pt x="39" y="204"/>
                      </a:lnTo>
                      <a:lnTo>
                        <a:pt x="40" y="203"/>
                      </a:lnTo>
                      <a:lnTo>
                        <a:pt x="42" y="203"/>
                      </a:lnTo>
                      <a:lnTo>
                        <a:pt x="42" y="204"/>
                      </a:lnTo>
                      <a:lnTo>
                        <a:pt x="43" y="203"/>
                      </a:lnTo>
                      <a:lnTo>
                        <a:pt x="51" y="197"/>
                      </a:lnTo>
                      <a:lnTo>
                        <a:pt x="51" y="196"/>
                      </a:lnTo>
                      <a:lnTo>
                        <a:pt x="52" y="196"/>
                      </a:lnTo>
                      <a:lnTo>
                        <a:pt x="52" y="197"/>
                      </a:lnTo>
                      <a:lnTo>
                        <a:pt x="52" y="199"/>
                      </a:lnTo>
                      <a:lnTo>
                        <a:pt x="53" y="199"/>
                      </a:lnTo>
                      <a:lnTo>
                        <a:pt x="53" y="201"/>
                      </a:lnTo>
                      <a:lnTo>
                        <a:pt x="54" y="201"/>
                      </a:lnTo>
                      <a:lnTo>
                        <a:pt x="62" y="201"/>
                      </a:lnTo>
                      <a:lnTo>
                        <a:pt x="62" y="199"/>
                      </a:lnTo>
                      <a:lnTo>
                        <a:pt x="62" y="198"/>
                      </a:lnTo>
                      <a:lnTo>
                        <a:pt x="64" y="198"/>
                      </a:lnTo>
                      <a:lnTo>
                        <a:pt x="64" y="196"/>
                      </a:lnTo>
                      <a:lnTo>
                        <a:pt x="64" y="195"/>
                      </a:lnTo>
                      <a:lnTo>
                        <a:pt x="65" y="194"/>
                      </a:lnTo>
                      <a:lnTo>
                        <a:pt x="65" y="192"/>
                      </a:lnTo>
                      <a:lnTo>
                        <a:pt x="66" y="194"/>
                      </a:lnTo>
                      <a:lnTo>
                        <a:pt x="66" y="195"/>
                      </a:lnTo>
                      <a:lnTo>
                        <a:pt x="67" y="195"/>
                      </a:lnTo>
                      <a:lnTo>
                        <a:pt x="69" y="196"/>
                      </a:lnTo>
                      <a:lnTo>
                        <a:pt x="72" y="197"/>
                      </a:lnTo>
                      <a:lnTo>
                        <a:pt x="73" y="198"/>
                      </a:lnTo>
                      <a:lnTo>
                        <a:pt x="74" y="199"/>
                      </a:lnTo>
                      <a:lnTo>
                        <a:pt x="74" y="201"/>
                      </a:lnTo>
                      <a:lnTo>
                        <a:pt x="74" y="202"/>
                      </a:lnTo>
                      <a:lnTo>
                        <a:pt x="75" y="203"/>
                      </a:lnTo>
                      <a:lnTo>
                        <a:pt x="79" y="204"/>
                      </a:lnTo>
                      <a:lnTo>
                        <a:pt x="80" y="204"/>
                      </a:lnTo>
                      <a:lnTo>
                        <a:pt x="80" y="206"/>
                      </a:lnTo>
                      <a:lnTo>
                        <a:pt x="80" y="208"/>
                      </a:lnTo>
                      <a:lnTo>
                        <a:pt x="80" y="209"/>
                      </a:lnTo>
                      <a:lnTo>
                        <a:pt x="80" y="210"/>
                      </a:lnTo>
                      <a:lnTo>
                        <a:pt x="81" y="212"/>
                      </a:lnTo>
                      <a:lnTo>
                        <a:pt x="81" y="213"/>
                      </a:lnTo>
                      <a:lnTo>
                        <a:pt x="82" y="215"/>
                      </a:lnTo>
                      <a:lnTo>
                        <a:pt x="83" y="215"/>
                      </a:lnTo>
                      <a:lnTo>
                        <a:pt x="85" y="215"/>
                      </a:lnTo>
                      <a:lnTo>
                        <a:pt x="86" y="215"/>
                      </a:lnTo>
                      <a:lnTo>
                        <a:pt x="87" y="215"/>
                      </a:lnTo>
                      <a:lnTo>
                        <a:pt x="87" y="213"/>
                      </a:lnTo>
                      <a:lnTo>
                        <a:pt x="88" y="215"/>
                      </a:lnTo>
                      <a:lnTo>
                        <a:pt x="89" y="215"/>
                      </a:lnTo>
                      <a:lnTo>
                        <a:pt x="90" y="213"/>
                      </a:lnTo>
                      <a:lnTo>
                        <a:pt x="92" y="212"/>
                      </a:lnTo>
                      <a:lnTo>
                        <a:pt x="92" y="211"/>
                      </a:lnTo>
                      <a:lnTo>
                        <a:pt x="92" y="210"/>
                      </a:lnTo>
                      <a:lnTo>
                        <a:pt x="93" y="209"/>
                      </a:lnTo>
                      <a:lnTo>
                        <a:pt x="94" y="209"/>
                      </a:lnTo>
                      <a:lnTo>
                        <a:pt x="95" y="209"/>
                      </a:lnTo>
                      <a:lnTo>
                        <a:pt x="95" y="208"/>
                      </a:lnTo>
                      <a:lnTo>
                        <a:pt x="96" y="205"/>
                      </a:lnTo>
                      <a:lnTo>
                        <a:pt x="96" y="204"/>
                      </a:lnTo>
                      <a:lnTo>
                        <a:pt x="96" y="203"/>
                      </a:lnTo>
                      <a:lnTo>
                        <a:pt x="96" y="202"/>
                      </a:lnTo>
                      <a:lnTo>
                        <a:pt x="95" y="202"/>
                      </a:lnTo>
                      <a:lnTo>
                        <a:pt x="96" y="201"/>
                      </a:lnTo>
                      <a:lnTo>
                        <a:pt x="99" y="198"/>
                      </a:lnTo>
                      <a:lnTo>
                        <a:pt x="100" y="197"/>
                      </a:lnTo>
                      <a:lnTo>
                        <a:pt x="101" y="196"/>
                      </a:lnTo>
                      <a:lnTo>
                        <a:pt x="102" y="196"/>
                      </a:lnTo>
                      <a:lnTo>
                        <a:pt x="103" y="195"/>
                      </a:lnTo>
                      <a:lnTo>
                        <a:pt x="104" y="194"/>
                      </a:lnTo>
                      <a:lnTo>
                        <a:pt x="106" y="194"/>
                      </a:lnTo>
                      <a:lnTo>
                        <a:pt x="107" y="192"/>
                      </a:lnTo>
                      <a:lnTo>
                        <a:pt x="106" y="192"/>
                      </a:lnTo>
                      <a:lnTo>
                        <a:pt x="104" y="191"/>
                      </a:lnTo>
                      <a:lnTo>
                        <a:pt x="103" y="189"/>
                      </a:lnTo>
                      <a:lnTo>
                        <a:pt x="103" y="188"/>
                      </a:lnTo>
                      <a:lnTo>
                        <a:pt x="102" y="188"/>
                      </a:lnTo>
                      <a:lnTo>
                        <a:pt x="102" y="187"/>
                      </a:lnTo>
                      <a:lnTo>
                        <a:pt x="103" y="187"/>
                      </a:lnTo>
                      <a:lnTo>
                        <a:pt x="106" y="183"/>
                      </a:lnTo>
                      <a:lnTo>
                        <a:pt x="107" y="182"/>
                      </a:lnTo>
                      <a:lnTo>
                        <a:pt x="109" y="180"/>
                      </a:lnTo>
                      <a:lnTo>
                        <a:pt x="110" y="178"/>
                      </a:lnTo>
                      <a:lnTo>
                        <a:pt x="110" y="177"/>
                      </a:lnTo>
                      <a:lnTo>
                        <a:pt x="111" y="177"/>
                      </a:lnTo>
                      <a:lnTo>
                        <a:pt x="110" y="175"/>
                      </a:lnTo>
                      <a:lnTo>
                        <a:pt x="110" y="174"/>
                      </a:lnTo>
                      <a:lnTo>
                        <a:pt x="111" y="171"/>
                      </a:lnTo>
                      <a:lnTo>
                        <a:pt x="115" y="167"/>
                      </a:lnTo>
                      <a:lnTo>
                        <a:pt x="116" y="166"/>
                      </a:lnTo>
                      <a:lnTo>
                        <a:pt x="116" y="164"/>
                      </a:lnTo>
                      <a:lnTo>
                        <a:pt x="116" y="163"/>
                      </a:lnTo>
                      <a:lnTo>
                        <a:pt x="116" y="162"/>
                      </a:lnTo>
                      <a:lnTo>
                        <a:pt x="116" y="161"/>
                      </a:lnTo>
                      <a:lnTo>
                        <a:pt x="117" y="159"/>
                      </a:lnTo>
                      <a:lnTo>
                        <a:pt x="117" y="157"/>
                      </a:lnTo>
                      <a:lnTo>
                        <a:pt x="117" y="155"/>
                      </a:lnTo>
                      <a:lnTo>
                        <a:pt x="117" y="153"/>
                      </a:lnTo>
                      <a:lnTo>
                        <a:pt x="117" y="152"/>
                      </a:lnTo>
                      <a:lnTo>
                        <a:pt x="118" y="150"/>
                      </a:lnTo>
                      <a:lnTo>
                        <a:pt x="120" y="150"/>
                      </a:lnTo>
                      <a:lnTo>
                        <a:pt x="121" y="150"/>
                      </a:lnTo>
                      <a:lnTo>
                        <a:pt x="121" y="149"/>
                      </a:lnTo>
                      <a:lnTo>
                        <a:pt x="122" y="149"/>
                      </a:lnTo>
                      <a:lnTo>
                        <a:pt x="123" y="148"/>
                      </a:lnTo>
                      <a:lnTo>
                        <a:pt x="123" y="147"/>
                      </a:lnTo>
                      <a:lnTo>
                        <a:pt x="122" y="145"/>
                      </a:lnTo>
                      <a:lnTo>
                        <a:pt x="123" y="145"/>
                      </a:lnTo>
                      <a:lnTo>
                        <a:pt x="124" y="145"/>
                      </a:lnTo>
                      <a:lnTo>
                        <a:pt x="125" y="145"/>
                      </a:lnTo>
                      <a:lnTo>
                        <a:pt x="126" y="145"/>
                      </a:lnTo>
                      <a:lnTo>
                        <a:pt x="128" y="145"/>
                      </a:lnTo>
                      <a:lnTo>
                        <a:pt x="131" y="143"/>
                      </a:lnTo>
                      <a:lnTo>
                        <a:pt x="131" y="142"/>
                      </a:lnTo>
                      <a:lnTo>
                        <a:pt x="132" y="141"/>
                      </a:lnTo>
                      <a:lnTo>
                        <a:pt x="132" y="140"/>
                      </a:lnTo>
                      <a:lnTo>
                        <a:pt x="133" y="140"/>
                      </a:lnTo>
                      <a:lnTo>
                        <a:pt x="135" y="140"/>
                      </a:lnTo>
                      <a:lnTo>
                        <a:pt x="135" y="139"/>
                      </a:lnTo>
                      <a:lnTo>
                        <a:pt x="136" y="138"/>
                      </a:lnTo>
                      <a:lnTo>
                        <a:pt x="136" y="132"/>
                      </a:lnTo>
                      <a:lnTo>
                        <a:pt x="136" y="131"/>
                      </a:lnTo>
                      <a:lnTo>
                        <a:pt x="136" y="129"/>
                      </a:lnTo>
                      <a:lnTo>
                        <a:pt x="137" y="127"/>
                      </a:lnTo>
                      <a:lnTo>
                        <a:pt x="138" y="125"/>
                      </a:lnTo>
                      <a:lnTo>
                        <a:pt x="138" y="124"/>
                      </a:lnTo>
                      <a:lnTo>
                        <a:pt x="138" y="122"/>
                      </a:lnTo>
                      <a:lnTo>
                        <a:pt x="138" y="121"/>
                      </a:lnTo>
                      <a:lnTo>
                        <a:pt x="137" y="120"/>
                      </a:lnTo>
                      <a:lnTo>
                        <a:pt x="139" y="119"/>
                      </a:lnTo>
                      <a:lnTo>
                        <a:pt x="140" y="117"/>
                      </a:lnTo>
                      <a:lnTo>
                        <a:pt x="143" y="115"/>
                      </a:lnTo>
                      <a:lnTo>
                        <a:pt x="145" y="115"/>
                      </a:lnTo>
                      <a:lnTo>
                        <a:pt x="147" y="114"/>
                      </a:lnTo>
                      <a:lnTo>
                        <a:pt x="149" y="112"/>
                      </a:lnTo>
                      <a:lnTo>
                        <a:pt x="149" y="111"/>
                      </a:lnTo>
                      <a:lnTo>
                        <a:pt x="149" y="108"/>
                      </a:lnTo>
                      <a:lnTo>
                        <a:pt x="150" y="107"/>
                      </a:lnTo>
                      <a:lnTo>
                        <a:pt x="150" y="106"/>
                      </a:lnTo>
                      <a:lnTo>
                        <a:pt x="149" y="105"/>
                      </a:lnTo>
                      <a:lnTo>
                        <a:pt x="149" y="104"/>
                      </a:lnTo>
                      <a:lnTo>
                        <a:pt x="149" y="103"/>
                      </a:lnTo>
                      <a:lnTo>
                        <a:pt x="149" y="101"/>
                      </a:lnTo>
                      <a:lnTo>
                        <a:pt x="150" y="100"/>
                      </a:lnTo>
                      <a:lnTo>
                        <a:pt x="149" y="100"/>
                      </a:lnTo>
                      <a:lnTo>
                        <a:pt x="149" y="99"/>
                      </a:lnTo>
                      <a:lnTo>
                        <a:pt x="149" y="98"/>
                      </a:lnTo>
                      <a:lnTo>
                        <a:pt x="150" y="97"/>
                      </a:lnTo>
                      <a:lnTo>
                        <a:pt x="153" y="97"/>
                      </a:lnTo>
                      <a:lnTo>
                        <a:pt x="154" y="96"/>
                      </a:lnTo>
                      <a:lnTo>
                        <a:pt x="156" y="94"/>
                      </a:lnTo>
                      <a:lnTo>
                        <a:pt x="156" y="93"/>
                      </a:lnTo>
                      <a:lnTo>
                        <a:pt x="156" y="92"/>
                      </a:lnTo>
                      <a:lnTo>
                        <a:pt x="157" y="90"/>
                      </a:lnTo>
                      <a:lnTo>
                        <a:pt x="157" y="84"/>
                      </a:lnTo>
                      <a:lnTo>
                        <a:pt x="158" y="79"/>
                      </a:lnTo>
                      <a:lnTo>
                        <a:pt x="159" y="78"/>
                      </a:lnTo>
                      <a:lnTo>
                        <a:pt x="165" y="70"/>
                      </a:lnTo>
                      <a:lnTo>
                        <a:pt x="165" y="69"/>
                      </a:lnTo>
                      <a:lnTo>
                        <a:pt x="165" y="68"/>
                      </a:lnTo>
                      <a:lnTo>
                        <a:pt x="166" y="66"/>
                      </a:lnTo>
                      <a:lnTo>
                        <a:pt x="167" y="65"/>
                      </a:lnTo>
                      <a:lnTo>
                        <a:pt x="168" y="64"/>
                      </a:lnTo>
                      <a:lnTo>
                        <a:pt x="170" y="62"/>
                      </a:lnTo>
                      <a:lnTo>
                        <a:pt x="170" y="61"/>
                      </a:lnTo>
                      <a:lnTo>
                        <a:pt x="171" y="59"/>
                      </a:lnTo>
                      <a:lnTo>
                        <a:pt x="172" y="58"/>
                      </a:lnTo>
                      <a:lnTo>
                        <a:pt x="173" y="58"/>
                      </a:lnTo>
                      <a:lnTo>
                        <a:pt x="174" y="59"/>
                      </a:lnTo>
                      <a:lnTo>
                        <a:pt x="177" y="59"/>
                      </a:lnTo>
                      <a:lnTo>
                        <a:pt x="178" y="59"/>
                      </a:lnTo>
                      <a:lnTo>
                        <a:pt x="179" y="59"/>
                      </a:lnTo>
                      <a:lnTo>
                        <a:pt x="180" y="59"/>
                      </a:lnTo>
                      <a:lnTo>
                        <a:pt x="180" y="58"/>
                      </a:lnTo>
                      <a:lnTo>
                        <a:pt x="181" y="58"/>
                      </a:lnTo>
                      <a:lnTo>
                        <a:pt x="182" y="58"/>
                      </a:lnTo>
                      <a:lnTo>
                        <a:pt x="185" y="55"/>
                      </a:lnTo>
                      <a:lnTo>
                        <a:pt x="186" y="55"/>
                      </a:lnTo>
                      <a:lnTo>
                        <a:pt x="187" y="54"/>
                      </a:lnTo>
                      <a:lnTo>
                        <a:pt x="188" y="54"/>
                      </a:lnTo>
                      <a:lnTo>
                        <a:pt x="189" y="52"/>
                      </a:lnTo>
                      <a:lnTo>
                        <a:pt x="192" y="51"/>
                      </a:lnTo>
                      <a:lnTo>
                        <a:pt x="193" y="50"/>
                      </a:lnTo>
                      <a:lnTo>
                        <a:pt x="193" y="49"/>
                      </a:lnTo>
                      <a:lnTo>
                        <a:pt x="193" y="48"/>
                      </a:lnTo>
                      <a:lnTo>
                        <a:pt x="193" y="47"/>
                      </a:lnTo>
                      <a:lnTo>
                        <a:pt x="192" y="45"/>
                      </a:lnTo>
                      <a:lnTo>
                        <a:pt x="190" y="45"/>
                      </a:lnTo>
                      <a:lnTo>
                        <a:pt x="190" y="44"/>
                      </a:lnTo>
                      <a:lnTo>
                        <a:pt x="192" y="43"/>
                      </a:lnTo>
                      <a:lnTo>
                        <a:pt x="192" y="42"/>
                      </a:lnTo>
                      <a:lnTo>
                        <a:pt x="193" y="38"/>
                      </a:lnTo>
                      <a:lnTo>
                        <a:pt x="193" y="37"/>
                      </a:lnTo>
                      <a:lnTo>
                        <a:pt x="193" y="36"/>
                      </a:lnTo>
                      <a:lnTo>
                        <a:pt x="192" y="35"/>
                      </a:lnTo>
                      <a:lnTo>
                        <a:pt x="192" y="34"/>
                      </a:lnTo>
                      <a:lnTo>
                        <a:pt x="193" y="34"/>
                      </a:lnTo>
                      <a:lnTo>
                        <a:pt x="193" y="31"/>
                      </a:lnTo>
                      <a:lnTo>
                        <a:pt x="193" y="30"/>
                      </a:lnTo>
                      <a:lnTo>
                        <a:pt x="194" y="30"/>
                      </a:lnTo>
                      <a:lnTo>
                        <a:pt x="194" y="29"/>
                      </a:lnTo>
                      <a:lnTo>
                        <a:pt x="193" y="29"/>
                      </a:lnTo>
                      <a:lnTo>
                        <a:pt x="192" y="28"/>
                      </a:lnTo>
                      <a:lnTo>
                        <a:pt x="190" y="28"/>
                      </a:lnTo>
                      <a:lnTo>
                        <a:pt x="190" y="27"/>
                      </a:lnTo>
                      <a:lnTo>
                        <a:pt x="189" y="26"/>
                      </a:lnTo>
                      <a:lnTo>
                        <a:pt x="189" y="24"/>
                      </a:lnTo>
                      <a:lnTo>
                        <a:pt x="188" y="24"/>
                      </a:lnTo>
                      <a:lnTo>
                        <a:pt x="186" y="23"/>
                      </a:lnTo>
                      <a:lnTo>
                        <a:pt x="180" y="23"/>
                      </a:lnTo>
                      <a:lnTo>
                        <a:pt x="179" y="23"/>
                      </a:lnTo>
                      <a:lnTo>
                        <a:pt x="179" y="22"/>
                      </a:lnTo>
                      <a:lnTo>
                        <a:pt x="179" y="21"/>
                      </a:lnTo>
                      <a:lnTo>
                        <a:pt x="179" y="20"/>
                      </a:lnTo>
                      <a:lnTo>
                        <a:pt x="179" y="17"/>
                      </a:lnTo>
                      <a:lnTo>
                        <a:pt x="177" y="9"/>
                      </a:lnTo>
                      <a:lnTo>
                        <a:pt x="174" y="0"/>
                      </a:lnTo>
                      <a:lnTo>
                        <a:pt x="182" y="0"/>
                      </a:lnTo>
                      <a:close/>
                      <a:moveTo>
                        <a:pt x="185" y="0"/>
                      </a:moveTo>
                      <a:lnTo>
                        <a:pt x="185" y="1"/>
                      </a:lnTo>
                      <a:lnTo>
                        <a:pt x="185" y="0"/>
                      </a:lnTo>
                      <a:lnTo>
                        <a:pt x="184" y="0"/>
                      </a:lnTo>
                      <a:lnTo>
                        <a:pt x="185"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3" name="Freeform 80">
                  <a:extLst>
                    <a:ext uri="{FF2B5EF4-FFF2-40B4-BE49-F238E27FC236}">
                      <a16:creationId xmlns:a16="http://schemas.microsoft.com/office/drawing/2014/main" id="{6E252275-34AB-1B11-1F65-B7788CD98A39}"/>
                    </a:ext>
                  </a:extLst>
                </p:cNvPr>
                <p:cNvSpPr>
                  <a:spLocks noEditPoints="1"/>
                </p:cNvSpPr>
                <p:nvPr/>
              </p:nvSpPr>
              <p:spPr bwMode="auto">
                <a:xfrm>
                  <a:off x="6649893" y="3613640"/>
                  <a:ext cx="651203" cy="645794"/>
                </a:xfrm>
                <a:custGeom>
                  <a:avLst/>
                  <a:gdLst>
                    <a:gd name="T0" fmla="*/ 530 w 602"/>
                    <a:gd name="T1" fmla="*/ 238 h 597"/>
                    <a:gd name="T2" fmla="*/ 436 w 602"/>
                    <a:gd name="T3" fmla="*/ 6 h 597"/>
                    <a:gd name="T4" fmla="*/ 463 w 602"/>
                    <a:gd name="T5" fmla="*/ 12 h 597"/>
                    <a:gd name="T6" fmla="*/ 491 w 602"/>
                    <a:gd name="T7" fmla="*/ 26 h 597"/>
                    <a:gd name="T8" fmla="*/ 521 w 602"/>
                    <a:gd name="T9" fmla="*/ 27 h 597"/>
                    <a:gd name="T10" fmla="*/ 550 w 602"/>
                    <a:gd name="T11" fmla="*/ 23 h 597"/>
                    <a:gd name="T12" fmla="*/ 576 w 602"/>
                    <a:gd name="T13" fmla="*/ 48 h 597"/>
                    <a:gd name="T14" fmla="*/ 588 w 602"/>
                    <a:gd name="T15" fmla="*/ 67 h 597"/>
                    <a:gd name="T16" fmla="*/ 593 w 602"/>
                    <a:gd name="T17" fmla="*/ 96 h 597"/>
                    <a:gd name="T18" fmla="*/ 579 w 602"/>
                    <a:gd name="T19" fmla="*/ 121 h 597"/>
                    <a:gd name="T20" fmla="*/ 560 w 602"/>
                    <a:gd name="T21" fmla="*/ 145 h 597"/>
                    <a:gd name="T22" fmla="*/ 541 w 602"/>
                    <a:gd name="T23" fmla="*/ 186 h 597"/>
                    <a:gd name="T24" fmla="*/ 549 w 602"/>
                    <a:gd name="T25" fmla="*/ 196 h 597"/>
                    <a:gd name="T26" fmla="*/ 530 w 602"/>
                    <a:gd name="T27" fmla="*/ 222 h 597"/>
                    <a:gd name="T28" fmla="*/ 527 w 602"/>
                    <a:gd name="T29" fmla="*/ 240 h 597"/>
                    <a:gd name="T30" fmla="*/ 535 w 602"/>
                    <a:gd name="T31" fmla="*/ 265 h 597"/>
                    <a:gd name="T32" fmla="*/ 532 w 602"/>
                    <a:gd name="T33" fmla="*/ 305 h 597"/>
                    <a:gd name="T34" fmla="*/ 537 w 602"/>
                    <a:gd name="T35" fmla="*/ 341 h 597"/>
                    <a:gd name="T36" fmla="*/ 544 w 602"/>
                    <a:gd name="T37" fmla="*/ 377 h 597"/>
                    <a:gd name="T38" fmla="*/ 570 w 602"/>
                    <a:gd name="T39" fmla="*/ 417 h 597"/>
                    <a:gd name="T40" fmla="*/ 512 w 602"/>
                    <a:gd name="T41" fmla="*/ 455 h 597"/>
                    <a:gd name="T42" fmla="*/ 516 w 602"/>
                    <a:gd name="T43" fmla="*/ 474 h 597"/>
                    <a:gd name="T44" fmla="*/ 518 w 602"/>
                    <a:gd name="T45" fmla="*/ 506 h 597"/>
                    <a:gd name="T46" fmla="*/ 512 w 602"/>
                    <a:gd name="T47" fmla="*/ 544 h 597"/>
                    <a:gd name="T48" fmla="*/ 543 w 602"/>
                    <a:gd name="T49" fmla="*/ 565 h 597"/>
                    <a:gd name="T50" fmla="*/ 550 w 602"/>
                    <a:gd name="T51" fmla="*/ 597 h 597"/>
                    <a:gd name="T52" fmla="*/ 525 w 602"/>
                    <a:gd name="T53" fmla="*/ 588 h 597"/>
                    <a:gd name="T54" fmla="*/ 502 w 602"/>
                    <a:gd name="T55" fmla="*/ 565 h 597"/>
                    <a:gd name="T56" fmla="*/ 466 w 602"/>
                    <a:gd name="T57" fmla="*/ 538 h 597"/>
                    <a:gd name="T58" fmla="*/ 434 w 602"/>
                    <a:gd name="T59" fmla="*/ 547 h 597"/>
                    <a:gd name="T60" fmla="*/ 414 w 602"/>
                    <a:gd name="T61" fmla="*/ 526 h 597"/>
                    <a:gd name="T62" fmla="*/ 384 w 602"/>
                    <a:gd name="T63" fmla="*/ 525 h 597"/>
                    <a:gd name="T64" fmla="*/ 356 w 602"/>
                    <a:gd name="T65" fmla="*/ 517 h 597"/>
                    <a:gd name="T66" fmla="*/ 316 w 602"/>
                    <a:gd name="T67" fmla="*/ 519 h 597"/>
                    <a:gd name="T68" fmla="*/ 314 w 602"/>
                    <a:gd name="T69" fmla="*/ 485 h 597"/>
                    <a:gd name="T70" fmla="*/ 307 w 602"/>
                    <a:gd name="T71" fmla="*/ 441 h 597"/>
                    <a:gd name="T72" fmla="*/ 303 w 602"/>
                    <a:gd name="T73" fmla="*/ 406 h 597"/>
                    <a:gd name="T74" fmla="*/ 264 w 602"/>
                    <a:gd name="T75" fmla="*/ 391 h 597"/>
                    <a:gd name="T76" fmla="*/ 229 w 602"/>
                    <a:gd name="T77" fmla="*/ 401 h 597"/>
                    <a:gd name="T78" fmla="*/ 198 w 602"/>
                    <a:gd name="T79" fmla="*/ 421 h 597"/>
                    <a:gd name="T80" fmla="*/ 166 w 602"/>
                    <a:gd name="T81" fmla="*/ 421 h 597"/>
                    <a:gd name="T82" fmla="*/ 151 w 602"/>
                    <a:gd name="T83" fmla="*/ 400 h 597"/>
                    <a:gd name="T84" fmla="*/ 141 w 602"/>
                    <a:gd name="T85" fmla="*/ 368 h 597"/>
                    <a:gd name="T86" fmla="*/ 95 w 602"/>
                    <a:gd name="T87" fmla="*/ 356 h 597"/>
                    <a:gd name="T88" fmla="*/ 30 w 602"/>
                    <a:gd name="T89" fmla="*/ 356 h 597"/>
                    <a:gd name="T90" fmla="*/ 9 w 602"/>
                    <a:gd name="T91" fmla="*/ 349 h 597"/>
                    <a:gd name="T92" fmla="*/ 30 w 602"/>
                    <a:gd name="T93" fmla="*/ 320 h 597"/>
                    <a:gd name="T94" fmla="*/ 54 w 602"/>
                    <a:gd name="T95" fmla="*/ 313 h 597"/>
                    <a:gd name="T96" fmla="*/ 70 w 602"/>
                    <a:gd name="T97" fmla="*/ 324 h 597"/>
                    <a:gd name="T98" fmla="*/ 114 w 602"/>
                    <a:gd name="T99" fmla="*/ 296 h 597"/>
                    <a:gd name="T100" fmla="*/ 124 w 602"/>
                    <a:gd name="T101" fmla="*/ 242 h 597"/>
                    <a:gd name="T102" fmla="*/ 155 w 602"/>
                    <a:gd name="T103" fmla="*/ 204 h 597"/>
                    <a:gd name="T104" fmla="*/ 178 w 602"/>
                    <a:gd name="T105" fmla="*/ 144 h 597"/>
                    <a:gd name="T106" fmla="*/ 194 w 602"/>
                    <a:gd name="T107" fmla="*/ 85 h 597"/>
                    <a:gd name="T108" fmla="*/ 202 w 602"/>
                    <a:gd name="T109" fmla="*/ 33 h 597"/>
                    <a:gd name="T110" fmla="*/ 236 w 602"/>
                    <a:gd name="T111" fmla="*/ 8 h 597"/>
                    <a:gd name="T112" fmla="*/ 272 w 602"/>
                    <a:gd name="T113" fmla="*/ 30 h 597"/>
                    <a:gd name="T114" fmla="*/ 311 w 602"/>
                    <a:gd name="T115" fmla="*/ 37 h 597"/>
                    <a:gd name="T116" fmla="*/ 333 w 602"/>
                    <a:gd name="T117" fmla="*/ 21 h 597"/>
                    <a:gd name="T118" fmla="*/ 361 w 602"/>
                    <a:gd name="T119" fmla="*/ 20 h 597"/>
                    <a:gd name="T120" fmla="*/ 385 w 602"/>
                    <a:gd name="T121" fmla="*/ 11 h 597"/>
                    <a:gd name="T122" fmla="*/ 413 w 602"/>
                    <a:gd name="T123" fmla="*/ 12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2" h="597">
                      <a:moveTo>
                        <a:pt x="24" y="357"/>
                      </a:moveTo>
                      <a:lnTo>
                        <a:pt x="23" y="357"/>
                      </a:lnTo>
                      <a:lnTo>
                        <a:pt x="20" y="358"/>
                      </a:lnTo>
                      <a:lnTo>
                        <a:pt x="19" y="358"/>
                      </a:lnTo>
                      <a:lnTo>
                        <a:pt x="18" y="359"/>
                      </a:lnTo>
                      <a:lnTo>
                        <a:pt x="17" y="359"/>
                      </a:lnTo>
                      <a:lnTo>
                        <a:pt x="16" y="359"/>
                      </a:lnTo>
                      <a:lnTo>
                        <a:pt x="17" y="358"/>
                      </a:lnTo>
                      <a:lnTo>
                        <a:pt x="18" y="357"/>
                      </a:lnTo>
                      <a:lnTo>
                        <a:pt x="19" y="357"/>
                      </a:lnTo>
                      <a:lnTo>
                        <a:pt x="22" y="357"/>
                      </a:lnTo>
                      <a:lnTo>
                        <a:pt x="23" y="357"/>
                      </a:lnTo>
                      <a:lnTo>
                        <a:pt x="24" y="357"/>
                      </a:lnTo>
                      <a:close/>
                      <a:moveTo>
                        <a:pt x="532" y="231"/>
                      </a:moveTo>
                      <a:lnTo>
                        <a:pt x="534" y="231"/>
                      </a:lnTo>
                      <a:lnTo>
                        <a:pt x="534" y="232"/>
                      </a:lnTo>
                      <a:lnTo>
                        <a:pt x="532" y="232"/>
                      </a:lnTo>
                      <a:lnTo>
                        <a:pt x="532" y="233"/>
                      </a:lnTo>
                      <a:lnTo>
                        <a:pt x="534" y="235"/>
                      </a:lnTo>
                      <a:lnTo>
                        <a:pt x="532" y="235"/>
                      </a:lnTo>
                      <a:lnTo>
                        <a:pt x="532" y="236"/>
                      </a:lnTo>
                      <a:lnTo>
                        <a:pt x="532" y="237"/>
                      </a:lnTo>
                      <a:lnTo>
                        <a:pt x="534" y="238"/>
                      </a:lnTo>
                      <a:lnTo>
                        <a:pt x="532" y="239"/>
                      </a:lnTo>
                      <a:lnTo>
                        <a:pt x="532" y="240"/>
                      </a:lnTo>
                      <a:lnTo>
                        <a:pt x="531" y="242"/>
                      </a:lnTo>
                      <a:lnTo>
                        <a:pt x="530" y="242"/>
                      </a:lnTo>
                      <a:lnTo>
                        <a:pt x="530" y="240"/>
                      </a:lnTo>
                      <a:lnTo>
                        <a:pt x="529" y="240"/>
                      </a:lnTo>
                      <a:lnTo>
                        <a:pt x="529" y="239"/>
                      </a:lnTo>
                      <a:lnTo>
                        <a:pt x="530" y="239"/>
                      </a:lnTo>
                      <a:lnTo>
                        <a:pt x="530" y="238"/>
                      </a:lnTo>
                      <a:lnTo>
                        <a:pt x="530" y="237"/>
                      </a:lnTo>
                      <a:lnTo>
                        <a:pt x="531" y="236"/>
                      </a:lnTo>
                      <a:lnTo>
                        <a:pt x="531" y="235"/>
                      </a:lnTo>
                      <a:lnTo>
                        <a:pt x="531" y="233"/>
                      </a:lnTo>
                      <a:lnTo>
                        <a:pt x="531" y="232"/>
                      </a:lnTo>
                      <a:lnTo>
                        <a:pt x="532" y="231"/>
                      </a:lnTo>
                      <a:close/>
                      <a:moveTo>
                        <a:pt x="421" y="0"/>
                      </a:moveTo>
                      <a:lnTo>
                        <a:pt x="422" y="0"/>
                      </a:lnTo>
                      <a:lnTo>
                        <a:pt x="422" y="1"/>
                      </a:lnTo>
                      <a:lnTo>
                        <a:pt x="423" y="1"/>
                      </a:lnTo>
                      <a:lnTo>
                        <a:pt x="423" y="2"/>
                      </a:lnTo>
                      <a:lnTo>
                        <a:pt x="422" y="2"/>
                      </a:lnTo>
                      <a:lnTo>
                        <a:pt x="423" y="2"/>
                      </a:lnTo>
                      <a:lnTo>
                        <a:pt x="424" y="2"/>
                      </a:lnTo>
                      <a:lnTo>
                        <a:pt x="425" y="2"/>
                      </a:lnTo>
                      <a:lnTo>
                        <a:pt x="425" y="4"/>
                      </a:lnTo>
                      <a:lnTo>
                        <a:pt x="427" y="5"/>
                      </a:lnTo>
                      <a:lnTo>
                        <a:pt x="428" y="5"/>
                      </a:lnTo>
                      <a:lnTo>
                        <a:pt x="428" y="4"/>
                      </a:lnTo>
                      <a:lnTo>
                        <a:pt x="428" y="5"/>
                      </a:lnTo>
                      <a:lnTo>
                        <a:pt x="429" y="5"/>
                      </a:lnTo>
                      <a:lnTo>
                        <a:pt x="429" y="6"/>
                      </a:lnTo>
                      <a:lnTo>
                        <a:pt x="430" y="6"/>
                      </a:lnTo>
                      <a:lnTo>
                        <a:pt x="431" y="6"/>
                      </a:lnTo>
                      <a:lnTo>
                        <a:pt x="431" y="7"/>
                      </a:lnTo>
                      <a:lnTo>
                        <a:pt x="432" y="7"/>
                      </a:lnTo>
                      <a:lnTo>
                        <a:pt x="432" y="6"/>
                      </a:lnTo>
                      <a:lnTo>
                        <a:pt x="434" y="6"/>
                      </a:lnTo>
                      <a:lnTo>
                        <a:pt x="434" y="5"/>
                      </a:lnTo>
                      <a:lnTo>
                        <a:pt x="435" y="5"/>
                      </a:lnTo>
                      <a:lnTo>
                        <a:pt x="435" y="6"/>
                      </a:lnTo>
                      <a:lnTo>
                        <a:pt x="436" y="6"/>
                      </a:lnTo>
                      <a:lnTo>
                        <a:pt x="437" y="6"/>
                      </a:lnTo>
                      <a:lnTo>
                        <a:pt x="438" y="6"/>
                      </a:lnTo>
                      <a:lnTo>
                        <a:pt x="437" y="5"/>
                      </a:lnTo>
                      <a:lnTo>
                        <a:pt x="438" y="5"/>
                      </a:lnTo>
                      <a:lnTo>
                        <a:pt x="439" y="5"/>
                      </a:lnTo>
                      <a:lnTo>
                        <a:pt x="441" y="5"/>
                      </a:lnTo>
                      <a:lnTo>
                        <a:pt x="442" y="6"/>
                      </a:lnTo>
                      <a:lnTo>
                        <a:pt x="442" y="7"/>
                      </a:lnTo>
                      <a:lnTo>
                        <a:pt x="443" y="7"/>
                      </a:lnTo>
                      <a:lnTo>
                        <a:pt x="443" y="6"/>
                      </a:lnTo>
                      <a:lnTo>
                        <a:pt x="443" y="7"/>
                      </a:lnTo>
                      <a:lnTo>
                        <a:pt x="444" y="7"/>
                      </a:lnTo>
                      <a:lnTo>
                        <a:pt x="444" y="8"/>
                      </a:lnTo>
                      <a:lnTo>
                        <a:pt x="445" y="8"/>
                      </a:lnTo>
                      <a:lnTo>
                        <a:pt x="446" y="8"/>
                      </a:lnTo>
                      <a:lnTo>
                        <a:pt x="448" y="8"/>
                      </a:lnTo>
                      <a:lnTo>
                        <a:pt x="449" y="9"/>
                      </a:lnTo>
                      <a:lnTo>
                        <a:pt x="450" y="11"/>
                      </a:lnTo>
                      <a:lnTo>
                        <a:pt x="451" y="11"/>
                      </a:lnTo>
                      <a:lnTo>
                        <a:pt x="452" y="11"/>
                      </a:lnTo>
                      <a:lnTo>
                        <a:pt x="453" y="11"/>
                      </a:lnTo>
                      <a:lnTo>
                        <a:pt x="453" y="9"/>
                      </a:lnTo>
                      <a:lnTo>
                        <a:pt x="454" y="11"/>
                      </a:lnTo>
                      <a:lnTo>
                        <a:pt x="456" y="11"/>
                      </a:lnTo>
                      <a:lnTo>
                        <a:pt x="457" y="9"/>
                      </a:lnTo>
                      <a:lnTo>
                        <a:pt x="458" y="9"/>
                      </a:lnTo>
                      <a:lnTo>
                        <a:pt x="459" y="9"/>
                      </a:lnTo>
                      <a:lnTo>
                        <a:pt x="460" y="11"/>
                      </a:lnTo>
                      <a:lnTo>
                        <a:pt x="460" y="12"/>
                      </a:lnTo>
                      <a:lnTo>
                        <a:pt x="461" y="11"/>
                      </a:lnTo>
                      <a:lnTo>
                        <a:pt x="461" y="12"/>
                      </a:lnTo>
                      <a:lnTo>
                        <a:pt x="463" y="12"/>
                      </a:lnTo>
                      <a:lnTo>
                        <a:pt x="463" y="11"/>
                      </a:lnTo>
                      <a:lnTo>
                        <a:pt x="464" y="9"/>
                      </a:lnTo>
                      <a:lnTo>
                        <a:pt x="465" y="8"/>
                      </a:lnTo>
                      <a:lnTo>
                        <a:pt x="466" y="7"/>
                      </a:lnTo>
                      <a:lnTo>
                        <a:pt x="467" y="6"/>
                      </a:lnTo>
                      <a:lnTo>
                        <a:pt x="468" y="6"/>
                      </a:lnTo>
                      <a:lnTo>
                        <a:pt x="471" y="6"/>
                      </a:lnTo>
                      <a:lnTo>
                        <a:pt x="472" y="7"/>
                      </a:lnTo>
                      <a:lnTo>
                        <a:pt x="474" y="8"/>
                      </a:lnTo>
                      <a:lnTo>
                        <a:pt x="475" y="8"/>
                      </a:lnTo>
                      <a:lnTo>
                        <a:pt x="477" y="8"/>
                      </a:lnTo>
                      <a:lnTo>
                        <a:pt x="477" y="9"/>
                      </a:lnTo>
                      <a:lnTo>
                        <a:pt x="478" y="9"/>
                      </a:lnTo>
                      <a:lnTo>
                        <a:pt x="479" y="9"/>
                      </a:lnTo>
                      <a:lnTo>
                        <a:pt x="480" y="9"/>
                      </a:lnTo>
                      <a:lnTo>
                        <a:pt x="480" y="11"/>
                      </a:lnTo>
                      <a:lnTo>
                        <a:pt x="480" y="12"/>
                      </a:lnTo>
                      <a:lnTo>
                        <a:pt x="481" y="13"/>
                      </a:lnTo>
                      <a:lnTo>
                        <a:pt x="482" y="13"/>
                      </a:lnTo>
                      <a:lnTo>
                        <a:pt x="482" y="14"/>
                      </a:lnTo>
                      <a:lnTo>
                        <a:pt x="482" y="15"/>
                      </a:lnTo>
                      <a:lnTo>
                        <a:pt x="484" y="15"/>
                      </a:lnTo>
                      <a:lnTo>
                        <a:pt x="487" y="16"/>
                      </a:lnTo>
                      <a:lnTo>
                        <a:pt x="488" y="18"/>
                      </a:lnTo>
                      <a:lnTo>
                        <a:pt x="488" y="19"/>
                      </a:lnTo>
                      <a:lnTo>
                        <a:pt x="489" y="19"/>
                      </a:lnTo>
                      <a:lnTo>
                        <a:pt x="491" y="19"/>
                      </a:lnTo>
                      <a:lnTo>
                        <a:pt x="491" y="20"/>
                      </a:lnTo>
                      <a:lnTo>
                        <a:pt x="491" y="21"/>
                      </a:lnTo>
                      <a:lnTo>
                        <a:pt x="491" y="22"/>
                      </a:lnTo>
                      <a:lnTo>
                        <a:pt x="491" y="25"/>
                      </a:lnTo>
                      <a:lnTo>
                        <a:pt x="491" y="26"/>
                      </a:lnTo>
                      <a:lnTo>
                        <a:pt x="492" y="26"/>
                      </a:lnTo>
                      <a:lnTo>
                        <a:pt x="493" y="26"/>
                      </a:lnTo>
                      <a:lnTo>
                        <a:pt x="493" y="27"/>
                      </a:lnTo>
                      <a:lnTo>
                        <a:pt x="494" y="27"/>
                      </a:lnTo>
                      <a:lnTo>
                        <a:pt x="495" y="27"/>
                      </a:lnTo>
                      <a:lnTo>
                        <a:pt x="495" y="26"/>
                      </a:lnTo>
                      <a:lnTo>
                        <a:pt x="496" y="26"/>
                      </a:lnTo>
                      <a:lnTo>
                        <a:pt x="496" y="27"/>
                      </a:lnTo>
                      <a:lnTo>
                        <a:pt x="498" y="27"/>
                      </a:lnTo>
                      <a:lnTo>
                        <a:pt x="499" y="27"/>
                      </a:lnTo>
                      <a:lnTo>
                        <a:pt x="499" y="28"/>
                      </a:lnTo>
                      <a:lnTo>
                        <a:pt x="499" y="29"/>
                      </a:lnTo>
                      <a:lnTo>
                        <a:pt x="500" y="30"/>
                      </a:lnTo>
                      <a:lnTo>
                        <a:pt x="501" y="30"/>
                      </a:lnTo>
                      <a:lnTo>
                        <a:pt x="502" y="30"/>
                      </a:lnTo>
                      <a:lnTo>
                        <a:pt x="502" y="32"/>
                      </a:lnTo>
                      <a:lnTo>
                        <a:pt x="502" y="33"/>
                      </a:lnTo>
                      <a:lnTo>
                        <a:pt x="503" y="33"/>
                      </a:lnTo>
                      <a:lnTo>
                        <a:pt x="506" y="34"/>
                      </a:lnTo>
                      <a:lnTo>
                        <a:pt x="507" y="33"/>
                      </a:lnTo>
                      <a:lnTo>
                        <a:pt x="508" y="33"/>
                      </a:lnTo>
                      <a:lnTo>
                        <a:pt x="509" y="34"/>
                      </a:lnTo>
                      <a:lnTo>
                        <a:pt x="509" y="35"/>
                      </a:lnTo>
                      <a:lnTo>
                        <a:pt x="510" y="35"/>
                      </a:lnTo>
                      <a:lnTo>
                        <a:pt x="512" y="35"/>
                      </a:lnTo>
                      <a:lnTo>
                        <a:pt x="513" y="34"/>
                      </a:lnTo>
                      <a:lnTo>
                        <a:pt x="514" y="33"/>
                      </a:lnTo>
                      <a:lnTo>
                        <a:pt x="515" y="33"/>
                      </a:lnTo>
                      <a:lnTo>
                        <a:pt x="516" y="33"/>
                      </a:lnTo>
                      <a:lnTo>
                        <a:pt x="516" y="32"/>
                      </a:lnTo>
                      <a:lnTo>
                        <a:pt x="518" y="30"/>
                      </a:lnTo>
                      <a:lnTo>
                        <a:pt x="521" y="27"/>
                      </a:lnTo>
                      <a:lnTo>
                        <a:pt x="522" y="27"/>
                      </a:lnTo>
                      <a:lnTo>
                        <a:pt x="523" y="27"/>
                      </a:lnTo>
                      <a:lnTo>
                        <a:pt x="523" y="28"/>
                      </a:lnTo>
                      <a:lnTo>
                        <a:pt x="523" y="29"/>
                      </a:lnTo>
                      <a:lnTo>
                        <a:pt x="524" y="29"/>
                      </a:lnTo>
                      <a:lnTo>
                        <a:pt x="525" y="29"/>
                      </a:lnTo>
                      <a:lnTo>
                        <a:pt x="527" y="29"/>
                      </a:lnTo>
                      <a:lnTo>
                        <a:pt x="528" y="29"/>
                      </a:lnTo>
                      <a:lnTo>
                        <a:pt x="529" y="28"/>
                      </a:lnTo>
                      <a:lnTo>
                        <a:pt x="530" y="29"/>
                      </a:lnTo>
                      <a:lnTo>
                        <a:pt x="531" y="30"/>
                      </a:lnTo>
                      <a:lnTo>
                        <a:pt x="534" y="30"/>
                      </a:lnTo>
                      <a:lnTo>
                        <a:pt x="534" y="32"/>
                      </a:lnTo>
                      <a:lnTo>
                        <a:pt x="536" y="33"/>
                      </a:lnTo>
                      <a:lnTo>
                        <a:pt x="536" y="34"/>
                      </a:lnTo>
                      <a:lnTo>
                        <a:pt x="537" y="34"/>
                      </a:lnTo>
                      <a:lnTo>
                        <a:pt x="537" y="33"/>
                      </a:lnTo>
                      <a:lnTo>
                        <a:pt x="537" y="32"/>
                      </a:lnTo>
                      <a:lnTo>
                        <a:pt x="538" y="32"/>
                      </a:lnTo>
                      <a:lnTo>
                        <a:pt x="539" y="32"/>
                      </a:lnTo>
                      <a:lnTo>
                        <a:pt x="541" y="32"/>
                      </a:lnTo>
                      <a:lnTo>
                        <a:pt x="541" y="30"/>
                      </a:lnTo>
                      <a:lnTo>
                        <a:pt x="543" y="28"/>
                      </a:lnTo>
                      <a:lnTo>
                        <a:pt x="543" y="27"/>
                      </a:lnTo>
                      <a:lnTo>
                        <a:pt x="544" y="26"/>
                      </a:lnTo>
                      <a:lnTo>
                        <a:pt x="544" y="25"/>
                      </a:lnTo>
                      <a:lnTo>
                        <a:pt x="544" y="23"/>
                      </a:lnTo>
                      <a:lnTo>
                        <a:pt x="545" y="23"/>
                      </a:lnTo>
                      <a:lnTo>
                        <a:pt x="546" y="23"/>
                      </a:lnTo>
                      <a:lnTo>
                        <a:pt x="548" y="23"/>
                      </a:lnTo>
                      <a:lnTo>
                        <a:pt x="549" y="23"/>
                      </a:lnTo>
                      <a:lnTo>
                        <a:pt x="550" y="23"/>
                      </a:lnTo>
                      <a:lnTo>
                        <a:pt x="551" y="25"/>
                      </a:lnTo>
                      <a:lnTo>
                        <a:pt x="552" y="26"/>
                      </a:lnTo>
                      <a:lnTo>
                        <a:pt x="553" y="26"/>
                      </a:lnTo>
                      <a:lnTo>
                        <a:pt x="555" y="27"/>
                      </a:lnTo>
                      <a:lnTo>
                        <a:pt x="556" y="27"/>
                      </a:lnTo>
                      <a:lnTo>
                        <a:pt x="555" y="27"/>
                      </a:lnTo>
                      <a:lnTo>
                        <a:pt x="555" y="28"/>
                      </a:lnTo>
                      <a:lnTo>
                        <a:pt x="555" y="29"/>
                      </a:lnTo>
                      <a:lnTo>
                        <a:pt x="555" y="30"/>
                      </a:lnTo>
                      <a:lnTo>
                        <a:pt x="555" y="32"/>
                      </a:lnTo>
                      <a:lnTo>
                        <a:pt x="555" y="33"/>
                      </a:lnTo>
                      <a:lnTo>
                        <a:pt x="556" y="34"/>
                      </a:lnTo>
                      <a:lnTo>
                        <a:pt x="557" y="34"/>
                      </a:lnTo>
                      <a:lnTo>
                        <a:pt x="558" y="34"/>
                      </a:lnTo>
                      <a:lnTo>
                        <a:pt x="559" y="34"/>
                      </a:lnTo>
                      <a:lnTo>
                        <a:pt x="559" y="35"/>
                      </a:lnTo>
                      <a:lnTo>
                        <a:pt x="559" y="36"/>
                      </a:lnTo>
                      <a:lnTo>
                        <a:pt x="559" y="37"/>
                      </a:lnTo>
                      <a:lnTo>
                        <a:pt x="560" y="37"/>
                      </a:lnTo>
                      <a:lnTo>
                        <a:pt x="562" y="37"/>
                      </a:lnTo>
                      <a:lnTo>
                        <a:pt x="562" y="39"/>
                      </a:lnTo>
                      <a:lnTo>
                        <a:pt x="563" y="40"/>
                      </a:lnTo>
                      <a:lnTo>
                        <a:pt x="564" y="41"/>
                      </a:lnTo>
                      <a:lnTo>
                        <a:pt x="565" y="41"/>
                      </a:lnTo>
                      <a:lnTo>
                        <a:pt x="566" y="42"/>
                      </a:lnTo>
                      <a:lnTo>
                        <a:pt x="566" y="43"/>
                      </a:lnTo>
                      <a:lnTo>
                        <a:pt x="567" y="44"/>
                      </a:lnTo>
                      <a:lnTo>
                        <a:pt x="567" y="46"/>
                      </a:lnTo>
                      <a:lnTo>
                        <a:pt x="569" y="46"/>
                      </a:lnTo>
                      <a:lnTo>
                        <a:pt x="570" y="46"/>
                      </a:lnTo>
                      <a:lnTo>
                        <a:pt x="572" y="47"/>
                      </a:lnTo>
                      <a:lnTo>
                        <a:pt x="576" y="48"/>
                      </a:lnTo>
                      <a:lnTo>
                        <a:pt x="577" y="49"/>
                      </a:lnTo>
                      <a:lnTo>
                        <a:pt x="578" y="49"/>
                      </a:lnTo>
                      <a:lnTo>
                        <a:pt x="578" y="48"/>
                      </a:lnTo>
                      <a:lnTo>
                        <a:pt x="578" y="49"/>
                      </a:lnTo>
                      <a:lnTo>
                        <a:pt x="579" y="49"/>
                      </a:lnTo>
                      <a:lnTo>
                        <a:pt x="579" y="54"/>
                      </a:lnTo>
                      <a:lnTo>
                        <a:pt x="579" y="55"/>
                      </a:lnTo>
                      <a:lnTo>
                        <a:pt x="579" y="56"/>
                      </a:lnTo>
                      <a:lnTo>
                        <a:pt x="579" y="57"/>
                      </a:lnTo>
                      <a:lnTo>
                        <a:pt x="580" y="57"/>
                      </a:lnTo>
                      <a:lnTo>
                        <a:pt x="581" y="57"/>
                      </a:lnTo>
                      <a:lnTo>
                        <a:pt x="581" y="56"/>
                      </a:lnTo>
                      <a:lnTo>
                        <a:pt x="582" y="56"/>
                      </a:lnTo>
                      <a:lnTo>
                        <a:pt x="584" y="56"/>
                      </a:lnTo>
                      <a:lnTo>
                        <a:pt x="585" y="56"/>
                      </a:lnTo>
                      <a:lnTo>
                        <a:pt x="585" y="55"/>
                      </a:lnTo>
                      <a:lnTo>
                        <a:pt x="586" y="55"/>
                      </a:lnTo>
                      <a:lnTo>
                        <a:pt x="586" y="56"/>
                      </a:lnTo>
                      <a:lnTo>
                        <a:pt x="586" y="57"/>
                      </a:lnTo>
                      <a:lnTo>
                        <a:pt x="587" y="57"/>
                      </a:lnTo>
                      <a:lnTo>
                        <a:pt x="588" y="57"/>
                      </a:lnTo>
                      <a:lnTo>
                        <a:pt x="588" y="58"/>
                      </a:lnTo>
                      <a:lnTo>
                        <a:pt x="588" y="60"/>
                      </a:lnTo>
                      <a:lnTo>
                        <a:pt x="588" y="61"/>
                      </a:lnTo>
                      <a:lnTo>
                        <a:pt x="589" y="61"/>
                      </a:lnTo>
                      <a:lnTo>
                        <a:pt x="589" y="60"/>
                      </a:lnTo>
                      <a:lnTo>
                        <a:pt x="591" y="61"/>
                      </a:lnTo>
                      <a:lnTo>
                        <a:pt x="591" y="62"/>
                      </a:lnTo>
                      <a:lnTo>
                        <a:pt x="591" y="63"/>
                      </a:lnTo>
                      <a:lnTo>
                        <a:pt x="591" y="64"/>
                      </a:lnTo>
                      <a:lnTo>
                        <a:pt x="589" y="65"/>
                      </a:lnTo>
                      <a:lnTo>
                        <a:pt x="588" y="67"/>
                      </a:lnTo>
                      <a:lnTo>
                        <a:pt x="587" y="67"/>
                      </a:lnTo>
                      <a:lnTo>
                        <a:pt x="587" y="68"/>
                      </a:lnTo>
                      <a:lnTo>
                        <a:pt x="586" y="72"/>
                      </a:lnTo>
                      <a:lnTo>
                        <a:pt x="585" y="74"/>
                      </a:lnTo>
                      <a:lnTo>
                        <a:pt x="585" y="75"/>
                      </a:lnTo>
                      <a:lnTo>
                        <a:pt x="586" y="76"/>
                      </a:lnTo>
                      <a:lnTo>
                        <a:pt x="587" y="76"/>
                      </a:lnTo>
                      <a:lnTo>
                        <a:pt x="587" y="77"/>
                      </a:lnTo>
                      <a:lnTo>
                        <a:pt x="588" y="78"/>
                      </a:lnTo>
                      <a:lnTo>
                        <a:pt x="588" y="79"/>
                      </a:lnTo>
                      <a:lnTo>
                        <a:pt x="588" y="81"/>
                      </a:lnTo>
                      <a:lnTo>
                        <a:pt x="588" y="83"/>
                      </a:lnTo>
                      <a:lnTo>
                        <a:pt x="587" y="83"/>
                      </a:lnTo>
                      <a:lnTo>
                        <a:pt x="587" y="84"/>
                      </a:lnTo>
                      <a:lnTo>
                        <a:pt x="586" y="86"/>
                      </a:lnTo>
                      <a:lnTo>
                        <a:pt x="586" y="88"/>
                      </a:lnTo>
                      <a:lnTo>
                        <a:pt x="585" y="89"/>
                      </a:lnTo>
                      <a:lnTo>
                        <a:pt x="585" y="90"/>
                      </a:lnTo>
                      <a:lnTo>
                        <a:pt x="585" y="91"/>
                      </a:lnTo>
                      <a:lnTo>
                        <a:pt x="585" y="92"/>
                      </a:lnTo>
                      <a:lnTo>
                        <a:pt x="584" y="93"/>
                      </a:lnTo>
                      <a:lnTo>
                        <a:pt x="585" y="93"/>
                      </a:lnTo>
                      <a:lnTo>
                        <a:pt x="587" y="93"/>
                      </a:lnTo>
                      <a:lnTo>
                        <a:pt x="587" y="95"/>
                      </a:lnTo>
                      <a:lnTo>
                        <a:pt x="587" y="96"/>
                      </a:lnTo>
                      <a:lnTo>
                        <a:pt x="588" y="97"/>
                      </a:lnTo>
                      <a:lnTo>
                        <a:pt x="589" y="97"/>
                      </a:lnTo>
                      <a:lnTo>
                        <a:pt x="591" y="97"/>
                      </a:lnTo>
                      <a:lnTo>
                        <a:pt x="591" y="96"/>
                      </a:lnTo>
                      <a:lnTo>
                        <a:pt x="591" y="95"/>
                      </a:lnTo>
                      <a:lnTo>
                        <a:pt x="592" y="95"/>
                      </a:lnTo>
                      <a:lnTo>
                        <a:pt x="593" y="96"/>
                      </a:lnTo>
                      <a:lnTo>
                        <a:pt x="594" y="97"/>
                      </a:lnTo>
                      <a:lnTo>
                        <a:pt x="594" y="98"/>
                      </a:lnTo>
                      <a:lnTo>
                        <a:pt x="595" y="98"/>
                      </a:lnTo>
                      <a:lnTo>
                        <a:pt x="596" y="99"/>
                      </a:lnTo>
                      <a:lnTo>
                        <a:pt x="598" y="99"/>
                      </a:lnTo>
                      <a:lnTo>
                        <a:pt x="599" y="98"/>
                      </a:lnTo>
                      <a:lnTo>
                        <a:pt x="599" y="99"/>
                      </a:lnTo>
                      <a:lnTo>
                        <a:pt x="599" y="100"/>
                      </a:lnTo>
                      <a:lnTo>
                        <a:pt x="600" y="102"/>
                      </a:lnTo>
                      <a:lnTo>
                        <a:pt x="602" y="103"/>
                      </a:lnTo>
                      <a:lnTo>
                        <a:pt x="601" y="103"/>
                      </a:lnTo>
                      <a:lnTo>
                        <a:pt x="601" y="104"/>
                      </a:lnTo>
                      <a:lnTo>
                        <a:pt x="600" y="104"/>
                      </a:lnTo>
                      <a:lnTo>
                        <a:pt x="599" y="105"/>
                      </a:lnTo>
                      <a:lnTo>
                        <a:pt x="599" y="106"/>
                      </a:lnTo>
                      <a:lnTo>
                        <a:pt x="598" y="106"/>
                      </a:lnTo>
                      <a:lnTo>
                        <a:pt x="596" y="106"/>
                      </a:lnTo>
                      <a:lnTo>
                        <a:pt x="595" y="107"/>
                      </a:lnTo>
                      <a:lnTo>
                        <a:pt x="594" y="109"/>
                      </a:lnTo>
                      <a:lnTo>
                        <a:pt x="594" y="110"/>
                      </a:lnTo>
                      <a:lnTo>
                        <a:pt x="593" y="110"/>
                      </a:lnTo>
                      <a:lnTo>
                        <a:pt x="592" y="110"/>
                      </a:lnTo>
                      <a:lnTo>
                        <a:pt x="591" y="111"/>
                      </a:lnTo>
                      <a:lnTo>
                        <a:pt x="587" y="114"/>
                      </a:lnTo>
                      <a:lnTo>
                        <a:pt x="586" y="116"/>
                      </a:lnTo>
                      <a:lnTo>
                        <a:pt x="585" y="116"/>
                      </a:lnTo>
                      <a:lnTo>
                        <a:pt x="585" y="117"/>
                      </a:lnTo>
                      <a:lnTo>
                        <a:pt x="582" y="118"/>
                      </a:lnTo>
                      <a:lnTo>
                        <a:pt x="581" y="119"/>
                      </a:lnTo>
                      <a:lnTo>
                        <a:pt x="581" y="120"/>
                      </a:lnTo>
                      <a:lnTo>
                        <a:pt x="580" y="120"/>
                      </a:lnTo>
                      <a:lnTo>
                        <a:pt x="579" y="121"/>
                      </a:lnTo>
                      <a:lnTo>
                        <a:pt x="578" y="123"/>
                      </a:lnTo>
                      <a:lnTo>
                        <a:pt x="577" y="124"/>
                      </a:lnTo>
                      <a:lnTo>
                        <a:pt x="577" y="125"/>
                      </a:lnTo>
                      <a:lnTo>
                        <a:pt x="577" y="126"/>
                      </a:lnTo>
                      <a:lnTo>
                        <a:pt x="576" y="126"/>
                      </a:lnTo>
                      <a:lnTo>
                        <a:pt x="574" y="128"/>
                      </a:lnTo>
                      <a:lnTo>
                        <a:pt x="573" y="130"/>
                      </a:lnTo>
                      <a:lnTo>
                        <a:pt x="574" y="130"/>
                      </a:lnTo>
                      <a:lnTo>
                        <a:pt x="574" y="131"/>
                      </a:lnTo>
                      <a:lnTo>
                        <a:pt x="576" y="132"/>
                      </a:lnTo>
                      <a:lnTo>
                        <a:pt x="576" y="131"/>
                      </a:lnTo>
                      <a:lnTo>
                        <a:pt x="577" y="131"/>
                      </a:lnTo>
                      <a:lnTo>
                        <a:pt x="577" y="132"/>
                      </a:lnTo>
                      <a:lnTo>
                        <a:pt x="576" y="132"/>
                      </a:lnTo>
                      <a:lnTo>
                        <a:pt x="576" y="133"/>
                      </a:lnTo>
                      <a:lnTo>
                        <a:pt x="574" y="133"/>
                      </a:lnTo>
                      <a:lnTo>
                        <a:pt x="573" y="133"/>
                      </a:lnTo>
                      <a:lnTo>
                        <a:pt x="572" y="133"/>
                      </a:lnTo>
                      <a:lnTo>
                        <a:pt x="572" y="134"/>
                      </a:lnTo>
                      <a:lnTo>
                        <a:pt x="571" y="134"/>
                      </a:lnTo>
                      <a:lnTo>
                        <a:pt x="570" y="134"/>
                      </a:lnTo>
                      <a:lnTo>
                        <a:pt x="569" y="135"/>
                      </a:lnTo>
                      <a:lnTo>
                        <a:pt x="569" y="137"/>
                      </a:lnTo>
                      <a:lnTo>
                        <a:pt x="569" y="138"/>
                      </a:lnTo>
                      <a:lnTo>
                        <a:pt x="569" y="139"/>
                      </a:lnTo>
                      <a:lnTo>
                        <a:pt x="567" y="140"/>
                      </a:lnTo>
                      <a:lnTo>
                        <a:pt x="566" y="141"/>
                      </a:lnTo>
                      <a:lnTo>
                        <a:pt x="566" y="142"/>
                      </a:lnTo>
                      <a:lnTo>
                        <a:pt x="563" y="142"/>
                      </a:lnTo>
                      <a:lnTo>
                        <a:pt x="562" y="144"/>
                      </a:lnTo>
                      <a:lnTo>
                        <a:pt x="560" y="144"/>
                      </a:lnTo>
                      <a:lnTo>
                        <a:pt x="560" y="145"/>
                      </a:lnTo>
                      <a:lnTo>
                        <a:pt x="559" y="145"/>
                      </a:lnTo>
                      <a:lnTo>
                        <a:pt x="559" y="146"/>
                      </a:lnTo>
                      <a:lnTo>
                        <a:pt x="559" y="148"/>
                      </a:lnTo>
                      <a:lnTo>
                        <a:pt x="559" y="151"/>
                      </a:lnTo>
                      <a:lnTo>
                        <a:pt x="559" y="152"/>
                      </a:lnTo>
                      <a:lnTo>
                        <a:pt x="559" y="154"/>
                      </a:lnTo>
                      <a:lnTo>
                        <a:pt x="559" y="155"/>
                      </a:lnTo>
                      <a:lnTo>
                        <a:pt x="559" y="156"/>
                      </a:lnTo>
                      <a:lnTo>
                        <a:pt x="558" y="156"/>
                      </a:lnTo>
                      <a:lnTo>
                        <a:pt x="557" y="159"/>
                      </a:lnTo>
                      <a:lnTo>
                        <a:pt x="557" y="160"/>
                      </a:lnTo>
                      <a:lnTo>
                        <a:pt x="556" y="160"/>
                      </a:lnTo>
                      <a:lnTo>
                        <a:pt x="555" y="166"/>
                      </a:lnTo>
                      <a:lnTo>
                        <a:pt x="553" y="166"/>
                      </a:lnTo>
                      <a:lnTo>
                        <a:pt x="552" y="168"/>
                      </a:lnTo>
                      <a:lnTo>
                        <a:pt x="552" y="169"/>
                      </a:lnTo>
                      <a:lnTo>
                        <a:pt x="552" y="170"/>
                      </a:lnTo>
                      <a:lnTo>
                        <a:pt x="552" y="172"/>
                      </a:lnTo>
                      <a:lnTo>
                        <a:pt x="552" y="173"/>
                      </a:lnTo>
                      <a:lnTo>
                        <a:pt x="551" y="174"/>
                      </a:lnTo>
                      <a:lnTo>
                        <a:pt x="550" y="174"/>
                      </a:lnTo>
                      <a:lnTo>
                        <a:pt x="550" y="175"/>
                      </a:lnTo>
                      <a:lnTo>
                        <a:pt x="546" y="175"/>
                      </a:lnTo>
                      <a:lnTo>
                        <a:pt x="545" y="176"/>
                      </a:lnTo>
                      <a:lnTo>
                        <a:pt x="544" y="177"/>
                      </a:lnTo>
                      <a:lnTo>
                        <a:pt x="544" y="179"/>
                      </a:lnTo>
                      <a:lnTo>
                        <a:pt x="544" y="181"/>
                      </a:lnTo>
                      <a:lnTo>
                        <a:pt x="543" y="181"/>
                      </a:lnTo>
                      <a:lnTo>
                        <a:pt x="542" y="182"/>
                      </a:lnTo>
                      <a:lnTo>
                        <a:pt x="542" y="183"/>
                      </a:lnTo>
                      <a:lnTo>
                        <a:pt x="542" y="184"/>
                      </a:lnTo>
                      <a:lnTo>
                        <a:pt x="541" y="186"/>
                      </a:lnTo>
                      <a:lnTo>
                        <a:pt x="539" y="186"/>
                      </a:lnTo>
                      <a:lnTo>
                        <a:pt x="539" y="187"/>
                      </a:lnTo>
                      <a:lnTo>
                        <a:pt x="541" y="187"/>
                      </a:lnTo>
                      <a:lnTo>
                        <a:pt x="541" y="188"/>
                      </a:lnTo>
                      <a:lnTo>
                        <a:pt x="539" y="188"/>
                      </a:lnTo>
                      <a:lnTo>
                        <a:pt x="539" y="189"/>
                      </a:lnTo>
                      <a:lnTo>
                        <a:pt x="541" y="189"/>
                      </a:lnTo>
                      <a:lnTo>
                        <a:pt x="542" y="189"/>
                      </a:lnTo>
                      <a:lnTo>
                        <a:pt x="542" y="190"/>
                      </a:lnTo>
                      <a:lnTo>
                        <a:pt x="542" y="191"/>
                      </a:lnTo>
                      <a:lnTo>
                        <a:pt x="542" y="193"/>
                      </a:lnTo>
                      <a:lnTo>
                        <a:pt x="542" y="191"/>
                      </a:lnTo>
                      <a:lnTo>
                        <a:pt x="542" y="193"/>
                      </a:lnTo>
                      <a:lnTo>
                        <a:pt x="543" y="191"/>
                      </a:lnTo>
                      <a:lnTo>
                        <a:pt x="543" y="190"/>
                      </a:lnTo>
                      <a:lnTo>
                        <a:pt x="544" y="190"/>
                      </a:lnTo>
                      <a:lnTo>
                        <a:pt x="545" y="191"/>
                      </a:lnTo>
                      <a:lnTo>
                        <a:pt x="548" y="189"/>
                      </a:lnTo>
                      <a:lnTo>
                        <a:pt x="549" y="189"/>
                      </a:lnTo>
                      <a:lnTo>
                        <a:pt x="549" y="188"/>
                      </a:lnTo>
                      <a:lnTo>
                        <a:pt x="550" y="186"/>
                      </a:lnTo>
                      <a:lnTo>
                        <a:pt x="550" y="187"/>
                      </a:lnTo>
                      <a:lnTo>
                        <a:pt x="550" y="188"/>
                      </a:lnTo>
                      <a:lnTo>
                        <a:pt x="550" y="189"/>
                      </a:lnTo>
                      <a:lnTo>
                        <a:pt x="549" y="189"/>
                      </a:lnTo>
                      <a:lnTo>
                        <a:pt x="549" y="190"/>
                      </a:lnTo>
                      <a:lnTo>
                        <a:pt x="550" y="190"/>
                      </a:lnTo>
                      <a:lnTo>
                        <a:pt x="549" y="190"/>
                      </a:lnTo>
                      <a:lnTo>
                        <a:pt x="549" y="191"/>
                      </a:lnTo>
                      <a:lnTo>
                        <a:pt x="549" y="194"/>
                      </a:lnTo>
                      <a:lnTo>
                        <a:pt x="549" y="195"/>
                      </a:lnTo>
                      <a:lnTo>
                        <a:pt x="549" y="196"/>
                      </a:lnTo>
                      <a:lnTo>
                        <a:pt x="549" y="198"/>
                      </a:lnTo>
                      <a:lnTo>
                        <a:pt x="548" y="200"/>
                      </a:lnTo>
                      <a:lnTo>
                        <a:pt x="548" y="201"/>
                      </a:lnTo>
                      <a:lnTo>
                        <a:pt x="548" y="202"/>
                      </a:lnTo>
                      <a:lnTo>
                        <a:pt x="548" y="203"/>
                      </a:lnTo>
                      <a:lnTo>
                        <a:pt x="548" y="204"/>
                      </a:lnTo>
                      <a:lnTo>
                        <a:pt x="548" y="205"/>
                      </a:lnTo>
                      <a:lnTo>
                        <a:pt x="548" y="207"/>
                      </a:lnTo>
                      <a:lnTo>
                        <a:pt x="548" y="208"/>
                      </a:lnTo>
                      <a:lnTo>
                        <a:pt x="548" y="209"/>
                      </a:lnTo>
                      <a:lnTo>
                        <a:pt x="548" y="210"/>
                      </a:lnTo>
                      <a:lnTo>
                        <a:pt x="548" y="211"/>
                      </a:lnTo>
                      <a:lnTo>
                        <a:pt x="549" y="212"/>
                      </a:lnTo>
                      <a:lnTo>
                        <a:pt x="548" y="215"/>
                      </a:lnTo>
                      <a:lnTo>
                        <a:pt x="546" y="215"/>
                      </a:lnTo>
                      <a:lnTo>
                        <a:pt x="545" y="216"/>
                      </a:lnTo>
                      <a:lnTo>
                        <a:pt x="544" y="217"/>
                      </a:lnTo>
                      <a:lnTo>
                        <a:pt x="544" y="218"/>
                      </a:lnTo>
                      <a:lnTo>
                        <a:pt x="543" y="218"/>
                      </a:lnTo>
                      <a:lnTo>
                        <a:pt x="541" y="218"/>
                      </a:lnTo>
                      <a:lnTo>
                        <a:pt x="541" y="219"/>
                      </a:lnTo>
                      <a:lnTo>
                        <a:pt x="539" y="221"/>
                      </a:lnTo>
                      <a:lnTo>
                        <a:pt x="537" y="223"/>
                      </a:lnTo>
                      <a:lnTo>
                        <a:pt x="537" y="224"/>
                      </a:lnTo>
                      <a:lnTo>
                        <a:pt x="536" y="223"/>
                      </a:lnTo>
                      <a:lnTo>
                        <a:pt x="535" y="223"/>
                      </a:lnTo>
                      <a:lnTo>
                        <a:pt x="535" y="222"/>
                      </a:lnTo>
                      <a:lnTo>
                        <a:pt x="534" y="222"/>
                      </a:lnTo>
                      <a:lnTo>
                        <a:pt x="532" y="222"/>
                      </a:lnTo>
                      <a:lnTo>
                        <a:pt x="532" y="221"/>
                      </a:lnTo>
                      <a:lnTo>
                        <a:pt x="531" y="221"/>
                      </a:lnTo>
                      <a:lnTo>
                        <a:pt x="530" y="222"/>
                      </a:lnTo>
                      <a:lnTo>
                        <a:pt x="530" y="223"/>
                      </a:lnTo>
                      <a:lnTo>
                        <a:pt x="530" y="224"/>
                      </a:lnTo>
                      <a:lnTo>
                        <a:pt x="532" y="222"/>
                      </a:lnTo>
                      <a:lnTo>
                        <a:pt x="532" y="223"/>
                      </a:lnTo>
                      <a:lnTo>
                        <a:pt x="531" y="225"/>
                      </a:lnTo>
                      <a:lnTo>
                        <a:pt x="530" y="226"/>
                      </a:lnTo>
                      <a:lnTo>
                        <a:pt x="530" y="225"/>
                      </a:lnTo>
                      <a:lnTo>
                        <a:pt x="530" y="228"/>
                      </a:lnTo>
                      <a:lnTo>
                        <a:pt x="530" y="226"/>
                      </a:lnTo>
                      <a:lnTo>
                        <a:pt x="530" y="228"/>
                      </a:lnTo>
                      <a:lnTo>
                        <a:pt x="529" y="229"/>
                      </a:lnTo>
                      <a:lnTo>
                        <a:pt x="528" y="232"/>
                      </a:lnTo>
                      <a:lnTo>
                        <a:pt x="527" y="232"/>
                      </a:lnTo>
                      <a:lnTo>
                        <a:pt x="527" y="233"/>
                      </a:lnTo>
                      <a:lnTo>
                        <a:pt x="525" y="235"/>
                      </a:lnTo>
                      <a:lnTo>
                        <a:pt x="527" y="235"/>
                      </a:lnTo>
                      <a:lnTo>
                        <a:pt x="527" y="236"/>
                      </a:lnTo>
                      <a:lnTo>
                        <a:pt x="527" y="235"/>
                      </a:lnTo>
                      <a:lnTo>
                        <a:pt x="527" y="233"/>
                      </a:lnTo>
                      <a:lnTo>
                        <a:pt x="528" y="233"/>
                      </a:lnTo>
                      <a:lnTo>
                        <a:pt x="528" y="235"/>
                      </a:lnTo>
                      <a:lnTo>
                        <a:pt x="529" y="236"/>
                      </a:lnTo>
                      <a:lnTo>
                        <a:pt x="528" y="237"/>
                      </a:lnTo>
                      <a:lnTo>
                        <a:pt x="525" y="237"/>
                      </a:lnTo>
                      <a:lnTo>
                        <a:pt x="525" y="238"/>
                      </a:lnTo>
                      <a:lnTo>
                        <a:pt x="527" y="238"/>
                      </a:lnTo>
                      <a:lnTo>
                        <a:pt x="527" y="239"/>
                      </a:lnTo>
                      <a:lnTo>
                        <a:pt x="525" y="239"/>
                      </a:lnTo>
                      <a:lnTo>
                        <a:pt x="525" y="240"/>
                      </a:lnTo>
                      <a:lnTo>
                        <a:pt x="525" y="242"/>
                      </a:lnTo>
                      <a:lnTo>
                        <a:pt x="527" y="242"/>
                      </a:lnTo>
                      <a:lnTo>
                        <a:pt x="527" y="240"/>
                      </a:lnTo>
                      <a:lnTo>
                        <a:pt x="528" y="242"/>
                      </a:lnTo>
                      <a:lnTo>
                        <a:pt x="527" y="243"/>
                      </a:lnTo>
                      <a:lnTo>
                        <a:pt x="525" y="244"/>
                      </a:lnTo>
                      <a:lnTo>
                        <a:pt x="527" y="244"/>
                      </a:lnTo>
                      <a:lnTo>
                        <a:pt x="528" y="243"/>
                      </a:lnTo>
                      <a:lnTo>
                        <a:pt x="529" y="242"/>
                      </a:lnTo>
                      <a:lnTo>
                        <a:pt x="529" y="243"/>
                      </a:lnTo>
                      <a:lnTo>
                        <a:pt x="528" y="244"/>
                      </a:lnTo>
                      <a:lnTo>
                        <a:pt x="525" y="245"/>
                      </a:lnTo>
                      <a:lnTo>
                        <a:pt x="524" y="245"/>
                      </a:lnTo>
                      <a:lnTo>
                        <a:pt x="524" y="246"/>
                      </a:lnTo>
                      <a:lnTo>
                        <a:pt x="524" y="247"/>
                      </a:lnTo>
                      <a:lnTo>
                        <a:pt x="524" y="249"/>
                      </a:lnTo>
                      <a:lnTo>
                        <a:pt x="525" y="249"/>
                      </a:lnTo>
                      <a:lnTo>
                        <a:pt x="525" y="250"/>
                      </a:lnTo>
                      <a:lnTo>
                        <a:pt x="525" y="251"/>
                      </a:lnTo>
                      <a:lnTo>
                        <a:pt x="527" y="251"/>
                      </a:lnTo>
                      <a:lnTo>
                        <a:pt x="527" y="252"/>
                      </a:lnTo>
                      <a:lnTo>
                        <a:pt x="527" y="254"/>
                      </a:lnTo>
                      <a:lnTo>
                        <a:pt x="528" y="256"/>
                      </a:lnTo>
                      <a:lnTo>
                        <a:pt x="529" y="256"/>
                      </a:lnTo>
                      <a:lnTo>
                        <a:pt x="530" y="256"/>
                      </a:lnTo>
                      <a:lnTo>
                        <a:pt x="530" y="257"/>
                      </a:lnTo>
                      <a:lnTo>
                        <a:pt x="529" y="258"/>
                      </a:lnTo>
                      <a:lnTo>
                        <a:pt x="529" y="259"/>
                      </a:lnTo>
                      <a:lnTo>
                        <a:pt x="530" y="259"/>
                      </a:lnTo>
                      <a:lnTo>
                        <a:pt x="531" y="260"/>
                      </a:lnTo>
                      <a:lnTo>
                        <a:pt x="531" y="261"/>
                      </a:lnTo>
                      <a:lnTo>
                        <a:pt x="532" y="261"/>
                      </a:lnTo>
                      <a:lnTo>
                        <a:pt x="532" y="263"/>
                      </a:lnTo>
                      <a:lnTo>
                        <a:pt x="534" y="264"/>
                      </a:lnTo>
                      <a:lnTo>
                        <a:pt x="535" y="265"/>
                      </a:lnTo>
                      <a:lnTo>
                        <a:pt x="535" y="266"/>
                      </a:lnTo>
                      <a:lnTo>
                        <a:pt x="536" y="266"/>
                      </a:lnTo>
                      <a:lnTo>
                        <a:pt x="537" y="266"/>
                      </a:lnTo>
                      <a:lnTo>
                        <a:pt x="537" y="268"/>
                      </a:lnTo>
                      <a:lnTo>
                        <a:pt x="537" y="270"/>
                      </a:lnTo>
                      <a:lnTo>
                        <a:pt x="536" y="270"/>
                      </a:lnTo>
                      <a:lnTo>
                        <a:pt x="536" y="271"/>
                      </a:lnTo>
                      <a:lnTo>
                        <a:pt x="536" y="273"/>
                      </a:lnTo>
                      <a:lnTo>
                        <a:pt x="537" y="273"/>
                      </a:lnTo>
                      <a:lnTo>
                        <a:pt x="537" y="274"/>
                      </a:lnTo>
                      <a:lnTo>
                        <a:pt x="536" y="274"/>
                      </a:lnTo>
                      <a:lnTo>
                        <a:pt x="536" y="275"/>
                      </a:lnTo>
                      <a:lnTo>
                        <a:pt x="535" y="277"/>
                      </a:lnTo>
                      <a:lnTo>
                        <a:pt x="534" y="278"/>
                      </a:lnTo>
                      <a:lnTo>
                        <a:pt x="534" y="279"/>
                      </a:lnTo>
                      <a:lnTo>
                        <a:pt x="535" y="287"/>
                      </a:lnTo>
                      <a:lnTo>
                        <a:pt x="534" y="287"/>
                      </a:lnTo>
                      <a:lnTo>
                        <a:pt x="534" y="288"/>
                      </a:lnTo>
                      <a:lnTo>
                        <a:pt x="532" y="289"/>
                      </a:lnTo>
                      <a:lnTo>
                        <a:pt x="532" y="291"/>
                      </a:lnTo>
                      <a:lnTo>
                        <a:pt x="534" y="291"/>
                      </a:lnTo>
                      <a:lnTo>
                        <a:pt x="534" y="292"/>
                      </a:lnTo>
                      <a:lnTo>
                        <a:pt x="532" y="293"/>
                      </a:lnTo>
                      <a:lnTo>
                        <a:pt x="532" y="294"/>
                      </a:lnTo>
                      <a:lnTo>
                        <a:pt x="532" y="295"/>
                      </a:lnTo>
                      <a:lnTo>
                        <a:pt x="532" y="296"/>
                      </a:lnTo>
                      <a:lnTo>
                        <a:pt x="532" y="298"/>
                      </a:lnTo>
                      <a:lnTo>
                        <a:pt x="532" y="300"/>
                      </a:lnTo>
                      <a:lnTo>
                        <a:pt x="532" y="301"/>
                      </a:lnTo>
                      <a:lnTo>
                        <a:pt x="532" y="302"/>
                      </a:lnTo>
                      <a:lnTo>
                        <a:pt x="532" y="303"/>
                      </a:lnTo>
                      <a:lnTo>
                        <a:pt x="532" y="305"/>
                      </a:lnTo>
                      <a:lnTo>
                        <a:pt x="531" y="305"/>
                      </a:lnTo>
                      <a:lnTo>
                        <a:pt x="531" y="306"/>
                      </a:lnTo>
                      <a:lnTo>
                        <a:pt x="531" y="307"/>
                      </a:lnTo>
                      <a:lnTo>
                        <a:pt x="532" y="307"/>
                      </a:lnTo>
                      <a:lnTo>
                        <a:pt x="534" y="308"/>
                      </a:lnTo>
                      <a:lnTo>
                        <a:pt x="535" y="307"/>
                      </a:lnTo>
                      <a:lnTo>
                        <a:pt x="535" y="306"/>
                      </a:lnTo>
                      <a:lnTo>
                        <a:pt x="535" y="305"/>
                      </a:lnTo>
                      <a:lnTo>
                        <a:pt x="535" y="303"/>
                      </a:lnTo>
                      <a:lnTo>
                        <a:pt x="536" y="302"/>
                      </a:lnTo>
                      <a:lnTo>
                        <a:pt x="536" y="301"/>
                      </a:lnTo>
                      <a:lnTo>
                        <a:pt x="537" y="299"/>
                      </a:lnTo>
                      <a:lnTo>
                        <a:pt x="537" y="300"/>
                      </a:lnTo>
                      <a:lnTo>
                        <a:pt x="536" y="308"/>
                      </a:lnTo>
                      <a:lnTo>
                        <a:pt x="536" y="309"/>
                      </a:lnTo>
                      <a:lnTo>
                        <a:pt x="536" y="310"/>
                      </a:lnTo>
                      <a:lnTo>
                        <a:pt x="536" y="313"/>
                      </a:lnTo>
                      <a:lnTo>
                        <a:pt x="535" y="313"/>
                      </a:lnTo>
                      <a:lnTo>
                        <a:pt x="534" y="313"/>
                      </a:lnTo>
                      <a:lnTo>
                        <a:pt x="534" y="314"/>
                      </a:lnTo>
                      <a:lnTo>
                        <a:pt x="534" y="315"/>
                      </a:lnTo>
                      <a:lnTo>
                        <a:pt x="532" y="316"/>
                      </a:lnTo>
                      <a:lnTo>
                        <a:pt x="532" y="321"/>
                      </a:lnTo>
                      <a:lnTo>
                        <a:pt x="532" y="328"/>
                      </a:lnTo>
                      <a:lnTo>
                        <a:pt x="534" y="329"/>
                      </a:lnTo>
                      <a:lnTo>
                        <a:pt x="532" y="329"/>
                      </a:lnTo>
                      <a:lnTo>
                        <a:pt x="532" y="330"/>
                      </a:lnTo>
                      <a:lnTo>
                        <a:pt x="532" y="331"/>
                      </a:lnTo>
                      <a:lnTo>
                        <a:pt x="534" y="333"/>
                      </a:lnTo>
                      <a:lnTo>
                        <a:pt x="534" y="335"/>
                      </a:lnTo>
                      <a:lnTo>
                        <a:pt x="535" y="337"/>
                      </a:lnTo>
                      <a:lnTo>
                        <a:pt x="537" y="341"/>
                      </a:lnTo>
                      <a:lnTo>
                        <a:pt x="541" y="348"/>
                      </a:lnTo>
                      <a:lnTo>
                        <a:pt x="541" y="349"/>
                      </a:lnTo>
                      <a:lnTo>
                        <a:pt x="541" y="348"/>
                      </a:lnTo>
                      <a:lnTo>
                        <a:pt x="539" y="348"/>
                      </a:lnTo>
                      <a:lnTo>
                        <a:pt x="539" y="349"/>
                      </a:lnTo>
                      <a:lnTo>
                        <a:pt x="541" y="349"/>
                      </a:lnTo>
                      <a:lnTo>
                        <a:pt x="539" y="350"/>
                      </a:lnTo>
                      <a:lnTo>
                        <a:pt x="541" y="350"/>
                      </a:lnTo>
                      <a:lnTo>
                        <a:pt x="541" y="351"/>
                      </a:lnTo>
                      <a:lnTo>
                        <a:pt x="539" y="352"/>
                      </a:lnTo>
                      <a:lnTo>
                        <a:pt x="541" y="352"/>
                      </a:lnTo>
                      <a:lnTo>
                        <a:pt x="539" y="354"/>
                      </a:lnTo>
                      <a:lnTo>
                        <a:pt x="539" y="355"/>
                      </a:lnTo>
                      <a:lnTo>
                        <a:pt x="537" y="356"/>
                      </a:lnTo>
                      <a:lnTo>
                        <a:pt x="535" y="357"/>
                      </a:lnTo>
                      <a:lnTo>
                        <a:pt x="535" y="358"/>
                      </a:lnTo>
                      <a:lnTo>
                        <a:pt x="535" y="359"/>
                      </a:lnTo>
                      <a:lnTo>
                        <a:pt x="536" y="362"/>
                      </a:lnTo>
                      <a:lnTo>
                        <a:pt x="536" y="363"/>
                      </a:lnTo>
                      <a:lnTo>
                        <a:pt x="537" y="364"/>
                      </a:lnTo>
                      <a:lnTo>
                        <a:pt x="538" y="364"/>
                      </a:lnTo>
                      <a:lnTo>
                        <a:pt x="538" y="365"/>
                      </a:lnTo>
                      <a:lnTo>
                        <a:pt x="539" y="365"/>
                      </a:lnTo>
                      <a:lnTo>
                        <a:pt x="539" y="366"/>
                      </a:lnTo>
                      <a:lnTo>
                        <a:pt x="539" y="368"/>
                      </a:lnTo>
                      <a:lnTo>
                        <a:pt x="541" y="369"/>
                      </a:lnTo>
                      <a:lnTo>
                        <a:pt x="541" y="370"/>
                      </a:lnTo>
                      <a:lnTo>
                        <a:pt x="542" y="372"/>
                      </a:lnTo>
                      <a:lnTo>
                        <a:pt x="543" y="375"/>
                      </a:lnTo>
                      <a:lnTo>
                        <a:pt x="543" y="376"/>
                      </a:lnTo>
                      <a:lnTo>
                        <a:pt x="545" y="376"/>
                      </a:lnTo>
                      <a:lnTo>
                        <a:pt x="544" y="377"/>
                      </a:lnTo>
                      <a:lnTo>
                        <a:pt x="545" y="378"/>
                      </a:lnTo>
                      <a:lnTo>
                        <a:pt x="544" y="379"/>
                      </a:lnTo>
                      <a:lnTo>
                        <a:pt x="545" y="380"/>
                      </a:lnTo>
                      <a:lnTo>
                        <a:pt x="545" y="382"/>
                      </a:lnTo>
                      <a:lnTo>
                        <a:pt x="546" y="384"/>
                      </a:lnTo>
                      <a:lnTo>
                        <a:pt x="549" y="386"/>
                      </a:lnTo>
                      <a:lnTo>
                        <a:pt x="550" y="386"/>
                      </a:lnTo>
                      <a:lnTo>
                        <a:pt x="550" y="387"/>
                      </a:lnTo>
                      <a:lnTo>
                        <a:pt x="551" y="389"/>
                      </a:lnTo>
                      <a:lnTo>
                        <a:pt x="552" y="390"/>
                      </a:lnTo>
                      <a:lnTo>
                        <a:pt x="553" y="392"/>
                      </a:lnTo>
                      <a:lnTo>
                        <a:pt x="555" y="393"/>
                      </a:lnTo>
                      <a:lnTo>
                        <a:pt x="556" y="393"/>
                      </a:lnTo>
                      <a:lnTo>
                        <a:pt x="557" y="394"/>
                      </a:lnTo>
                      <a:lnTo>
                        <a:pt x="558" y="394"/>
                      </a:lnTo>
                      <a:lnTo>
                        <a:pt x="559" y="394"/>
                      </a:lnTo>
                      <a:lnTo>
                        <a:pt x="560" y="396"/>
                      </a:lnTo>
                      <a:lnTo>
                        <a:pt x="564" y="399"/>
                      </a:lnTo>
                      <a:lnTo>
                        <a:pt x="565" y="399"/>
                      </a:lnTo>
                      <a:lnTo>
                        <a:pt x="566" y="401"/>
                      </a:lnTo>
                      <a:lnTo>
                        <a:pt x="566" y="403"/>
                      </a:lnTo>
                      <a:lnTo>
                        <a:pt x="566" y="404"/>
                      </a:lnTo>
                      <a:lnTo>
                        <a:pt x="566" y="405"/>
                      </a:lnTo>
                      <a:lnTo>
                        <a:pt x="567" y="406"/>
                      </a:lnTo>
                      <a:lnTo>
                        <a:pt x="567" y="407"/>
                      </a:lnTo>
                      <a:lnTo>
                        <a:pt x="567" y="408"/>
                      </a:lnTo>
                      <a:lnTo>
                        <a:pt x="567" y="410"/>
                      </a:lnTo>
                      <a:lnTo>
                        <a:pt x="567" y="411"/>
                      </a:lnTo>
                      <a:lnTo>
                        <a:pt x="569" y="414"/>
                      </a:lnTo>
                      <a:lnTo>
                        <a:pt x="570" y="415"/>
                      </a:lnTo>
                      <a:lnTo>
                        <a:pt x="569" y="417"/>
                      </a:lnTo>
                      <a:lnTo>
                        <a:pt x="570" y="417"/>
                      </a:lnTo>
                      <a:lnTo>
                        <a:pt x="570" y="418"/>
                      </a:lnTo>
                      <a:lnTo>
                        <a:pt x="570" y="419"/>
                      </a:lnTo>
                      <a:lnTo>
                        <a:pt x="571" y="420"/>
                      </a:lnTo>
                      <a:lnTo>
                        <a:pt x="572" y="420"/>
                      </a:lnTo>
                      <a:lnTo>
                        <a:pt x="573" y="421"/>
                      </a:lnTo>
                      <a:lnTo>
                        <a:pt x="574" y="421"/>
                      </a:lnTo>
                      <a:lnTo>
                        <a:pt x="574" y="422"/>
                      </a:lnTo>
                      <a:lnTo>
                        <a:pt x="576" y="424"/>
                      </a:lnTo>
                      <a:lnTo>
                        <a:pt x="577" y="424"/>
                      </a:lnTo>
                      <a:lnTo>
                        <a:pt x="577" y="425"/>
                      </a:lnTo>
                      <a:lnTo>
                        <a:pt x="578" y="426"/>
                      </a:lnTo>
                      <a:lnTo>
                        <a:pt x="579" y="427"/>
                      </a:lnTo>
                      <a:lnTo>
                        <a:pt x="579" y="428"/>
                      </a:lnTo>
                      <a:lnTo>
                        <a:pt x="579" y="429"/>
                      </a:lnTo>
                      <a:lnTo>
                        <a:pt x="579" y="431"/>
                      </a:lnTo>
                      <a:lnTo>
                        <a:pt x="571" y="432"/>
                      </a:lnTo>
                      <a:lnTo>
                        <a:pt x="565" y="433"/>
                      </a:lnTo>
                      <a:lnTo>
                        <a:pt x="556" y="434"/>
                      </a:lnTo>
                      <a:lnTo>
                        <a:pt x="548" y="435"/>
                      </a:lnTo>
                      <a:lnTo>
                        <a:pt x="541" y="436"/>
                      </a:lnTo>
                      <a:lnTo>
                        <a:pt x="536" y="436"/>
                      </a:lnTo>
                      <a:lnTo>
                        <a:pt x="530" y="438"/>
                      </a:lnTo>
                      <a:lnTo>
                        <a:pt x="527" y="439"/>
                      </a:lnTo>
                      <a:lnTo>
                        <a:pt x="525" y="439"/>
                      </a:lnTo>
                      <a:lnTo>
                        <a:pt x="522" y="443"/>
                      </a:lnTo>
                      <a:lnTo>
                        <a:pt x="518" y="447"/>
                      </a:lnTo>
                      <a:lnTo>
                        <a:pt x="517" y="449"/>
                      </a:lnTo>
                      <a:lnTo>
                        <a:pt x="515" y="452"/>
                      </a:lnTo>
                      <a:lnTo>
                        <a:pt x="514" y="452"/>
                      </a:lnTo>
                      <a:lnTo>
                        <a:pt x="513" y="454"/>
                      </a:lnTo>
                      <a:lnTo>
                        <a:pt x="513" y="455"/>
                      </a:lnTo>
                      <a:lnTo>
                        <a:pt x="512" y="455"/>
                      </a:lnTo>
                      <a:lnTo>
                        <a:pt x="510" y="456"/>
                      </a:lnTo>
                      <a:lnTo>
                        <a:pt x="508" y="457"/>
                      </a:lnTo>
                      <a:lnTo>
                        <a:pt x="508" y="459"/>
                      </a:lnTo>
                      <a:lnTo>
                        <a:pt x="508" y="460"/>
                      </a:lnTo>
                      <a:lnTo>
                        <a:pt x="508" y="461"/>
                      </a:lnTo>
                      <a:lnTo>
                        <a:pt x="508" y="462"/>
                      </a:lnTo>
                      <a:lnTo>
                        <a:pt x="508" y="463"/>
                      </a:lnTo>
                      <a:lnTo>
                        <a:pt x="508" y="464"/>
                      </a:lnTo>
                      <a:lnTo>
                        <a:pt x="508" y="466"/>
                      </a:lnTo>
                      <a:lnTo>
                        <a:pt x="508" y="467"/>
                      </a:lnTo>
                      <a:lnTo>
                        <a:pt x="508" y="468"/>
                      </a:lnTo>
                      <a:lnTo>
                        <a:pt x="509" y="468"/>
                      </a:lnTo>
                      <a:lnTo>
                        <a:pt x="509" y="469"/>
                      </a:lnTo>
                      <a:lnTo>
                        <a:pt x="508" y="470"/>
                      </a:lnTo>
                      <a:lnTo>
                        <a:pt x="508" y="471"/>
                      </a:lnTo>
                      <a:lnTo>
                        <a:pt x="509" y="471"/>
                      </a:lnTo>
                      <a:lnTo>
                        <a:pt x="510" y="471"/>
                      </a:lnTo>
                      <a:lnTo>
                        <a:pt x="512" y="471"/>
                      </a:lnTo>
                      <a:lnTo>
                        <a:pt x="514" y="471"/>
                      </a:lnTo>
                      <a:lnTo>
                        <a:pt x="514" y="470"/>
                      </a:lnTo>
                      <a:lnTo>
                        <a:pt x="513" y="470"/>
                      </a:lnTo>
                      <a:lnTo>
                        <a:pt x="513" y="469"/>
                      </a:lnTo>
                      <a:lnTo>
                        <a:pt x="513" y="467"/>
                      </a:lnTo>
                      <a:lnTo>
                        <a:pt x="514" y="467"/>
                      </a:lnTo>
                      <a:lnTo>
                        <a:pt x="514" y="468"/>
                      </a:lnTo>
                      <a:lnTo>
                        <a:pt x="514" y="469"/>
                      </a:lnTo>
                      <a:lnTo>
                        <a:pt x="515" y="470"/>
                      </a:lnTo>
                      <a:lnTo>
                        <a:pt x="515" y="471"/>
                      </a:lnTo>
                      <a:lnTo>
                        <a:pt x="516" y="473"/>
                      </a:lnTo>
                      <a:lnTo>
                        <a:pt x="517" y="473"/>
                      </a:lnTo>
                      <a:lnTo>
                        <a:pt x="516" y="473"/>
                      </a:lnTo>
                      <a:lnTo>
                        <a:pt x="516" y="474"/>
                      </a:lnTo>
                      <a:lnTo>
                        <a:pt x="517" y="474"/>
                      </a:lnTo>
                      <a:lnTo>
                        <a:pt x="517" y="475"/>
                      </a:lnTo>
                      <a:lnTo>
                        <a:pt x="517" y="476"/>
                      </a:lnTo>
                      <a:lnTo>
                        <a:pt x="517" y="477"/>
                      </a:lnTo>
                      <a:lnTo>
                        <a:pt x="518" y="478"/>
                      </a:lnTo>
                      <a:lnTo>
                        <a:pt x="518" y="480"/>
                      </a:lnTo>
                      <a:lnTo>
                        <a:pt x="520" y="480"/>
                      </a:lnTo>
                      <a:lnTo>
                        <a:pt x="520" y="481"/>
                      </a:lnTo>
                      <a:lnTo>
                        <a:pt x="518" y="481"/>
                      </a:lnTo>
                      <a:lnTo>
                        <a:pt x="518" y="482"/>
                      </a:lnTo>
                      <a:lnTo>
                        <a:pt x="517" y="484"/>
                      </a:lnTo>
                      <a:lnTo>
                        <a:pt x="517" y="485"/>
                      </a:lnTo>
                      <a:lnTo>
                        <a:pt x="517" y="488"/>
                      </a:lnTo>
                      <a:lnTo>
                        <a:pt x="517" y="490"/>
                      </a:lnTo>
                      <a:lnTo>
                        <a:pt x="517" y="491"/>
                      </a:lnTo>
                      <a:lnTo>
                        <a:pt x="516" y="492"/>
                      </a:lnTo>
                      <a:lnTo>
                        <a:pt x="516" y="494"/>
                      </a:lnTo>
                      <a:lnTo>
                        <a:pt x="515" y="494"/>
                      </a:lnTo>
                      <a:lnTo>
                        <a:pt x="516" y="495"/>
                      </a:lnTo>
                      <a:lnTo>
                        <a:pt x="517" y="495"/>
                      </a:lnTo>
                      <a:lnTo>
                        <a:pt x="517" y="496"/>
                      </a:lnTo>
                      <a:lnTo>
                        <a:pt x="517" y="497"/>
                      </a:lnTo>
                      <a:lnTo>
                        <a:pt x="517" y="498"/>
                      </a:lnTo>
                      <a:lnTo>
                        <a:pt x="517" y="499"/>
                      </a:lnTo>
                      <a:lnTo>
                        <a:pt x="517" y="501"/>
                      </a:lnTo>
                      <a:lnTo>
                        <a:pt x="518" y="501"/>
                      </a:lnTo>
                      <a:lnTo>
                        <a:pt x="517" y="501"/>
                      </a:lnTo>
                      <a:lnTo>
                        <a:pt x="517" y="502"/>
                      </a:lnTo>
                      <a:lnTo>
                        <a:pt x="517" y="503"/>
                      </a:lnTo>
                      <a:lnTo>
                        <a:pt x="518" y="504"/>
                      </a:lnTo>
                      <a:lnTo>
                        <a:pt x="518" y="505"/>
                      </a:lnTo>
                      <a:lnTo>
                        <a:pt x="518" y="506"/>
                      </a:lnTo>
                      <a:lnTo>
                        <a:pt x="520" y="508"/>
                      </a:lnTo>
                      <a:lnTo>
                        <a:pt x="518" y="509"/>
                      </a:lnTo>
                      <a:lnTo>
                        <a:pt x="518" y="510"/>
                      </a:lnTo>
                      <a:lnTo>
                        <a:pt x="517" y="510"/>
                      </a:lnTo>
                      <a:lnTo>
                        <a:pt x="516" y="510"/>
                      </a:lnTo>
                      <a:lnTo>
                        <a:pt x="516" y="511"/>
                      </a:lnTo>
                      <a:lnTo>
                        <a:pt x="516" y="512"/>
                      </a:lnTo>
                      <a:lnTo>
                        <a:pt x="515" y="512"/>
                      </a:lnTo>
                      <a:lnTo>
                        <a:pt x="515" y="513"/>
                      </a:lnTo>
                      <a:lnTo>
                        <a:pt x="515" y="515"/>
                      </a:lnTo>
                      <a:lnTo>
                        <a:pt x="515" y="516"/>
                      </a:lnTo>
                      <a:lnTo>
                        <a:pt x="515" y="517"/>
                      </a:lnTo>
                      <a:lnTo>
                        <a:pt x="514" y="517"/>
                      </a:lnTo>
                      <a:lnTo>
                        <a:pt x="514" y="518"/>
                      </a:lnTo>
                      <a:lnTo>
                        <a:pt x="514" y="519"/>
                      </a:lnTo>
                      <a:lnTo>
                        <a:pt x="513" y="520"/>
                      </a:lnTo>
                      <a:lnTo>
                        <a:pt x="513" y="521"/>
                      </a:lnTo>
                      <a:lnTo>
                        <a:pt x="513" y="523"/>
                      </a:lnTo>
                      <a:lnTo>
                        <a:pt x="513" y="524"/>
                      </a:lnTo>
                      <a:lnTo>
                        <a:pt x="513" y="525"/>
                      </a:lnTo>
                      <a:lnTo>
                        <a:pt x="513" y="526"/>
                      </a:lnTo>
                      <a:lnTo>
                        <a:pt x="512" y="527"/>
                      </a:lnTo>
                      <a:lnTo>
                        <a:pt x="512" y="528"/>
                      </a:lnTo>
                      <a:lnTo>
                        <a:pt x="512" y="530"/>
                      </a:lnTo>
                      <a:lnTo>
                        <a:pt x="510" y="531"/>
                      </a:lnTo>
                      <a:lnTo>
                        <a:pt x="509" y="533"/>
                      </a:lnTo>
                      <a:lnTo>
                        <a:pt x="509" y="535"/>
                      </a:lnTo>
                      <a:lnTo>
                        <a:pt x="509" y="537"/>
                      </a:lnTo>
                      <a:lnTo>
                        <a:pt x="510" y="538"/>
                      </a:lnTo>
                      <a:lnTo>
                        <a:pt x="510" y="540"/>
                      </a:lnTo>
                      <a:lnTo>
                        <a:pt x="512" y="541"/>
                      </a:lnTo>
                      <a:lnTo>
                        <a:pt x="512" y="544"/>
                      </a:lnTo>
                      <a:lnTo>
                        <a:pt x="513" y="544"/>
                      </a:lnTo>
                      <a:lnTo>
                        <a:pt x="513" y="545"/>
                      </a:lnTo>
                      <a:lnTo>
                        <a:pt x="513" y="546"/>
                      </a:lnTo>
                      <a:lnTo>
                        <a:pt x="514" y="546"/>
                      </a:lnTo>
                      <a:lnTo>
                        <a:pt x="515" y="546"/>
                      </a:lnTo>
                      <a:lnTo>
                        <a:pt x="515" y="547"/>
                      </a:lnTo>
                      <a:lnTo>
                        <a:pt x="515" y="548"/>
                      </a:lnTo>
                      <a:lnTo>
                        <a:pt x="516" y="547"/>
                      </a:lnTo>
                      <a:lnTo>
                        <a:pt x="517" y="549"/>
                      </a:lnTo>
                      <a:lnTo>
                        <a:pt x="520" y="551"/>
                      </a:lnTo>
                      <a:lnTo>
                        <a:pt x="521" y="551"/>
                      </a:lnTo>
                      <a:lnTo>
                        <a:pt x="521" y="552"/>
                      </a:lnTo>
                      <a:lnTo>
                        <a:pt x="522" y="552"/>
                      </a:lnTo>
                      <a:lnTo>
                        <a:pt x="523" y="553"/>
                      </a:lnTo>
                      <a:lnTo>
                        <a:pt x="524" y="554"/>
                      </a:lnTo>
                      <a:lnTo>
                        <a:pt x="524" y="555"/>
                      </a:lnTo>
                      <a:lnTo>
                        <a:pt x="527" y="556"/>
                      </a:lnTo>
                      <a:lnTo>
                        <a:pt x="528" y="558"/>
                      </a:lnTo>
                      <a:lnTo>
                        <a:pt x="530" y="562"/>
                      </a:lnTo>
                      <a:lnTo>
                        <a:pt x="530" y="563"/>
                      </a:lnTo>
                      <a:lnTo>
                        <a:pt x="531" y="563"/>
                      </a:lnTo>
                      <a:lnTo>
                        <a:pt x="531" y="562"/>
                      </a:lnTo>
                      <a:lnTo>
                        <a:pt x="532" y="562"/>
                      </a:lnTo>
                      <a:lnTo>
                        <a:pt x="532" y="563"/>
                      </a:lnTo>
                      <a:lnTo>
                        <a:pt x="534" y="562"/>
                      </a:lnTo>
                      <a:lnTo>
                        <a:pt x="535" y="562"/>
                      </a:lnTo>
                      <a:lnTo>
                        <a:pt x="537" y="562"/>
                      </a:lnTo>
                      <a:lnTo>
                        <a:pt x="538" y="563"/>
                      </a:lnTo>
                      <a:lnTo>
                        <a:pt x="539" y="563"/>
                      </a:lnTo>
                      <a:lnTo>
                        <a:pt x="541" y="563"/>
                      </a:lnTo>
                      <a:lnTo>
                        <a:pt x="542" y="565"/>
                      </a:lnTo>
                      <a:lnTo>
                        <a:pt x="543" y="565"/>
                      </a:lnTo>
                      <a:lnTo>
                        <a:pt x="544" y="565"/>
                      </a:lnTo>
                      <a:lnTo>
                        <a:pt x="544" y="566"/>
                      </a:lnTo>
                      <a:lnTo>
                        <a:pt x="545" y="565"/>
                      </a:lnTo>
                      <a:lnTo>
                        <a:pt x="545" y="563"/>
                      </a:lnTo>
                      <a:lnTo>
                        <a:pt x="544" y="563"/>
                      </a:lnTo>
                      <a:lnTo>
                        <a:pt x="544" y="562"/>
                      </a:lnTo>
                      <a:lnTo>
                        <a:pt x="543" y="561"/>
                      </a:lnTo>
                      <a:lnTo>
                        <a:pt x="543" y="560"/>
                      </a:lnTo>
                      <a:lnTo>
                        <a:pt x="544" y="559"/>
                      </a:lnTo>
                      <a:lnTo>
                        <a:pt x="544" y="558"/>
                      </a:lnTo>
                      <a:lnTo>
                        <a:pt x="545" y="558"/>
                      </a:lnTo>
                      <a:lnTo>
                        <a:pt x="546" y="558"/>
                      </a:lnTo>
                      <a:lnTo>
                        <a:pt x="546" y="556"/>
                      </a:lnTo>
                      <a:lnTo>
                        <a:pt x="548" y="556"/>
                      </a:lnTo>
                      <a:lnTo>
                        <a:pt x="549" y="558"/>
                      </a:lnTo>
                      <a:lnTo>
                        <a:pt x="550" y="558"/>
                      </a:lnTo>
                      <a:lnTo>
                        <a:pt x="551" y="556"/>
                      </a:lnTo>
                      <a:lnTo>
                        <a:pt x="552" y="556"/>
                      </a:lnTo>
                      <a:lnTo>
                        <a:pt x="552" y="555"/>
                      </a:lnTo>
                      <a:lnTo>
                        <a:pt x="555" y="555"/>
                      </a:lnTo>
                      <a:lnTo>
                        <a:pt x="555" y="559"/>
                      </a:lnTo>
                      <a:lnTo>
                        <a:pt x="555" y="563"/>
                      </a:lnTo>
                      <a:lnTo>
                        <a:pt x="555" y="568"/>
                      </a:lnTo>
                      <a:lnTo>
                        <a:pt x="555" y="573"/>
                      </a:lnTo>
                      <a:lnTo>
                        <a:pt x="555" y="579"/>
                      </a:lnTo>
                      <a:lnTo>
                        <a:pt x="555" y="583"/>
                      </a:lnTo>
                      <a:lnTo>
                        <a:pt x="555" y="588"/>
                      </a:lnTo>
                      <a:lnTo>
                        <a:pt x="555" y="593"/>
                      </a:lnTo>
                      <a:lnTo>
                        <a:pt x="555" y="596"/>
                      </a:lnTo>
                      <a:lnTo>
                        <a:pt x="553" y="597"/>
                      </a:lnTo>
                      <a:lnTo>
                        <a:pt x="551" y="597"/>
                      </a:lnTo>
                      <a:lnTo>
                        <a:pt x="550" y="597"/>
                      </a:lnTo>
                      <a:lnTo>
                        <a:pt x="549" y="597"/>
                      </a:lnTo>
                      <a:lnTo>
                        <a:pt x="549" y="596"/>
                      </a:lnTo>
                      <a:lnTo>
                        <a:pt x="548" y="596"/>
                      </a:lnTo>
                      <a:lnTo>
                        <a:pt x="548" y="595"/>
                      </a:lnTo>
                      <a:lnTo>
                        <a:pt x="549" y="595"/>
                      </a:lnTo>
                      <a:lnTo>
                        <a:pt x="549" y="594"/>
                      </a:lnTo>
                      <a:lnTo>
                        <a:pt x="549" y="593"/>
                      </a:lnTo>
                      <a:lnTo>
                        <a:pt x="550" y="593"/>
                      </a:lnTo>
                      <a:lnTo>
                        <a:pt x="550" y="591"/>
                      </a:lnTo>
                      <a:lnTo>
                        <a:pt x="549" y="591"/>
                      </a:lnTo>
                      <a:lnTo>
                        <a:pt x="548" y="590"/>
                      </a:lnTo>
                      <a:lnTo>
                        <a:pt x="546" y="590"/>
                      </a:lnTo>
                      <a:lnTo>
                        <a:pt x="545" y="590"/>
                      </a:lnTo>
                      <a:lnTo>
                        <a:pt x="544" y="591"/>
                      </a:lnTo>
                      <a:lnTo>
                        <a:pt x="543" y="593"/>
                      </a:lnTo>
                      <a:lnTo>
                        <a:pt x="538" y="594"/>
                      </a:lnTo>
                      <a:lnTo>
                        <a:pt x="537" y="595"/>
                      </a:lnTo>
                      <a:lnTo>
                        <a:pt x="536" y="596"/>
                      </a:lnTo>
                      <a:lnTo>
                        <a:pt x="535" y="596"/>
                      </a:lnTo>
                      <a:lnTo>
                        <a:pt x="535" y="597"/>
                      </a:lnTo>
                      <a:lnTo>
                        <a:pt x="535" y="596"/>
                      </a:lnTo>
                      <a:lnTo>
                        <a:pt x="534" y="596"/>
                      </a:lnTo>
                      <a:lnTo>
                        <a:pt x="534" y="595"/>
                      </a:lnTo>
                      <a:lnTo>
                        <a:pt x="532" y="595"/>
                      </a:lnTo>
                      <a:lnTo>
                        <a:pt x="531" y="595"/>
                      </a:lnTo>
                      <a:lnTo>
                        <a:pt x="530" y="595"/>
                      </a:lnTo>
                      <a:lnTo>
                        <a:pt x="529" y="596"/>
                      </a:lnTo>
                      <a:lnTo>
                        <a:pt x="529" y="595"/>
                      </a:lnTo>
                      <a:lnTo>
                        <a:pt x="528" y="595"/>
                      </a:lnTo>
                      <a:lnTo>
                        <a:pt x="528" y="594"/>
                      </a:lnTo>
                      <a:lnTo>
                        <a:pt x="527" y="593"/>
                      </a:lnTo>
                      <a:lnTo>
                        <a:pt x="525" y="588"/>
                      </a:lnTo>
                      <a:lnTo>
                        <a:pt x="525" y="587"/>
                      </a:lnTo>
                      <a:lnTo>
                        <a:pt x="524" y="587"/>
                      </a:lnTo>
                      <a:lnTo>
                        <a:pt x="524" y="586"/>
                      </a:lnTo>
                      <a:lnTo>
                        <a:pt x="523" y="586"/>
                      </a:lnTo>
                      <a:lnTo>
                        <a:pt x="523" y="584"/>
                      </a:lnTo>
                      <a:lnTo>
                        <a:pt x="523" y="583"/>
                      </a:lnTo>
                      <a:lnTo>
                        <a:pt x="522" y="582"/>
                      </a:lnTo>
                      <a:lnTo>
                        <a:pt x="520" y="579"/>
                      </a:lnTo>
                      <a:lnTo>
                        <a:pt x="518" y="577"/>
                      </a:lnTo>
                      <a:lnTo>
                        <a:pt x="517" y="577"/>
                      </a:lnTo>
                      <a:lnTo>
                        <a:pt x="516" y="577"/>
                      </a:lnTo>
                      <a:lnTo>
                        <a:pt x="516" y="579"/>
                      </a:lnTo>
                      <a:lnTo>
                        <a:pt x="515" y="580"/>
                      </a:lnTo>
                      <a:lnTo>
                        <a:pt x="515" y="579"/>
                      </a:lnTo>
                      <a:lnTo>
                        <a:pt x="515" y="577"/>
                      </a:lnTo>
                      <a:lnTo>
                        <a:pt x="514" y="576"/>
                      </a:lnTo>
                      <a:lnTo>
                        <a:pt x="513" y="575"/>
                      </a:lnTo>
                      <a:lnTo>
                        <a:pt x="513" y="574"/>
                      </a:lnTo>
                      <a:lnTo>
                        <a:pt x="514" y="573"/>
                      </a:lnTo>
                      <a:lnTo>
                        <a:pt x="514" y="572"/>
                      </a:lnTo>
                      <a:lnTo>
                        <a:pt x="513" y="570"/>
                      </a:lnTo>
                      <a:lnTo>
                        <a:pt x="512" y="569"/>
                      </a:lnTo>
                      <a:lnTo>
                        <a:pt x="512" y="568"/>
                      </a:lnTo>
                      <a:lnTo>
                        <a:pt x="510" y="567"/>
                      </a:lnTo>
                      <a:lnTo>
                        <a:pt x="508" y="565"/>
                      </a:lnTo>
                      <a:lnTo>
                        <a:pt x="507" y="565"/>
                      </a:lnTo>
                      <a:lnTo>
                        <a:pt x="506" y="565"/>
                      </a:lnTo>
                      <a:lnTo>
                        <a:pt x="505" y="565"/>
                      </a:lnTo>
                      <a:lnTo>
                        <a:pt x="505" y="563"/>
                      </a:lnTo>
                      <a:lnTo>
                        <a:pt x="503" y="563"/>
                      </a:lnTo>
                      <a:lnTo>
                        <a:pt x="502" y="563"/>
                      </a:lnTo>
                      <a:lnTo>
                        <a:pt x="502" y="565"/>
                      </a:lnTo>
                      <a:lnTo>
                        <a:pt x="501" y="563"/>
                      </a:lnTo>
                      <a:lnTo>
                        <a:pt x="501" y="562"/>
                      </a:lnTo>
                      <a:lnTo>
                        <a:pt x="500" y="562"/>
                      </a:lnTo>
                      <a:lnTo>
                        <a:pt x="498" y="562"/>
                      </a:lnTo>
                      <a:lnTo>
                        <a:pt x="496" y="562"/>
                      </a:lnTo>
                      <a:lnTo>
                        <a:pt x="496" y="561"/>
                      </a:lnTo>
                      <a:lnTo>
                        <a:pt x="495" y="560"/>
                      </a:lnTo>
                      <a:lnTo>
                        <a:pt x="494" y="559"/>
                      </a:lnTo>
                      <a:lnTo>
                        <a:pt x="493" y="559"/>
                      </a:lnTo>
                      <a:lnTo>
                        <a:pt x="492" y="559"/>
                      </a:lnTo>
                      <a:lnTo>
                        <a:pt x="492" y="560"/>
                      </a:lnTo>
                      <a:lnTo>
                        <a:pt x="491" y="560"/>
                      </a:lnTo>
                      <a:lnTo>
                        <a:pt x="489" y="560"/>
                      </a:lnTo>
                      <a:lnTo>
                        <a:pt x="488" y="560"/>
                      </a:lnTo>
                      <a:lnTo>
                        <a:pt x="487" y="560"/>
                      </a:lnTo>
                      <a:lnTo>
                        <a:pt x="486" y="560"/>
                      </a:lnTo>
                      <a:lnTo>
                        <a:pt x="485" y="559"/>
                      </a:lnTo>
                      <a:lnTo>
                        <a:pt x="482" y="556"/>
                      </a:lnTo>
                      <a:lnTo>
                        <a:pt x="481" y="552"/>
                      </a:lnTo>
                      <a:lnTo>
                        <a:pt x="481" y="551"/>
                      </a:lnTo>
                      <a:lnTo>
                        <a:pt x="479" y="548"/>
                      </a:lnTo>
                      <a:lnTo>
                        <a:pt x="473" y="545"/>
                      </a:lnTo>
                      <a:lnTo>
                        <a:pt x="473" y="541"/>
                      </a:lnTo>
                      <a:lnTo>
                        <a:pt x="473" y="540"/>
                      </a:lnTo>
                      <a:lnTo>
                        <a:pt x="473" y="539"/>
                      </a:lnTo>
                      <a:lnTo>
                        <a:pt x="472" y="538"/>
                      </a:lnTo>
                      <a:lnTo>
                        <a:pt x="472" y="537"/>
                      </a:lnTo>
                      <a:lnTo>
                        <a:pt x="471" y="537"/>
                      </a:lnTo>
                      <a:lnTo>
                        <a:pt x="470" y="538"/>
                      </a:lnTo>
                      <a:lnTo>
                        <a:pt x="468" y="538"/>
                      </a:lnTo>
                      <a:lnTo>
                        <a:pt x="467" y="538"/>
                      </a:lnTo>
                      <a:lnTo>
                        <a:pt x="466" y="538"/>
                      </a:lnTo>
                      <a:lnTo>
                        <a:pt x="466" y="539"/>
                      </a:lnTo>
                      <a:lnTo>
                        <a:pt x="467" y="540"/>
                      </a:lnTo>
                      <a:lnTo>
                        <a:pt x="467" y="541"/>
                      </a:lnTo>
                      <a:lnTo>
                        <a:pt x="466" y="541"/>
                      </a:lnTo>
                      <a:lnTo>
                        <a:pt x="465" y="542"/>
                      </a:lnTo>
                      <a:lnTo>
                        <a:pt x="465" y="544"/>
                      </a:lnTo>
                      <a:lnTo>
                        <a:pt x="465" y="546"/>
                      </a:lnTo>
                      <a:lnTo>
                        <a:pt x="465" y="547"/>
                      </a:lnTo>
                      <a:lnTo>
                        <a:pt x="464" y="548"/>
                      </a:lnTo>
                      <a:lnTo>
                        <a:pt x="463" y="549"/>
                      </a:lnTo>
                      <a:lnTo>
                        <a:pt x="460" y="549"/>
                      </a:lnTo>
                      <a:lnTo>
                        <a:pt x="459" y="549"/>
                      </a:lnTo>
                      <a:lnTo>
                        <a:pt x="458" y="549"/>
                      </a:lnTo>
                      <a:lnTo>
                        <a:pt x="458" y="551"/>
                      </a:lnTo>
                      <a:lnTo>
                        <a:pt x="457" y="551"/>
                      </a:lnTo>
                      <a:lnTo>
                        <a:pt x="456" y="551"/>
                      </a:lnTo>
                      <a:lnTo>
                        <a:pt x="454" y="549"/>
                      </a:lnTo>
                      <a:lnTo>
                        <a:pt x="453" y="549"/>
                      </a:lnTo>
                      <a:lnTo>
                        <a:pt x="451" y="549"/>
                      </a:lnTo>
                      <a:lnTo>
                        <a:pt x="450" y="549"/>
                      </a:lnTo>
                      <a:lnTo>
                        <a:pt x="450" y="548"/>
                      </a:lnTo>
                      <a:lnTo>
                        <a:pt x="449" y="548"/>
                      </a:lnTo>
                      <a:lnTo>
                        <a:pt x="448" y="547"/>
                      </a:lnTo>
                      <a:lnTo>
                        <a:pt x="446" y="547"/>
                      </a:lnTo>
                      <a:lnTo>
                        <a:pt x="445" y="548"/>
                      </a:lnTo>
                      <a:lnTo>
                        <a:pt x="444" y="548"/>
                      </a:lnTo>
                      <a:lnTo>
                        <a:pt x="443" y="548"/>
                      </a:lnTo>
                      <a:lnTo>
                        <a:pt x="442" y="548"/>
                      </a:lnTo>
                      <a:lnTo>
                        <a:pt x="441" y="547"/>
                      </a:lnTo>
                      <a:lnTo>
                        <a:pt x="439" y="547"/>
                      </a:lnTo>
                      <a:lnTo>
                        <a:pt x="435" y="547"/>
                      </a:lnTo>
                      <a:lnTo>
                        <a:pt x="434" y="547"/>
                      </a:lnTo>
                      <a:lnTo>
                        <a:pt x="434" y="546"/>
                      </a:lnTo>
                      <a:lnTo>
                        <a:pt x="432" y="546"/>
                      </a:lnTo>
                      <a:lnTo>
                        <a:pt x="430" y="544"/>
                      </a:lnTo>
                      <a:lnTo>
                        <a:pt x="429" y="544"/>
                      </a:lnTo>
                      <a:lnTo>
                        <a:pt x="429" y="545"/>
                      </a:lnTo>
                      <a:lnTo>
                        <a:pt x="427" y="544"/>
                      </a:lnTo>
                      <a:lnTo>
                        <a:pt x="425" y="544"/>
                      </a:lnTo>
                      <a:lnTo>
                        <a:pt x="424" y="544"/>
                      </a:lnTo>
                      <a:lnTo>
                        <a:pt x="424" y="542"/>
                      </a:lnTo>
                      <a:lnTo>
                        <a:pt x="423" y="541"/>
                      </a:lnTo>
                      <a:lnTo>
                        <a:pt x="421" y="541"/>
                      </a:lnTo>
                      <a:lnTo>
                        <a:pt x="421" y="542"/>
                      </a:lnTo>
                      <a:lnTo>
                        <a:pt x="420" y="542"/>
                      </a:lnTo>
                      <a:lnTo>
                        <a:pt x="420" y="544"/>
                      </a:lnTo>
                      <a:lnTo>
                        <a:pt x="418" y="544"/>
                      </a:lnTo>
                      <a:lnTo>
                        <a:pt x="418" y="542"/>
                      </a:lnTo>
                      <a:lnTo>
                        <a:pt x="418" y="541"/>
                      </a:lnTo>
                      <a:lnTo>
                        <a:pt x="417" y="541"/>
                      </a:lnTo>
                      <a:lnTo>
                        <a:pt x="416" y="540"/>
                      </a:lnTo>
                      <a:lnTo>
                        <a:pt x="415" y="539"/>
                      </a:lnTo>
                      <a:lnTo>
                        <a:pt x="414" y="539"/>
                      </a:lnTo>
                      <a:lnTo>
                        <a:pt x="414" y="538"/>
                      </a:lnTo>
                      <a:lnTo>
                        <a:pt x="413" y="535"/>
                      </a:lnTo>
                      <a:lnTo>
                        <a:pt x="413" y="534"/>
                      </a:lnTo>
                      <a:lnTo>
                        <a:pt x="413" y="533"/>
                      </a:lnTo>
                      <a:lnTo>
                        <a:pt x="413" y="532"/>
                      </a:lnTo>
                      <a:lnTo>
                        <a:pt x="411" y="531"/>
                      </a:lnTo>
                      <a:lnTo>
                        <a:pt x="413" y="530"/>
                      </a:lnTo>
                      <a:lnTo>
                        <a:pt x="413" y="528"/>
                      </a:lnTo>
                      <a:lnTo>
                        <a:pt x="413" y="527"/>
                      </a:lnTo>
                      <a:lnTo>
                        <a:pt x="414" y="527"/>
                      </a:lnTo>
                      <a:lnTo>
                        <a:pt x="414" y="526"/>
                      </a:lnTo>
                      <a:lnTo>
                        <a:pt x="414" y="525"/>
                      </a:lnTo>
                      <a:lnTo>
                        <a:pt x="413" y="525"/>
                      </a:lnTo>
                      <a:lnTo>
                        <a:pt x="411" y="525"/>
                      </a:lnTo>
                      <a:lnTo>
                        <a:pt x="409" y="526"/>
                      </a:lnTo>
                      <a:lnTo>
                        <a:pt x="407" y="527"/>
                      </a:lnTo>
                      <a:lnTo>
                        <a:pt x="402" y="527"/>
                      </a:lnTo>
                      <a:lnTo>
                        <a:pt x="401" y="527"/>
                      </a:lnTo>
                      <a:lnTo>
                        <a:pt x="400" y="527"/>
                      </a:lnTo>
                      <a:lnTo>
                        <a:pt x="397" y="528"/>
                      </a:lnTo>
                      <a:lnTo>
                        <a:pt x="396" y="528"/>
                      </a:lnTo>
                      <a:lnTo>
                        <a:pt x="394" y="528"/>
                      </a:lnTo>
                      <a:lnTo>
                        <a:pt x="393" y="530"/>
                      </a:lnTo>
                      <a:lnTo>
                        <a:pt x="392" y="531"/>
                      </a:lnTo>
                      <a:lnTo>
                        <a:pt x="390" y="531"/>
                      </a:lnTo>
                      <a:lnTo>
                        <a:pt x="390" y="532"/>
                      </a:lnTo>
                      <a:lnTo>
                        <a:pt x="389" y="532"/>
                      </a:lnTo>
                      <a:lnTo>
                        <a:pt x="389" y="533"/>
                      </a:lnTo>
                      <a:lnTo>
                        <a:pt x="388" y="533"/>
                      </a:lnTo>
                      <a:lnTo>
                        <a:pt x="387" y="533"/>
                      </a:lnTo>
                      <a:lnTo>
                        <a:pt x="386" y="533"/>
                      </a:lnTo>
                      <a:lnTo>
                        <a:pt x="385" y="533"/>
                      </a:lnTo>
                      <a:lnTo>
                        <a:pt x="384" y="532"/>
                      </a:lnTo>
                      <a:lnTo>
                        <a:pt x="382" y="532"/>
                      </a:lnTo>
                      <a:lnTo>
                        <a:pt x="381" y="532"/>
                      </a:lnTo>
                      <a:lnTo>
                        <a:pt x="381" y="531"/>
                      </a:lnTo>
                      <a:lnTo>
                        <a:pt x="380" y="531"/>
                      </a:lnTo>
                      <a:lnTo>
                        <a:pt x="381" y="531"/>
                      </a:lnTo>
                      <a:lnTo>
                        <a:pt x="382" y="530"/>
                      </a:lnTo>
                      <a:lnTo>
                        <a:pt x="384" y="528"/>
                      </a:lnTo>
                      <a:lnTo>
                        <a:pt x="384" y="527"/>
                      </a:lnTo>
                      <a:lnTo>
                        <a:pt x="385" y="526"/>
                      </a:lnTo>
                      <a:lnTo>
                        <a:pt x="384" y="525"/>
                      </a:lnTo>
                      <a:lnTo>
                        <a:pt x="384" y="524"/>
                      </a:lnTo>
                      <a:lnTo>
                        <a:pt x="384" y="523"/>
                      </a:lnTo>
                      <a:lnTo>
                        <a:pt x="384" y="521"/>
                      </a:lnTo>
                      <a:lnTo>
                        <a:pt x="382" y="521"/>
                      </a:lnTo>
                      <a:lnTo>
                        <a:pt x="381" y="520"/>
                      </a:lnTo>
                      <a:lnTo>
                        <a:pt x="380" y="520"/>
                      </a:lnTo>
                      <a:lnTo>
                        <a:pt x="379" y="520"/>
                      </a:lnTo>
                      <a:lnTo>
                        <a:pt x="378" y="519"/>
                      </a:lnTo>
                      <a:lnTo>
                        <a:pt x="377" y="519"/>
                      </a:lnTo>
                      <a:lnTo>
                        <a:pt x="377" y="520"/>
                      </a:lnTo>
                      <a:lnTo>
                        <a:pt x="375" y="520"/>
                      </a:lnTo>
                      <a:lnTo>
                        <a:pt x="375" y="519"/>
                      </a:lnTo>
                      <a:lnTo>
                        <a:pt x="375" y="518"/>
                      </a:lnTo>
                      <a:lnTo>
                        <a:pt x="375" y="517"/>
                      </a:lnTo>
                      <a:lnTo>
                        <a:pt x="375" y="516"/>
                      </a:lnTo>
                      <a:lnTo>
                        <a:pt x="374" y="516"/>
                      </a:lnTo>
                      <a:lnTo>
                        <a:pt x="373" y="515"/>
                      </a:lnTo>
                      <a:lnTo>
                        <a:pt x="372" y="515"/>
                      </a:lnTo>
                      <a:lnTo>
                        <a:pt x="371" y="515"/>
                      </a:lnTo>
                      <a:lnTo>
                        <a:pt x="370" y="515"/>
                      </a:lnTo>
                      <a:lnTo>
                        <a:pt x="370" y="516"/>
                      </a:lnTo>
                      <a:lnTo>
                        <a:pt x="370" y="517"/>
                      </a:lnTo>
                      <a:lnTo>
                        <a:pt x="368" y="518"/>
                      </a:lnTo>
                      <a:lnTo>
                        <a:pt x="367" y="519"/>
                      </a:lnTo>
                      <a:lnTo>
                        <a:pt x="366" y="519"/>
                      </a:lnTo>
                      <a:lnTo>
                        <a:pt x="365" y="519"/>
                      </a:lnTo>
                      <a:lnTo>
                        <a:pt x="364" y="519"/>
                      </a:lnTo>
                      <a:lnTo>
                        <a:pt x="363" y="519"/>
                      </a:lnTo>
                      <a:lnTo>
                        <a:pt x="361" y="519"/>
                      </a:lnTo>
                      <a:lnTo>
                        <a:pt x="360" y="519"/>
                      </a:lnTo>
                      <a:lnTo>
                        <a:pt x="358" y="518"/>
                      </a:lnTo>
                      <a:lnTo>
                        <a:pt x="356" y="517"/>
                      </a:lnTo>
                      <a:lnTo>
                        <a:pt x="354" y="517"/>
                      </a:lnTo>
                      <a:lnTo>
                        <a:pt x="353" y="517"/>
                      </a:lnTo>
                      <a:lnTo>
                        <a:pt x="352" y="518"/>
                      </a:lnTo>
                      <a:lnTo>
                        <a:pt x="350" y="519"/>
                      </a:lnTo>
                      <a:lnTo>
                        <a:pt x="346" y="520"/>
                      </a:lnTo>
                      <a:lnTo>
                        <a:pt x="344" y="521"/>
                      </a:lnTo>
                      <a:lnTo>
                        <a:pt x="340" y="521"/>
                      </a:lnTo>
                      <a:lnTo>
                        <a:pt x="339" y="521"/>
                      </a:lnTo>
                      <a:lnTo>
                        <a:pt x="338" y="521"/>
                      </a:lnTo>
                      <a:lnTo>
                        <a:pt x="337" y="521"/>
                      </a:lnTo>
                      <a:lnTo>
                        <a:pt x="336" y="520"/>
                      </a:lnTo>
                      <a:lnTo>
                        <a:pt x="335" y="520"/>
                      </a:lnTo>
                      <a:lnTo>
                        <a:pt x="333" y="520"/>
                      </a:lnTo>
                      <a:lnTo>
                        <a:pt x="333" y="521"/>
                      </a:lnTo>
                      <a:lnTo>
                        <a:pt x="332" y="521"/>
                      </a:lnTo>
                      <a:lnTo>
                        <a:pt x="331" y="521"/>
                      </a:lnTo>
                      <a:lnTo>
                        <a:pt x="330" y="521"/>
                      </a:lnTo>
                      <a:lnTo>
                        <a:pt x="329" y="521"/>
                      </a:lnTo>
                      <a:lnTo>
                        <a:pt x="328" y="520"/>
                      </a:lnTo>
                      <a:lnTo>
                        <a:pt x="325" y="519"/>
                      </a:lnTo>
                      <a:lnTo>
                        <a:pt x="324" y="520"/>
                      </a:lnTo>
                      <a:lnTo>
                        <a:pt x="323" y="523"/>
                      </a:lnTo>
                      <a:lnTo>
                        <a:pt x="323" y="524"/>
                      </a:lnTo>
                      <a:lnTo>
                        <a:pt x="320" y="524"/>
                      </a:lnTo>
                      <a:lnTo>
                        <a:pt x="318" y="525"/>
                      </a:lnTo>
                      <a:lnTo>
                        <a:pt x="317" y="526"/>
                      </a:lnTo>
                      <a:lnTo>
                        <a:pt x="316" y="526"/>
                      </a:lnTo>
                      <a:lnTo>
                        <a:pt x="316" y="525"/>
                      </a:lnTo>
                      <a:lnTo>
                        <a:pt x="317" y="524"/>
                      </a:lnTo>
                      <a:lnTo>
                        <a:pt x="316" y="521"/>
                      </a:lnTo>
                      <a:lnTo>
                        <a:pt x="316" y="520"/>
                      </a:lnTo>
                      <a:lnTo>
                        <a:pt x="316" y="519"/>
                      </a:lnTo>
                      <a:lnTo>
                        <a:pt x="315" y="519"/>
                      </a:lnTo>
                      <a:lnTo>
                        <a:pt x="315" y="518"/>
                      </a:lnTo>
                      <a:lnTo>
                        <a:pt x="315" y="517"/>
                      </a:lnTo>
                      <a:lnTo>
                        <a:pt x="314" y="515"/>
                      </a:lnTo>
                      <a:lnTo>
                        <a:pt x="314" y="513"/>
                      </a:lnTo>
                      <a:lnTo>
                        <a:pt x="315" y="513"/>
                      </a:lnTo>
                      <a:lnTo>
                        <a:pt x="315" y="512"/>
                      </a:lnTo>
                      <a:lnTo>
                        <a:pt x="316" y="512"/>
                      </a:lnTo>
                      <a:lnTo>
                        <a:pt x="317" y="511"/>
                      </a:lnTo>
                      <a:lnTo>
                        <a:pt x="318" y="511"/>
                      </a:lnTo>
                      <a:lnTo>
                        <a:pt x="318" y="510"/>
                      </a:lnTo>
                      <a:lnTo>
                        <a:pt x="318" y="509"/>
                      </a:lnTo>
                      <a:lnTo>
                        <a:pt x="318" y="508"/>
                      </a:lnTo>
                      <a:lnTo>
                        <a:pt x="318" y="506"/>
                      </a:lnTo>
                      <a:lnTo>
                        <a:pt x="318" y="505"/>
                      </a:lnTo>
                      <a:lnTo>
                        <a:pt x="318" y="504"/>
                      </a:lnTo>
                      <a:lnTo>
                        <a:pt x="317" y="503"/>
                      </a:lnTo>
                      <a:lnTo>
                        <a:pt x="317" y="502"/>
                      </a:lnTo>
                      <a:lnTo>
                        <a:pt x="318" y="501"/>
                      </a:lnTo>
                      <a:lnTo>
                        <a:pt x="318" y="499"/>
                      </a:lnTo>
                      <a:lnTo>
                        <a:pt x="318" y="498"/>
                      </a:lnTo>
                      <a:lnTo>
                        <a:pt x="318" y="497"/>
                      </a:lnTo>
                      <a:lnTo>
                        <a:pt x="317" y="497"/>
                      </a:lnTo>
                      <a:lnTo>
                        <a:pt x="317" y="495"/>
                      </a:lnTo>
                      <a:lnTo>
                        <a:pt x="316" y="494"/>
                      </a:lnTo>
                      <a:lnTo>
                        <a:pt x="316" y="492"/>
                      </a:lnTo>
                      <a:lnTo>
                        <a:pt x="315" y="491"/>
                      </a:lnTo>
                      <a:lnTo>
                        <a:pt x="315" y="490"/>
                      </a:lnTo>
                      <a:lnTo>
                        <a:pt x="315" y="489"/>
                      </a:lnTo>
                      <a:lnTo>
                        <a:pt x="315" y="488"/>
                      </a:lnTo>
                      <a:lnTo>
                        <a:pt x="314" y="487"/>
                      </a:lnTo>
                      <a:lnTo>
                        <a:pt x="314" y="485"/>
                      </a:lnTo>
                      <a:lnTo>
                        <a:pt x="314" y="484"/>
                      </a:lnTo>
                      <a:lnTo>
                        <a:pt x="311" y="483"/>
                      </a:lnTo>
                      <a:lnTo>
                        <a:pt x="310" y="483"/>
                      </a:lnTo>
                      <a:lnTo>
                        <a:pt x="309" y="481"/>
                      </a:lnTo>
                      <a:lnTo>
                        <a:pt x="308" y="480"/>
                      </a:lnTo>
                      <a:lnTo>
                        <a:pt x="308" y="478"/>
                      </a:lnTo>
                      <a:lnTo>
                        <a:pt x="308" y="480"/>
                      </a:lnTo>
                      <a:lnTo>
                        <a:pt x="307" y="480"/>
                      </a:lnTo>
                      <a:lnTo>
                        <a:pt x="307" y="478"/>
                      </a:lnTo>
                      <a:lnTo>
                        <a:pt x="304" y="476"/>
                      </a:lnTo>
                      <a:lnTo>
                        <a:pt x="304" y="475"/>
                      </a:lnTo>
                      <a:lnTo>
                        <a:pt x="303" y="474"/>
                      </a:lnTo>
                      <a:lnTo>
                        <a:pt x="303" y="470"/>
                      </a:lnTo>
                      <a:lnTo>
                        <a:pt x="303" y="469"/>
                      </a:lnTo>
                      <a:lnTo>
                        <a:pt x="302" y="469"/>
                      </a:lnTo>
                      <a:lnTo>
                        <a:pt x="302" y="468"/>
                      </a:lnTo>
                      <a:lnTo>
                        <a:pt x="302" y="467"/>
                      </a:lnTo>
                      <a:lnTo>
                        <a:pt x="302" y="466"/>
                      </a:lnTo>
                      <a:lnTo>
                        <a:pt x="303" y="463"/>
                      </a:lnTo>
                      <a:lnTo>
                        <a:pt x="304" y="462"/>
                      </a:lnTo>
                      <a:lnTo>
                        <a:pt x="304" y="461"/>
                      </a:lnTo>
                      <a:lnTo>
                        <a:pt x="303" y="457"/>
                      </a:lnTo>
                      <a:lnTo>
                        <a:pt x="304" y="454"/>
                      </a:lnTo>
                      <a:lnTo>
                        <a:pt x="304" y="453"/>
                      </a:lnTo>
                      <a:lnTo>
                        <a:pt x="304" y="450"/>
                      </a:lnTo>
                      <a:lnTo>
                        <a:pt x="304" y="449"/>
                      </a:lnTo>
                      <a:lnTo>
                        <a:pt x="304" y="448"/>
                      </a:lnTo>
                      <a:lnTo>
                        <a:pt x="306" y="446"/>
                      </a:lnTo>
                      <a:lnTo>
                        <a:pt x="306" y="443"/>
                      </a:lnTo>
                      <a:lnTo>
                        <a:pt x="306" y="442"/>
                      </a:lnTo>
                      <a:lnTo>
                        <a:pt x="307" y="442"/>
                      </a:lnTo>
                      <a:lnTo>
                        <a:pt x="307" y="441"/>
                      </a:lnTo>
                      <a:lnTo>
                        <a:pt x="306" y="441"/>
                      </a:lnTo>
                      <a:lnTo>
                        <a:pt x="307" y="439"/>
                      </a:lnTo>
                      <a:lnTo>
                        <a:pt x="307" y="438"/>
                      </a:lnTo>
                      <a:lnTo>
                        <a:pt x="307" y="436"/>
                      </a:lnTo>
                      <a:lnTo>
                        <a:pt x="306" y="435"/>
                      </a:lnTo>
                      <a:lnTo>
                        <a:pt x="306" y="434"/>
                      </a:lnTo>
                      <a:lnTo>
                        <a:pt x="306" y="433"/>
                      </a:lnTo>
                      <a:lnTo>
                        <a:pt x="304" y="432"/>
                      </a:lnTo>
                      <a:lnTo>
                        <a:pt x="304" y="431"/>
                      </a:lnTo>
                      <a:lnTo>
                        <a:pt x="304" y="428"/>
                      </a:lnTo>
                      <a:lnTo>
                        <a:pt x="303" y="428"/>
                      </a:lnTo>
                      <a:lnTo>
                        <a:pt x="303" y="427"/>
                      </a:lnTo>
                      <a:lnTo>
                        <a:pt x="302" y="426"/>
                      </a:lnTo>
                      <a:lnTo>
                        <a:pt x="302" y="425"/>
                      </a:lnTo>
                      <a:lnTo>
                        <a:pt x="301" y="424"/>
                      </a:lnTo>
                      <a:lnTo>
                        <a:pt x="301" y="421"/>
                      </a:lnTo>
                      <a:lnTo>
                        <a:pt x="301" y="420"/>
                      </a:lnTo>
                      <a:lnTo>
                        <a:pt x="301" y="419"/>
                      </a:lnTo>
                      <a:lnTo>
                        <a:pt x="301" y="417"/>
                      </a:lnTo>
                      <a:lnTo>
                        <a:pt x="302" y="415"/>
                      </a:lnTo>
                      <a:lnTo>
                        <a:pt x="302" y="414"/>
                      </a:lnTo>
                      <a:lnTo>
                        <a:pt x="302" y="413"/>
                      </a:lnTo>
                      <a:lnTo>
                        <a:pt x="303" y="413"/>
                      </a:lnTo>
                      <a:lnTo>
                        <a:pt x="303" y="412"/>
                      </a:lnTo>
                      <a:lnTo>
                        <a:pt x="303" y="411"/>
                      </a:lnTo>
                      <a:lnTo>
                        <a:pt x="304" y="410"/>
                      </a:lnTo>
                      <a:lnTo>
                        <a:pt x="304" y="408"/>
                      </a:lnTo>
                      <a:lnTo>
                        <a:pt x="303" y="408"/>
                      </a:lnTo>
                      <a:lnTo>
                        <a:pt x="303" y="407"/>
                      </a:lnTo>
                      <a:lnTo>
                        <a:pt x="304" y="407"/>
                      </a:lnTo>
                      <a:lnTo>
                        <a:pt x="304" y="406"/>
                      </a:lnTo>
                      <a:lnTo>
                        <a:pt x="303" y="406"/>
                      </a:lnTo>
                      <a:lnTo>
                        <a:pt x="303" y="405"/>
                      </a:lnTo>
                      <a:lnTo>
                        <a:pt x="304" y="405"/>
                      </a:lnTo>
                      <a:lnTo>
                        <a:pt x="303" y="405"/>
                      </a:lnTo>
                      <a:lnTo>
                        <a:pt x="303" y="404"/>
                      </a:lnTo>
                      <a:lnTo>
                        <a:pt x="303" y="403"/>
                      </a:lnTo>
                      <a:lnTo>
                        <a:pt x="302" y="401"/>
                      </a:lnTo>
                      <a:lnTo>
                        <a:pt x="302" y="400"/>
                      </a:lnTo>
                      <a:lnTo>
                        <a:pt x="301" y="400"/>
                      </a:lnTo>
                      <a:lnTo>
                        <a:pt x="300" y="400"/>
                      </a:lnTo>
                      <a:lnTo>
                        <a:pt x="297" y="400"/>
                      </a:lnTo>
                      <a:lnTo>
                        <a:pt x="295" y="400"/>
                      </a:lnTo>
                      <a:lnTo>
                        <a:pt x="293" y="400"/>
                      </a:lnTo>
                      <a:lnTo>
                        <a:pt x="290" y="400"/>
                      </a:lnTo>
                      <a:lnTo>
                        <a:pt x="288" y="400"/>
                      </a:lnTo>
                      <a:lnTo>
                        <a:pt x="286" y="400"/>
                      </a:lnTo>
                      <a:lnTo>
                        <a:pt x="283" y="400"/>
                      </a:lnTo>
                      <a:lnTo>
                        <a:pt x="281" y="400"/>
                      </a:lnTo>
                      <a:lnTo>
                        <a:pt x="279" y="400"/>
                      </a:lnTo>
                      <a:lnTo>
                        <a:pt x="276" y="400"/>
                      </a:lnTo>
                      <a:lnTo>
                        <a:pt x="274" y="400"/>
                      </a:lnTo>
                      <a:lnTo>
                        <a:pt x="273" y="400"/>
                      </a:lnTo>
                      <a:lnTo>
                        <a:pt x="271" y="400"/>
                      </a:lnTo>
                      <a:lnTo>
                        <a:pt x="268" y="400"/>
                      </a:lnTo>
                      <a:lnTo>
                        <a:pt x="266" y="400"/>
                      </a:lnTo>
                      <a:lnTo>
                        <a:pt x="264" y="400"/>
                      </a:lnTo>
                      <a:lnTo>
                        <a:pt x="261" y="400"/>
                      </a:lnTo>
                      <a:lnTo>
                        <a:pt x="261" y="399"/>
                      </a:lnTo>
                      <a:lnTo>
                        <a:pt x="261" y="398"/>
                      </a:lnTo>
                      <a:lnTo>
                        <a:pt x="261" y="396"/>
                      </a:lnTo>
                      <a:lnTo>
                        <a:pt x="262" y="394"/>
                      </a:lnTo>
                      <a:lnTo>
                        <a:pt x="262" y="393"/>
                      </a:lnTo>
                      <a:lnTo>
                        <a:pt x="264" y="391"/>
                      </a:lnTo>
                      <a:lnTo>
                        <a:pt x="265" y="389"/>
                      </a:lnTo>
                      <a:lnTo>
                        <a:pt x="262" y="389"/>
                      </a:lnTo>
                      <a:lnTo>
                        <a:pt x="260" y="389"/>
                      </a:lnTo>
                      <a:lnTo>
                        <a:pt x="258" y="389"/>
                      </a:lnTo>
                      <a:lnTo>
                        <a:pt x="256" y="389"/>
                      </a:lnTo>
                      <a:lnTo>
                        <a:pt x="256" y="390"/>
                      </a:lnTo>
                      <a:lnTo>
                        <a:pt x="254" y="390"/>
                      </a:lnTo>
                      <a:lnTo>
                        <a:pt x="254" y="391"/>
                      </a:lnTo>
                      <a:lnTo>
                        <a:pt x="254" y="392"/>
                      </a:lnTo>
                      <a:lnTo>
                        <a:pt x="253" y="392"/>
                      </a:lnTo>
                      <a:lnTo>
                        <a:pt x="252" y="392"/>
                      </a:lnTo>
                      <a:lnTo>
                        <a:pt x="251" y="392"/>
                      </a:lnTo>
                      <a:lnTo>
                        <a:pt x="249" y="392"/>
                      </a:lnTo>
                      <a:lnTo>
                        <a:pt x="247" y="392"/>
                      </a:lnTo>
                      <a:lnTo>
                        <a:pt x="246" y="392"/>
                      </a:lnTo>
                      <a:lnTo>
                        <a:pt x="245" y="392"/>
                      </a:lnTo>
                      <a:lnTo>
                        <a:pt x="244" y="392"/>
                      </a:lnTo>
                      <a:lnTo>
                        <a:pt x="243" y="392"/>
                      </a:lnTo>
                      <a:lnTo>
                        <a:pt x="242" y="392"/>
                      </a:lnTo>
                      <a:lnTo>
                        <a:pt x="240" y="392"/>
                      </a:lnTo>
                      <a:lnTo>
                        <a:pt x="238" y="392"/>
                      </a:lnTo>
                      <a:lnTo>
                        <a:pt x="237" y="392"/>
                      </a:lnTo>
                      <a:lnTo>
                        <a:pt x="236" y="392"/>
                      </a:lnTo>
                      <a:lnTo>
                        <a:pt x="235" y="392"/>
                      </a:lnTo>
                      <a:lnTo>
                        <a:pt x="233" y="392"/>
                      </a:lnTo>
                      <a:lnTo>
                        <a:pt x="232" y="392"/>
                      </a:lnTo>
                      <a:lnTo>
                        <a:pt x="230" y="392"/>
                      </a:lnTo>
                      <a:lnTo>
                        <a:pt x="231" y="393"/>
                      </a:lnTo>
                      <a:lnTo>
                        <a:pt x="230" y="394"/>
                      </a:lnTo>
                      <a:lnTo>
                        <a:pt x="230" y="396"/>
                      </a:lnTo>
                      <a:lnTo>
                        <a:pt x="229" y="397"/>
                      </a:lnTo>
                      <a:lnTo>
                        <a:pt x="229" y="401"/>
                      </a:lnTo>
                      <a:lnTo>
                        <a:pt x="229" y="403"/>
                      </a:lnTo>
                      <a:lnTo>
                        <a:pt x="229" y="404"/>
                      </a:lnTo>
                      <a:lnTo>
                        <a:pt x="230" y="406"/>
                      </a:lnTo>
                      <a:lnTo>
                        <a:pt x="230" y="407"/>
                      </a:lnTo>
                      <a:lnTo>
                        <a:pt x="229" y="407"/>
                      </a:lnTo>
                      <a:lnTo>
                        <a:pt x="229" y="408"/>
                      </a:lnTo>
                      <a:lnTo>
                        <a:pt x="229" y="410"/>
                      </a:lnTo>
                      <a:lnTo>
                        <a:pt x="228" y="410"/>
                      </a:lnTo>
                      <a:lnTo>
                        <a:pt x="225" y="410"/>
                      </a:lnTo>
                      <a:lnTo>
                        <a:pt x="225" y="411"/>
                      </a:lnTo>
                      <a:lnTo>
                        <a:pt x="225" y="412"/>
                      </a:lnTo>
                      <a:lnTo>
                        <a:pt x="225" y="413"/>
                      </a:lnTo>
                      <a:lnTo>
                        <a:pt x="226" y="414"/>
                      </a:lnTo>
                      <a:lnTo>
                        <a:pt x="225" y="414"/>
                      </a:lnTo>
                      <a:lnTo>
                        <a:pt x="225" y="417"/>
                      </a:lnTo>
                      <a:lnTo>
                        <a:pt x="225" y="418"/>
                      </a:lnTo>
                      <a:lnTo>
                        <a:pt x="224" y="419"/>
                      </a:lnTo>
                      <a:lnTo>
                        <a:pt x="224" y="420"/>
                      </a:lnTo>
                      <a:lnTo>
                        <a:pt x="224" y="421"/>
                      </a:lnTo>
                      <a:lnTo>
                        <a:pt x="225" y="424"/>
                      </a:lnTo>
                      <a:lnTo>
                        <a:pt x="224" y="424"/>
                      </a:lnTo>
                      <a:lnTo>
                        <a:pt x="221" y="424"/>
                      </a:lnTo>
                      <a:lnTo>
                        <a:pt x="216" y="424"/>
                      </a:lnTo>
                      <a:lnTo>
                        <a:pt x="212" y="424"/>
                      </a:lnTo>
                      <a:lnTo>
                        <a:pt x="208" y="424"/>
                      </a:lnTo>
                      <a:lnTo>
                        <a:pt x="207" y="424"/>
                      </a:lnTo>
                      <a:lnTo>
                        <a:pt x="207" y="422"/>
                      </a:lnTo>
                      <a:lnTo>
                        <a:pt x="205" y="422"/>
                      </a:lnTo>
                      <a:lnTo>
                        <a:pt x="205" y="421"/>
                      </a:lnTo>
                      <a:lnTo>
                        <a:pt x="203" y="421"/>
                      </a:lnTo>
                      <a:lnTo>
                        <a:pt x="201" y="421"/>
                      </a:lnTo>
                      <a:lnTo>
                        <a:pt x="198" y="421"/>
                      </a:lnTo>
                      <a:lnTo>
                        <a:pt x="198" y="422"/>
                      </a:lnTo>
                      <a:lnTo>
                        <a:pt x="198" y="424"/>
                      </a:lnTo>
                      <a:lnTo>
                        <a:pt x="197" y="424"/>
                      </a:lnTo>
                      <a:lnTo>
                        <a:pt x="195" y="424"/>
                      </a:lnTo>
                      <a:lnTo>
                        <a:pt x="194" y="424"/>
                      </a:lnTo>
                      <a:lnTo>
                        <a:pt x="193" y="424"/>
                      </a:lnTo>
                      <a:lnTo>
                        <a:pt x="190" y="424"/>
                      </a:lnTo>
                      <a:lnTo>
                        <a:pt x="188" y="424"/>
                      </a:lnTo>
                      <a:lnTo>
                        <a:pt x="187" y="424"/>
                      </a:lnTo>
                      <a:lnTo>
                        <a:pt x="186" y="424"/>
                      </a:lnTo>
                      <a:lnTo>
                        <a:pt x="186" y="425"/>
                      </a:lnTo>
                      <a:lnTo>
                        <a:pt x="186" y="426"/>
                      </a:lnTo>
                      <a:lnTo>
                        <a:pt x="186" y="427"/>
                      </a:lnTo>
                      <a:lnTo>
                        <a:pt x="182" y="427"/>
                      </a:lnTo>
                      <a:lnTo>
                        <a:pt x="180" y="426"/>
                      </a:lnTo>
                      <a:lnTo>
                        <a:pt x="179" y="425"/>
                      </a:lnTo>
                      <a:lnTo>
                        <a:pt x="178" y="425"/>
                      </a:lnTo>
                      <a:lnTo>
                        <a:pt x="175" y="426"/>
                      </a:lnTo>
                      <a:lnTo>
                        <a:pt x="174" y="426"/>
                      </a:lnTo>
                      <a:lnTo>
                        <a:pt x="173" y="426"/>
                      </a:lnTo>
                      <a:lnTo>
                        <a:pt x="171" y="427"/>
                      </a:lnTo>
                      <a:lnTo>
                        <a:pt x="169" y="427"/>
                      </a:lnTo>
                      <a:lnTo>
                        <a:pt x="168" y="426"/>
                      </a:lnTo>
                      <a:lnTo>
                        <a:pt x="167" y="426"/>
                      </a:lnTo>
                      <a:lnTo>
                        <a:pt x="168" y="425"/>
                      </a:lnTo>
                      <a:lnTo>
                        <a:pt x="168" y="424"/>
                      </a:lnTo>
                      <a:lnTo>
                        <a:pt x="167" y="424"/>
                      </a:lnTo>
                      <a:lnTo>
                        <a:pt x="166" y="424"/>
                      </a:lnTo>
                      <a:lnTo>
                        <a:pt x="166" y="422"/>
                      </a:lnTo>
                      <a:lnTo>
                        <a:pt x="166" y="421"/>
                      </a:lnTo>
                      <a:lnTo>
                        <a:pt x="166" y="422"/>
                      </a:lnTo>
                      <a:lnTo>
                        <a:pt x="166" y="421"/>
                      </a:lnTo>
                      <a:lnTo>
                        <a:pt x="165" y="421"/>
                      </a:lnTo>
                      <a:lnTo>
                        <a:pt x="165" y="420"/>
                      </a:lnTo>
                      <a:lnTo>
                        <a:pt x="165" y="419"/>
                      </a:lnTo>
                      <a:lnTo>
                        <a:pt x="165" y="420"/>
                      </a:lnTo>
                      <a:lnTo>
                        <a:pt x="164" y="419"/>
                      </a:lnTo>
                      <a:lnTo>
                        <a:pt x="164" y="418"/>
                      </a:lnTo>
                      <a:lnTo>
                        <a:pt x="162" y="418"/>
                      </a:lnTo>
                      <a:lnTo>
                        <a:pt x="162" y="417"/>
                      </a:lnTo>
                      <a:lnTo>
                        <a:pt x="161" y="417"/>
                      </a:lnTo>
                      <a:lnTo>
                        <a:pt x="161" y="415"/>
                      </a:lnTo>
                      <a:lnTo>
                        <a:pt x="160" y="415"/>
                      </a:lnTo>
                      <a:lnTo>
                        <a:pt x="161" y="414"/>
                      </a:lnTo>
                      <a:lnTo>
                        <a:pt x="160" y="414"/>
                      </a:lnTo>
                      <a:lnTo>
                        <a:pt x="160" y="413"/>
                      </a:lnTo>
                      <a:lnTo>
                        <a:pt x="160" y="412"/>
                      </a:lnTo>
                      <a:lnTo>
                        <a:pt x="159" y="411"/>
                      </a:lnTo>
                      <a:lnTo>
                        <a:pt x="158" y="411"/>
                      </a:lnTo>
                      <a:lnTo>
                        <a:pt x="157" y="410"/>
                      </a:lnTo>
                      <a:lnTo>
                        <a:pt x="157" y="408"/>
                      </a:lnTo>
                      <a:lnTo>
                        <a:pt x="157" y="407"/>
                      </a:lnTo>
                      <a:lnTo>
                        <a:pt x="155" y="407"/>
                      </a:lnTo>
                      <a:lnTo>
                        <a:pt x="155" y="406"/>
                      </a:lnTo>
                      <a:lnTo>
                        <a:pt x="157" y="406"/>
                      </a:lnTo>
                      <a:lnTo>
                        <a:pt x="157" y="405"/>
                      </a:lnTo>
                      <a:lnTo>
                        <a:pt x="155" y="405"/>
                      </a:lnTo>
                      <a:lnTo>
                        <a:pt x="154" y="405"/>
                      </a:lnTo>
                      <a:lnTo>
                        <a:pt x="154" y="404"/>
                      </a:lnTo>
                      <a:lnTo>
                        <a:pt x="153" y="403"/>
                      </a:lnTo>
                      <a:lnTo>
                        <a:pt x="152" y="403"/>
                      </a:lnTo>
                      <a:lnTo>
                        <a:pt x="152" y="401"/>
                      </a:lnTo>
                      <a:lnTo>
                        <a:pt x="151" y="401"/>
                      </a:lnTo>
                      <a:lnTo>
                        <a:pt x="151" y="400"/>
                      </a:lnTo>
                      <a:lnTo>
                        <a:pt x="150" y="399"/>
                      </a:lnTo>
                      <a:lnTo>
                        <a:pt x="148" y="398"/>
                      </a:lnTo>
                      <a:lnTo>
                        <a:pt x="148" y="397"/>
                      </a:lnTo>
                      <a:lnTo>
                        <a:pt x="148" y="394"/>
                      </a:lnTo>
                      <a:lnTo>
                        <a:pt x="148" y="393"/>
                      </a:lnTo>
                      <a:lnTo>
                        <a:pt x="150" y="394"/>
                      </a:lnTo>
                      <a:lnTo>
                        <a:pt x="150" y="393"/>
                      </a:lnTo>
                      <a:lnTo>
                        <a:pt x="150" y="392"/>
                      </a:lnTo>
                      <a:lnTo>
                        <a:pt x="150" y="391"/>
                      </a:lnTo>
                      <a:lnTo>
                        <a:pt x="148" y="391"/>
                      </a:lnTo>
                      <a:lnTo>
                        <a:pt x="148" y="390"/>
                      </a:lnTo>
                      <a:lnTo>
                        <a:pt x="148" y="389"/>
                      </a:lnTo>
                      <a:lnTo>
                        <a:pt x="148" y="387"/>
                      </a:lnTo>
                      <a:lnTo>
                        <a:pt x="147" y="387"/>
                      </a:lnTo>
                      <a:lnTo>
                        <a:pt x="146" y="387"/>
                      </a:lnTo>
                      <a:lnTo>
                        <a:pt x="146" y="386"/>
                      </a:lnTo>
                      <a:lnTo>
                        <a:pt x="145" y="386"/>
                      </a:lnTo>
                      <a:lnTo>
                        <a:pt x="145" y="385"/>
                      </a:lnTo>
                      <a:lnTo>
                        <a:pt x="144" y="383"/>
                      </a:lnTo>
                      <a:lnTo>
                        <a:pt x="143" y="382"/>
                      </a:lnTo>
                      <a:lnTo>
                        <a:pt x="143" y="380"/>
                      </a:lnTo>
                      <a:lnTo>
                        <a:pt x="143" y="379"/>
                      </a:lnTo>
                      <a:lnTo>
                        <a:pt x="143" y="378"/>
                      </a:lnTo>
                      <a:lnTo>
                        <a:pt x="143" y="377"/>
                      </a:lnTo>
                      <a:lnTo>
                        <a:pt x="141" y="376"/>
                      </a:lnTo>
                      <a:lnTo>
                        <a:pt x="141" y="375"/>
                      </a:lnTo>
                      <a:lnTo>
                        <a:pt x="141" y="373"/>
                      </a:lnTo>
                      <a:lnTo>
                        <a:pt x="140" y="373"/>
                      </a:lnTo>
                      <a:lnTo>
                        <a:pt x="140" y="371"/>
                      </a:lnTo>
                      <a:lnTo>
                        <a:pt x="141" y="371"/>
                      </a:lnTo>
                      <a:lnTo>
                        <a:pt x="141" y="370"/>
                      </a:lnTo>
                      <a:lnTo>
                        <a:pt x="141" y="368"/>
                      </a:lnTo>
                      <a:lnTo>
                        <a:pt x="141" y="366"/>
                      </a:lnTo>
                      <a:lnTo>
                        <a:pt x="141" y="365"/>
                      </a:lnTo>
                      <a:lnTo>
                        <a:pt x="140" y="364"/>
                      </a:lnTo>
                      <a:lnTo>
                        <a:pt x="139" y="363"/>
                      </a:lnTo>
                      <a:lnTo>
                        <a:pt x="138" y="363"/>
                      </a:lnTo>
                      <a:lnTo>
                        <a:pt x="139" y="363"/>
                      </a:lnTo>
                      <a:lnTo>
                        <a:pt x="139" y="362"/>
                      </a:lnTo>
                      <a:lnTo>
                        <a:pt x="138" y="362"/>
                      </a:lnTo>
                      <a:lnTo>
                        <a:pt x="138" y="359"/>
                      </a:lnTo>
                      <a:lnTo>
                        <a:pt x="137" y="359"/>
                      </a:lnTo>
                      <a:lnTo>
                        <a:pt x="137" y="358"/>
                      </a:lnTo>
                      <a:lnTo>
                        <a:pt x="138" y="358"/>
                      </a:lnTo>
                      <a:lnTo>
                        <a:pt x="137" y="357"/>
                      </a:lnTo>
                      <a:lnTo>
                        <a:pt x="136" y="357"/>
                      </a:lnTo>
                      <a:lnTo>
                        <a:pt x="134" y="357"/>
                      </a:lnTo>
                      <a:lnTo>
                        <a:pt x="133" y="357"/>
                      </a:lnTo>
                      <a:lnTo>
                        <a:pt x="132" y="357"/>
                      </a:lnTo>
                      <a:lnTo>
                        <a:pt x="131" y="357"/>
                      </a:lnTo>
                      <a:lnTo>
                        <a:pt x="130" y="356"/>
                      </a:lnTo>
                      <a:lnTo>
                        <a:pt x="129" y="356"/>
                      </a:lnTo>
                      <a:lnTo>
                        <a:pt x="128" y="356"/>
                      </a:lnTo>
                      <a:lnTo>
                        <a:pt x="124" y="356"/>
                      </a:lnTo>
                      <a:lnTo>
                        <a:pt x="122" y="356"/>
                      </a:lnTo>
                      <a:lnTo>
                        <a:pt x="118" y="356"/>
                      </a:lnTo>
                      <a:lnTo>
                        <a:pt x="116" y="356"/>
                      </a:lnTo>
                      <a:lnTo>
                        <a:pt x="112" y="356"/>
                      </a:lnTo>
                      <a:lnTo>
                        <a:pt x="110" y="356"/>
                      </a:lnTo>
                      <a:lnTo>
                        <a:pt x="107" y="356"/>
                      </a:lnTo>
                      <a:lnTo>
                        <a:pt x="104" y="356"/>
                      </a:lnTo>
                      <a:lnTo>
                        <a:pt x="101" y="356"/>
                      </a:lnTo>
                      <a:lnTo>
                        <a:pt x="98" y="356"/>
                      </a:lnTo>
                      <a:lnTo>
                        <a:pt x="95" y="356"/>
                      </a:lnTo>
                      <a:lnTo>
                        <a:pt x="93" y="356"/>
                      </a:lnTo>
                      <a:lnTo>
                        <a:pt x="89" y="357"/>
                      </a:lnTo>
                      <a:lnTo>
                        <a:pt x="87" y="357"/>
                      </a:lnTo>
                      <a:lnTo>
                        <a:pt x="83" y="357"/>
                      </a:lnTo>
                      <a:lnTo>
                        <a:pt x="81" y="357"/>
                      </a:lnTo>
                      <a:lnTo>
                        <a:pt x="80" y="357"/>
                      </a:lnTo>
                      <a:lnTo>
                        <a:pt x="77" y="357"/>
                      </a:lnTo>
                      <a:lnTo>
                        <a:pt x="74" y="357"/>
                      </a:lnTo>
                      <a:lnTo>
                        <a:pt x="73" y="357"/>
                      </a:lnTo>
                      <a:lnTo>
                        <a:pt x="70" y="357"/>
                      </a:lnTo>
                      <a:lnTo>
                        <a:pt x="69" y="357"/>
                      </a:lnTo>
                      <a:lnTo>
                        <a:pt x="67" y="357"/>
                      </a:lnTo>
                      <a:lnTo>
                        <a:pt x="64" y="357"/>
                      </a:lnTo>
                      <a:lnTo>
                        <a:pt x="62" y="357"/>
                      </a:lnTo>
                      <a:lnTo>
                        <a:pt x="61" y="356"/>
                      </a:lnTo>
                      <a:lnTo>
                        <a:pt x="60" y="356"/>
                      </a:lnTo>
                      <a:lnTo>
                        <a:pt x="57" y="357"/>
                      </a:lnTo>
                      <a:lnTo>
                        <a:pt x="57" y="356"/>
                      </a:lnTo>
                      <a:lnTo>
                        <a:pt x="55" y="356"/>
                      </a:lnTo>
                      <a:lnTo>
                        <a:pt x="54" y="356"/>
                      </a:lnTo>
                      <a:lnTo>
                        <a:pt x="50" y="356"/>
                      </a:lnTo>
                      <a:lnTo>
                        <a:pt x="45" y="356"/>
                      </a:lnTo>
                      <a:lnTo>
                        <a:pt x="41" y="356"/>
                      </a:lnTo>
                      <a:lnTo>
                        <a:pt x="41" y="357"/>
                      </a:lnTo>
                      <a:lnTo>
                        <a:pt x="40" y="357"/>
                      </a:lnTo>
                      <a:lnTo>
                        <a:pt x="40" y="356"/>
                      </a:lnTo>
                      <a:lnTo>
                        <a:pt x="37" y="356"/>
                      </a:lnTo>
                      <a:lnTo>
                        <a:pt x="36" y="356"/>
                      </a:lnTo>
                      <a:lnTo>
                        <a:pt x="36" y="357"/>
                      </a:lnTo>
                      <a:lnTo>
                        <a:pt x="34" y="357"/>
                      </a:lnTo>
                      <a:lnTo>
                        <a:pt x="33" y="356"/>
                      </a:lnTo>
                      <a:lnTo>
                        <a:pt x="30" y="356"/>
                      </a:lnTo>
                      <a:lnTo>
                        <a:pt x="29" y="356"/>
                      </a:lnTo>
                      <a:lnTo>
                        <a:pt x="27" y="356"/>
                      </a:lnTo>
                      <a:lnTo>
                        <a:pt x="26" y="356"/>
                      </a:lnTo>
                      <a:lnTo>
                        <a:pt x="25" y="356"/>
                      </a:lnTo>
                      <a:lnTo>
                        <a:pt x="24" y="356"/>
                      </a:lnTo>
                      <a:lnTo>
                        <a:pt x="23" y="355"/>
                      </a:lnTo>
                      <a:lnTo>
                        <a:pt x="22" y="355"/>
                      </a:lnTo>
                      <a:lnTo>
                        <a:pt x="20" y="355"/>
                      </a:lnTo>
                      <a:lnTo>
                        <a:pt x="19" y="355"/>
                      </a:lnTo>
                      <a:lnTo>
                        <a:pt x="18" y="356"/>
                      </a:lnTo>
                      <a:lnTo>
                        <a:pt x="17" y="357"/>
                      </a:lnTo>
                      <a:lnTo>
                        <a:pt x="16" y="358"/>
                      </a:lnTo>
                      <a:lnTo>
                        <a:pt x="16" y="361"/>
                      </a:lnTo>
                      <a:lnTo>
                        <a:pt x="13" y="361"/>
                      </a:lnTo>
                      <a:lnTo>
                        <a:pt x="12" y="361"/>
                      </a:lnTo>
                      <a:lnTo>
                        <a:pt x="10" y="362"/>
                      </a:lnTo>
                      <a:lnTo>
                        <a:pt x="8" y="363"/>
                      </a:lnTo>
                      <a:lnTo>
                        <a:pt x="6" y="363"/>
                      </a:lnTo>
                      <a:lnTo>
                        <a:pt x="6" y="362"/>
                      </a:lnTo>
                      <a:lnTo>
                        <a:pt x="8" y="362"/>
                      </a:lnTo>
                      <a:lnTo>
                        <a:pt x="8" y="361"/>
                      </a:lnTo>
                      <a:lnTo>
                        <a:pt x="6" y="361"/>
                      </a:lnTo>
                      <a:lnTo>
                        <a:pt x="5" y="361"/>
                      </a:lnTo>
                      <a:lnTo>
                        <a:pt x="4" y="359"/>
                      </a:lnTo>
                      <a:lnTo>
                        <a:pt x="3" y="358"/>
                      </a:lnTo>
                      <a:lnTo>
                        <a:pt x="1" y="356"/>
                      </a:lnTo>
                      <a:lnTo>
                        <a:pt x="0" y="354"/>
                      </a:lnTo>
                      <a:lnTo>
                        <a:pt x="1" y="352"/>
                      </a:lnTo>
                      <a:lnTo>
                        <a:pt x="3" y="352"/>
                      </a:lnTo>
                      <a:lnTo>
                        <a:pt x="6" y="352"/>
                      </a:lnTo>
                      <a:lnTo>
                        <a:pt x="9" y="352"/>
                      </a:lnTo>
                      <a:lnTo>
                        <a:pt x="9" y="349"/>
                      </a:lnTo>
                      <a:lnTo>
                        <a:pt x="9" y="348"/>
                      </a:lnTo>
                      <a:lnTo>
                        <a:pt x="9" y="343"/>
                      </a:lnTo>
                      <a:lnTo>
                        <a:pt x="9" y="340"/>
                      </a:lnTo>
                      <a:lnTo>
                        <a:pt x="9" y="337"/>
                      </a:lnTo>
                      <a:lnTo>
                        <a:pt x="9" y="335"/>
                      </a:lnTo>
                      <a:lnTo>
                        <a:pt x="9" y="334"/>
                      </a:lnTo>
                      <a:lnTo>
                        <a:pt x="9" y="333"/>
                      </a:lnTo>
                      <a:lnTo>
                        <a:pt x="6" y="333"/>
                      </a:lnTo>
                      <a:lnTo>
                        <a:pt x="6" y="331"/>
                      </a:lnTo>
                      <a:lnTo>
                        <a:pt x="8" y="331"/>
                      </a:lnTo>
                      <a:lnTo>
                        <a:pt x="10" y="330"/>
                      </a:lnTo>
                      <a:lnTo>
                        <a:pt x="11" y="329"/>
                      </a:lnTo>
                      <a:lnTo>
                        <a:pt x="11" y="328"/>
                      </a:lnTo>
                      <a:lnTo>
                        <a:pt x="12" y="327"/>
                      </a:lnTo>
                      <a:lnTo>
                        <a:pt x="13" y="327"/>
                      </a:lnTo>
                      <a:lnTo>
                        <a:pt x="15" y="327"/>
                      </a:lnTo>
                      <a:lnTo>
                        <a:pt x="15" y="326"/>
                      </a:lnTo>
                      <a:lnTo>
                        <a:pt x="15" y="324"/>
                      </a:lnTo>
                      <a:lnTo>
                        <a:pt x="16" y="324"/>
                      </a:lnTo>
                      <a:lnTo>
                        <a:pt x="17" y="323"/>
                      </a:lnTo>
                      <a:lnTo>
                        <a:pt x="17" y="322"/>
                      </a:lnTo>
                      <a:lnTo>
                        <a:pt x="18" y="321"/>
                      </a:lnTo>
                      <a:lnTo>
                        <a:pt x="19" y="321"/>
                      </a:lnTo>
                      <a:lnTo>
                        <a:pt x="25" y="319"/>
                      </a:lnTo>
                      <a:lnTo>
                        <a:pt x="26" y="319"/>
                      </a:lnTo>
                      <a:lnTo>
                        <a:pt x="26" y="317"/>
                      </a:lnTo>
                      <a:lnTo>
                        <a:pt x="26" y="316"/>
                      </a:lnTo>
                      <a:lnTo>
                        <a:pt x="27" y="316"/>
                      </a:lnTo>
                      <a:lnTo>
                        <a:pt x="29" y="316"/>
                      </a:lnTo>
                      <a:lnTo>
                        <a:pt x="29" y="317"/>
                      </a:lnTo>
                      <a:lnTo>
                        <a:pt x="30" y="319"/>
                      </a:lnTo>
                      <a:lnTo>
                        <a:pt x="30" y="320"/>
                      </a:lnTo>
                      <a:lnTo>
                        <a:pt x="31" y="320"/>
                      </a:lnTo>
                      <a:lnTo>
                        <a:pt x="32" y="321"/>
                      </a:lnTo>
                      <a:lnTo>
                        <a:pt x="34" y="322"/>
                      </a:lnTo>
                      <a:lnTo>
                        <a:pt x="36" y="322"/>
                      </a:lnTo>
                      <a:lnTo>
                        <a:pt x="36" y="323"/>
                      </a:lnTo>
                      <a:lnTo>
                        <a:pt x="36" y="324"/>
                      </a:lnTo>
                      <a:lnTo>
                        <a:pt x="37" y="326"/>
                      </a:lnTo>
                      <a:lnTo>
                        <a:pt x="38" y="324"/>
                      </a:lnTo>
                      <a:lnTo>
                        <a:pt x="39" y="323"/>
                      </a:lnTo>
                      <a:lnTo>
                        <a:pt x="40" y="322"/>
                      </a:lnTo>
                      <a:lnTo>
                        <a:pt x="39" y="322"/>
                      </a:lnTo>
                      <a:lnTo>
                        <a:pt x="40" y="321"/>
                      </a:lnTo>
                      <a:lnTo>
                        <a:pt x="41" y="322"/>
                      </a:lnTo>
                      <a:lnTo>
                        <a:pt x="43" y="322"/>
                      </a:lnTo>
                      <a:lnTo>
                        <a:pt x="44" y="321"/>
                      </a:lnTo>
                      <a:lnTo>
                        <a:pt x="45" y="321"/>
                      </a:lnTo>
                      <a:lnTo>
                        <a:pt x="46" y="321"/>
                      </a:lnTo>
                      <a:lnTo>
                        <a:pt x="45" y="320"/>
                      </a:lnTo>
                      <a:lnTo>
                        <a:pt x="46" y="320"/>
                      </a:lnTo>
                      <a:lnTo>
                        <a:pt x="46" y="317"/>
                      </a:lnTo>
                      <a:lnTo>
                        <a:pt x="47" y="316"/>
                      </a:lnTo>
                      <a:lnTo>
                        <a:pt x="47" y="315"/>
                      </a:lnTo>
                      <a:lnTo>
                        <a:pt x="46" y="313"/>
                      </a:lnTo>
                      <a:lnTo>
                        <a:pt x="46" y="312"/>
                      </a:lnTo>
                      <a:lnTo>
                        <a:pt x="47" y="312"/>
                      </a:lnTo>
                      <a:lnTo>
                        <a:pt x="48" y="310"/>
                      </a:lnTo>
                      <a:lnTo>
                        <a:pt x="50" y="310"/>
                      </a:lnTo>
                      <a:lnTo>
                        <a:pt x="51" y="312"/>
                      </a:lnTo>
                      <a:lnTo>
                        <a:pt x="51" y="313"/>
                      </a:lnTo>
                      <a:lnTo>
                        <a:pt x="52" y="313"/>
                      </a:lnTo>
                      <a:lnTo>
                        <a:pt x="53" y="313"/>
                      </a:lnTo>
                      <a:lnTo>
                        <a:pt x="54" y="313"/>
                      </a:lnTo>
                      <a:lnTo>
                        <a:pt x="55" y="312"/>
                      </a:lnTo>
                      <a:lnTo>
                        <a:pt x="57" y="310"/>
                      </a:lnTo>
                      <a:lnTo>
                        <a:pt x="58" y="310"/>
                      </a:lnTo>
                      <a:lnTo>
                        <a:pt x="60" y="309"/>
                      </a:lnTo>
                      <a:lnTo>
                        <a:pt x="61" y="309"/>
                      </a:lnTo>
                      <a:lnTo>
                        <a:pt x="62" y="309"/>
                      </a:lnTo>
                      <a:lnTo>
                        <a:pt x="64" y="308"/>
                      </a:lnTo>
                      <a:lnTo>
                        <a:pt x="65" y="307"/>
                      </a:lnTo>
                      <a:lnTo>
                        <a:pt x="66" y="307"/>
                      </a:lnTo>
                      <a:lnTo>
                        <a:pt x="67" y="306"/>
                      </a:lnTo>
                      <a:lnTo>
                        <a:pt x="68" y="306"/>
                      </a:lnTo>
                      <a:lnTo>
                        <a:pt x="68" y="307"/>
                      </a:lnTo>
                      <a:lnTo>
                        <a:pt x="68" y="308"/>
                      </a:lnTo>
                      <a:lnTo>
                        <a:pt x="68" y="309"/>
                      </a:lnTo>
                      <a:lnTo>
                        <a:pt x="69" y="310"/>
                      </a:lnTo>
                      <a:lnTo>
                        <a:pt x="70" y="310"/>
                      </a:lnTo>
                      <a:lnTo>
                        <a:pt x="70" y="312"/>
                      </a:lnTo>
                      <a:lnTo>
                        <a:pt x="69" y="313"/>
                      </a:lnTo>
                      <a:lnTo>
                        <a:pt x="68" y="314"/>
                      </a:lnTo>
                      <a:lnTo>
                        <a:pt x="67" y="314"/>
                      </a:lnTo>
                      <a:lnTo>
                        <a:pt x="67" y="315"/>
                      </a:lnTo>
                      <a:lnTo>
                        <a:pt x="67" y="316"/>
                      </a:lnTo>
                      <a:lnTo>
                        <a:pt x="67" y="317"/>
                      </a:lnTo>
                      <a:lnTo>
                        <a:pt x="68" y="317"/>
                      </a:lnTo>
                      <a:lnTo>
                        <a:pt x="68" y="319"/>
                      </a:lnTo>
                      <a:lnTo>
                        <a:pt x="68" y="320"/>
                      </a:lnTo>
                      <a:lnTo>
                        <a:pt x="68" y="321"/>
                      </a:lnTo>
                      <a:lnTo>
                        <a:pt x="68" y="322"/>
                      </a:lnTo>
                      <a:lnTo>
                        <a:pt x="68" y="324"/>
                      </a:lnTo>
                      <a:lnTo>
                        <a:pt x="68" y="326"/>
                      </a:lnTo>
                      <a:lnTo>
                        <a:pt x="69" y="326"/>
                      </a:lnTo>
                      <a:lnTo>
                        <a:pt x="70" y="324"/>
                      </a:lnTo>
                      <a:lnTo>
                        <a:pt x="72" y="324"/>
                      </a:lnTo>
                      <a:lnTo>
                        <a:pt x="73" y="324"/>
                      </a:lnTo>
                      <a:lnTo>
                        <a:pt x="74" y="324"/>
                      </a:lnTo>
                      <a:lnTo>
                        <a:pt x="74" y="326"/>
                      </a:lnTo>
                      <a:lnTo>
                        <a:pt x="75" y="326"/>
                      </a:lnTo>
                      <a:lnTo>
                        <a:pt x="76" y="326"/>
                      </a:lnTo>
                      <a:lnTo>
                        <a:pt x="77" y="326"/>
                      </a:lnTo>
                      <a:lnTo>
                        <a:pt x="80" y="324"/>
                      </a:lnTo>
                      <a:lnTo>
                        <a:pt x="81" y="323"/>
                      </a:lnTo>
                      <a:lnTo>
                        <a:pt x="82" y="323"/>
                      </a:lnTo>
                      <a:lnTo>
                        <a:pt x="82" y="322"/>
                      </a:lnTo>
                      <a:lnTo>
                        <a:pt x="84" y="317"/>
                      </a:lnTo>
                      <a:lnTo>
                        <a:pt x="88" y="315"/>
                      </a:lnTo>
                      <a:lnTo>
                        <a:pt x="89" y="314"/>
                      </a:lnTo>
                      <a:lnTo>
                        <a:pt x="90" y="313"/>
                      </a:lnTo>
                      <a:lnTo>
                        <a:pt x="91" y="310"/>
                      </a:lnTo>
                      <a:lnTo>
                        <a:pt x="93" y="309"/>
                      </a:lnTo>
                      <a:lnTo>
                        <a:pt x="94" y="308"/>
                      </a:lnTo>
                      <a:lnTo>
                        <a:pt x="95" y="307"/>
                      </a:lnTo>
                      <a:lnTo>
                        <a:pt x="96" y="307"/>
                      </a:lnTo>
                      <a:lnTo>
                        <a:pt x="100" y="305"/>
                      </a:lnTo>
                      <a:lnTo>
                        <a:pt x="101" y="305"/>
                      </a:lnTo>
                      <a:lnTo>
                        <a:pt x="102" y="305"/>
                      </a:lnTo>
                      <a:lnTo>
                        <a:pt x="102" y="303"/>
                      </a:lnTo>
                      <a:lnTo>
                        <a:pt x="103" y="302"/>
                      </a:lnTo>
                      <a:lnTo>
                        <a:pt x="103" y="300"/>
                      </a:lnTo>
                      <a:lnTo>
                        <a:pt x="104" y="299"/>
                      </a:lnTo>
                      <a:lnTo>
                        <a:pt x="105" y="299"/>
                      </a:lnTo>
                      <a:lnTo>
                        <a:pt x="110" y="296"/>
                      </a:lnTo>
                      <a:lnTo>
                        <a:pt x="111" y="296"/>
                      </a:lnTo>
                      <a:lnTo>
                        <a:pt x="112" y="296"/>
                      </a:lnTo>
                      <a:lnTo>
                        <a:pt x="114" y="296"/>
                      </a:lnTo>
                      <a:lnTo>
                        <a:pt x="115" y="295"/>
                      </a:lnTo>
                      <a:lnTo>
                        <a:pt x="116" y="294"/>
                      </a:lnTo>
                      <a:lnTo>
                        <a:pt x="117" y="293"/>
                      </a:lnTo>
                      <a:lnTo>
                        <a:pt x="117" y="292"/>
                      </a:lnTo>
                      <a:lnTo>
                        <a:pt x="118" y="291"/>
                      </a:lnTo>
                      <a:lnTo>
                        <a:pt x="118" y="289"/>
                      </a:lnTo>
                      <a:lnTo>
                        <a:pt x="119" y="288"/>
                      </a:lnTo>
                      <a:lnTo>
                        <a:pt x="121" y="285"/>
                      </a:lnTo>
                      <a:lnTo>
                        <a:pt x="122" y="282"/>
                      </a:lnTo>
                      <a:lnTo>
                        <a:pt x="123" y="281"/>
                      </a:lnTo>
                      <a:lnTo>
                        <a:pt x="124" y="280"/>
                      </a:lnTo>
                      <a:lnTo>
                        <a:pt x="125" y="277"/>
                      </a:lnTo>
                      <a:lnTo>
                        <a:pt x="125" y="275"/>
                      </a:lnTo>
                      <a:lnTo>
                        <a:pt x="126" y="274"/>
                      </a:lnTo>
                      <a:lnTo>
                        <a:pt x="125" y="274"/>
                      </a:lnTo>
                      <a:lnTo>
                        <a:pt x="125" y="273"/>
                      </a:lnTo>
                      <a:lnTo>
                        <a:pt x="125" y="272"/>
                      </a:lnTo>
                      <a:lnTo>
                        <a:pt x="125" y="271"/>
                      </a:lnTo>
                      <a:lnTo>
                        <a:pt x="124" y="271"/>
                      </a:lnTo>
                      <a:lnTo>
                        <a:pt x="124" y="270"/>
                      </a:lnTo>
                      <a:lnTo>
                        <a:pt x="124" y="268"/>
                      </a:lnTo>
                      <a:lnTo>
                        <a:pt x="124" y="266"/>
                      </a:lnTo>
                      <a:lnTo>
                        <a:pt x="124" y="265"/>
                      </a:lnTo>
                      <a:lnTo>
                        <a:pt x="124" y="264"/>
                      </a:lnTo>
                      <a:lnTo>
                        <a:pt x="124" y="261"/>
                      </a:lnTo>
                      <a:lnTo>
                        <a:pt x="125" y="259"/>
                      </a:lnTo>
                      <a:lnTo>
                        <a:pt x="125" y="254"/>
                      </a:lnTo>
                      <a:lnTo>
                        <a:pt x="124" y="246"/>
                      </a:lnTo>
                      <a:lnTo>
                        <a:pt x="124" y="245"/>
                      </a:lnTo>
                      <a:lnTo>
                        <a:pt x="124" y="244"/>
                      </a:lnTo>
                      <a:lnTo>
                        <a:pt x="124" y="243"/>
                      </a:lnTo>
                      <a:lnTo>
                        <a:pt x="124" y="242"/>
                      </a:lnTo>
                      <a:lnTo>
                        <a:pt x="124" y="240"/>
                      </a:lnTo>
                      <a:lnTo>
                        <a:pt x="125" y="239"/>
                      </a:lnTo>
                      <a:lnTo>
                        <a:pt x="125" y="238"/>
                      </a:lnTo>
                      <a:lnTo>
                        <a:pt x="126" y="237"/>
                      </a:lnTo>
                      <a:lnTo>
                        <a:pt x="128" y="237"/>
                      </a:lnTo>
                      <a:lnTo>
                        <a:pt x="129" y="236"/>
                      </a:lnTo>
                      <a:lnTo>
                        <a:pt x="131" y="235"/>
                      </a:lnTo>
                      <a:lnTo>
                        <a:pt x="132" y="232"/>
                      </a:lnTo>
                      <a:lnTo>
                        <a:pt x="133" y="231"/>
                      </a:lnTo>
                      <a:lnTo>
                        <a:pt x="134" y="231"/>
                      </a:lnTo>
                      <a:lnTo>
                        <a:pt x="134" y="230"/>
                      </a:lnTo>
                      <a:lnTo>
                        <a:pt x="138" y="226"/>
                      </a:lnTo>
                      <a:lnTo>
                        <a:pt x="138" y="225"/>
                      </a:lnTo>
                      <a:lnTo>
                        <a:pt x="138" y="224"/>
                      </a:lnTo>
                      <a:lnTo>
                        <a:pt x="138" y="223"/>
                      </a:lnTo>
                      <a:lnTo>
                        <a:pt x="138" y="222"/>
                      </a:lnTo>
                      <a:lnTo>
                        <a:pt x="139" y="221"/>
                      </a:lnTo>
                      <a:lnTo>
                        <a:pt x="140" y="219"/>
                      </a:lnTo>
                      <a:lnTo>
                        <a:pt x="141" y="217"/>
                      </a:lnTo>
                      <a:lnTo>
                        <a:pt x="143" y="215"/>
                      </a:lnTo>
                      <a:lnTo>
                        <a:pt x="144" y="214"/>
                      </a:lnTo>
                      <a:lnTo>
                        <a:pt x="144" y="212"/>
                      </a:lnTo>
                      <a:lnTo>
                        <a:pt x="145" y="211"/>
                      </a:lnTo>
                      <a:lnTo>
                        <a:pt x="146" y="210"/>
                      </a:lnTo>
                      <a:lnTo>
                        <a:pt x="147" y="209"/>
                      </a:lnTo>
                      <a:lnTo>
                        <a:pt x="148" y="208"/>
                      </a:lnTo>
                      <a:lnTo>
                        <a:pt x="150" y="207"/>
                      </a:lnTo>
                      <a:lnTo>
                        <a:pt x="150" y="205"/>
                      </a:lnTo>
                      <a:lnTo>
                        <a:pt x="151" y="205"/>
                      </a:lnTo>
                      <a:lnTo>
                        <a:pt x="152" y="205"/>
                      </a:lnTo>
                      <a:lnTo>
                        <a:pt x="153" y="205"/>
                      </a:lnTo>
                      <a:lnTo>
                        <a:pt x="155" y="204"/>
                      </a:lnTo>
                      <a:lnTo>
                        <a:pt x="157" y="204"/>
                      </a:lnTo>
                      <a:lnTo>
                        <a:pt x="158" y="203"/>
                      </a:lnTo>
                      <a:lnTo>
                        <a:pt x="159" y="203"/>
                      </a:lnTo>
                      <a:lnTo>
                        <a:pt x="160" y="203"/>
                      </a:lnTo>
                      <a:lnTo>
                        <a:pt x="160" y="202"/>
                      </a:lnTo>
                      <a:lnTo>
                        <a:pt x="161" y="202"/>
                      </a:lnTo>
                      <a:lnTo>
                        <a:pt x="162" y="201"/>
                      </a:lnTo>
                      <a:lnTo>
                        <a:pt x="162" y="200"/>
                      </a:lnTo>
                      <a:lnTo>
                        <a:pt x="167" y="195"/>
                      </a:lnTo>
                      <a:lnTo>
                        <a:pt x="169" y="193"/>
                      </a:lnTo>
                      <a:lnTo>
                        <a:pt x="171" y="191"/>
                      </a:lnTo>
                      <a:lnTo>
                        <a:pt x="171" y="190"/>
                      </a:lnTo>
                      <a:lnTo>
                        <a:pt x="173" y="188"/>
                      </a:lnTo>
                      <a:lnTo>
                        <a:pt x="174" y="188"/>
                      </a:lnTo>
                      <a:lnTo>
                        <a:pt x="173" y="182"/>
                      </a:lnTo>
                      <a:lnTo>
                        <a:pt x="173" y="179"/>
                      </a:lnTo>
                      <a:lnTo>
                        <a:pt x="173" y="177"/>
                      </a:lnTo>
                      <a:lnTo>
                        <a:pt x="174" y="172"/>
                      </a:lnTo>
                      <a:lnTo>
                        <a:pt x="174" y="170"/>
                      </a:lnTo>
                      <a:lnTo>
                        <a:pt x="176" y="163"/>
                      </a:lnTo>
                      <a:lnTo>
                        <a:pt x="180" y="160"/>
                      </a:lnTo>
                      <a:lnTo>
                        <a:pt x="180" y="159"/>
                      </a:lnTo>
                      <a:lnTo>
                        <a:pt x="180" y="156"/>
                      </a:lnTo>
                      <a:lnTo>
                        <a:pt x="180" y="155"/>
                      </a:lnTo>
                      <a:lnTo>
                        <a:pt x="180" y="154"/>
                      </a:lnTo>
                      <a:lnTo>
                        <a:pt x="179" y="154"/>
                      </a:lnTo>
                      <a:lnTo>
                        <a:pt x="179" y="153"/>
                      </a:lnTo>
                      <a:lnTo>
                        <a:pt x="178" y="152"/>
                      </a:lnTo>
                      <a:lnTo>
                        <a:pt x="178" y="151"/>
                      </a:lnTo>
                      <a:lnTo>
                        <a:pt x="179" y="148"/>
                      </a:lnTo>
                      <a:lnTo>
                        <a:pt x="179" y="147"/>
                      </a:lnTo>
                      <a:lnTo>
                        <a:pt x="178" y="144"/>
                      </a:lnTo>
                      <a:lnTo>
                        <a:pt x="178" y="141"/>
                      </a:lnTo>
                      <a:lnTo>
                        <a:pt x="178" y="139"/>
                      </a:lnTo>
                      <a:lnTo>
                        <a:pt x="178" y="138"/>
                      </a:lnTo>
                      <a:lnTo>
                        <a:pt x="178" y="137"/>
                      </a:lnTo>
                      <a:lnTo>
                        <a:pt x="179" y="137"/>
                      </a:lnTo>
                      <a:lnTo>
                        <a:pt x="180" y="134"/>
                      </a:lnTo>
                      <a:lnTo>
                        <a:pt x="180" y="133"/>
                      </a:lnTo>
                      <a:lnTo>
                        <a:pt x="180" y="131"/>
                      </a:lnTo>
                      <a:lnTo>
                        <a:pt x="181" y="127"/>
                      </a:lnTo>
                      <a:lnTo>
                        <a:pt x="181" y="126"/>
                      </a:lnTo>
                      <a:lnTo>
                        <a:pt x="182" y="126"/>
                      </a:lnTo>
                      <a:lnTo>
                        <a:pt x="183" y="121"/>
                      </a:lnTo>
                      <a:lnTo>
                        <a:pt x="183" y="112"/>
                      </a:lnTo>
                      <a:lnTo>
                        <a:pt x="183" y="111"/>
                      </a:lnTo>
                      <a:lnTo>
                        <a:pt x="183" y="110"/>
                      </a:lnTo>
                      <a:lnTo>
                        <a:pt x="183" y="109"/>
                      </a:lnTo>
                      <a:lnTo>
                        <a:pt x="183" y="105"/>
                      </a:lnTo>
                      <a:lnTo>
                        <a:pt x="183" y="104"/>
                      </a:lnTo>
                      <a:lnTo>
                        <a:pt x="183" y="103"/>
                      </a:lnTo>
                      <a:lnTo>
                        <a:pt x="185" y="99"/>
                      </a:lnTo>
                      <a:lnTo>
                        <a:pt x="186" y="98"/>
                      </a:lnTo>
                      <a:lnTo>
                        <a:pt x="187" y="98"/>
                      </a:lnTo>
                      <a:lnTo>
                        <a:pt x="187" y="97"/>
                      </a:lnTo>
                      <a:lnTo>
                        <a:pt x="187" y="96"/>
                      </a:lnTo>
                      <a:lnTo>
                        <a:pt x="188" y="96"/>
                      </a:lnTo>
                      <a:lnTo>
                        <a:pt x="188" y="95"/>
                      </a:lnTo>
                      <a:lnTo>
                        <a:pt x="188" y="92"/>
                      </a:lnTo>
                      <a:lnTo>
                        <a:pt x="189" y="91"/>
                      </a:lnTo>
                      <a:lnTo>
                        <a:pt x="190" y="90"/>
                      </a:lnTo>
                      <a:lnTo>
                        <a:pt x="192" y="90"/>
                      </a:lnTo>
                      <a:lnTo>
                        <a:pt x="192" y="89"/>
                      </a:lnTo>
                      <a:lnTo>
                        <a:pt x="194" y="85"/>
                      </a:lnTo>
                      <a:lnTo>
                        <a:pt x="195" y="83"/>
                      </a:lnTo>
                      <a:lnTo>
                        <a:pt x="195" y="82"/>
                      </a:lnTo>
                      <a:lnTo>
                        <a:pt x="195" y="81"/>
                      </a:lnTo>
                      <a:lnTo>
                        <a:pt x="196" y="79"/>
                      </a:lnTo>
                      <a:lnTo>
                        <a:pt x="196" y="78"/>
                      </a:lnTo>
                      <a:lnTo>
                        <a:pt x="197" y="77"/>
                      </a:lnTo>
                      <a:lnTo>
                        <a:pt x="197" y="74"/>
                      </a:lnTo>
                      <a:lnTo>
                        <a:pt x="198" y="74"/>
                      </a:lnTo>
                      <a:lnTo>
                        <a:pt x="200" y="72"/>
                      </a:lnTo>
                      <a:lnTo>
                        <a:pt x="201" y="72"/>
                      </a:lnTo>
                      <a:lnTo>
                        <a:pt x="201" y="71"/>
                      </a:lnTo>
                      <a:lnTo>
                        <a:pt x="201" y="70"/>
                      </a:lnTo>
                      <a:lnTo>
                        <a:pt x="202" y="65"/>
                      </a:lnTo>
                      <a:lnTo>
                        <a:pt x="201" y="62"/>
                      </a:lnTo>
                      <a:lnTo>
                        <a:pt x="201" y="61"/>
                      </a:lnTo>
                      <a:lnTo>
                        <a:pt x="200" y="54"/>
                      </a:lnTo>
                      <a:lnTo>
                        <a:pt x="201" y="50"/>
                      </a:lnTo>
                      <a:lnTo>
                        <a:pt x="201" y="49"/>
                      </a:lnTo>
                      <a:lnTo>
                        <a:pt x="201" y="48"/>
                      </a:lnTo>
                      <a:lnTo>
                        <a:pt x="201" y="47"/>
                      </a:lnTo>
                      <a:lnTo>
                        <a:pt x="202" y="46"/>
                      </a:lnTo>
                      <a:lnTo>
                        <a:pt x="202" y="43"/>
                      </a:lnTo>
                      <a:lnTo>
                        <a:pt x="201" y="41"/>
                      </a:lnTo>
                      <a:lnTo>
                        <a:pt x="201" y="39"/>
                      </a:lnTo>
                      <a:lnTo>
                        <a:pt x="200" y="37"/>
                      </a:lnTo>
                      <a:lnTo>
                        <a:pt x="200" y="36"/>
                      </a:lnTo>
                      <a:lnTo>
                        <a:pt x="198" y="35"/>
                      </a:lnTo>
                      <a:lnTo>
                        <a:pt x="198" y="34"/>
                      </a:lnTo>
                      <a:lnTo>
                        <a:pt x="198" y="33"/>
                      </a:lnTo>
                      <a:lnTo>
                        <a:pt x="200" y="33"/>
                      </a:lnTo>
                      <a:lnTo>
                        <a:pt x="201" y="33"/>
                      </a:lnTo>
                      <a:lnTo>
                        <a:pt x="202" y="33"/>
                      </a:lnTo>
                      <a:lnTo>
                        <a:pt x="204" y="33"/>
                      </a:lnTo>
                      <a:lnTo>
                        <a:pt x="205" y="32"/>
                      </a:lnTo>
                      <a:lnTo>
                        <a:pt x="205" y="30"/>
                      </a:lnTo>
                      <a:lnTo>
                        <a:pt x="208" y="27"/>
                      </a:lnTo>
                      <a:lnTo>
                        <a:pt x="208" y="26"/>
                      </a:lnTo>
                      <a:lnTo>
                        <a:pt x="209" y="25"/>
                      </a:lnTo>
                      <a:lnTo>
                        <a:pt x="209" y="23"/>
                      </a:lnTo>
                      <a:lnTo>
                        <a:pt x="210" y="23"/>
                      </a:lnTo>
                      <a:lnTo>
                        <a:pt x="211" y="21"/>
                      </a:lnTo>
                      <a:lnTo>
                        <a:pt x="212" y="21"/>
                      </a:lnTo>
                      <a:lnTo>
                        <a:pt x="214" y="20"/>
                      </a:lnTo>
                      <a:lnTo>
                        <a:pt x="214" y="19"/>
                      </a:lnTo>
                      <a:lnTo>
                        <a:pt x="215" y="18"/>
                      </a:lnTo>
                      <a:lnTo>
                        <a:pt x="215" y="16"/>
                      </a:lnTo>
                      <a:lnTo>
                        <a:pt x="215" y="15"/>
                      </a:lnTo>
                      <a:lnTo>
                        <a:pt x="216" y="15"/>
                      </a:lnTo>
                      <a:lnTo>
                        <a:pt x="216" y="14"/>
                      </a:lnTo>
                      <a:lnTo>
                        <a:pt x="217" y="14"/>
                      </a:lnTo>
                      <a:lnTo>
                        <a:pt x="218" y="14"/>
                      </a:lnTo>
                      <a:lnTo>
                        <a:pt x="219" y="14"/>
                      </a:lnTo>
                      <a:lnTo>
                        <a:pt x="219" y="13"/>
                      </a:lnTo>
                      <a:lnTo>
                        <a:pt x="221" y="13"/>
                      </a:lnTo>
                      <a:lnTo>
                        <a:pt x="222" y="12"/>
                      </a:lnTo>
                      <a:lnTo>
                        <a:pt x="224" y="9"/>
                      </a:lnTo>
                      <a:lnTo>
                        <a:pt x="225" y="9"/>
                      </a:lnTo>
                      <a:lnTo>
                        <a:pt x="225" y="8"/>
                      </a:lnTo>
                      <a:lnTo>
                        <a:pt x="226" y="8"/>
                      </a:lnTo>
                      <a:lnTo>
                        <a:pt x="229" y="8"/>
                      </a:lnTo>
                      <a:lnTo>
                        <a:pt x="230" y="8"/>
                      </a:lnTo>
                      <a:lnTo>
                        <a:pt x="231" y="8"/>
                      </a:lnTo>
                      <a:lnTo>
                        <a:pt x="232" y="8"/>
                      </a:lnTo>
                      <a:lnTo>
                        <a:pt x="236" y="8"/>
                      </a:lnTo>
                      <a:lnTo>
                        <a:pt x="237" y="8"/>
                      </a:lnTo>
                      <a:lnTo>
                        <a:pt x="237" y="9"/>
                      </a:lnTo>
                      <a:lnTo>
                        <a:pt x="239" y="9"/>
                      </a:lnTo>
                      <a:lnTo>
                        <a:pt x="239" y="11"/>
                      </a:lnTo>
                      <a:lnTo>
                        <a:pt x="240" y="11"/>
                      </a:lnTo>
                      <a:lnTo>
                        <a:pt x="240" y="12"/>
                      </a:lnTo>
                      <a:lnTo>
                        <a:pt x="240" y="13"/>
                      </a:lnTo>
                      <a:lnTo>
                        <a:pt x="242" y="13"/>
                      </a:lnTo>
                      <a:lnTo>
                        <a:pt x="245" y="13"/>
                      </a:lnTo>
                      <a:lnTo>
                        <a:pt x="245" y="14"/>
                      </a:lnTo>
                      <a:lnTo>
                        <a:pt x="246" y="14"/>
                      </a:lnTo>
                      <a:lnTo>
                        <a:pt x="247" y="15"/>
                      </a:lnTo>
                      <a:lnTo>
                        <a:pt x="250" y="16"/>
                      </a:lnTo>
                      <a:lnTo>
                        <a:pt x="251" y="19"/>
                      </a:lnTo>
                      <a:lnTo>
                        <a:pt x="252" y="19"/>
                      </a:lnTo>
                      <a:lnTo>
                        <a:pt x="254" y="20"/>
                      </a:lnTo>
                      <a:lnTo>
                        <a:pt x="256" y="20"/>
                      </a:lnTo>
                      <a:lnTo>
                        <a:pt x="257" y="21"/>
                      </a:lnTo>
                      <a:lnTo>
                        <a:pt x="257" y="23"/>
                      </a:lnTo>
                      <a:lnTo>
                        <a:pt x="258" y="23"/>
                      </a:lnTo>
                      <a:lnTo>
                        <a:pt x="259" y="25"/>
                      </a:lnTo>
                      <a:lnTo>
                        <a:pt x="259" y="26"/>
                      </a:lnTo>
                      <a:lnTo>
                        <a:pt x="259" y="27"/>
                      </a:lnTo>
                      <a:lnTo>
                        <a:pt x="259" y="28"/>
                      </a:lnTo>
                      <a:lnTo>
                        <a:pt x="262" y="30"/>
                      </a:lnTo>
                      <a:lnTo>
                        <a:pt x="262" y="32"/>
                      </a:lnTo>
                      <a:lnTo>
                        <a:pt x="264" y="32"/>
                      </a:lnTo>
                      <a:lnTo>
                        <a:pt x="266" y="30"/>
                      </a:lnTo>
                      <a:lnTo>
                        <a:pt x="268" y="30"/>
                      </a:lnTo>
                      <a:lnTo>
                        <a:pt x="269" y="30"/>
                      </a:lnTo>
                      <a:lnTo>
                        <a:pt x="271" y="30"/>
                      </a:lnTo>
                      <a:lnTo>
                        <a:pt x="272" y="30"/>
                      </a:lnTo>
                      <a:lnTo>
                        <a:pt x="275" y="30"/>
                      </a:lnTo>
                      <a:lnTo>
                        <a:pt x="278" y="32"/>
                      </a:lnTo>
                      <a:lnTo>
                        <a:pt x="279" y="32"/>
                      </a:lnTo>
                      <a:lnTo>
                        <a:pt x="280" y="33"/>
                      </a:lnTo>
                      <a:lnTo>
                        <a:pt x="280" y="34"/>
                      </a:lnTo>
                      <a:lnTo>
                        <a:pt x="281" y="34"/>
                      </a:lnTo>
                      <a:lnTo>
                        <a:pt x="281" y="35"/>
                      </a:lnTo>
                      <a:lnTo>
                        <a:pt x="282" y="35"/>
                      </a:lnTo>
                      <a:lnTo>
                        <a:pt x="283" y="35"/>
                      </a:lnTo>
                      <a:lnTo>
                        <a:pt x="283" y="34"/>
                      </a:lnTo>
                      <a:lnTo>
                        <a:pt x="285" y="34"/>
                      </a:lnTo>
                      <a:lnTo>
                        <a:pt x="286" y="34"/>
                      </a:lnTo>
                      <a:lnTo>
                        <a:pt x="288" y="35"/>
                      </a:lnTo>
                      <a:lnTo>
                        <a:pt x="289" y="35"/>
                      </a:lnTo>
                      <a:lnTo>
                        <a:pt x="289" y="36"/>
                      </a:lnTo>
                      <a:lnTo>
                        <a:pt x="290" y="35"/>
                      </a:lnTo>
                      <a:lnTo>
                        <a:pt x="292" y="36"/>
                      </a:lnTo>
                      <a:lnTo>
                        <a:pt x="293" y="36"/>
                      </a:lnTo>
                      <a:lnTo>
                        <a:pt x="296" y="35"/>
                      </a:lnTo>
                      <a:lnTo>
                        <a:pt x="297" y="35"/>
                      </a:lnTo>
                      <a:lnTo>
                        <a:pt x="299" y="35"/>
                      </a:lnTo>
                      <a:lnTo>
                        <a:pt x="300" y="35"/>
                      </a:lnTo>
                      <a:lnTo>
                        <a:pt x="301" y="35"/>
                      </a:lnTo>
                      <a:lnTo>
                        <a:pt x="302" y="35"/>
                      </a:lnTo>
                      <a:lnTo>
                        <a:pt x="303" y="36"/>
                      </a:lnTo>
                      <a:lnTo>
                        <a:pt x="304" y="36"/>
                      </a:lnTo>
                      <a:lnTo>
                        <a:pt x="307" y="37"/>
                      </a:lnTo>
                      <a:lnTo>
                        <a:pt x="307" y="36"/>
                      </a:lnTo>
                      <a:lnTo>
                        <a:pt x="308" y="36"/>
                      </a:lnTo>
                      <a:lnTo>
                        <a:pt x="309" y="37"/>
                      </a:lnTo>
                      <a:lnTo>
                        <a:pt x="310" y="37"/>
                      </a:lnTo>
                      <a:lnTo>
                        <a:pt x="311" y="37"/>
                      </a:lnTo>
                      <a:lnTo>
                        <a:pt x="313" y="37"/>
                      </a:lnTo>
                      <a:lnTo>
                        <a:pt x="313" y="39"/>
                      </a:lnTo>
                      <a:lnTo>
                        <a:pt x="314" y="39"/>
                      </a:lnTo>
                      <a:lnTo>
                        <a:pt x="315" y="40"/>
                      </a:lnTo>
                      <a:lnTo>
                        <a:pt x="317" y="40"/>
                      </a:lnTo>
                      <a:lnTo>
                        <a:pt x="322" y="40"/>
                      </a:lnTo>
                      <a:lnTo>
                        <a:pt x="323" y="40"/>
                      </a:lnTo>
                      <a:lnTo>
                        <a:pt x="323" y="39"/>
                      </a:lnTo>
                      <a:lnTo>
                        <a:pt x="324" y="39"/>
                      </a:lnTo>
                      <a:lnTo>
                        <a:pt x="324" y="37"/>
                      </a:lnTo>
                      <a:lnTo>
                        <a:pt x="325" y="37"/>
                      </a:lnTo>
                      <a:lnTo>
                        <a:pt x="325" y="36"/>
                      </a:lnTo>
                      <a:lnTo>
                        <a:pt x="325" y="35"/>
                      </a:lnTo>
                      <a:lnTo>
                        <a:pt x="326" y="34"/>
                      </a:lnTo>
                      <a:lnTo>
                        <a:pt x="326" y="33"/>
                      </a:lnTo>
                      <a:lnTo>
                        <a:pt x="328" y="33"/>
                      </a:lnTo>
                      <a:lnTo>
                        <a:pt x="328" y="32"/>
                      </a:lnTo>
                      <a:lnTo>
                        <a:pt x="326" y="32"/>
                      </a:lnTo>
                      <a:lnTo>
                        <a:pt x="326" y="30"/>
                      </a:lnTo>
                      <a:lnTo>
                        <a:pt x="326" y="29"/>
                      </a:lnTo>
                      <a:lnTo>
                        <a:pt x="328" y="29"/>
                      </a:lnTo>
                      <a:lnTo>
                        <a:pt x="329" y="29"/>
                      </a:lnTo>
                      <a:lnTo>
                        <a:pt x="330" y="28"/>
                      </a:lnTo>
                      <a:lnTo>
                        <a:pt x="330" y="27"/>
                      </a:lnTo>
                      <a:lnTo>
                        <a:pt x="331" y="27"/>
                      </a:lnTo>
                      <a:lnTo>
                        <a:pt x="331" y="26"/>
                      </a:lnTo>
                      <a:lnTo>
                        <a:pt x="331" y="25"/>
                      </a:lnTo>
                      <a:lnTo>
                        <a:pt x="331" y="23"/>
                      </a:lnTo>
                      <a:lnTo>
                        <a:pt x="332" y="23"/>
                      </a:lnTo>
                      <a:lnTo>
                        <a:pt x="332" y="22"/>
                      </a:lnTo>
                      <a:lnTo>
                        <a:pt x="332" y="21"/>
                      </a:lnTo>
                      <a:lnTo>
                        <a:pt x="333" y="21"/>
                      </a:lnTo>
                      <a:lnTo>
                        <a:pt x="335" y="21"/>
                      </a:lnTo>
                      <a:lnTo>
                        <a:pt x="336" y="21"/>
                      </a:lnTo>
                      <a:lnTo>
                        <a:pt x="336" y="20"/>
                      </a:lnTo>
                      <a:lnTo>
                        <a:pt x="336" y="19"/>
                      </a:lnTo>
                      <a:lnTo>
                        <a:pt x="337" y="18"/>
                      </a:lnTo>
                      <a:lnTo>
                        <a:pt x="337" y="19"/>
                      </a:lnTo>
                      <a:lnTo>
                        <a:pt x="338" y="18"/>
                      </a:lnTo>
                      <a:lnTo>
                        <a:pt x="339" y="18"/>
                      </a:lnTo>
                      <a:lnTo>
                        <a:pt x="339" y="19"/>
                      </a:lnTo>
                      <a:lnTo>
                        <a:pt x="339" y="20"/>
                      </a:lnTo>
                      <a:lnTo>
                        <a:pt x="340" y="20"/>
                      </a:lnTo>
                      <a:lnTo>
                        <a:pt x="340" y="21"/>
                      </a:lnTo>
                      <a:lnTo>
                        <a:pt x="342" y="21"/>
                      </a:lnTo>
                      <a:lnTo>
                        <a:pt x="343" y="21"/>
                      </a:lnTo>
                      <a:lnTo>
                        <a:pt x="344" y="21"/>
                      </a:lnTo>
                      <a:lnTo>
                        <a:pt x="345" y="21"/>
                      </a:lnTo>
                      <a:lnTo>
                        <a:pt x="346" y="22"/>
                      </a:lnTo>
                      <a:lnTo>
                        <a:pt x="347" y="23"/>
                      </a:lnTo>
                      <a:lnTo>
                        <a:pt x="349" y="25"/>
                      </a:lnTo>
                      <a:lnTo>
                        <a:pt x="350" y="25"/>
                      </a:lnTo>
                      <a:lnTo>
                        <a:pt x="351" y="25"/>
                      </a:lnTo>
                      <a:lnTo>
                        <a:pt x="351" y="26"/>
                      </a:lnTo>
                      <a:lnTo>
                        <a:pt x="352" y="26"/>
                      </a:lnTo>
                      <a:lnTo>
                        <a:pt x="353" y="26"/>
                      </a:lnTo>
                      <a:lnTo>
                        <a:pt x="353" y="25"/>
                      </a:lnTo>
                      <a:lnTo>
                        <a:pt x="353" y="23"/>
                      </a:lnTo>
                      <a:lnTo>
                        <a:pt x="354" y="23"/>
                      </a:lnTo>
                      <a:lnTo>
                        <a:pt x="356" y="23"/>
                      </a:lnTo>
                      <a:lnTo>
                        <a:pt x="356" y="22"/>
                      </a:lnTo>
                      <a:lnTo>
                        <a:pt x="358" y="21"/>
                      </a:lnTo>
                      <a:lnTo>
                        <a:pt x="360" y="21"/>
                      </a:lnTo>
                      <a:lnTo>
                        <a:pt x="361" y="20"/>
                      </a:lnTo>
                      <a:lnTo>
                        <a:pt x="363" y="20"/>
                      </a:lnTo>
                      <a:lnTo>
                        <a:pt x="364" y="19"/>
                      </a:lnTo>
                      <a:lnTo>
                        <a:pt x="365" y="19"/>
                      </a:lnTo>
                      <a:lnTo>
                        <a:pt x="366" y="19"/>
                      </a:lnTo>
                      <a:lnTo>
                        <a:pt x="367" y="19"/>
                      </a:lnTo>
                      <a:lnTo>
                        <a:pt x="367" y="18"/>
                      </a:lnTo>
                      <a:lnTo>
                        <a:pt x="368" y="19"/>
                      </a:lnTo>
                      <a:lnTo>
                        <a:pt x="370" y="19"/>
                      </a:lnTo>
                      <a:lnTo>
                        <a:pt x="370" y="18"/>
                      </a:lnTo>
                      <a:lnTo>
                        <a:pt x="370" y="16"/>
                      </a:lnTo>
                      <a:lnTo>
                        <a:pt x="371" y="16"/>
                      </a:lnTo>
                      <a:lnTo>
                        <a:pt x="371" y="18"/>
                      </a:lnTo>
                      <a:lnTo>
                        <a:pt x="371" y="16"/>
                      </a:lnTo>
                      <a:lnTo>
                        <a:pt x="373" y="16"/>
                      </a:lnTo>
                      <a:lnTo>
                        <a:pt x="374" y="15"/>
                      </a:lnTo>
                      <a:lnTo>
                        <a:pt x="375" y="15"/>
                      </a:lnTo>
                      <a:lnTo>
                        <a:pt x="377" y="15"/>
                      </a:lnTo>
                      <a:lnTo>
                        <a:pt x="378" y="14"/>
                      </a:lnTo>
                      <a:lnTo>
                        <a:pt x="379" y="14"/>
                      </a:lnTo>
                      <a:lnTo>
                        <a:pt x="379" y="15"/>
                      </a:lnTo>
                      <a:lnTo>
                        <a:pt x="380" y="15"/>
                      </a:lnTo>
                      <a:lnTo>
                        <a:pt x="380" y="14"/>
                      </a:lnTo>
                      <a:lnTo>
                        <a:pt x="380" y="13"/>
                      </a:lnTo>
                      <a:lnTo>
                        <a:pt x="381" y="13"/>
                      </a:lnTo>
                      <a:lnTo>
                        <a:pt x="384" y="12"/>
                      </a:lnTo>
                      <a:lnTo>
                        <a:pt x="384" y="11"/>
                      </a:lnTo>
                      <a:lnTo>
                        <a:pt x="382" y="11"/>
                      </a:lnTo>
                      <a:lnTo>
                        <a:pt x="384" y="9"/>
                      </a:lnTo>
                      <a:lnTo>
                        <a:pt x="384" y="8"/>
                      </a:lnTo>
                      <a:lnTo>
                        <a:pt x="384" y="9"/>
                      </a:lnTo>
                      <a:lnTo>
                        <a:pt x="385" y="9"/>
                      </a:lnTo>
                      <a:lnTo>
                        <a:pt x="385" y="11"/>
                      </a:lnTo>
                      <a:lnTo>
                        <a:pt x="385" y="9"/>
                      </a:lnTo>
                      <a:lnTo>
                        <a:pt x="386" y="9"/>
                      </a:lnTo>
                      <a:lnTo>
                        <a:pt x="387" y="9"/>
                      </a:lnTo>
                      <a:lnTo>
                        <a:pt x="388" y="9"/>
                      </a:lnTo>
                      <a:lnTo>
                        <a:pt x="388" y="11"/>
                      </a:lnTo>
                      <a:lnTo>
                        <a:pt x="389" y="12"/>
                      </a:lnTo>
                      <a:lnTo>
                        <a:pt x="390" y="12"/>
                      </a:lnTo>
                      <a:lnTo>
                        <a:pt x="390" y="13"/>
                      </a:lnTo>
                      <a:lnTo>
                        <a:pt x="392" y="13"/>
                      </a:lnTo>
                      <a:lnTo>
                        <a:pt x="392" y="14"/>
                      </a:lnTo>
                      <a:lnTo>
                        <a:pt x="393" y="14"/>
                      </a:lnTo>
                      <a:lnTo>
                        <a:pt x="392" y="14"/>
                      </a:lnTo>
                      <a:lnTo>
                        <a:pt x="392" y="15"/>
                      </a:lnTo>
                      <a:lnTo>
                        <a:pt x="393" y="15"/>
                      </a:lnTo>
                      <a:lnTo>
                        <a:pt x="394" y="15"/>
                      </a:lnTo>
                      <a:lnTo>
                        <a:pt x="395" y="15"/>
                      </a:lnTo>
                      <a:lnTo>
                        <a:pt x="396" y="15"/>
                      </a:lnTo>
                      <a:lnTo>
                        <a:pt x="397" y="14"/>
                      </a:lnTo>
                      <a:lnTo>
                        <a:pt x="399" y="14"/>
                      </a:lnTo>
                      <a:lnTo>
                        <a:pt x="400" y="14"/>
                      </a:lnTo>
                      <a:lnTo>
                        <a:pt x="401" y="13"/>
                      </a:lnTo>
                      <a:lnTo>
                        <a:pt x="402" y="13"/>
                      </a:lnTo>
                      <a:lnTo>
                        <a:pt x="403" y="13"/>
                      </a:lnTo>
                      <a:lnTo>
                        <a:pt x="404" y="14"/>
                      </a:lnTo>
                      <a:lnTo>
                        <a:pt x="406" y="14"/>
                      </a:lnTo>
                      <a:lnTo>
                        <a:pt x="406" y="13"/>
                      </a:lnTo>
                      <a:lnTo>
                        <a:pt x="407" y="13"/>
                      </a:lnTo>
                      <a:lnTo>
                        <a:pt x="407" y="12"/>
                      </a:lnTo>
                      <a:lnTo>
                        <a:pt x="408" y="12"/>
                      </a:lnTo>
                      <a:lnTo>
                        <a:pt x="410" y="12"/>
                      </a:lnTo>
                      <a:lnTo>
                        <a:pt x="411" y="12"/>
                      </a:lnTo>
                      <a:lnTo>
                        <a:pt x="413" y="12"/>
                      </a:lnTo>
                      <a:lnTo>
                        <a:pt x="413" y="11"/>
                      </a:lnTo>
                      <a:lnTo>
                        <a:pt x="414" y="11"/>
                      </a:lnTo>
                      <a:lnTo>
                        <a:pt x="414" y="9"/>
                      </a:lnTo>
                      <a:lnTo>
                        <a:pt x="414" y="8"/>
                      </a:lnTo>
                      <a:lnTo>
                        <a:pt x="414" y="7"/>
                      </a:lnTo>
                      <a:lnTo>
                        <a:pt x="413" y="7"/>
                      </a:lnTo>
                      <a:lnTo>
                        <a:pt x="413" y="6"/>
                      </a:lnTo>
                      <a:lnTo>
                        <a:pt x="414" y="6"/>
                      </a:lnTo>
                      <a:lnTo>
                        <a:pt x="414" y="5"/>
                      </a:lnTo>
                      <a:lnTo>
                        <a:pt x="414" y="4"/>
                      </a:lnTo>
                      <a:lnTo>
                        <a:pt x="415" y="4"/>
                      </a:lnTo>
                      <a:lnTo>
                        <a:pt x="415" y="2"/>
                      </a:lnTo>
                      <a:lnTo>
                        <a:pt x="416" y="2"/>
                      </a:lnTo>
                      <a:lnTo>
                        <a:pt x="417" y="2"/>
                      </a:lnTo>
                      <a:lnTo>
                        <a:pt x="418" y="1"/>
                      </a:lnTo>
                      <a:lnTo>
                        <a:pt x="420" y="1"/>
                      </a:lnTo>
                      <a:lnTo>
                        <a:pt x="421" y="1"/>
                      </a:lnTo>
                      <a:lnTo>
                        <a:pt x="420" y="0"/>
                      </a:lnTo>
                      <a:lnTo>
                        <a:pt x="421"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4" name="Freeform 81">
                  <a:extLst>
                    <a:ext uri="{FF2B5EF4-FFF2-40B4-BE49-F238E27FC236}">
                      <a16:creationId xmlns:a16="http://schemas.microsoft.com/office/drawing/2014/main" id="{1F6E433F-F5E8-B516-ABBE-39E2481DE393}"/>
                    </a:ext>
                  </a:extLst>
                </p:cNvPr>
                <p:cNvSpPr>
                  <a:spLocks/>
                </p:cNvSpPr>
                <p:nvPr/>
              </p:nvSpPr>
              <p:spPr bwMode="auto">
                <a:xfrm>
                  <a:off x="6612032" y="3672052"/>
                  <a:ext cx="256371" cy="298557"/>
                </a:xfrm>
                <a:custGeom>
                  <a:avLst/>
                  <a:gdLst>
                    <a:gd name="T0" fmla="*/ 230 w 237"/>
                    <a:gd name="T1" fmla="*/ 27 h 276"/>
                    <a:gd name="T2" fmla="*/ 222 w 237"/>
                    <a:gd name="T3" fmla="*/ 44 h 276"/>
                    <a:gd name="T4" fmla="*/ 216 w 237"/>
                    <a:gd name="T5" fmla="*/ 73 h 276"/>
                    <a:gd name="T6" fmla="*/ 213 w 237"/>
                    <a:gd name="T7" fmla="*/ 98 h 276"/>
                    <a:gd name="T8" fmla="*/ 208 w 237"/>
                    <a:gd name="T9" fmla="*/ 128 h 276"/>
                    <a:gd name="T10" fmla="*/ 193 w 237"/>
                    <a:gd name="T11" fmla="*/ 149 h 276"/>
                    <a:gd name="T12" fmla="*/ 179 w 237"/>
                    <a:gd name="T13" fmla="*/ 160 h 276"/>
                    <a:gd name="T14" fmla="*/ 167 w 237"/>
                    <a:gd name="T15" fmla="*/ 178 h 276"/>
                    <a:gd name="T16" fmla="*/ 160 w 237"/>
                    <a:gd name="T17" fmla="*/ 200 h 276"/>
                    <a:gd name="T18" fmla="*/ 161 w 237"/>
                    <a:gd name="T19" fmla="*/ 220 h 276"/>
                    <a:gd name="T20" fmla="*/ 150 w 237"/>
                    <a:gd name="T21" fmla="*/ 241 h 276"/>
                    <a:gd name="T22" fmla="*/ 131 w 237"/>
                    <a:gd name="T23" fmla="*/ 253 h 276"/>
                    <a:gd name="T24" fmla="*/ 112 w 237"/>
                    <a:gd name="T25" fmla="*/ 272 h 276"/>
                    <a:gd name="T26" fmla="*/ 103 w 237"/>
                    <a:gd name="T27" fmla="*/ 266 h 276"/>
                    <a:gd name="T28" fmla="*/ 103 w 237"/>
                    <a:gd name="T29" fmla="*/ 254 h 276"/>
                    <a:gd name="T30" fmla="*/ 89 w 237"/>
                    <a:gd name="T31" fmla="*/ 259 h 276"/>
                    <a:gd name="T32" fmla="*/ 81 w 237"/>
                    <a:gd name="T33" fmla="*/ 266 h 276"/>
                    <a:gd name="T34" fmla="*/ 71 w 237"/>
                    <a:gd name="T35" fmla="*/ 270 h 276"/>
                    <a:gd name="T36" fmla="*/ 60 w 237"/>
                    <a:gd name="T37" fmla="*/ 263 h 276"/>
                    <a:gd name="T38" fmla="*/ 48 w 237"/>
                    <a:gd name="T39" fmla="*/ 260 h 276"/>
                    <a:gd name="T40" fmla="*/ 35 w 237"/>
                    <a:gd name="T41" fmla="*/ 269 h 276"/>
                    <a:gd name="T42" fmla="*/ 22 w 237"/>
                    <a:gd name="T43" fmla="*/ 268 h 276"/>
                    <a:gd name="T44" fmla="*/ 9 w 237"/>
                    <a:gd name="T45" fmla="*/ 251 h 276"/>
                    <a:gd name="T46" fmla="*/ 3 w 237"/>
                    <a:gd name="T47" fmla="*/ 234 h 276"/>
                    <a:gd name="T48" fmla="*/ 19 w 237"/>
                    <a:gd name="T49" fmla="*/ 234 h 276"/>
                    <a:gd name="T50" fmla="*/ 23 w 237"/>
                    <a:gd name="T51" fmla="*/ 221 h 276"/>
                    <a:gd name="T52" fmla="*/ 19 w 237"/>
                    <a:gd name="T53" fmla="*/ 212 h 276"/>
                    <a:gd name="T54" fmla="*/ 14 w 237"/>
                    <a:gd name="T55" fmla="*/ 197 h 276"/>
                    <a:gd name="T56" fmla="*/ 23 w 237"/>
                    <a:gd name="T57" fmla="*/ 192 h 276"/>
                    <a:gd name="T58" fmla="*/ 41 w 237"/>
                    <a:gd name="T59" fmla="*/ 183 h 276"/>
                    <a:gd name="T60" fmla="*/ 48 w 237"/>
                    <a:gd name="T61" fmla="*/ 176 h 276"/>
                    <a:gd name="T62" fmla="*/ 55 w 237"/>
                    <a:gd name="T63" fmla="*/ 186 h 276"/>
                    <a:gd name="T64" fmla="*/ 64 w 237"/>
                    <a:gd name="T65" fmla="*/ 192 h 276"/>
                    <a:gd name="T66" fmla="*/ 81 w 237"/>
                    <a:gd name="T67" fmla="*/ 186 h 276"/>
                    <a:gd name="T68" fmla="*/ 86 w 237"/>
                    <a:gd name="T69" fmla="*/ 195 h 276"/>
                    <a:gd name="T70" fmla="*/ 96 w 237"/>
                    <a:gd name="T71" fmla="*/ 192 h 276"/>
                    <a:gd name="T72" fmla="*/ 99 w 237"/>
                    <a:gd name="T73" fmla="*/ 179 h 276"/>
                    <a:gd name="T74" fmla="*/ 104 w 237"/>
                    <a:gd name="T75" fmla="*/ 167 h 276"/>
                    <a:gd name="T76" fmla="*/ 104 w 237"/>
                    <a:gd name="T77" fmla="*/ 155 h 276"/>
                    <a:gd name="T78" fmla="*/ 105 w 237"/>
                    <a:gd name="T79" fmla="*/ 137 h 276"/>
                    <a:gd name="T80" fmla="*/ 95 w 237"/>
                    <a:gd name="T81" fmla="*/ 129 h 276"/>
                    <a:gd name="T82" fmla="*/ 85 w 237"/>
                    <a:gd name="T83" fmla="*/ 122 h 276"/>
                    <a:gd name="T84" fmla="*/ 89 w 237"/>
                    <a:gd name="T85" fmla="*/ 106 h 276"/>
                    <a:gd name="T86" fmla="*/ 103 w 237"/>
                    <a:gd name="T87" fmla="*/ 93 h 276"/>
                    <a:gd name="T88" fmla="*/ 99 w 237"/>
                    <a:gd name="T89" fmla="*/ 81 h 276"/>
                    <a:gd name="T90" fmla="*/ 82 w 237"/>
                    <a:gd name="T91" fmla="*/ 72 h 276"/>
                    <a:gd name="T92" fmla="*/ 71 w 237"/>
                    <a:gd name="T93" fmla="*/ 77 h 276"/>
                    <a:gd name="T94" fmla="*/ 66 w 237"/>
                    <a:gd name="T95" fmla="*/ 74 h 276"/>
                    <a:gd name="T96" fmla="*/ 64 w 237"/>
                    <a:gd name="T97" fmla="*/ 62 h 276"/>
                    <a:gd name="T98" fmla="*/ 67 w 237"/>
                    <a:gd name="T99" fmla="*/ 49 h 276"/>
                    <a:gd name="T100" fmla="*/ 107 w 237"/>
                    <a:gd name="T101" fmla="*/ 49 h 276"/>
                    <a:gd name="T102" fmla="*/ 114 w 237"/>
                    <a:gd name="T103" fmla="*/ 52 h 276"/>
                    <a:gd name="T104" fmla="*/ 125 w 237"/>
                    <a:gd name="T105" fmla="*/ 53 h 276"/>
                    <a:gd name="T106" fmla="*/ 138 w 237"/>
                    <a:gd name="T107" fmla="*/ 55 h 276"/>
                    <a:gd name="T108" fmla="*/ 153 w 237"/>
                    <a:gd name="T109" fmla="*/ 62 h 276"/>
                    <a:gd name="T110" fmla="*/ 156 w 237"/>
                    <a:gd name="T111" fmla="*/ 51 h 276"/>
                    <a:gd name="T112" fmla="*/ 166 w 237"/>
                    <a:gd name="T113" fmla="*/ 31 h 276"/>
                    <a:gd name="T114" fmla="*/ 169 w 237"/>
                    <a:gd name="T115" fmla="*/ 14 h 276"/>
                    <a:gd name="T116" fmla="*/ 183 w 237"/>
                    <a:gd name="T117" fmla="*/ 4 h 276"/>
                    <a:gd name="T118" fmla="*/ 195 w 237"/>
                    <a:gd name="T119" fmla="*/ 2 h 276"/>
                    <a:gd name="T120" fmla="*/ 209 w 237"/>
                    <a:gd name="T121" fmla="*/ 3 h 276"/>
                    <a:gd name="T122" fmla="*/ 220 w 237"/>
                    <a:gd name="T123" fmla="*/ 4 h 276"/>
                    <a:gd name="T124" fmla="*/ 230 w 237"/>
                    <a:gd name="T125" fmla="*/ 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7" h="276">
                      <a:moveTo>
                        <a:pt x="236" y="7"/>
                      </a:moveTo>
                      <a:lnTo>
                        <a:pt x="236" y="8"/>
                      </a:lnTo>
                      <a:lnTo>
                        <a:pt x="237" y="11"/>
                      </a:lnTo>
                      <a:lnTo>
                        <a:pt x="236" y="16"/>
                      </a:lnTo>
                      <a:lnTo>
                        <a:pt x="236" y="17"/>
                      </a:lnTo>
                      <a:lnTo>
                        <a:pt x="236" y="18"/>
                      </a:lnTo>
                      <a:lnTo>
                        <a:pt x="235" y="18"/>
                      </a:lnTo>
                      <a:lnTo>
                        <a:pt x="233" y="20"/>
                      </a:lnTo>
                      <a:lnTo>
                        <a:pt x="232" y="20"/>
                      </a:lnTo>
                      <a:lnTo>
                        <a:pt x="232" y="23"/>
                      </a:lnTo>
                      <a:lnTo>
                        <a:pt x="231" y="24"/>
                      </a:lnTo>
                      <a:lnTo>
                        <a:pt x="231" y="25"/>
                      </a:lnTo>
                      <a:lnTo>
                        <a:pt x="230" y="27"/>
                      </a:lnTo>
                      <a:lnTo>
                        <a:pt x="230" y="28"/>
                      </a:lnTo>
                      <a:lnTo>
                        <a:pt x="230" y="29"/>
                      </a:lnTo>
                      <a:lnTo>
                        <a:pt x="229" y="31"/>
                      </a:lnTo>
                      <a:lnTo>
                        <a:pt x="227" y="35"/>
                      </a:lnTo>
                      <a:lnTo>
                        <a:pt x="227" y="36"/>
                      </a:lnTo>
                      <a:lnTo>
                        <a:pt x="225" y="36"/>
                      </a:lnTo>
                      <a:lnTo>
                        <a:pt x="224" y="37"/>
                      </a:lnTo>
                      <a:lnTo>
                        <a:pt x="223" y="38"/>
                      </a:lnTo>
                      <a:lnTo>
                        <a:pt x="223" y="41"/>
                      </a:lnTo>
                      <a:lnTo>
                        <a:pt x="223" y="42"/>
                      </a:lnTo>
                      <a:lnTo>
                        <a:pt x="222" y="42"/>
                      </a:lnTo>
                      <a:lnTo>
                        <a:pt x="222" y="43"/>
                      </a:lnTo>
                      <a:lnTo>
                        <a:pt x="222" y="44"/>
                      </a:lnTo>
                      <a:lnTo>
                        <a:pt x="221" y="44"/>
                      </a:lnTo>
                      <a:lnTo>
                        <a:pt x="220" y="45"/>
                      </a:lnTo>
                      <a:lnTo>
                        <a:pt x="218" y="49"/>
                      </a:lnTo>
                      <a:lnTo>
                        <a:pt x="218" y="50"/>
                      </a:lnTo>
                      <a:lnTo>
                        <a:pt x="218" y="51"/>
                      </a:lnTo>
                      <a:lnTo>
                        <a:pt x="218" y="55"/>
                      </a:lnTo>
                      <a:lnTo>
                        <a:pt x="218" y="56"/>
                      </a:lnTo>
                      <a:lnTo>
                        <a:pt x="218" y="57"/>
                      </a:lnTo>
                      <a:lnTo>
                        <a:pt x="218" y="58"/>
                      </a:lnTo>
                      <a:lnTo>
                        <a:pt x="218" y="67"/>
                      </a:lnTo>
                      <a:lnTo>
                        <a:pt x="217" y="72"/>
                      </a:lnTo>
                      <a:lnTo>
                        <a:pt x="216" y="72"/>
                      </a:lnTo>
                      <a:lnTo>
                        <a:pt x="216" y="73"/>
                      </a:lnTo>
                      <a:lnTo>
                        <a:pt x="215" y="77"/>
                      </a:lnTo>
                      <a:lnTo>
                        <a:pt x="215" y="79"/>
                      </a:lnTo>
                      <a:lnTo>
                        <a:pt x="215" y="80"/>
                      </a:lnTo>
                      <a:lnTo>
                        <a:pt x="214" y="83"/>
                      </a:lnTo>
                      <a:lnTo>
                        <a:pt x="213" y="83"/>
                      </a:lnTo>
                      <a:lnTo>
                        <a:pt x="213" y="84"/>
                      </a:lnTo>
                      <a:lnTo>
                        <a:pt x="213" y="85"/>
                      </a:lnTo>
                      <a:lnTo>
                        <a:pt x="213" y="87"/>
                      </a:lnTo>
                      <a:lnTo>
                        <a:pt x="213" y="90"/>
                      </a:lnTo>
                      <a:lnTo>
                        <a:pt x="214" y="93"/>
                      </a:lnTo>
                      <a:lnTo>
                        <a:pt x="214" y="94"/>
                      </a:lnTo>
                      <a:lnTo>
                        <a:pt x="213" y="97"/>
                      </a:lnTo>
                      <a:lnTo>
                        <a:pt x="213" y="98"/>
                      </a:lnTo>
                      <a:lnTo>
                        <a:pt x="214" y="99"/>
                      </a:lnTo>
                      <a:lnTo>
                        <a:pt x="214" y="100"/>
                      </a:lnTo>
                      <a:lnTo>
                        <a:pt x="215" y="100"/>
                      </a:lnTo>
                      <a:lnTo>
                        <a:pt x="215" y="101"/>
                      </a:lnTo>
                      <a:lnTo>
                        <a:pt x="215" y="102"/>
                      </a:lnTo>
                      <a:lnTo>
                        <a:pt x="215" y="105"/>
                      </a:lnTo>
                      <a:lnTo>
                        <a:pt x="215" y="106"/>
                      </a:lnTo>
                      <a:lnTo>
                        <a:pt x="211" y="109"/>
                      </a:lnTo>
                      <a:lnTo>
                        <a:pt x="209" y="116"/>
                      </a:lnTo>
                      <a:lnTo>
                        <a:pt x="209" y="118"/>
                      </a:lnTo>
                      <a:lnTo>
                        <a:pt x="208" y="123"/>
                      </a:lnTo>
                      <a:lnTo>
                        <a:pt x="208" y="125"/>
                      </a:lnTo>
                      <a:lnTo>
                        <a:pt x="208" y="128"/>
                      </a:lnTo>
                      <a:lnTo>
                        <a:pt x="209" y="134"/>
                      </a:lnTo>
                      <a:lnTo>
                        <a:pt x="208" y="134"/>
                      </a:lnTo>
                      <a:lnTo>
                        <a:pt x="206" y="136"/>
                      </a:lnTo>
                      <a:lnTo>
                        <a:pt x="206" y="137"/>
                      </a:lnTo>
                      <a:lnTo>
                        <a:pt x="204" y="139"/>
                      </a:lnTo>
                      <a:lnTo>
                        <a:pt x="202" y="141"/>
                      </a:lnTo>
                      <a:lnTo>
                        <a:pt x="197" y="146"/>
                      </a:lnTo>
                      <a:lnTo>
                        <a:pt x="197" y="147"/>
                      </a:lnTo>
                      <a:lnTo>
                        <a:pt x="196" y="148"/>
                      </a:lnTo>
                      <a:lnTo>
                        <a:pt x="195" y="148"/>
                      </a:lnTo>
                      <a:lnTo>
                        <a:pt x="195" y="149"/>
                      </a:lnTo>
                      <a:lnTo>
                        <a:pt x="194" y="149"/>
                      </a:lnTo>
                      <a:lnTo>
                        <a:pt x="193" y="149"/>
                      </a:lnTo>
                      <a:lnTo>
                        <a:pt x="192" y="150"/>
                      </a:lnTo>
                      <a:lnTo>
                        <a:pt x="190" y="150"/>
                      </a:lnTo>
                      <a:lnTo>
                        <a:pt x="188" y="151"/>
                      </a:lnTo>
                      <a:lnTo>
                        <a:pt x="187" y="151"/>
                      </a:lnTo>
                      <a:lnTo>
                        <a:pt x="186" y="151"/>
                      </a:lnTo>
                      <a:lnTo>
                        <a:pt x="185" y="151"/>
                      </a:lnTo>
                      <a:lnTo>
                        <a:pt x="185" y="153"/>
                      </a:lnTo>
                      <a:lnTo>
                        <a:pt x="183" y="154"/>
                      </a:lnTo>
                      <a:lnTo>
                        <a:pt x="182" y="155"/>
                      </a:lnTo>
                      <a:lnTo>
                        <a:pt x="181" y="156"/>
                      </a:lnTo>
                      <a:lnTo>
                        <a:pt x="180" y="157"/>
                      </a:lnTo>
                      <a:lnTo>
                        <a:pt x="179" y="158"/>
                      </a:lnTo>
                      <a:lnTo>
                        <a:pt x="179" y="160"/>
                      </a:lnTo>
                      <a:lnTo>
                        <a:pt x="178" y="161"/>
                      </a:lnTo>
                      <a:lnTo>
                        <a:pt x="176" y="163"/>
                      </a:lnTo>
                      <a:lnTo>
                        <a:pt x="175" y="165"/>
                      </a:lnTo>
                      <a:lnTo>
                        <a:pt x="174" y="167"/>
                      </a:lnTo>
                      <a:lnTo>
                        <a:pt x="173" y="168"/>
                      </a:lnTo>
                      <a:lnTo>
                        <a:pt x="173" y="169"/>
                      </a:lnTo>
                      <a:lnTo>
                        <a:pt x="173" y="170"/>
                      </a:lnTo>
                      <a:lnTo>
                        <a:pt x="173" y="171"/>
                      </a:lnTo>
                      <a:lnTo>
                        <a:pt x="173" y="172"/>
                      </a:lnTo>
                      <a:lnTo>
                        <a:pt x="169" y="176"/>
                      </a:lnTo>
                      <a:lnTo>
                        <a:pt x="169" y="177"/>
                      </a:lnTo>
                      <a:lnTo>
                        <a:pt x="168" y="177"/>
                      </a:lnTo>
                      <a:lnTo>
                        <a:pt x="167" y="178"/>
                      </a:lnTo>
                      <a:lnTo>
                        <a:pt x="166" y="181"/>
                      </a:lnTo>
                      <a:lnTo>
                        <a:pt x="164" y="182"/>
                      </a:lnTo>
                      <a:lnTo>
                        <a:pt x="163" y="183"/>
                      </a:lnTo>
                      <a:lnTo>
                        <a:pt x="161" y="183"/>
                      </a:lnTo>
                      <a:lnTo>
                        <a:pt x="160" y="184"/>
                      </a:lnTo>
                      <a:lnTo>
                        <a:pt x="160" y="185"/>
                      </a:lnTo>
                      <a:lnTo>
                        <a:pt x="159" y="186"/>
                      </a:lnTo>
                      <a:lnTo>
                        <a:pt x="159" y="188"/>
                      </a:lnTo>
                      <a:lnTo>
                        <a:pt x="159" y="189"/>
                      </a:lnTo>
                      <a:lnTo>
                        <a:pt x="159" y="190"/>
                      </a:lnTo>
                      <a:lnTo>
                        <a:pt x="159" y="191"/>
                      </a:lnTo>
                      <a:lnTo>
                        <a:pt x="159" y="192"/>
                      </a:lnTo>
                      <a:lnTo>
                        <a:pt x="160" y="200"/>
                      </a:lnTo>
                      <a:lnTo>
                        <a:pt x="160" y="205"/>
                      </a:lnTo>
                      <a:lnTo>
                        <a:pt x="159" y="207"/>
                      </a:lnTo>
                      <a:lnTo>
                        <a:pt x="159" y="210"/>
                      </a:lnTo>
                      <a:lnTo>
                        <a:pt x="159" y="211"/>
                      </a:lnTo>
                      <a:lnTo>
                        <a:pt x="159" y="212"/>
                      </a:lnTo>
                      <a:lnTo>
                        <a:pt x="159" y="214"/>
                      </a:lnTo>
                      <a:lnTo>
                        <a:pt x="159" y="216"/>
                      </a:lnTo>
                      <a:lnTo>
                        <a:pt x="159" y="217"/>
                      </a:lnTo>
                      <a:lnTo>
                        <a:pt x="160" y="217"/>
                      </a:lnTo>
                      <a:lnTo>
                        <a:pt x="160" y="218"/>
                      </a:lnTo>
                      <a:lnTo>
                        <a:pt x="160" y="219"/>
                      </a:lnTo>
                      <a:lnTo>
                        <a:pt x="160" y="220"/>
                      </a:lnTo>
                      <a:lnTo>
                        <a:pt x="161" y="220"/>
                      </a:lnTo>
                      <a:lnTo>
                        <a:pt x="160" y="221"/>
                      </a:lnTo>
                      <a:lnTo>
                        <a:pt x="160" y="223"/>
                      </a:lnTo>
                      <a:lnTo>
                        <a:pt x="159" y="226"/>
                      </a:lnTo>
                      <a:lnTo>
                        <a:pt x="158" y="227"/>
                      </a:lnTo>
                      <a:lnTo>
                        <a:pt x="157" y="228"/>
                      </a:lnTo>
                      <a:lnTo>
                        <a:pt x="156" y="231"/>
                      </a:lnTo>
                      <a:lnTo>
                        <a:pt x="154" y="234"/>
                      </a:lnTo>
                      <a:lnTo>
                        <a:pt x="153" y="235"/>
                      </a:lnTo>
                      <a:lnTo>
                        <a:pt x="153" y="237"/>
                      </a:lnTo>
                      <a:lnTo>
                        <a:pt x="152" y="238"/>
                      </a:lnTo>
                      <a:lnTo>
                        <a:pt x="152" y="239"/>
                      </a:lnTo>
                      <a:lnTo>
                        <a:pt x="151" y="240"/>
                      </a:lnTo>
                      <a:lnTo>
                        <a:pt x="150" y="241"/>
                      </a:lnTo>
                      <a:lnTo>
                        <a:pt x="149" y="242"/>
                      </a:lnTo>
                      <a:lnTo>
                        <a:pt x="147" y="242"/>
                      </a:lnTo>
                      <a:lnTo>
                        <a:pt x="146" y="242"/>
                      </a:lnTo>
                      <a:lnTo>
                        <a:pt x="145" y="242"/>
                      </a:lnTo>
                      <a:lnTo>
                        <a:pt x="140" y="245"/>
                      </a:lnTo>
                      <a:lnTo>
                        <a:pt x="139" y="245"/>
                      </a:lnTo>
                      <a:lnTo>
                        <a:pt x="138" y="246"/>
                      </a:lnTo>
                      <a:lnTo>
                        <a:pt x="138" y="248"/>
                      </a:lnTo>
                      <a:lnTo>
                        <a:pt x="137" y="249"/>
                      </a:lnTo>
                      <a:lnTo>
                        <a:pt x="137" y="251"/>
                      </a:lnTo>
                      <a:lnTo>
                        <a:pt x="136" y="251"/>
                      </a:lnTo>
                      <a:lnTo>
                        <a:pt x="135" y="251"/>
                      </a:lnTo>
                      <a:lnTo>
                        <a:pt x="131" y="253"/>
                      </a:lnTo>
                      <a:lnTo>
                        <a:pt x="130" y="253"/>
                      </a:lnTo>
                      <a:lnTo>
                        <a:pt x="129" y="254"/>
                      </a:lnTo>
                      <a:lnTo>
                        <a:pt x="128" y="255"/>
                      </a:lnTo>
                      <a:lnTo>
                        <a:pt x="126" y="256"/>
                      </a:lnTo>
                      <a:lnTo>
                        <a:pt x="125" y="259"/>
                      </a:lnTo>
                      <a:lnTo>
                        <a:pt x="124" y="260"/>
                      </a:lnTo>
                      <a:lnTo>
                        <a:pt x="123" y="261"/>
                      </a:lnTo>
                      <a:lnTo>
                        <a:pt x="119" y="263"/>
                      </a:lnTo>
                      <a:lnTo>
                        <a:pt x="117" y="268"/>
                      </a:lnTo>
                      <a:lnTo>
                        <a:pt x="117" y="269"/>
                      </a:lnTo>
                      <a:lnTo>
                        <a:pt x="116" y="269"/>
                      </a:lnTo>
                      <a:lnTo>
                        <a:pt x="115" y="270"/>
                      </a:lnTo>
                      <a:lnTo>
                        <a:pt x="112" y="272"/>
                      </a:lnTo>
                      <a:lnTo>
                        <a:pt x="111" y="272"/>
                      </a:lnTo>
                      <a:lnTo>
                        <a:pt x="110" y="272"/>
                      </a:lnTo>
                      <a:lnTo>
                        <a:pt x="109" y="272"/>
                      </a:lnTo>
                      <a:lnTo>
                        <a:pt x="109" y="270"/>
                      </a:lnTo>
                      <a:lnTo>
                        <a:pt x="108" y="270"/>
                      </a:lnTo>
                      <a:lnTo>
                        <a:pt x="107" y="270"/>
                      </a:lnTo>
                      <a:lnTo>
                        <a:pt x="105" y="270"/>
                      </a:lnTo>
                      <a:lnTo>
                        <a:pt x="104" y="272"/>
                      </a:lnTo>
                      <a:lnTo>
                        <a:pt x="103" y="272"/>
                      </a:lnTo>
                      <a:lnTo>
                        <a:pt x="103" y="270"/>
                      </a:lnTo>
                      <a:lnTo>
                        <a:pt x="103" y="268"/>
                      </a:lnTo>
                      <a:lnTo>
                        <a:pt x="103" y="267"/>
                      </a:lnTo>
                      <a:lnTo>
                        <a:pt x="103" y="266"/>
                      </a:lnTo>
                      <a:lnTo>
                        <a:pt x="103" y="265"/>
                      </a:lnTo>
                      <a:lnTo>
                        <a:pt x="103" y="263"/>
                      </a:lnTo>
                      <a:lnTo>
                        <a:pt x="102" y="263"/>
                      </a:lnTo>
                      <a:lnTo>
                        <a:pt x="102" y="262"/>
                      </a:lnTo>
                      <a:lnTo>
                        <a:pt x="102" y="261"/>
                      </a:lnTo>
                      <a:lnTo>
                        <a:pt x="102" y="260"/>
                      </a:lnTo>
                      <a:lnTo>
                        <a:pt x="103" y="260"/>
                      </a:lnTo>
                      <a:lnTo>
                        <a:pt x="104" y="259"/>
                      </a:lnTo>
                      <a:lnTo>
                        <a:pt x="105" y="258"/>
                      </a:lnTo>
                      <a:lnTo>
                        <a:pt x="105" y="256"/>
                      </a:lnTo>
                      <a:lnTo>
                        <a:pt x="104" y="256"/>
                      </a:lnTo>
                      <a:lnTo>
                        <a:pt x="103" y="255"/>
                      </a:lnTo>
                      <a:lnTo>
                        <a:pt x="103" y="254"/>
                      </a:lnTo>
                      <a:lnTo>
                        <a:pt x="103" y="253"/>
                      </a:lnTo>
                      <a:lnTo>
                        <a:pt x="103" y="252"/>
                      </a:lnTo>
                      <a:lnTo>
                        <a:pt x="102" y="252"/>
                      </a:lnTo>
                      <a:lnTo>
                        <a:pt x="101" y="253"/>
                      </a:lnTo>
                      <a:lnTo>
                        <a:pt x="100" y="253"/>
                      </a:lnTo>
                      <a:lnTo>
                        <a:pt x="99" y="254"/>
                      </a:lnTo>
                      <a:lnTo>
                        <a:pt x="97" y="255"/>
                      </a:lnTo>
                      <a:lnTo>
                        <a:pt x="96" y="255"/>
                      </a:lnTo>
                      <a:lnTo>
                        <a:pt x="95" y="255"/>
                      </a:lnTo>
                      <a:lnTo>
                        <a:pt x="93" y="256"/>
                      </a:lnTo>
                      <a:lnTo>
                        <a:pt x="92" y="256"/>
                      </a:lnTo>
                      <a:lnTo>
                        <a:pt x="90" y="258"/>
                      </a:lnTo>
                      <a:lnTo>
                        <a:pt x="89" y="259"/>
                      </a:lnTo>
                      <a:lnTo>
                        <a:pt x="88" y="259"/>
                      </a:lnTo>
                      <a:lnTo>
                        <a:pt x="87" y="259"/>
                      </a:lnTo>
                      <a:lnTo>
                        <a:pt x="86" y="259"/>
                      </a:lnTo>
                      <a:lnTo>
                        <a:pt x="86" y="258"/>
                      </a:lnTo>
                      <a:lnTo>
                        <a:pt x="85" y="256"/>
                      </a:lnTo>
                      <a:lnTo>
                        <a:pt x="83" y="256"/>
                      </a:lnTo>
                      <a:lnTo>
                        <a:pt x="82" y="258"/>
                      </a:lnTo>
                      <a:lnTo>
                        <a:pt x="81" y="258"/>
                      </a:lnTo>
                      <a:lnTo>
                        <a:pt x="81" y="259"/>
                      </a:lnTo>
                      <a:lnTo>
                        <a:pt x="82" y="261"/>
                      </a:lnTo>
                      <a:lnTo>
                        <a:pt x="82" y="262"/>
                      </a:lnTo>
                      <a:lnTo>
                        <a:pt x="81" y="263"/>
                      </a:lnTo>
                      <a:lnTo>
                        <a:pt x="81" y="266"/>
                      </a:lnTo>
                      <a:lnTo>
                        <a:pt x="80" y="266"/>
                      </a:lnTo>
                      <a:lnTo>
                        <a:pt x="81" y="267"/>
                      </a:lnTo>
                      <a:lnTo>
                        <a:pt x="80" y="267"/>
                      </a:lnTo>
                      <a:lnTo>
                        <a:pt x="79" y="267"/>
                      </a:lnTo>
                      <a:lnTo>
                        <a:pt x="78" y="268"/>
                      </a:lnTo>
                      <a:lnTo>
                        <a:pt x="76" y="268"/>
                      </a:lnTo>
                      <a:lnTo>
                        <a:pt x="75" y="267"/>
                      </a:lnTo>
                      <a:lnTo>
                        <a:pt x="74" y="268"/>
                      </a:lnTo>
                      <a:lnTo>
                        <a:pt x="75" y="268"/>
                      </a:lnTo>
                      <a:lnTo>
                        <a:pt x="74" y="269"/>
                      </a:lnTo>
                      <a:lnTo>
                        <a:pt x="73" y="270"/>
                      </a:lnTo>
                      <a:lnTo>
                        <a:pt x="72" y="272"/>
                      </a:lnTo>
                      <a:lnTo>
                        <a:pt x="71" y="270"/>
                      </a:lnTo>
                      <a:lnTo>
                        <a:pt x="71" y="269"/>
                      </a:lnTo>
                      <a:lnTo>
                        <a:pt x="71" y="268"/>
                      </a:lnTo>
                      <a:lnTo>
                        <a:pt x="69" y="268"/>
                      </a:lnTo>
                      <a:lnTo>
                        <a:pt x="67" y="267"/>
                      </a:lnTo>
                      <a:lnTo>
                        <a:pt x="66" y="266"/>
                      </a:lnTo>
                      <a:lnTo>
                        <a:pt x="65" y="266"/>
                      </a:lnTo>
                      <a:lnTo>
                        <a:pt x="65" y="265"/>
                      </a:lnTo>
                      <a:lnTo>
                        <a:pt x="64" y="263"/>
                      </a:lnTo>
                      <a:lnTo>
                        <a:pt x="64" y="262"/>
                      </a:lnTo>
                      <a:lnTo>
                        <a:pt x="62" y="262"/>
                      </a:lnTo>
                      <a:lnTo>
                        <a:pt x="61" y="262"/>
                      </a:lnTo>
                      <a:lnTo>
                        <a:pt x="61" y="263"/>
                      </a:lnTo>
                      <a:lnTo>
                        <a:pt x="60" y="263"/>
                      </a:lnTo>
                      <a:lnTo>
                        <a:pt x="58" y="261"/>
                      </a:lnTo>
                      <a:lnTo>
                        <a:pt x="57" y="260"/>
                      </a:lnTo>
                      <a:lnTo>
                        <a:pt x="55" y="259"/>
                      </a:lnTo>
                      <a:lnTo>
                        <a:pt x="55" y="258"/>
                      </a:lnTo>
                      <a:lnTo>
                        <a:pt x="54" y="256"/>
                      </a:lnTo>
                      <a:lnTo>
                        <a:pt x="53" y="256"/>
                      </a:lnTo>
                      <a:lnTo>
                        <a:pt x="52" y="256"/>
                      </a:lnTo>
                      <a:lnTo>
                        <a:pt x="51" y="256"/>
                      </a:lnTo>
                      <a:lnTo>
                        <a:pt x="51" y="258"/>
                      </a:lnTo>
                      <a:lnTo>
                        <a:pt x="50" y="258"/>
                      </a:lnTo>
                      <a:lnTo>
                        <a:pt x="50" y="259"/>
                      </a:lnTo>
                      <a:lnTo>
                        <a:pt x="48" y="259"/>
                      </a:lnTo>
                      <a:lnTo>
                        <a:pt x="48" y="260"/>
                      </a:lnTo>
                      <a:lnTo>
                        <a:pt x="47" y="261"/>
                      </a:lnTo>
                      <a:lnTo>
                        <a:pt x="46" y="261"/>
                      </a:lnTo>
                      <a:lnTo>
                        <a:pt x="43" y="262"/>
                      </a:lnTo>
                      <a:lnTo>
                        <a:pt x="41" y="263"/>
                      </a:lnTo>
                      <a:lnTo>
                        <a:pt x="40" y="263"/>
                      </a:lnTo>
                      <a:lnTo>
                        <a:pt x="39" y="263"/>
                      </a:lnTo>
                      <a:lnTo>
                        <a:pt x="39" y="265"/>
                      </a:lnTo>
                      <a:lnTo>
                        <a:pt x="39" y="266"/>
                      </a:lnTo>
                      <a:lnTo>
                        <a:pt x="38" y="268"/>
                      </a:lnTo>
                      <a:lnTo>
                        <a:pt x="37" y="268"/>
                      </a:lnTo>
                      <a:lnTo>
                        <a:pt x="36" y="268"/>
                      </a:lnTo>
                      <a:lnTo>
                        <a:pt x="36" y="269"/>
                      </a:lnTo>
                      <a:lnTo>
                        <a:pt x="35" y="269"/>
                      </a:lnTo>
                      <a:lnTo>
                        <a:pt x="35" y="268"/>
                      </a:lnTo>
                      <a:lnTo>
                        <a:pt x="33" y="268"/>
                      </a:lnTo>
                      <a:lnTo>
                        <a:pt x="32" y="272"/>
                      </a:lnTo>
                      <a:lnTo>
                        <a:pt x="31" y="273"/>
                      </a:lnTo>
                      <a:lnTo>
                        <a:pt x="28" y="276"/>
                      </a:lnTo>
                      <a:lnTo>
                        <a:pt x="28" y="275"/>
                      </a:lnTo>
                      <a:lnTo>
                        <a:pt x="26" y="275"/>
                      </a:lnTo>
                      <a:lnTo>
                        <a:pt x="26" y="274"/>
                      </a:lnTo>
                      <a:lnTo>
                        <a:pt x="25" y="273"/>
                      </a:lnTo>
                      <a:lnTo>
                        <a:pt x="24" y="272"/>
                      </a:lnTo>
                      <a:lnTo>
                        <a:pt x="24" y="270"/>
                      </a:lnTo>
                      <a:lnTo>
                        <a:pt x="22" y="269"/>
                      </a:lnTo>
                      <a:lnTo>
                        <a:pt x="22" y="268"/>
                      </a:lnTo>
                      <a:lnTo>
                        <a:pt x="23" y="269"/>
                      </a:lnTo>
                      <a:lnTo>
                        <a:pt x="23" y="268"/>
                      </a:lnTo>
                      <a:lnTo>
                        <a:pt x="22" y="267"/>
                      </a:lnTo>
                      <a:lnTo>
                        <a:pt x="21" y="266"/>
                      </a:lnTo>
                      <a:lnTo>
                        <a:pt x="21" y="265"/>
                      </a:lnTo>
                      <a:lnTo>
                        <a:pt x="22" y="265"/>
                      </a:lnTo>
                      <a:lnTo>
                        <a:pt x="22" y="263"/>
                      </a:lnTo>
                      <a:lnTo>
                        <a:pt x="22" y="262"/>
                      </a:lnTo>
                      <a:lnTo>
                        <a:pt x="18" y="259"/>
                      </a:lnTo>
                      <a:lnTo>
                        <a:pt x="15" y="255"/>
                      </a:lnTo>
                      <a:lnTo>
                        <a:pt x="11" y="253"/>
                      </a:lnTo>
                      <a:lnTo>
                        <a:pt x="10" y="252"/>
                      </a:lnTo>
                      <a:lnTo>
                        <a:pt x="9" y="251"/>
                      </a:lnTo>
                      <a:lnTo>
                        <a:pt x="8" y="251"/>
                      </a:lnTo>
                      <a:lnTo>
                        <a:pt x="8" y="249"/>
                      </a:lnTo>
                      <a:lnTo>
                        <a:pt x="7" y="248"/>
                      </a:lnTo>
                      <a:lnTo>
                        <a:pt x="8" y="248"/>
                      </a:lnTo>
                      <a:lnTo>
                        <a:pt x="7" y="248"/>
                      </a:lnTo>
                      <a:lnTo>
                        <a:pt x="7" y="247"/>
                      </a:lnTo>
                      <a:lnTo>
                        <a:pt x="4" y="245"/>
                      </a:lnTo>
                      <a:lnTo>
                        <a:pt x="1" y="244"/>
                      </a:lnTo>
                      <a:lnTo>
                        <a:pt x="0" y="242"/>
                      </a:lnTo>
                      <a:lnTo>
                        <a:pt x="0" y="241"/>
                      </a:lnTo>
                      <a:lnTo>
                        <a:pt x="2" y="235"/>
                      </a:lnTo>
                      <a:lnTo>
                        <a:pt x="2" y="234"/>
                      </a:lnTo>
                      <a:lnTo>
                        <a:pt x="3" y="234"/>
                      </a:lnTo>
                      <a:lnTo>
                        <a:pt x="4" y="233"/>
                      </a:lnTo>
                      <a:lnTo>
                        <a:pt x="5" y="232"/>
                      </a:lnTo>
                      <a:lnTo>
                        <a:pt x="7" y="232"/>
                      </a:lnTo>
                      <a:lnTo>
                        <a:pt x="8" y="232"/>
                      </a:lnTo>
                      <a:lnTo>
                        <a:pt x="9" y="231"/>
                      </a:lnTo>
                      <a:lnTo>
                        <a:pt x="9" y="230"/>
                      </a:lnTo>
                      <a:lnTo>
                        <a:pt x="10" y="230"/>
                      </a:lnTo>
                      <a:lnTo>
                        <a:pt x="11" y="228"/>
                      </a:lnTo>
                      <a:lnTo>
                        <a:pt x="12" y="228"/>
                      </a:lnTo>
                      <a:lnTo>
                        <a:pt x="14" y="230"/>
                      </a:lnTo>
                      <a:lnTo>
                        <a:pt x="16" y="233"/>
                      </a:lnTo>
                      <a:lnTo>
                        <a:pt x="17" y="234"/>
                      </a:lnTo>
                      <a:lnTo>
                        <a:pt x="19" y="234"/>
                      </a:lnTo>
                      <a:lnTo>
                        <a:pt x="22" y="234"/>
                      </a:lnTo>
                      <a:lnTo>
                        <a:pt x="23" y="234"/>
                      </a:lnTo>
                      <a:lnTo>
                        <a:pt x="24" y="233"/>
                      </a:lnTo>
                      <a:lnTo>
                        <a:pt x="24" y="232"/>
                      </a:lnTo>
                      <a:lnTo>
                        <a:pt x="23" y="232"/>
                      </a:lnTo>
                      <a:lnTo>
                        <a:pt x="22" y="231"/>
                      </a:lnTo>
                      <a:lnTo>
                        <a:pt x="22" y="230"/>
                      </a:lnTo>
                      <a:lnTo>
                        <a:pt x="24" y="225"/>
                      </a:lnTo>
                      <a:lnTo>
                        <a:pt x="25" y="224"/>
                      </a:lnTo>
                      <a:lnTo>
                        <a:pt x="25" y="223"/>
                      </a:lnTo>
                      <a:lnTo>
                        <a:pt x="25" y="221"/>
                      </a:lnTo>
                      <a:lnTo>
                        <a:pt x="24" y="221"/>
                      </a:lnTo>
                      <a:lnTo>
                        <a:pt x="23" y="221"/>
                      </a:lnTo>
                      <a:lnTo>
                        <a:pt x="22" y="220"/>
                      </a:lnTo>
                      <a:lnTo>
                        <a:pt x="21" y="219"/>
                      </a:lnTo>
                      <a:lnTo>
                        <a:pt x="19" y="219"/>
                      </a:lnTo>
                      <a:lnTo>
                        <a:pt x="18" y="218"/>
                      </a:lnTo>
                      <a:lnTo>
                        <a:pt x="17" y="218"/>
                      </a:lnTo>
                      <a:lnTo>
                        <a:pt x="17" y="216"/>
                      </a:lnTo>
                      <a:lnTo>
                        <a:pt x="17" y="214"/>
                      </a:lnTo>
                      <a:lnTo>
                        <a:pt x="18" y="214"/>
                      </a:lnTo>
                      <a:lnTo>
                        <a:pt x="18" y="213"/>
                      </a:lnTo>
                      <a:lnTo>
                        <a:pt x="19" y="213"/>
                      </a:lnTo>
                      <a:lnTo>
                        <a:pt x="21" y="213"/>
                      </a:lnTo>
                      <a:lnTo>
                        <a:pt x="21" y="212"/>
                      </a:lnTo>
                      <a:lnTo>
                        <a:pt x="19" y="212"/>
                      </a:lnTo>
                      <a:lnTo>
                        <a:pt x="17" y="210"/>
                      </a:lnTo>
                      <a:lnTo>
                        <a:pt x="16" y="207"/>
                      </a:lnTo>
                      <a:lnTo>
                        <a:pt x="15" y="207"/>
                      </a:lnTo>
                      <a:lnTo>
                        <a:pt x="14" y="207"/>
                      </a:lnTo>
                      <a:lnTo>
                        <a:pt x="12" y="209"/>
                      </a:lnTo>
                      <a:lnTo>
                        <a:pt x="12" y="207"/>
                      </a:lnTo>
                      <a:lnTo>
                        <a:pt x="12" y="206"/>
                      </a:lnTo>
                      <a:lnTo>
                        <a:pt x="15" y="203"/>
                      </a:lnTo>
                      <a:lnTo>
                        <a:pt x="15" y="202"/>
                      </a:lnTo>
                      <a:lnTo>
                        <a:pt x="15" y="200"/>
                      </a:lnTo>
                      <a:lnTo>
                        <a:pt x="15" y="199"/>
                      </a:lnTo>
                      <a:lnTo>
                        <a:pt x="15" y="198"/>
                      </a:lnTo>
                      <a:lnTo>
                        <a:pt x="14" y="197"/>
                      </a:lnTo>
                      <a:lnTo>
                        <a:pt x="14" y="196"/>
                      </a:lnTo>
                      <a:lnTo>
                        <a:pt x="14" y="195"/>
                      </a:lnTo>
                      <a:lnTo>
                        <a:pt x="14" y="193"/>
                      </a:lnTo>
                      <a:lnTo>
                        <a:pt x="14" y="192"/>
                      </a:lnTo>
                      <a:lnTo>
                        <a:pt x="14" y="191"/>
                      </a:lnTo>
                      <a:lnTo>
                        <a:pt x="15" y="191"/>
                      </a:lnTo>
                      <a:lnTo>
                        <a:pt x="16" y="192"/>
                      </a:lnTo>
                      <a:lnTo>
                        <a:pt x="17" y="192"/>
                      </a:lnTo>
                      <a:lnTo>
                        <a:pt x="18" y="193"/>
                      </a:lnTo>
                      <a:lnTo>
                        <a:pt x="19" y="193"/>
                      </a:lnTo>
                      <a:lnTo>
                        <a:pt x="21" y="192"/>
                      </a:lnTo>
                      <a:lnTo>
                        <a:pt x="22" y="192"/>
                      </a:lnTo>
                      <a:lnTo>
                        <a:pt x="23" y="192"/>
                      </a:lnTo>
                      <a:lnTo>
                        <a:pt x="24" y="192"/>
                      </a:lnTo>
                      <a:lnTo>
                        <a:pt x="25" y="191"/>
                      </a:lnTo>
                      <a:lnTo>
                        <a:pt x="26" y="192"/>
                      </a:lnTo>
                      <a:lnTo>
                        <a:pt x="28" y="193"/>
                      </a:lnTo>
                      <a:lnTo>
                        <a:pt x="29" y="193"/>
                      </a:lnTo>
                      <a:lnTo>
                        <a:pt x="41" y="191"/>
                      </a:lnTo>
                      <a:lnTo>
                        <a:pt x="41" y="190"/>
                      </a:lnTo>
                      <a:lnTo>
                        <a:pt x="41" y="189"/>
                      </a:lnTo>
                      <a:lnTo>
                        <a:pt x="41" y="188"/>
                      </a:lnTo>
                      <a:lnTo>
                        <a:pt x="41" y="186"/>
                      </a:lnTo>
                      <a:lnTo>
                        <a:pt x="41" y="185"/>
                      </a:lnTo>
                      <a:lnTo>
                        <a:pt x="43" y="184"/>
                      </a:lnTo>
                      <a:lnTo>
                        <a:pt x="41" y="183"/>
                      </a:lnTo>
                      <a:lnTo>
                        <a:pt x="40" y="182"/>
                      </a:lnTo>
                      <a:lnTo>
                        <a:pt x="40" y="181"/>
                      </a:lnTo>
                      <a:lnTo>
                        <a:pt x="40" y="177"/>
                      </a:lnTo>
                      <a:lnTo>
                        <a:pt x="41" y="177"/>
                      </a:lnTo>
                      <a:lnTo>
                        <a:pt x="41" y="178"/>
                      </a:lnTo>
                      <a:lnTo>
                        <a:pt x="43" y="178"/>
                      </a:lnTo>
                      <a:lnTo>
                        <a:pt x="43" y="177"/>
                      </a:lnTo>
                      <a:lnTo>
                        <a:pt x="44" y="177"/>
                      </a:lnTo>
                      <a:lnTo>
                        <a:pt x="44" y="176"/>
                      </a:lnTo>
                      <a:lnTo>
                        <a:pt x="45" y="176"/>
                      </a:lnTo>
                      <a:lnTo>
                        <a:pt x="45" y="175"/>
                      </a:lnTo>
                      <a:lnTo>
                        <a:pt x="47" y="175"/>
                      </a:lnTo>
                      <a:lnTo>
                        <a:pt x="48" y="176"/>
                      </a:lnTo>
                      <a:lnTo>
                        <a:pt x="51" y="177"/>
                      </a:lnTo>
                      <a:lnTo>
                        <a:pt x="52" y="178"/>
                      </a:lnTo>
                      <a:lnTo>
                        <a:pt x="53" y="179"/>
                      </a:lnTo>
                      <a:lnTo>
                        <a:pt x="53" y="181"/>
                      </a:lnTo>
                      <a:lnTo>
                        <a:pt x="53" y="182"/>
                      </a:lnTo>
                      <a:lnTo>
                        <a:pt x="54" y="182"/>
                      </a:lnTo>
                      <a:lnTo>
                        <a:pt x="54" y="183"/>
                      </a:lnTo>
                      <a:lnTo>
                        <a:pt x="54" y="184"/>
                      </a:lnTo>
                      <a:lnTo>
                        <a:pt x="55" y="184"/>
                      </a:lnTo>
                      <a:lnTo>
                        <a:pt x="55" y="185"/>
                      </a:lnTo>
                      <a:lnTo>
                        <a:pt x="54" y="185"/>
                      </a:lnTo>
                      <a:lnTo>
                        <a:pt x="55" y="185"/>
                      </a:lnTo>
                      <a:lnTo>
                        <a:pt x="55" y="186"/>
                      </a:lnTo>
                      <a:lnTo>
                        <a:pt x="57" y="186"/>
                      </a:lnTo>
                      <a:lnTo>
                        <a:pt x="58" y="188"/>
                      </a:lnTo>
                      <a:lnTo>
                        <a:pt x="58" y="189"/>
                      </a:lnTo>
                      <a:lnTo>
                        <a:pt x="59" y="189"/>
                      </a:lnTo>
                      <a:lnTo>
                        <a:pt x="59" y="190"/>
                      </a:lnTo>
                      <a:lnTo>
                        <a:pt x="59" y="191"/>
                      </a:lnTo>
                      <a:lnTo>
                        <a:pt x="58" y="191"/>
                      </a:lnTo>
                      <a:lnTo>
                        <a:pt x="58" y="192"/>
                      </a:lnTo>
                      <a:lnTo>
                        <a:pt x="59" y="192"/>
                      </a:lnTo>
                      <a:lnTo>
                        <a:pt x="59" y="191"/>
                      </a:lnTo>
                      <a:lnTo>
                        <a:pt x="60" y="191"/>
                      </a:lnTo>
                      <a:lnTo>
                        <a:pt x="62" y="192"/>
                      </a:lnTo>
                      <a:lnTo>
                        <a:pt x="64" y="192"/>
                      </a:lnTo>
                      <a:lnTo>
                        <a:pt x="65" y="192"/>
                      </a:lnTo>
                      <a:lnTo>
                        <a:pt x="71" y="195"/>
                      </a:lnTo>
                      <a:lnTo>
                        <a:pt x="72" y="193"/>
                      </a:lnTo>
                      <a:lnTo>
                        <a:pt x="72" y="195"/>
                      </a:lnTo>
                      <a:lnTo>
                        <a:pt x="73" y="193"/>
                      </a:lnTo>
                      <a:lnTo>
                        <a:pt x="73" y="195"/>
                      </a:lnTo>
                      <a:lnTo>
                        <a:pt x="74" y="193"/>
                      </a:lnTo>
                      <a:lnTo>
                        <a:pt x="75" y="192"/>
                      </a:lnTo>
                      <a:lnTo>
                        <a:pt x="76" y="191"/>
                      </a:lnTo>
                      <a:lnTo>
                        <a:pt x="78" y="191"/>
                      </a:lnTo>
                      <a:lnTo>
                        <a:pt x="78" y="190"/>
                      </a:lnTo>
                      <a:lnTo>
                        <a:pt x="78" y="189"/>
                      </a:lnTo>
                      <a:lnTo>
                        <a:pt x="81" y="186"/>
                      </a:lnTo>
                      <a:lnTo>
                        <a:pt x="81" y="185"/>
                      </a:lnTo>
                      <a:lnTo>
                        <a:pt x="82" y="184"/>
                      </a:lnTo>
                      <a:lnTo>
                        <a:pt x="83" y="184"/>
                      </a:lnTo>
                      <a:lnTo>
                        <a:pt x="83" y="185"/>
                      </a:lnTo>
                      <a:lnTo>
                        <a:pt x="83" y="186"/>
                      </a:lnTo>
                      <a:lnTo>
                        <a:pt x="85" y="189"/>
                      </a:lnTo>
                      <a:lnTo>
                        <a:pt x="86" y="190"/>
                      </a:lnTo>
                      <a:lnTo>
                        <a:pt x="86" y="191"/>
                      </a:lnTo>
                      <a:lnTo>
                        <a:pt x="87" y="191"/>
                      </a:lnTo>
                      <a:lnTo>
                        <a:pt x="87" y="192"/>
                      </a:lnTo>
                      <a:lnTo>
                        <a:pt x="87" y="193"/>
                      </a:lnTo>
                      <a:lnTo>
                        <a:pt x="86" y="193"/>
                      </a:lnTo>
                      <a:lnTo>
                        <a:pt x="86" y="195"/>
                      </a:lnTo>
                      <a:lnTo>
                        <a:pt x="86" y="196"/>
                      </a:lnTo>
                      <a:lnTo>
                        <a:pt x="87" y="196"/>
                      </a:lnTo>
                      <a:lnTo>
                        <a:pt x="88" y="196"/>
                      </a:lnTo>
                      <a:lnTo>
                        <a:pt x="89" y="196"/>
                      </a:lnTo>
                      <a:lnTo>
                        <a:pt x="90" y="196"/>
                      </a:lnTo>
                      <a:lnTo>
                        <a:pt x="92" y="196"/>
                      </a:lnTo>
                      <a:lnTo>
                        <a:pt x="93" y="196"/>
                      </a:lnTo>
                      <a:lnTo>
                        <a:pt x="94" y="196"/>
                      </a:lnTo>
                      <a:lnTo>
                        <a:pt x="94" y="195"/>
                      </a:lnTo>
                      <a:lnTo>
                        <a:pt x="94" y="193"/>
                      </a:lnTo>
                      <a:lnTo>
                        <a:pt x="95" y="193"/>
                      </a:lnTo>
                      <a:lnTo>
                        <a:pt x="95" y="192"/>
                      </a:lnTo>
                      <a:lnTo>
                        <a:pt x="96" y="192"/>
                      </a:lnTo>
                      <a:lnTo>
                        <a:pt x="97" y="191"/>
                      </a:lnTo>
                      <a:lnTo>
                        <a:pt x="95" y="189"/>
                      </a:lnTo>
                      <a:lnTo>
                        <a:pt x="95" y="188"/>
                      </a:lnTo>
                      <a:lnTo>
                        <a:pt x="96" y="186"/>
                      </a:lnTo>
                      <a:lnTo>
                        <a:pt x="97" y="186"/>
                      </a:lnTo>
                      <a:lnTo>
                        <a:pt x="96" y="185"/>
                      </a:lnTo>
                      <a:lnTo>
                        <a:pt x="97" y="185"/>
                      </a:lnTo>
                      <a:lnTo>
                        <a:pt x="97" y="184"/>
                      </a:lnTo>
                      <a:lnTo>
                        <a:pt x="97" y="183"/>
                      </a:lnTo>
                      <a:lnTo>
                        <a:pt x="99" y="182"/>
                      </a:lnTo>
                      <a:lnTo>
                        <a:pt x="97" y="181"/>
                      </a:lnTo>
                      <a:lnTo>
                        <a:pt x="97" y="179"/>
                      </a:lnTo>
                      <a:lnTo>
                        <a:pt x="99" y="179"/>
                      </a:lnTo>
                      <a:lnTo>
                        <a:pt x="102" y="178"/>
                      </a:lnTo>
                      <a:lnTo>
                        <a:pt x="103" y="177"/>
                      </a:lnTo>
                      <a:lnTo>
                        <a:pt x="103" y="176"/>
                      </a:lnTo>
                      <a:lnTo>
                        <a:pt x="103" y="175"/>
                      </a:lnTo>
                      <a:lnTo>
                        <a:pt x="103" y="172"/>
                      </a:lnTo>
                      <a:lnTo>
                        <a:pt x="103" y="171"/>
                      </a:lnTo>
                      <a:lnTo>
                        <a:pt x="104" y="170"/>
                      </a:lnTo>
                      <a:lnTo>
                        <a:pt x="103" y="170"/>
                      </a:lnTo>
                      <a:lnTo>
                        <a:pt x="102" y="169"/>
                      </a:lnTo>
                      <a:lnTo>
                        <a:pt x="102" y="168"/>
                      </a:lnTo>
                      <a:lnTo>
                        <a:pt x="103" y="168"/>
                      </a:lnTo>
                      <a:lnTo>
                        <a:pt x="103" y="167"/>
                      </a:lnTo>
                      <a:lnTo>
                        <a:pt x="104" y="167"/>
                      </a:lnTo>
                      <a:lnTo>
                        <a:pt x="104" y="165"/>
                      </a:lnTo>
                      <a:lnTo>
                        <a:pt x="104" y="164"/>
                      </a:lnTo>
                      <a:lnTo>
                        <a:pt x="104" y="163"/>
                      </a:lnTo>
                      <a:lnTo>
                        <a:pt x="104" y="162"/>
                      </a:lnTo>
                      <a:lnTo>
                        <a:pt x="105" y="162"/>
                      </a:lnTo>
                      <a:lnTo>
                        <a:pt x="105" y="161"/>
                      </a:lnTo>
                      <a:lnTo>
                        <a:pt x="104" y="161"/>
                      </a:lnTo>
                      <a:lnTo>
                        <a:pt x="103" y="160"/>
                      </a:lnTo>
                      <a:lnTo>
                        <a:pt x="103" y="158"/>
                      </a:lnTo>
                      <a:lnTo>
                        <a:pt x="104" y="158"/>
                      </a:lnTo>
                      <a:lnTo>
                        <a:pt x="104" y="157"/>
                      </a:lnTo>
                      <a:lnTo>
                        <a:pt x="104" y="156"/>
                      </a:lnTo>
                      <a:lnTo>
                        <a:pt x="104" y="155"/>
                      </a:lnTo>
                      <a:lnTo>
                        <a:pt x="103" y="154"/>
                      </a:lnTo>
                      <a:lnTo>
                        <a:pt x="104" y="153"/>
                      </a:lnTo>
                      <a:lnTo>
                        <a:pt x="103" y="153"/>
                      </a:lnTo>
                      <a:lnTo>
                        <a:pt x="102" y="149"/>
                      </a:lnTo>
                      <a:lnTo>
                        <a:pt x="103" y="148"/>
                      </a:lnTo>
                      <a:lnTo>
                        <a:pt x="103" y="147"/>
                      </a:lnTo>
                      <a:lnTo>
                        <a:pt x="103" y="146"/>
                      </a:lnTo>
                      <a:lnTo>
                        <a:pt x="104" y="144"/>
                      </a:lnTo>
                      <a:lnTo>
                        <a:pt x="104" y="143"/>
                      </a:lnTo>
                      <a:lnTo>
                        <a:pt x="104" y="142"/>
                      </a:lnTo>
                      <a:lnTo>
                        <a:pt x="104" y="141"/>
                      </a:lnTo>
                      <a:lnTo>
                        <a:pt x="105" y="139"/>
                      </a:lnTo>
                      <a:lnTo>
                        <a:pt x="105" y="137"/>
                      </a:lnTo>
                      <a:lnTo>
                        <a:pt x="105" y="136"/>
                      </a:lnTo>
                      <a:lnTo>
                        <a:pt x="104" y="135"/>
                      </a:lnTo>
                      <a:lnTo>
                        <a:pt x="104" y="134"/>
                      </a:lnTo>
                      <a:lnTo>
                        <a:pt x="103" y="134"/>
                      </a:lnTo>
                      <a:lnTo>
                        <a:pt x="102" y="133"/>
                      </a:lnTo>
                      <a:lnTo>
                        <a:pt x="101" y="132"/>
                      </a:lnTo>
                      <a:lnTo>
                        <a:pt x="100" y="132"/>
                      </a:lnTo>
                      <a:lnTo>
                        <a:pt x="99" y="132"/>
                      </a:lnTo>
                      <a:lnTo>
                        <a:pt x="97" y="132"/>
                      </a:lnTo>
                      <a:lnTo>
                        <a:pt x="96" y="132"/>
                      </a:lnTo>
                      <a:lnTo>
                        <a:pt x="95" y="132"/>
                      </a:lnTo>
                      <a:lnTo>
                        <a:pt x="95" y="130"/>
                      </a:lnTo>
                      <a:lnTo>
                        <a:pt x="95" y="129"/>
                      </a:lnTo>
                      <a:lnTo>
                        <a:pt x="94" y="128"/>
                      </a:lnTo>
                      <a:lnTo>
                        <a:pt x="94" y="127"/>
                      </a:lnTo>
                      <a:lnTo>
                        <a:pt x="93" y="126"/>
                      </a:lnTo>
                      <a:lnTo>
                        <a:pt x="92" y="126"/>
                      </a:lnTo>
                      <a:lnTo>
                        <a:pt x="90" y="126"/>
                      </a:lnTo>
                      <a:lnTo>
                        <a:pt x="89" y="126"/>
                      </a:lnTo>
                      <a:lnTo>
                        <a:pt x="89" y="125"/>
                      </a:lnTo>
                      <a:lnTo>
                        <a:pt x="88" y="125"/>
                      </a:lnTo>
                      <a:lnTo>
                        <a:pt x="87" y="125"/>
                      </a:lnTo>
                      <a:lnTo>
                        <a:pt x="87" y="126"/>
                      </a:lnTo>
                      <a:lnTo>
                        <a:pt x="86" y="126"/>
                      </a:lnTo>
                      <a:lnTo>
                        <a:pt x="85" y="123"/>
                      </a:lnTo>
                      <a:lnTo>
                        <a:pt x="85" y="122"/>
                      </a:lnTo>
                      <a:lnTo>
                        <a:pt x="87" y="120"/>
                      </a:lnTo>
                      <a:lnTo>
                        <a:pt x="87" y="119"/>
                      </a:lnTo>
                      <a:lnTo>
                        <a:pt x="87" y="118"/>
                      </a:lnTo>
                      <a:lnTo>
                        <a:pt x="88" y="118"/>
                      </a:lnTo>
                      <a:lnTo>
                        <a:pt x="88" y="116"/>
                      </a:lnTo>
                      <a:lnTo>
                        <a:pt x="87" y="116"/>
                      </a:lnTo>
                      <a:lnTo>
                        <a:pt x="87" y="114"/>
                      </a:lnTo>
                      <a:lnTo>
                        <a:pt x="86" y="113"/>
                      </a:lnTo>
                      <a:lnTo>
                        <a:pt x="86" y="112"/>
                      </a:lnTo>
                      <a:lnTo>
                        <a:pt x="86" y="111"/>
                      </a:lnTo>
                      <a:lnTo>
                        <a:pt x="87" y="109"/>
                      </a:lnTo>
                      <a:lnTo>
                        <a:pt x="88" y="106"/>
                      </a:lnTo>
                      <a:lnTo>
                        <a:pt x="89" y="106"/>
                      </a:lnTo>
                      <a:lnTo>
                        <a:pt x="92" y="105"/>
                      </a:lnTo>
                      <a:lnTo>
                        <a:pt x="92" y="104"/>
                      </a:lnTo>
                      <a:lnTo>
                        <a:pt x="92" y="102"/>
                      </a:lnTo>
                      <a:lnTo>
                        <a:pt x="92" y="101"/>
                      </a:lnTo>
                      <a:lnTo>
                        <a:pt x="93" y="100"/>
                      </a:lnTo>
                      <a:lnTo>
                        <a:pt x="94" y="100"/>
                      </a:lnTo>
                      <a:lnTo>
                        <a:pt x="95" y="100"/>
                      </a:lnTo>
                      <a:lnTo>
                        <a:pt x="97" y="100"/>
                      </a:lnTo>
                      <a:lnTo>
                        <a:pt x="100" y="98"/>
                      </a:lnTo>
                      <a:lnTo>
                        <a:pt x="101" y="97"/>
                      </a:lnTo>
                      <a:lnTo>
                        <a:pt x="101" y="95"/>
                      </a:lnTo>
                      <a:lnTo>
                        <a:pt x="101" y="94"/>
                      </a:lnTo>
                      <a:lnTo>
                        <a:pt x="103" y="93"/>
                      </a:lnTo>
                      <a:lnTo>
                        <a:pt x="104" y="92"/>
                      </a:lnTo>
                      <a:lnTo>
                        <a:pt x="103" y="90"/>
                      </a:lnTo>
                      <a:lnTo>
                        <a:pt x="104" y="90"/>
                      </a:lnTo>
                      <a:lnTo>
                        <a:pt x="104" y="88"/>
                      </a:lnTo>
                      <a:lnTo>
                        <a:pt x="103" y="88"/>
                      </a:lnTo>
                      <a:lnTo>
                        <a:pt x="103" y="87"/>
                      </a:lnTo>
                      <a:lnTo>
                        <a:pt x="102" y="87"/>
                      </a:lnTo>
                      <a:lnTo>
                        <a:pt x="102" y="86"/>
                      </a:lnTo>
                      <a:lnTo>
                        <a:pt x="102" y="85"/>
                      </a:lnTo>
                      <a:lnTo>
                        <a:pt x="101" y="84"/>
                      </a:lnTo>
                      <a:lnTo>
                        <a:pt x="101" y="83"/>
                      </a:lnTo>
                      <a:lnTo>
                        <a:pt x="100" y="83"/>
                      </a:lnTo>
                      <a:lnTo>
                        <a:pt x="99" y="81"/>
                      </a:lnTo>
                      <a:lnTo>
                        <a:pt x="99" y="79"/>
                      </a:lnTo>
                      <a:lnTo>
                        <a:pt x="99" y="78"/>
                      </a:lnTo>
                      <a:lnTo>
                        <a:pt x="97" y="76"/>
                      </a:lnTo>
                      <a:lnTo>
                        <a:pt x="97" y="74"/>
                      </a:lnTo>
                      <a:lnTo>
                        <a:pt x="96" y="74"/>
                      </a:lnTo>
                      <a:lnTo>
                        <a:pt x="95" y="73"/>
                      </a:lnTo>
                      <a:lnTo>
                        <a:pt x="94" y="73"/>
                      </a:lnTo>
                      <a:lnTo>
                        <a:pt x="93" y="73"/>
                      </a:lnTo>
                      <a:lnTo>
                        <a:pt x="92" y="74"/>
                      </a:lnTo>
                      <a:lnTo>
                        <a:pt x="90" y="73"/>
                      </a:lnTo>
                      <a:lnTo>
                        <a:pt x="89" y="73"/>
                      </a:lnTo>
                      <a:lnTo>
                        <a:pt x="83" y="72"/>
                      </a:lnTo>
                      <a:lnTo>
                        <a:pt x="82" y="72"/>
                      </a:lnTo>
                      <a:lnTo>
                        <a:pt x="82" y="73"/>
                      </a:lnTo>
                      <a:lnTo>
                        <a:pt x="82" y="74"/>
                      </a:lnTo>
                      <a:lnTo>
                        <a:pt x="81" y="74"/>
                      </a:lnTo>
                      <a:lnTo>
                        <a:pt x="80" y="74"/>
                      </a:lnTo>
                      <a:lnTo>
                        <a:pt x="79" y="74"/>
                      </a:lnTo>
                      <a:lnTo>
                        <a:pt x="78" y="74"/>
                      </a:lnTo>
                      <a:lnTo>
                        <a:pt x="78" y="76"/>
                      </a:lnTo>
                      <a:lnTo>
                        <a:pt x="76" y="76"/>
                      </a:lnTo>
                      <a:lnTo>
                        <a:pt x="75" y="77"/>
                      </a:lnTo>
                      <a:lnTo>
                        <a:pt x="74" y="77"/>
                      </a:lnTo>
                      <a:lnTo>
                        <a:pt x="73" y="77"/>
                      </a:lnTo>
                      <a:lnTo>
                        <a:pt x="72" y="77"/>
                      </a:lnTo>
                      <a:lnTo>
                        <a:pt x="71" y="77"/>
                      </a:lnTo>
                      <a:lnTo>
                        <a:pt x="69" y="77"/>
                      </a:lnTo>
                      <a:lnTo>
                        <a:pt x="68" y="78"/>
                      </a:lnTo>
                      <a:lnTo>
                        <a:pt x="67" y="79"/>
                      </a:lnTo>
                      <a:lnTo>
                        <a:pt x="66" y="79"/>
                      </a:lnTo>
                      <a:lnTo>
                        <a:pt x="65" y="79"/>
                      </a:lnTo>
                      <a:lnTo>
                        <a:pt x="64" y="79"/>
                      </a:lnTo>
                      <a:lnTo>
                        <a:pt x="64" y="78"/>
                      </a:lnTo>
                      <a:lnTo>
                        <a:pt x="62" y="78"/>
                      </a:lnTo>
                      <a:lnTo>
                        <a:pt x="64" y="78"/>
                      </a:lnTo>
                      <a:lnTo>
                        <a:pt x="64" y="77"/>
                      </a:lnTo>
                      <a:lnTo>
                        <a:pt x="65" y="77"/>
                      </a:lnTo>
                      <a:lnTo>
                        <a:pt x="66" y="76"/>
                      </a:lnTo>
                      <a:lnTo>
                        <a:pt x="66" y="74"/>
                      </a:lnTo>
                      <a:lnTo>
                        <a:pt x="66" y="73"/>
                      </a:lnTo>
                      <a:lnTo>
                        <a:pt x="66" y="72"/>
                      </a:lnTo>
                      <a:lnTo>
                        <a:pt x="65" y="72"/>
                      </a:lnTo>
                      <a:lnTo>
                        <a:pt x="65" y="71"/>
                      </a:lnTo>
                      <a:lnTo>
                        <a:pt x="64" y="70"/>
                      </a:lnTo>
                      <a:lnTo>
                        <a:pt x="64" y="69"/>
                      </a:lnTo>
                      <a:lnTo>
                        <a:pt x="62" y="69"/>
                      </a:lnTo>
                      <a:lnTo>
                        <a:pt x="62" y="67"/>
                      </a:lnTo>
                      <a:lnTo>
                        <a:pt x="62" y="66"/>
                      </a:lnTo>
                      <a:lnTo>
                        <a:pt x="62" y="64"/>
                      </a:lnTo>
                      <a:lnTo>
                        <a:pt x="62" y="63"/>
                      </a:lnTo>
                      <a:lnTo>
                        <a:pt x="62" y="62"/>
                      </a:lnTo>
                      <a:lnTo>
                        <a:pt x="64" y="62"/>
                      </a:lnTo>
                      <a:lnTo>
                        <a:pt x="64" y="60"/>
                      </a:lnTo>
                      <a:lnTo>
                        <a:pt x="64" y="59"/>
                      </a:lnTo>
                      <a:lnTo>
                        <a:pt x="64" y="58"/>
                      </a:lnTo>
                      <a:lnTo>
                        <a:pt x="62" y="58"/>
                      </a:lnTo>
                      <a:lnTo>
                        <a:pt x="64" y="57"/>
                      </a:lnTo>
                      <a:lnTo>
                        <a:pt x="64" y="56"/>
                      </a:lnTo>
                      <a:lnTo>
                        <a:pt x="65" y="56"/>
                      </a:lnTo>
                      <a:lnTo>
                        <a:pt x="65" y="55"/>
                      </a:lnTo>
                      <a:lnTo>
                        <a:pt x="66" y="53"/>
                      </a:lnTo>
                      <a:lnTo>
                        <a:pt x="67" y="53"/>
                      </a:lnTo>
                      <a:lnTo>
                        <a:pt x="67" y="52"/>
                      </a:lnTo>
                      <a:lnTo>
                        <a:pt x="67" y="51"/>
                      </a:lnTo>
                      <a:lnTo>
                        <a:pt x="67" y="49"/>
                      </a:lnTo>
                      <a:lnTo>
                        <a:pt x="73" y="50"/>
                      </a:lnTo>
                      <a:lnTo>
                        <a:pt x="78" y="50"/>
                      </a:lnTo>
                      <a:lnTo>
                        <a:pt x="79" y="50"/>
                      </a:lnTo>
                      <a:lnTo>
                        <a:pt x="83" y="50"/>
                      </a:lnTo>
                      <a:lnTo>
                        <a:pt x="89" y="50"/>
                      </a:lnTo>
                      <a:lnTo>
                        <a:pt x="95" y="50"/>
                      </a:lnTo>
                      <a:lnTo>
                        <a:pt x="99" y="50"/>
                      </a:lnTo>
                      <a:lnTo>
                        <a:pt x="100" y="49"/>
                      </a:lnTo>
                      <a:lnTo>
                        <a:pt x="102" y="49"/>
                      </a:lnTo>
                      <a:lnTo>
                        <a:pt x="102" y="50"/>
                      </a:lnTo>
                      <a:lnTo>
                        <a:pt x="103" y="50"/>
                      </a:lnTo>
                      <a:lnTo>
                        <a:pt x="104" y="50"/>
                      </a:lnTo>
                      <a:lnTo>
                        <a:pt x="107" y="49"/>
                      </a:lnTo>
                      <a:lnTo>
                        <a:pt x="107" y="48"/>
                      </a:lnTo>
                      <a:lnTo>
                        <a:pt x="108" y="48"/>
                      </a:lnTo>
                      <a:lnTo>
                        <a:pt x="109" y="49"/>
                      </a:lnTo>
                      <a:lnTo>
                        <a:pt x="110" y="49"/>
                      </a:lnTo>
                      <a:lnTo>
                        <a:pt x="110" y="50"/>
                      </a:lnTo>
                      <a:lnTo>
                        <a:pt x="111" y="50"/>
                      </a:lnTo>
                      <a:lnTo>
                        <a:pt x="111" y="51"/>
                      </a:lnTo>
                      <a:lnTo>
                        <a:pt x="112" y="51"/>
                      </a:lnTo>
                      <a:lnTo>
                        <a:pt x="112" y="50"/>
                      </a:lnTo>
                      <a:lnTo>
                        <a:pt x="114" y="51"/>
                      </a:lnTo>
                      <a:lnTo>
                        <a:pt x="112" y="51"/>
                      </a:lnTo>
                      <a:lnTo>
                        <a:pt x="114" y="51"/>
                      </a:lnTo>
                      <a:lnTo>
                        <a:pt x="114" y="52"/>
                      </a:lnTo>
                      <a:lnTo>
                        <a:pt x="116" y="52"/>
                      </a:lnTo>
                      <a:lnTo>
                        <a:pt x="116" y="51"/>
                      </a:lnTo>
                      <a:lnTo>
                        <a:pt x="117" y="51"/>
                      </a:lnTo>
                      <a:lnTo>
                        <a:pt x="117" y="52"/>
                      </a:lnTo>
                      <a:lnTo>
                        <a:pt x="118" y="52"/>
                      </a:lnTo>
                      <a:lnTo>
                        <a:pt x="118" y="53"/>
                      </a:lnTo>
                      <a:lnTo>
                        <a:pt x="119" y="55"/>
                      </a:lnTo>
                      <a:lnTo>
                        <a:pt x="119" y="53"/>
                      </a:lnTo>
                      <a:lnTo>
                        <a:pt x="121" y="53"/>
                      </a:lnTo>
                      <a:lnTo>
                        <a:pt x="122" y="55"/>
                      </a:lnTo>
                      <a:lnTo>
                        <a:pt x="123" y="55"/>
                      </a:lnTo>
                      <a:lnTo>
                        <a:pt x="124" y="55"/>
                      </a:lnTo>
                      <a:lnTo>
                        <a:pt x="125" y="53"/>
                      </a:lnTo>
                      <a:lnTo>
                        <a:pt x="126" y="52"/>
                      </a:lnTo>
                      <a:lnTo>
                        <a:pt x="126" y="53"/>
                      </a:lnTo>
                      <a:lnTo>
                        <a:pt x="128" y="53"/>
                      </a:lnTo>
                      <a:lnTo>
                        <a:pt x="129" y="53"/>
                      </a:lnTo>
                      <a:lnTo>
                        <a:pt x="129" y="55"/>
                      </a:lnTo>
                      <a:lnTo>
                        <a:pt x="130" y="55"/>
                      </a:lnTo>
                      <a:lnTo>
                        <a:pt x="131" y="55"/>
                      </a:lnTo>
                      <a:lnTo>
                        <a:pt x="131" y="56"/>
                      </a:lnTo>
                      <a:lnTo>
                        <a:pt x="132" y="57"/>
                      </a:lnTo>
                      <a:lnTo>
                        <a:pt x="133" y="56"/>
                      </a:lnTo>
                      <a:lnTo>
                        <a:pt x="135" y="55"/>
                      </a:lnTo>
                      <a:lnTo>
                        <a:pt x="137" y="55"/>
                      </a:lnTo>
                      <a:lnTo>
                        <a:pt x="138" y="55"/>
                      </a:lnTo>
                      <a:lnTo>
                        <a:pt x="140" y="56"/>
                      </a:lnTo>
                      <a:lnTo>
                        <a:pt x="144" y="56"/>
                      </a:lnTo>
                      <a:lnTo>
                        <a:pt x="144" y="57"/>
                      </a:lnTo>
                      <a:lnTo>
                        <a:pt x="145" y="57"/>
                      </a:lnTo>
                      <a:lnTo>
                        <a:pt x="146" y="58"/>
                      </a:lnTo>
                      <a:lnTo>
                        <a:pt x="147" y="58"/>
                      </a:lnTo>
                      <a:lnTo>
                        <a:pt x="147" y="59"/>
                      </a:lnTo>
                      <a:lnTo>
                        <a:pt x="149" y="59"/>
                      </a:lnTo>
                      <a:lnTo>
                        <a:pt x="150" y="59"/>
                      </a:lnTo>
                      <a:lnTo>
                        <a:pt x="150" y="60"/>
                      </a:lnTo>
                      <a:lnTo>
                        <a:pt x="151" y="60"/>
                      </a:lnTo>
                      <a:lnTo>
                        <a:pt x="152" y="62"/>
                      </a:lnTo>
                      <a:lnTo>
                        <a:pt x="153" y="62"/>
                      </a:lnTo>
                      <a:lnTo>
                        <a:pt x="153" y="63"/>
                      </a:lnTo>
                      <a:lnTo>
                        <a:pt x="154" y="63"/>
                      </a:lnTo>
                      <a:lnTo>
                        <a:pt x="156" y="65"/>
                      </a:lnTo>
                      <a:lnTo>
                        <a:pt x="157" y="63"/>
                      </a:lnTo>
                      <a:lnTo>
                        <a:pt x="158" y="63"/>
                      </a:lnTo>
                      <a:lnTo>
                        <a:pt x="157" y="59"/>
                      </a:lnTo>
                      <a:lnTo>
                        <a:pt x="156" y="56"/>
                      </a:lnTo>
                      <a:lnTo>
                        <a:pt x="156" y="55"/>
                      </a:lnTo>
                      <a:lnTo>
                        <a:pt x="154" y="55"/>
                      </a:lnTo>
                      <a:lnTo>
                        <a:pt x="154" y="53"/>
                      </a:lnTo>
                      <a:lnTo>
                        <a:pt x="156" y="53"/>
                      </a:lnTo>
                      <a:lnTo>
                        <a:pt x="156" y="52"/>
                      </a:lnTo>
                      <a:lnTo>
                        <a:pt x="156" y="51"/>
                      </a:lnTo>
                      <a:lnTo>
                        <a:pt x="156" y="50"/>
                      </a:lnTo>
                      <a:lnTo>
                        <a:pt x="156" y="49"/>
                      </a:lnTo>
                      <a:lnTo>
                        <a:pt x="157" y="48"/>
                      </a:lnTo>
                      <a:lnTo>
                        <a:pt x="158" y="48"/>
                      </a:lnTo>
                      <a:lnTo>
                        <a:pt x="158" y="49"/>
                      </a:lnTo>
                      <a:lnTo>
                        <a:pt x="159" y="48"/>
                      </a:lnTo>
                      <a:lnTo>
                        <a:pt x="159" y="46"/>
                      </a:lnTo>
                      <a:lnTo>
                        <a:pt x="160" y="43"/>
                      </a:lnTo>
                      <a:lnTo>
                        <a:pt x="163" y="41"/>
                      </a:lnTo>
                      <a:lnTo>
                        <a:pt x="164" y="38"/>
                      </a:lnTo>
                      <a:lnTo>
                        <a:pt x="165" y="35"/>
                      </a:lnTo>
                      <a:lnTo>
                        <a:pt x="166" y="32"/>
                      </a:lnTo>
                      <a:lnTo>
                        <a:pt x="166" y="31"/>
                      </a:lnTo>
                      <a:lnTo>
                        <a:pt x="167" y="29"/>
                      </a:lnTo>
                      <a:lnTo>
                        <a:pt x="168" y="28"/>
                      </a:lnTo>
                      <a:lnTo>
                        <a:pt x="168" y="27"/>
                      </a:lnTo>
                      <a:lnTo>
                        <a:pt x="167" y="25"/>
                      </a:lnTo>
                      <a:lnTo>
                        <a:pt x="167" y="24"/>
                      </a:lnTo>
                      <a:lnTo>
                        <a:pt x="168" y="22"/>
                      </a:lnTo>
                      <a:lnTo>
                        <a:pt x="168" y="21"/>
                      </a:lnTo>
                      <a:lnTo>
                        <a:pt x="168" y="20"/>
                      </a:lnTo>
                      <a:lnTo>
                        <a:pt x="167" y="18"/>
                      </a:lnTo>
                      <a:lnTo>
                        <a:pt x="167" y="17"/>
                      </a:lnTo>
                      <a:lnTo>
                        <a:pt x="168" y="17"/>
                      </a:lnTo>
                      <a:lnTo>
                        <a:pt x="169" y="15"/>
                      </a:lnTo>
                      <a:lnTo>
                        <a:pt x="169" y="14"/>
                      </a:lnTo>
                      <a:lnTo>
                        <a:pt x="169" y="11"/>
                      </a:lnTo>
                      <a:lnTo>
                        <a:pt x="171" y="9"/>
                      </a:lnTo>
                      <a:lnTo>
                        <a:pt x="171" y="8"/>
                      </a:lnTo>
                      <a:lnTo>
                        <a:pt x="172" y="7"/>
                      </a:lnTo>
                      <a:lnTo>
                        <a:pt x="173" y="6"/>
                      </a:lnTo>
                      <a:lnTo>
                        <a:pt x="174" y="6"/>
                      </a:lnTo>
                      <a:lnTo>
                        <a:pt x="175" y="6"/>
                      </a:lnTo>
                      <a:lnTo>
                        <a:pt x="179" y="6"/>
                      </a:lnTo>
                      <a:lnTo>
                        <a:pt x="180" y="6"/>
                      </a:lnTo>
                      <a:lnTo>
                        <a:pt x="180" y="4"/>
                      </a:lnTo>
                      <a:lnTo>
                        <a:pt x="181" y="4"/>
                      </a:lnTo>
                      <a:lnTo>
                        <a:pt x="182" y="4"/>
                      </a:lnTo>
                      <a:lnTo>
                        <a:pt x="183" y="4"/>
                      </a:lnTo>
                      <a:lnTo>
                        <a:pt x="183" y="6"/>
                      </a:lnTo>
                      <a:lnTo>
                        <a:pt x="185" y="6"/>
                      </a:lnTo>
                      <a:lnTo>
                        <a:pt x="186" y="4"/>
                      </a:lnTo>
                      <a:lnTo>
                        <a:pt x="187" y="4"/>
                      </a:lnTo>
                      <a:lnTo>
                        <a:pt x="188" y="4"/>
                      </a:lnTo>
                      <a:lnTo>
                        <a:pt x="189" y="4"/>
                      </a:lnTo>
                      <a:lnTo>
                        <a:pt x="190" y="4"/>
                      </a:lnTo>
                      <a:lnTo>
                        <a:pt x="192" y="3"/>
                      </a:lnTo>
                      <a:lnTo>
                        <a:pt x="192" y="2"/>
                      </a:lnTo>
                      <a:lnTo>
                        <a:pt x="193" y="2"/>
                      </a:lnTo>
                      <a:lnTo>
                        <a:pt x="194" y="3"/>
                      </a:lnTo>
                      <a:lnTo>
                        <a:pt x="195" y="3"/>
                      </a:lnTo>
                      <a:lnTo>
                        <a:pt x="195" y="2"/>
                      </a:lnTo>
                      <a:lnTo>
                        <a:pt x="196" y="1"/>
                      </a:lnTo>
                      <a:lnTo>
                        <a:pt x="197" y="1"/>
                      </a:lnTo>
                      <a:lnTo>
                        <a:pt x="199" y="0"/>
                      </a:lnTo>
                      <a:lnTo>
                        <a:pt x="200" y="0"/>
                      </a:lnTo>
                      <a:lnTo>
                        <a:pt x="200" y="1"/>
                      </a:lnTo>
                      <a:lnTo>
                        <a:pt x="201" y="1"/>
                      </a:lnTo>
                      <a:lnTo>
                        <a:pt x="202" y="2"/>
                      </a:lnTo>
                      <a:lnTo>
                        <a:pt x="203" y="2"/>
                      </a:lnTo>
                      <a:lnTo>
                        <a:pt x="204" y="2"/>
                      </a:lnTo>
                      <a:lnTo>
                        <a:pt x="207" y="2"/>
                      </a:lnTo>
                      <a:lnTo>
                        <a:pt x="208" y="2"/>
                      </a:lnTo>
                      <a:lnTo>
                        <a:pt x="208" y="3"/>
                      </a:lnTo>
                      <a:lnTo>
                        <a:pt x="209" y="3"/>
                      </a:lnTo>
                      <a:lnTo>
                        <a:pt x="209" y="2"/>
                      </a:lnTo>
                      <a:lnTo>
                        <a:pt x="210" y="3"/>
                      </a:lnTo>
                      <a:lnTo>
                        <a:pt x="210" y="4"/>
                      </a:lnTo>
                      <a:lnTo>
                        <a:pt x="211" y="4"/>
                      </a:lnTo>
                      <a:lnTo>
                        <a:pt x="211" y="6"/>
                      </a:lnTo>
                      <a:lnTo>
                        <a:pt x="213" y="6"/>
                      </a:lnTo>
                      <a:lnTo>
                        <a:pt x="214" y="4"/>
                      </a:lnTo>
                      <a:lnTo>
                        <a:pt x="215" y="6"/>
                      </a:lnTo>
                      <a:lnTo>
                        <a:pt x="216" y="6"/>
                      </a:lnTo>
                      <a:lnTo>
                        <a:pt x="216" y="4"/>
                      </a:lnTo>
                      <a:lnTo>
                        <a:pt x="217" y="4"/>
                      </a:lnTo>
                      <a:lnTo>
                        <a:pt x="218" y="4"/>
                      </a:lnTo>
                      <a:lnTo>
                        <a:pt x="220" y="4"/>
                      </a:lnTo>
                      <a:lnTo>
                        <a:pt x="221" y="6"/>
                      </a:lnTo>
                      <a:lnTo>
                        <a:pt x="221" y="7"/>
                      </a:lnTo>
                      <a:lnTo>
                        <a:pt x="222" y="7"/>
                      </a:lnTo>
                      <a:lnTo>
                        <a:pt x="223" y="7"/>
                      </a:lnTo>
                      <a:lnTo>
                        <a:pt x="223" y="6"/>
                      </a:lnTo>
                      <a:lnTo>
                        <a:pt x="224" y="4"/>
                      </a:lnTo>
                      <a:lnTo>
                        <a:pt x="225" y="4"/>
                      </a:lnTo>
                      <a:lnTo>
                        <a:pt x="228" y="3"/>
                      </a:lnTo>
                      <a:lnTo>
                        <a:pt x="228" y="4"/>
                      </a:lnTo>
                      <a:lnTo>
                        <a:pt x="229" y="4"/>
                      </a:lnTo>
                      <a:lnTo>
                        <a:pt x="229" y="3"/>
                      </a:lnTo>
                      <a:lnTo>
                        <a:pt x="230" y="3"/>
                      </a:lnTo>
                      <a:lnTo>
                        <a:pt x="230" y="2"/>
                      </a:lnTo>
                      <a:lnTo>
                        <a:pt x="231" y="2"/>
                      </a:lnTo>
                      <a:lnTo>
                        <a:pt x="232" y="3"/>
                      </a:lnTo>
                      <a:lnTo>
                        <a:pt x="233" y="6"/>
                      </a:lnTo>
                      <a:lnTo>
                        <a:pt x="235" y="7"/>
                      </a:lnTo>
                      <a:lnTo>
                        <a:pt x="236" y="7"/>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5" name="Freeform 82">
                  <a:extLst>
                    <a:ext uri="{FF2B5EF4-FFF2-40B4-BE49-F238E27FC236}">
                      <a16:creationId xmlns:a16="http://schemas.microsoft.com/office/drawing/2014/main" id="{15EC2629-739C-953E-6316-3A04C7B529B2}"/>
                    </a:ext>
                  </a:extLst>
                </p:cNvPr>
                <p:cNvSpPr>
                  <a:spLocks noEditPoints="1"/>
                </p:cNvSpPr>
                <p:nvPr/>
              </p:nvSpPr>
              <p:spPr bwMode="auto">
                <a:xfrm>
                  <a:off x="7706745" y="4189120"/>
                  <a:ext cx="44352" cy="36779"/>
                </a:xfrm>
                <a:custGeom>
                  <a:avLst/>
                  <a:gdLst>
                    <a:gd name="T0" fmla="*/ 19 w 41"/>
                    <a:gd name="T1" fmla="*/ 33 h 34"/>
                    <a:gd name="T2" fmla="*/ 14 w 41"/>
                    <a:gd name="T3" fmla="*/ 33 h 34"/>
                    <a:gd name="T4" fmla="*/ 14 w 41"/>
                    <a:gd name="T5" fmla="*/ 33 h 34"/>
                    <a:gd name="T6" fmla="*/ 14 w 41"/>
                    <a:gd name="T7" fmla="*/ 31 h 34"/>
                    <a:gd name="T8" fmla="*/ 13 w 41"/>
                    <a:gd name="T9" fmla="*/ 31 h 34"/>
                    <a:gd name="T10" fmla="*/ 13 w 41"/>
                    <a:gd name="T11" fmla="*/ 30 h 34"/>
                    <a:gd name="T12" fmla="*/ 13 w 41"/>
                    <a:gd name="T13" fmla="*/ 29 h 34"/>
                    <a:gd name="T14" fmla="*/ 14 w 41"/>
                    <a:gd name="T15" fmla="*/ 29 h 34"/>
                    <a:gd name="T16" fmla="*/ 15 w 41"/>
                    <a:gd name="T17" fmla="*/ 29 h 34"/>
                    <a:gd name="T18" fmla="*/ 17 w 41"/>
                    <a:gd name="T19" fmla="*/ 31 h 34"/>
                    <a:gd name="T20" fmla="*/ 20 w 41"/>
                    <a:gd name="T21" fmla="*/ 33 h 34"/>
                    <a:gd name="T22" fmla="*/ 20 w 41"/>
                    <a:gd name="T23" fmla="*/ 33 h 34"/>
                    <a:gd name="T24" fmla="*/ 40 w 41"/>
                    <a:gd name="T25" fmla="*/ 24 h 34"/>
                    <a:gd name="T26" fmla="*/ 41 w 41"/>
                    <a:gd name="T27" fmla="*/ 29 h 34"/>
                    <a:gd name="T28" fmla="*/ 41 w 41"/>
                    <a:gd name="T29" fmla="*/ 34 h 34"/>
                    <a:gd name="T30" fmla="*/ 40 w 41"/>
                    <a:gd name="T31" fmla="*/ 34 h 34"/>
                    <a:gd name="T32" fmla="*/ 40 w 41"/>
                    <a:gd name="T33" fmla="*/ 33 h 34"/>
                    <a:gd name="T34" fmla="*/ 40 w 41"/>
                    <a:gd name="T35" fmla="*/ 33 h 34"/>
                    <a:gd name="T36" fmla="*/ 37 w 41"/>
                    <a:gd name="T37" fmla="*/ 30 h 34"/>
                    <a:gd name="T38" fmla="*/ 36 w 41"/>
                    <a:gd name="T39" fmla="*/ 29 h 34"/>
                    <a:gd name="T40" fmla="*/ 35 w 41"/>
                    <a:gd name="T41" fmla="*/ 29 h 34"/>
                    <a:gd name="T42" fmla="*/ 33 w 41"/>
                    <a:gd name="T43" fmla="*/ 28 h 34"/>
                    <a:gd name="T44" fmla="*/ 30 w 41"/>
                    <a:gd name="T45" fmla="*/ 27 h 34"/>
                    <a:gd name="T46" fmla="*/ 31 w 41"/>
                    <a:gd name="T47" fmla="*/ 27 h 34"/>
                    <a:gd name="T48" fmla="*/ 33 w 41"/>
                    <a:gd name="T49" fmla="*/ 27 h 34"/>
                    <a:gd name="T50" fmla="*/ 35 w 41"/>
                    <a:gd name="T51" fmla="*/ 27 h 34"/>
                    <a:gd name="T52" fmla="*/ 35 w 41"/>
                    <a:gd name="T53" fmla="*/ 27 h 34"/>
                    <a:gd name="T54" fmla="*/ 36 w 41"/>
                    <a:gd name="T55" fmla="*/ 27 h 34"/>
                    <a:gd name="T56" fmla="*/ 37 w 41"/>
                    <a:gd name="T57" fmla="*/ 26 h 34"/>
                    <a:gd name="T58" fmla="*/ 37 w 41"/>
                    <a:gd name="T59" fmla="*/ 24 h 34"/>
                    <a:gd name="T60" fmla="*/ 38 w 41"/>
                    <a:gd name="T61" fmla="*/ 23 h 34"/>
                    <a:gd name="T62" fmla="*/ 38 w 41"/>
                    <a:gd name="T63" fmla="*/ 23 h 34"/>
                    <a:gd name="T64" fmla="*/ 38 w 41"/>
                    <a:gd name="T65" fmla="*/ 23 h 34"/>
                    <a:gd name="T66" fmla="*/ 40 w 41"/>
                    <a:gd name="T67" fmla="*/ 24 h 34"/>
                    <a:gd name="T68" fmla="*/ 7 w 41"/>
                    <a:gd name="T69" fmla="*/ 19 h 34"/>
                    <a:gd name="T70" fmla="*/ 7 w 41"/>
                    <a:gd name="T71" fmla="*/ 19 h 34"/>
                    <a:gd name="T72" fmla="*/ 6 w 41"/>
                    <a:gd name="T73" fmla="*/ 19 h 34"/>
                    <a:gd name="T74" fmla="*/ 3 w 41"/>
                    <a:gd name="T75" fmla="*/ 16 h 34"/>
                    <a:gd name="T76" fmla="*/ 2 w 41"/>
                    <a:gd name="T77" fmla="*/ 16 h 34"/>
                    <a:gd name="T78" fmla="*/ 1 w 41"/>
                    <a:gd name="T79" fmla="*/ 15 h 34"/>
                    <a:gd name="T80" fmla="*/ 1 w 41"/>
                    <a:gd name="T81" fmla="*/ 15 h 34"/>
                    <a:gd name="T82" fmla="*/ 1 w 41"/>
                    <a:gd name="T83" fmla="*/ 14 h 34"/>
                    <a:gd name="T84" fmla="*/ 0 w 41"/>
                    <a:gd name="T85" fmla="*/ 13 h 34"/>
                    <a:gd name="T86" fmla="*/ 0 w 41"/>
                    <a:gd name="T87" fmla="*/ 12 h 34"/>
                    <a:gd name="T88" fmla="*/ 0 w 41"/>
                    <a:gd name="T89" fmla="*/ 10 h 34"/>
                    <a:gd name="T90" fmla="*/ 0 w 41"/>
                    <a:gd name="T91" fmla="*/ 9 h 34"/>
                    <a:gd name="T92" fmla="*/ 1 w 41"/>
                    <a:gd name="T93" fmla="*/ 3 h 34"/>
                    <a:gd name="T94" fmla="*/ 1 w 41"/>
                    <a:gd name="T95" fmla="*/ 3 h 34"/>
                    <a:gd name="T96" fmla="*/ 1 w 41"/>
                    <a:gd name="T97" fmla="*/ 1 h 34"/>
                    <a:gd name="T98" fmla="*/ 2 w 41"/>
                    <a:gd name="T99" fmla="*/ 1 h 34"/>
                    <a:gd name="T100" fmla="*/ 5 w 41"/>
                    <a:gd name="T101" fmla="*/ 0 h 34"/>
                    <a:gd name="T102" fmla="*/ 5 w 41"/>
                    <a:gd name="T103" fmla="*/ 1 h 34"/>
                    <a:gd name="T104" fmla="*/ 6 w 41"/>
                    <a:gd name="T105" fmla="*/ 2 h 34"/>
                    <a:gd name="T106" fmla="*/ 5 w 41"/>
                    <a:gd name="T107" fmla="*/ 9 h 34"/>
                    <a:gd name="T108" fmla="*/ 7 w 41"/>
                    <a:gd name="T109" fmla="*/ 13 h 34"/>
                    <a:gd name="T110" fmla="*/ 7 w 41"/>
                    <a:gd name="T111" fmla="*/ 14 h 34"/>
                    <a:gd name="T112" fmla="*/ 7 w 41"/>
                    <a:gd name="T113" fmla="*/ 14 h 34"/>
                    <a:gd name="T114" fmla="*/ 7 w 41"/>
                    <a:gd name="T115" fmla="*/ 15 h 34"/>
                    <a:gd name="T116" fmla="*/ 8 w 41"/>
                    <a:gd name="T117" fmla="*/ 15 h 34"/>
                    <a:gd name="T118" fmla="*/ 8 w 41"/>
                    <a:gd name="T119" fmla="*/ 17 h 34"/>
                    <a:gd name="T120" fmla="*/ 8 w 41"/>
                    <a:gd name="T121" fmla="*/ 17 h 34"/>
                    <a:gd name="T122" fmla="*/ 8 w 41"/>
                    <a:gd name="T123" fmla="*/ 19 h 34"/>
                    <a:gd name="T124" fmla="*/ 8 w 41"/>
                    <a:gd name="T125" fmla="*/ 1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 h="34">
                      <a:moveTo>
                        <a:pt x="19" y="33"/>
                      </a:moveTo>
                      <a:lnTo>
                        <a:pt x="19" y="33"/>
                      </a:lnTo>
                      <a:lnTo>
                        <a:pt x="16" y="33"/>
                      </a:lnTo>
                      <a:lnTo>
                        <a:pt x="14" y="33"/>
                      </a:lnTo>
                      <a:lnTo>
                        <a:pt x="14" y="33"/>
                      </a:lnTo>
                      <a:lnTo>
                        <a:pt x="14" y="33"/>
                      </a:lnTo>
                      <a:lnTo>
                        <a:pt x="14" y="31"/>
                      </a:lnTo>
                      <a:lnTo>
                        <a:pt x="14" y="31"/>
                      </a:lnTo>
                      <a:lnTo>
                        <a:pt x="13" y="31"/>
                      </a:lnTo>
                      <a:lnTo>
                        <a:pt x="13" y="31"/>
                      </a:lnTo>
                      <a:lnTo>
                        <a:pt x="13" y="30"/>
                      </a:lnTo>
                      <a:lnTo>
                        <a:pt x="13" y="30"/>
                      </a:lnTo>
                      <a:lnTo>
                        <a:pt x="13" y="29"/>
                      </a:lnTo>
                      <a:lnTo>
                        <a:pt x="13" y="29"/>
                      </a:lnTo>
                      <a:lnTo>
                        <a:pt x="13" y="29"/>
                      </a:lnTo>
                      <a:lnTo>
                        <a:pt x="14" y="29"/>
                      </a:lnTo>
                      <a:lnTo>
                        <a:pt x="15" y="29"/>
                      </a:lnTo>
                      <a:lnTo>
                        <a:pt x="15" y="29"/>
                      </a:lnTo>
                      <a:lnTo>
                        <a:pt x="17" y="30"/>
                      </a:lnTo>
                      <a:lnTo>
                        <a:pt x="17" y="31"/>
                      </a:lnTo>
                      <a:lnTo>
                        <a:pt x="17" y="31"/>
                      </a:lnTo>
                      <a:lnTo>
                        <a:pt x="20" y="33"/>
                      </a:lnTo>
                      <a:lnTo>
                        <a:pt x="20" y="33"/>
                      </a:lnTo>
                      <a:lnTo>
                        <a:pt x="20" y="33"/>
                      </a:lnTo>
                      <a:lnTo>
                        <a:pt x="19" y="33"/>
                      </a:lnTo>
                      <a:close/>
                      <a:moveTo>
                        <a:pt x="40" y="24"/>
                      </a:moveTo>
                      <a:lnTo>
                        <a:pt x="41" y="28"/>
                      </a:lnTo>
                      <a:lnTo>
                        <a:pt x="41" y="29"/>
                      </a:lnTo>
                      <a:lnTo>
                        <a:pt x="41" y="33"/>
                      </a:lnTo>
                      <a:lnTo>
                        <a:pt x="41" y="34"/>
                      </a:lnTo>
                      <a:lnTo>
                        <a:pt x="41" y="34"/>
                      </a:lnTo>
                      <a:lnTo>
                        <a:pt x="40" y="34"/>
                      </a:lnTo>
                      <a:lnTo>
                        <a:pt x="40" y="33"/>
                      </a:lnTo>
                      <a:lnTo>
                        <a:pt x="40" y="33"/>
                      </a:lnTo>
                      <a:lnTo>
                        <a:pt x="40" y="33"/>
                      </a:lnTo>
                      <a:lnTo>
                        <a:pt x="40" y="33"/>
                      </a:lnTo>
                      <a:lnTo>
                        <a:pt x="40" y="31"/>
                      </a:lnTo>
                      <a:lnTo>
                        <a:pt x="37" y="30"/>
                      </a:lnTo>
                      <a:lnTo>
                        <a:pt x="36" y="30"/>
                      </a:lnTo>
                      <a:lnTo>
                        <a:pt x="36" y="29"/>
                      </a:lnTo>
                      <a:lnTo>
                        <a:pt x="36" y="29"/>
                      </a:lnTo>
                      <a:lnTo>
                        <a:pt x="35" y="29"/>
                      </a:lnTo>
                      <a:lnTo>
                        <a:pt x="33" y="28"/>
                      </a:lnTo>
                      <a:lnTo>
                        <a:pt x="33" y="28"/>
                      </a:lnTo>
                      <a:lnTo>
                        <a:pt x="31" y="27"/>
                      </a:lnTo>
                      <a:lnTo>
                        <a:pt x="30" y="27"/>
                      </a:lnTo>
                      <a:lnTo>
                        <a:pt x="31" y="27"/>
                      </a:lnTo>
                      <a:lnTo>
                        <a:pt x="31" y="27"/>
                      </a:lnTo>
                      <a:lnTo>
                        <a:pt x="33" y="27"/>
                      </a:lnTo>
                      <a:lnTo>
                        <a:pt x="33" y="27"/>
                      </a:lnTo>
                      <a:lnTo>
                        <a:pt x="34" y="27"/>
                      </a:lnTo>
                      <a:lnTo>
                        <a:pt x="35" y="27"/>
                      </a:lnTo>
                      <a:lnTo>
                        <a:pt x="35" y="27"/>
                      </a:lnTo>
                      <a:lnTo>
                        <a:pt x="35" y="27"/>
                      </a:lnTo>
                      <a:lnTo>
                        <a:pt x="35" y="27"/>
                      </a:lnTo>
                      <a:lnTo>
                        <a:pt x="36" y="27"/>
                      </a:lnTo>
                      <a:lnTo>
                        <a:pt x="37" y="27"/>
                      </a:lnTo>
                      <a:lnTo>
                        <a:pt x="37" y="26"/>
                      </a:lnTo>
                      <a:lnTo>
                        <a:pt x="37" y="24"/>
                      </a:lnTo>
                      <a:lnTo>
                        <a:pt x="37" y="24"/>
                      </a:lnTo>
                      <a:lnTo>
                        <a:pt x="38" y="23"/>
                      </a:lnTo>
                      <a:lnTo>
                        <a:pt x="38" y="23"/>
                      </a:lnTo>
                      <a:lnTo>
                        <a:pt x="38" y="23"/>
                      </a:lnTo>
                      <a:lnTo>
                        <a:pt x="38" y="23"/>
                      </a:lnTo>
                      <a:lnTo>
                        <a:pt x="38" y="23"/>
                      </a:lnTo>
                      <a:lnTo>
                        <a:pt x="38" y="23"/>
                      </a:lnTo>
                      <a:lnTo>
                        <a:pt x="40" y="23"/>
                      </a:lnTo>
                      <a:lnTo>
                        <a:pt x="40" y="24"/>
                      </a:lnTo>
                      <a:lnTo>
                        <a:pt x="40" y="24"/>
                      </a:lnTo>
                      <a:close/>
                      <a:moveTo>
                        <a:pt x="7" y="19"/>
                      </a:moveTo>
                      <a:lnTo>
                        <a:pt x="7" y="19"/>
                      </a:lnTo>
                      <a:lnTo>
                        <a:pt x="7" y="19"/>
                      </a:lnTo>
                      <a:lnTo>
                        <a:pt x="6" y="19"/>
                      </a:lnTo>
                      <a:lnTo>
                        <a:pt x="6" y="19"/>
                      </a:lnTo>
                      <a:lnTo>
                        <a:pt x="5" y="16"/>
                      </a:lnTo>
                      <a:lnTo>
                        <a:pt x="3" y="16"/>
                      </a:lnTo>
                      <a:lnTo>
                        <a:pt x="2" y="16"/>
                      </a:lnTo>
                      <a:lnTo>
                        <a:pt x="2" y="16"/>
                      </a:lnTo>
                      <a:lnTo>
                        <a:pt x="2" y="16"/>
                      </a:lnTo>
                      <a:lnTo>
                        <a:pt x="1" y="15"/>
                      </a:lnTo>
                      <a:lnTo>
                        <a:pt x="1" y="15"/>
                      </a:lnTo>
                      <a:lnTo>
                        <a:pt x="1" y="15"/>
                      </a:lnTo>
                      <a:lnTo>
                        <a:pt x="1" y="15"/>
                      </a:lnTo>
                      <a:lnTo>
                        <a:pt x="1" y="14"/>
                      </a:lnTo>
                      <a:lnTo>
                        <a:pt x="0" y="14"/>
                      </a:lnTo>
                      <a:lnTo>
                        <a:pt x="0" y="13"/>
                      </a:lnTo>
                      <a:lnTo>
                        <a:pt x="0" y="12"/>
                      </a:lnTo>
                      <a:lnTo>
                        <a:pt x="0" y="12"/>
                      </a:lnTo>
                      <a:lnTo>
                        <a:pt x="0" y="12"/>
                      </a:lnTo>
                      <a:lnTo>
                        <a:pt x="0" y="10"/>
                      </a:lnTo>
                      <a:lnTo>
                        <a:pt x="0" y="10"/>
                      </a:lnTo>
                      <a:lnTo>
                        <a:pt x="0" y="9"/>
                      </a:lnTo>
                      <a:lnTo>
                        <a:pt x="0" y="9"/>
                      </a:lnTo>
                      <a:lnTo>
                        <a:pt x="1" y="3"/>
                      </a:lnTo>
                      <a:lnTo>
                        <a:pt x="1" y="3"/>
                      </a:lnTo>
                      <a:lnTo>
                        <a:pt x="1" y="3"/>
                      </a:lnTo>
                      <a:lnTo>
                        <a:pt x="1" y="2"/>
                      </a:lnTo>
                      <a:lnTo>
                        <a:pt x="1" y="1"/>
                      </a:lnTo>
                      <a:lnTo>
                        <a:pt x="1" y="1"/>
                      </a:lnTo>
                      <a:lnTo>
                        <a:pt x="2" y="1"/>
                      </a:lnTo>
                      <a:lnTo>
                        <a:pt x="3" y="1"/>
                      </a:lnTo>
                      <a:lnTo>
                        <a:pt x="5" y="0"/>
                      </a:lnTo>
                      <a:lnTo>
                        <a:pt x="5" y="1"/>
                      </a:lnTo>
                      <a:lnTo>
                        <a:pt x="5" y="1"/>
                      </a:lnTo>
                      <a:lnTo>
                        <a:pt x="6" y="2"/>
                      </a:lnTo>
                      <a:lnTo>
                        <a:pt x="6" y="2"/>
                      </a:lnTo>
                      <a:lnTo>
                        <a:pt x="5" y="8"/>
                      </a:lnTo>
                      <a:lnTo>
                        <a:pt x="5" y="9"/>
                      </a:lnTo>
                      <a:lnTo>
                        <a:pt x="6" y="12"/>
                      </a:lnTo>
                      <a:lnTo>
                        <a:pt x="7" y="13"/>
                      </a:lnTo>
                      <a:lnTo>
                        <a:pt x="7" y="13"/>
                      </a:lnTo>
                      <a:lnTo>
                        <a:pt x="7" y="14"/>
                      </a:lnTo>
                      <a:lnTo>
                        <a:pt x="7" y="14"/>
                      </a:lnTo>
                      <a:lnTo>
                        <a:pt x="7" y="14"/>
                      </a:lnTo>
                      <a:lnTo>
                        <a:pt x="7" y="15"/>
                      </a:lnTo>
                      <a:lnTo>
                        <a:pt x="7" y="15"/>
                      </a:lnTo>
                      <a:lnTo>
                        <a:pt x="7" y="15"/>
                      </a:lnTo>
                      <a:lnTo>
                        <a:pt x="8" y="15"/>
                      </a:lnTo>
                      <a:lnTo>
                        <a:pt x="8" y="16"/>
                      </a:lnTo>
                      <a:lnTo>
                        <a:pt x="8" y="17"/>
                      </a:lnTo>
                      <a:lnTo>
                        <a:pt x="8" y="17"/>
                      </a:lnTo>
                      <a:lnTo>
                        <a:pt x="8" y="17"/>
                      </a:lnTo>
                      <a:lnTo>
                        <a:pt x="8" y="19"/>
                      </a:lnTo>
                      <a:lnTo>
                        <a:pt x="8" y="19"/>
                      </a:lnTo>
                      <a:lnTo>
                        <a:pt x="8" y="19"/>
                      </a:lnTo>
                      <a:lnTo>
                        <a:pt x="8" y="19"/>
                      </a:lnTo>
                      <a:lnTo>
                        <a:pt x="7" y="19"/>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6" name="Freeform 84">
                  <a:extLst>
                    <a:ext uri="{FF2B5EF4-FFF2-40B4-BE49-F238E27FC236}">
                      <a16:creationId xmlns:a16="http://schemas.microsoft.com/office/drawing/2014/main" id="{C3EFE2F6-50D4-150B-9ECE-DB8A1FCBCD2A}"/>
                    </a:ext>
                  </a:extLst>
                </p:cNvPr>
                <p:cNvSpPr>
                  <a:spLocks/>
                </p:cNvSpPr>
                <p:nvPr/>
              </p:nvSpPr>
              <p:spPr bwMode="auto">
                <a:xfrm>
                  <a:off x="7662395" y="3362677"/>
                  <a:ext cx="58413" cy="61659"/>
                </a:xfrm>
                <a:custGeom>
                  <a:avLst/>
                  <a:gdLst>
                    <a:gd name="T0" fmla="*/ 37 w 54"/>
                    <a:gd name="T1" fmla="*/ 55 h 57"/>
                    <a:gd name="T2" fmla="*/ 35 w 54"/>
                    <a:gd name="T3" fmla="*/ 56 h 57"/>
                    <a:gd name="T4" fmla="*/ 32 w 54"/>
                    <a:gd name="T5" fmla="*/ 55 h 57"/>
                    <a:gd name="T6" fmla="*/ 28 w 54"/>
                    <a:gd name="T7" fmla="*/ 52 h 57"/>
                    <a:gd name="T8" fmla="*/ 21 w 54"/>
                    <a:gd name="T9" fmla="*/ 55 h 57"/>
                    <a:gd name="T10" fmla="*/ 19 w 54"/>
                    <a:gd name="T11" fmla="*/ 55 h 57"/>
                    <a:gd name="T12" fmla="*/ 17 w 54"/>
                    <a:gd name="T13" fmla="*/ 55 h 57"/>
                    <a:gd name="T14" fmla="*/ 13 w 54"/>
                    <a:gd name="T15" fmla="*/ 55 h 57"/>
                    <a:gd name="T16" fmla="*/ 8 w 54"/>
                    <a:gd name="T17" fmla="*/ 57 h 57"/>
                    <a:gd name="T18" fmla="*/ 6 w 54"/>
                    <a:gd name="T19" fmla="*/ 57 h 57"/>
                    <a:gd name="T20" fmla="*/ 5 w 54"/>
                    <a:gd name="T21" fmla="*/ 56 h 57"/>
                    <a:gd name="T22" fmla="*/ 0 w 54"/>
                    <a:gd name="T23" fmla="*/ 55 h 57"/>
                    <a:gd name="T24" fmla="*/ 3 w 54"/>
                    <a:gd name="T25" fmla="*/ 50 h 57"/>
                    <a:gd name="T26" fmla="*/ 1 w 54"/>
                    <a:gd name="T27" fmla="*/ 45 h 57"/>
                    <a:gd name="T28" fmla="*/ 0 w 54"/>
                    <a:gd name="T29" fmla="*/ 37 h 57"/>
                    <a:gd name="T30" fmla="*/ 3 w 54"/>
                    <a:gd name="T31" fmla="*/ 30 h 57"/>
                    <a:gd name="T32" fmla="*/ 5 w 54"/>
                    <a:gd name="T33" fmla="*/ 29 h 57"/>
                    <a:gd name="T34" fmla="*/ 6 w 54"/>
                    <a:gd name="T35" fmla="*/ 28 h 57"/>
                    <a:gd name="T36" fmla="*/ 12 w 54"/>
                    <a:gd name="T37" fmla="*/ 20 h 57"/>
                    <a:gd name="T38" fmla="*/ 18 w 54"/>
                    <a:gd name="T39" fmla="*/ 12 h 57"/>
                    <a:gd name="T40" fmla="*/ 22 w 54"/>
                    <a:gd name="T41" fmla="*/ 6 h 57"/>
                    <a:gd name="T42" fmla="*/ 30 w 54"/>
                    <a:gd name="T43" fmla="*/ 10 h 57"/>
                    <a:gd name="T44" fmla="*/ 33 w 54"/>
                    <a:gd name="T45" fmla="*/ 9 h 57"/>
                    <a:gd name="T46" fmla="*/ 34 w 54"/>
                    <a:gd name="T47" fmla="*/ 7 h 57"/>
                    <a:gd name="T48" fmla="*/ 36 w 54"/>
                    <a:gd name="T49" fmla="*/ 2 h 57"/>
                    <a:gd name="T50" fmla="*/ 44 w 54"/>
                    <a:gd name="T51" fmla="*/ 0 h 57"/>
                    <a:gd name="T52" fmla="*/ 46 w 54"/>
                    <a:gd name="T53" fmla="*/ 2 h 57"/>
                    <a:gd name="T54" fmla="*/ 50 w 54"/>
                    <a:gd name="T55" fmla="*/ 7 h 57"/>
                    <a:gd name="T56" fmla="*/ 51 w 54"/>
                    <a:gd name="T57" fmla="*/ 9 h 57"/>
                    <a:gd name="T58" fmla="*/ 51 w 54"/>
                    <a:gd name="T59" fmla="*/ 10 h 57"/>
                    <a:gd name="T60" fmla="*/ 54 w 54"/>
                    <a:gd name="T61" fmla="*/ 15 h 57"/>
                    <a:gd name="T62" fmla="*/ 54 w 54"/>
                    <a:gd name="T63" fmla="*/ 21 h 57"/>
                    <a:gd name="T64" fmla="*/ 51 w 54"/>
                    <a:gd name="T65" fmla="*/ 23 h 57"/>
                    <a:gd name="T66" fmla="*/ 47 w 54"/>
                    <a:gd name="T67" fmla="*/ 24 h 57"/>
                    <a:gd name="T68" fmla="*/ 43 w 54"/>
                    <a:gd name="T69" fmla="*/ 28 h 57"/>
                    <a:gd name="T70" fmla="*/ 42 w 54"/>
                    <a:gd name="T71" fmla="*/ 28 h 57"/>
                    <a:gd name="T72" fmla="*/ 40 w 54"/>
                    <a:gd name="T73" fmla="*/ 29 h 57"/>
                    <a:gd name="T74" fmla="*/ 37 w 54"/>
                    <a:gd name="T75" fmla="*/ 29 h 57"/>
                    <a:gd name="T76" fmla="*/ 32 w 54"/>
                    <a:gd name="T77" fmla="*/ 33 h 57"/>
                    <a:gd name="T78" fmla="*/ 28 w 54"/>
                    <a:gd name="T79" fmla="*/ 37 h 57"/>
                    <a:gd name="T80" fmla="*/ 26 w 54"/>
                    <a:gd name="T81" fmla="*/ 37 h 57"/>
                    <a:gd name="T82" fmla="*/ 25 w 54"/>
                    <a:gd name="T83" fmla="*/ 36 h 57"/>
                    <a:gd name="T84" fmla="*/ 25 w 54"/>
                    <a:gd name="T85" fmla="*/ 37 h 57"/>
                    <a:gd name="T86" fmla="*/ 26 w 54"/>
                    <a:gd name="T87" fmla="*/ 40 h 57"/>
                    <a:gd name="T88" fmla="*/ 28 w 54"/>
                    <a:gd name="T89" fmla="*/ 40 h 57"/>
                    <a:gd name="T90" fmla="*/ 29 w 54"/>
                    <a:gd name="T91" fmla="*/ 40 h 57"/>
                    <a:gd name="T92" fmla="*/ 29 w 54"/>
                    <a:gd name="T93" fmla="*/ 38 h 57"/>
                    <a:gd name="T94" fmla="*/ 32 w 54"/>
                    <a:gd name="T95" fmla="*/ 37 h 57"/>
                    <a:gd name="T96" fmla="*/ 35 w 54"/>
                    <a:gd name="T97" fmla="*/ 36 h 57"/>
                    <a:gd name="T98" fmla="*/ 36 w 54"/>
                    <a:gd name="T99" fmla="*/ 36 h 57"/>
                    <a:gd name="T100" fmla="*/ 43 w 54"/>
                    <a:gd name="T101" fmla="*/ 36 h 57"/>
                    <a:gd name="T102" fmla="*/ 44 w 54"/>
                    <a:gd name="T103" fmla="*/ 35 h 57"/>
                    <a:gd name="T104" fmla="*/ 46 w 54"/>
                    <a:gd name="T105" fmla="*/ 3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 h="57">
                      <a:moveTo>
                        <a:pt x="48" y="40"/>
                      </a:moveTo>
                      <a:lnTo>
                        <a:pt x="46" y="42"/>
                      </a:lnTo>
                      <a:lnTo>
                        <a:pt x="37" y="55"/>
                      </a:lnTo>
                      <a:lnTo>
                        <a:pt x="37" y="55"/>
                      </a:lnTo>
                      <a:lnTo>
                        <a:pt x="36" y="55"/>
                      </a:lnTo>
                      <a:lnTo>
                        <a:pt x="36" y="56"/>
                      </a:lnTo>
                      <a:lnTo>
                        <a:pt x="36" y="56"/>
                      </a:lnTo>
                      <a:lnTo>
                        <a:pt x="35" y="56"/>
                      </a:lnTo>
                      <a:lnTo>
                        <a:pt x="35" y="56"/>
                      </a:lnTo>
                      <a:lnTo>
                        <a:pt x="33" y="55"/>
                      </a:lnTo>
                      <a:lnTo>
                        <a:pt x="33" y="55"/>
                      </a:lnTo>
                      <a:lnTo>
                        <a:pt x="32" y="55"/>
                      </a:lnTo>
                      <a:lnTo>
                        <a:pt x="32" y="52"/>
                      </a:lnTo>
                      <a:lnTo>
                        <a:pt x="30" y="52"/>
                      </a:lnTo>
                      <a:lnTo>
                        <a:pt x="30" y="52"/>
                      </a:lnTo>
                      <a:lnTo>
                        <a:pt x="28" y="52"/>
                      </a:lnTo>
                      <a:lnTo>
                        <a:pt x="27" y="52"/>
                      </a:lnTo>
                      <a:lnTo>
                        <a:pt x="26" y="52"/>
                      </a:lnTo>
                      <a:lnTo>
                        <a:pt x="24" y="52"/>
                      </a:lnTo>
                      <a:lnTo>
                        <a:pt x="21" y="55"/>
                      </a:lnTo>
                      <a:lnTo>
                        <a:pt x="20" y="55"/>
                      </a:lnTo>
                      <a:lnTo>
                        <a:pt x="20" y="55"/>
                      </a:lnTo>
                      <a:lnTo>
                        <a:pt x="20" y="55"/>
                      </a:lnTo>
                      <a:lnTo>
                        <a:pt x="19" y="55"/>
                      </a:lnTo>
                      <a:lnTo>
                        <a:pt x="18" y="55"/>
                      </a:lnTo>
                      <a:lnTo>
                        <a:pt x="18" y="55"/>
                      </a:lnTo>
                      <a:lnTo>
                        <a:pt x="17" y="55"/>
                      </a:lnTo>
                      <a:lnTo>
                        <a:pt x="17" y="55"/>
                      </a:lnTo>
                      <a:lnTo>
                        <a:pt x="15" y="55"/>
                      </a:lnTo>
                      <a:lnTo>
                        <a:pt x="15" y="55"/>
                      </a:lnTo>
                      <a:lnTo>
                        <a:pt x="14" y="55"/>
                      </a:lnTo>
                      <a:lnTo>
                        <a:pt x="13" y="55"/>
                      </a:lnTo>
                      <a:lnTo>
                        <a:pt x="11" y="55"/>
                      </a:lnTo>
                      <a:lnTo>
                        <a:pt x="11" y="56"/>
                      </a:lnTo>
                      <a:lnTo>
                        <a:pt x="10" y="56"/>
                      </a:lnTo>
                      <a:lnTo>
                        <a:pt x="8" y="57"/>
                      </a:lnTo>
                      <a:lnTo>
                        <a:pt x="6" y="57"/>
                      </a:lnTo>
                      <a:lnTo>
                        <a:pt x="6" y="57"/>
                      </a:lnTo>
                      <a:lnTo>
                        <a:pt x="6" y="57"/>
                      </a:lnTo>
                      <a:lnTo>
                        <a:pt x="6" y="57"/>
                      </a:lnTo>
                      <a:lnTo>
                        <a:pt x="6" y="57"/>
                      </a:lnTo>
                      <a:lnTo>
                        <a:pt x="6" y="57"/>
                      </a:lnTo>
                      <a:lnTo>
                        <a:pt x="6" y="57"/>
                      </a:lnTo>
                      <a:lnTo>
                        <a:pt x="5" y="56"/>
                      </a:lnTo>
                      <a:lnTo>
                        <a:pt x="1" y="56"/>
                      </a:lnTo>
                      <a:lnTo>
                        <a:pt x="1" y="56"/>
                      </a:lnTo>
                      <a:lnTo>
                        <a:pt x="0" y="55"/>
                      </a:lnTo>
                      <a:lnTo>
                        <a:pt x="0" y="55"/>
                      </a:lnTo>
                      <a:lnTo>
                        <a:pt x="1" y="54"/>
                      </a:lnTo>
                      <a:lnTo>
                        <a:pt x="1" y="52"/>
                      </a:lnTo>
                      <a:lnTo>
                        <a:pt x="1" y="51"/>
                      </a:lnTo>
                      <a:lnTo>
                        <a:pt x="3" y="50"/>
                      </a:lnTo>
                      <a:lnTo>
                        <a:pt x="4" y="49"/>
                      </a:lnTo>
                      <a:lnTo>
                        <a:pt x="5" y="48"/>
                      </a:lnTo>
                      <a:lnTo>
                        <a:pt x="4" y="48"/>
                      </a:lnTo>
                      <a:lnTo>
                        <a:pt x="1" y="45"/>
                      </a:lnTo>
                      <a:lnTo>
                        <a:pt x="1" y="45"/>
                      </a:lnTo>
                      <a:lnTo>
                        <a:pt x="1" y="43"/>
                      </a:lnTo>
                      <a:lnTo>
                        <a:pt x="0" y="40"/>
                      </a:lnTo>
                      <a:lnTo>
                        <a:pt x="0" y="37"/>
                      </a:lnTo>
                      <a:lnTo>
                        <a:pt x="1" y="35"/>
                      </a:lnTo>
                      <a:lnTo>
                        <a:pt x="1" y="31"/>
                      </a:lnTo>
                      <a:lnTo>
                        <a:pt x="3" y="31"/>
                      </a:lnTo>
                      <a:lnTo>
                        <a:pt x="3" y="30"/>
                      </a:lnTo>
                      <a:lnTo>
                        <a:pt x="4" y="30"/>
                      </a:lnTo>
                      <a:lnTo>
                        <a:pt x="4" y="29"/>
                      </a:lnTo>
                      <a:lnTo>
                        <a:pt x="5" y="29"/>
                      </a:lnTo>
                      <a:lnTo>
                        <a:pt x="5" y="29"/>
                      </a:lnTo>
                      <a:lnTo>
                        <a:pt x="5" y="29"/>
                      </a:lnTo>
                      <a:lnTo>
                        <a:pt x="5" y="29"/>
                      </a:lnTo>
                      <a:lnTo>
                        <a:pt x="6" y="28"/>
                      </a:lnTo>
                      <a:lnTo>
                        <a:pt x="6" y="28"/>
                      </a:lnTo>
                      <a:lnTo>
                        <a:pt x="7" y="27"/>
                      </a:lnTo>
                      <a:lnTo>
                        <a:pt x="10" y="22"/>
                      </a:lnTo>
                      <a:lnTo>
                        <a:pt x="12" y="20"/>
                      </a:lnTo>
                      <a:lnTo>
                        <a:pt x="12" y="20"/>
                      </a:lnTo>
                      <a:lnTo>
                        <a:pt x="13" y="20"/>
                      </a:lnTo>
                      <a:lnTo>
                        <a:pt x="13" y="19"/>
                      </a:lnTo>
                      <a:lnTo>
                        <a:pt x="13" y="17"/>
                      </a:lnTo>
                      <a:lnTo>
                        <a:pt x="18" y="12"/>
                      </a:lnTo>
                      <a:lnTo>
                        <a:pt x="19" y="10"/>
                      </a:lnTo>
                      <a:lnTo>
                        <a:pt x="20" y="7"/>
                      </a:lnTo>
                      <a:lnTo>
                        <a:pt x="22" y="6"/>
                      </a:lnTo>
                      <a:lnTo>
                        <a:pt x="22" y="6"/>
                      </a:lnTo>
                      <a:lnTo>
                        <a:pt x="24" y="6"/>
                      </a:lnTo>
                      <a:lnTo>
                        <a:pt x="25" y="7"/>
                      </a:lnTo>
                      <a:lnTo>
                        <a:pt x="30" y="10"/>
                      </a:lnTo>
                      <a:lnTo>
                        <a:pt x="30" y="10"/>
                      </a:lnTo>
                      <a:lnTo>
                        <a:pt x="30" y="10"/>
                      </a:lnTo>
                      <a:lnTo>
                        <a:pt x="32" y="10"/>
                      </a:lnTo>
                      <a:lnTo>
                        <a:pt x="32" y="9"/>
                      </a:lnTo>
                      <a:lnTo>
                        <a:pt x="33" y="9"/>
                      </a:lnTo>
                      <a:lnTo>
                        <a:pt x="33" y="9"/>
                      </a:lnTo>
                      <a:lnTo>
                        <a:pt x="34" y="9"/>
                      </a:lnTo>
                      <a:lnTo>
                        <a:pt x="34" y="8"/>
                      </a:lnTo>
                      <a:lnTo>
                        <a:pt x="34" y="7"/>
                      </a:lnTo>
                      <a:lnTo>
                        <a:pt x="34" y="6"/>
                      </a:lnTo>
                      <a:lnTo>
                        <a:pt x="35" y="5"/>
                      </a:lnTo>
                      <a:lnTo>
                        <a:pt x="35" y="2"/>
                      </a:lnTo>
                      <a:lnTo>
                        <a:pt x="36" y="2"/>
                      </a:lnTo>
                      <a:lnTo>
                        <a:pt x="36" y="2"/>
                      </a:lnTo>
                      <a:lnTo>
                        <a:pt x="36" y="2"/>
                      </a:lnTo>
                      <a:lnTo>
                        <a:pt x="37" y="2"/>
                      </a:lnTo>
                      <a:lnTo>
                        <a:pt x="44" y="0"/>
                      </a:lnTo>
                      <a:lnTo>
                        <a:pt x="44" y="0"/>
                      </a:lnTo>
                      <a:lnTo>
                        <a:pt x="44" y="1"/>
                      </a:lnTo>
                      <a:lnTo>
                        <a:pt x="46" y="1"/>
                      </a:lnTo>
                      <a:lnTo>
                        <a:pt x="46" y="2"/>
                      </a:lnTo>
                      <a:lnTo>
                        <a:pt x="49" y="6"/>
                      </a:lnTo>
                      <a:lnTo>
                        <a:pt x="49" y="7"/>
                      </a:lnTo>
                      <a:lnTo>
                        <a:pt x="50" y="7"/>
                      </a:lnTo>
                      <a:lnTo>
                        <a:pt x="50" y="7"/>
                      </a:lnTo>
                      <a:lnTo>
                        <a:pt x="50" y="7"/>
                      </a:lnTo>
                      <a:lnTo>
                        <a:pt x="50" y="8"/>
                      </a:lnTo>
                      <a:lnTo>
                        <a:pt x="50" y="8"/>
                      </a:lnTo>
                      <a:lnTo>
                        <a:pt x="51" y="9"/>
                      </a:lnTo>
                      <a:lnTo>
                        <a:pt x="51" y="9"/>
                      </a:lnTo>
                      <a:lnTo>
                        <a:pt x="51" y="10"/>
                      </a:lnTo>
                      <a:lnTo>
                        <a:pt x="51" y="10"/>
                      </a:lnTo>
                      <a:lnTo>
                        <a:pt x="51" y="10"/>
                      </a:lnTo>
                      <a:lnTo>
                        <a:pt x="51" y="12"/>
                      </a:lnTo>
                      <a:lnTo>
                        <a:pt x="51" y="13"/>
                      </a:lnTo>
                      <a:lnTo>
                        <a:pt x="53" y="13"/>
                      </a:lnTo>
                      <a:lnTo>
                        <a:pt x="54" y="15"/>
                      </a:lnTo>
                      <a:lnTo>
                        <a:pt x="54" y="15"/>
                      </a:lnTo>
                      <a:lnTo>
                        <a:pt x="54" y="17"/>
                      </a:lnTo>
                      <a:lnTo>
                        <a:pt x="54" y="20"/>
                      </a:lnTo>
                      <a:lnTo>
                        <a:pt x="54" y="21"/>
                      </a:lnTo>
                      <a:lnTo>
                        <a:pt x="53" y="22"/>
                      </a:lnTo>
                      <a:lnTo>
                        <a:pt x="53" y="22"/>
                      </a:lnTo>
                      <a:lnTo>
                        <a:pt x="51" y="23"/>
                      </a:lnTo>
                      <a:lnTo>
                        <a:pt x="51" y="23"/>
                      </a:lnTo>
                      <a:lnTo>
                        <a:pt x="50" y="23"/>
                      </a:lnTo>
                      <a:lnTo>
                        <a:pt x="49" y="23"/>
                      </a:lnTo>
                      <a:lnTo>
                        <a:pt x="49" y="24"/>
                      </a:lnTo>
                      <a:lnTo>
                        <a:pt x="47" y="24"/>
                      </a:lnTo>
                      <a:lnTo>
                        <a:pt x="47" y="24"/>
                      </a:lnTo>
                      <a:lnTo>
                        <a:pt x="46" y="24"/>
                      </a:lnTo>
                      <a:lnTo>
                        <a:pt x="43" y="28"/>
                      </a:lnTo>
                      <a:lnTo>
                        <a:pt x="43" y="28"/>
                      </a:lnTo>
                      <a:lnTo>
                        <a:pt x="43" y="28"/>
                      </a:lnTo>
                      <a:lnTo>
                        <a:pt x="42" y="28"/>
                      </a:lnTo>
                      <a:lnTo>
                        <a:pt x="42" y="28"/>
                      </a:lnTo>
                      <a:lnTo>
                        <a:pt x="42" y="28"/>
                      </a:lnTo>
                      <a:lnTo>
                        <a:pt x="42" y="29"/>
                      </a:lnTo>
                      <a:lnTo>
                        <a:pt x="42" y="29"/>
                      </a:lnTo>
                      <a:lnTo>
                        <a:pt x="41" y="29"/>
                      </a:lnTo>
                      <a:lnTo>
                        <a:pt x="40" y="29"/>
                      </a:lnTo>
                      <a:lnTo>
                        <a:pt x="39" y="29"/>
                      </a:lnTo>
                      <a:lnTo>
                        <a:pt x="39" y="30"/>
                      </a:lnTo>
                      <a:lnTo>
                        <a:pt x="39" y="30"/>
                      </a:lnTo>
                      <a:lnTo>
                        <a:pt x="37" y="29"/>
                      </a:lnTo>
                      <a:lnTo>
                        <a:pt x="36" y="30"/>
                      </a:lnTo>
                      <a:lnTo>
                        <a:pt x="34" y="30"/>
                      </a:lnTo>
                      <a:lnTo>
                        <a:pt x="33" y="31"/>
                      </a:lnTo>
                      <a:lnTo>
                        <a:pt x="32" y="33"/>
                      </a:lnTo>
                      <a:lnTo>
                        <a:pt x="30" y="36"/>
                      </a:lnTo>
                      <a:lnTo>
                        <a:pt x="29" y="36"/>
                      </a:lnTo>
                      <a:lnTo>
                        <a:pt x="29" y="36"/>
                      </a:lnTo>
                      <a:lnTo>
                        <a:pt x="28" y="37"/>
                      </a:lnTo>
                      <a:lnTo>
                        <a:pt x="28" y="37"/>
                      </a:lnTo>
                      <a:lnTo>
                        <a:pt x="27" y="37"/>
                      </a:lnTo>
                      <a:lnTo>
                        <a:pt x="27" y="37"/>
                      </a:lnTo>
                      <a:lnTo>
                        <a:pt x="26" y="37"/>
                      </a:lnTo>
                      <a:lnTo>
                        <a:pt x="26" y="36"/>
                      </a:lnTo>
                      <a:lnTo>
                        <a:pt x="26" y="36"/>
                      </a:lnTo>
                      <a:lnTo>
                        <a:pt x="26" y="36"/>
                      </a:lnTo>
                      <a:lnTo>
                        <a:pt x="25" y="36"/>
                      </a:lnTo>
                      <a:lnTo>
                        <a:pt x="25" y="36"/>
                      </a:lnTo>
                      <a:lnTo>
                        <a:pt x="25" y="36"/>
                      </a:lnTo>
                      <a:lnTo>
                        <a:pt x="25" y="36"/>
                      </a:lnTo>
                      <a:lnTo>
                        <a:pt x="25" y="37"/>
                      </a:lnTo>
                      <a:lnTo>
                        <a:pt x="25" y="37"/>
                      </a:lnTo>
                      <a:lnTo>
                        <a:pt x="25" y="38"/>
                      </a:lnTo>
                      <a:lnTo>
                        <a:pt x="26" y="38"/>
                      </a:lnTo>
                      <a:lnTo>
                        <a:pt x="26" y="40"/>
                      </a:lnTo>
                      <a:lnTo>
                        <a:pt x="27" y="40"/>
                      </a:lnTo>
                      <a:lnTo>
                        <a:pt x="27" y="40"/>
                      </a:lnTo>
                      <a:lnTo>
                        <a:pt x="28" y="40"/>
                      </a:lnTo>
                      <a:lnTo>
                        <a:pt x="28" y="40"/>
                      </a:lnTo>
                      <a:lnTo>
                        <a:pt x="28" y="40"/>
                      </a:lnTo>
                      <a:lnTo>
                        <a:pt x="29" y="40"/>
                      </a:lnTo>
                      <a:lnTo>
                        <a:pt x="29" y="40"/>
                      </a:lnTo>
                      <a:lnTo>
                        <a:pt x="29" y="40"/>
                      </a:lnTo>
                      <a:lnTo>
                        <a:pt x="29" y="40"/>
                      </a:lnTo>
                      <a:lnTo>
                        <a:pt x="30" y="38"/>
                      </a:lnTo>
                      <a:lnTo>
                        <a:pt x="29" y="38"/>
                      </a:lnTo>
                      <a:lnTo>
                        <a:pt x="29" y="38"/>
                      </a:lnTo>
                      <a:lnTo>
                        <a:pt x="29" y="38"/>
                      </a:lnTo>
                      <a:lnTo>
                        <a:pt x="29" y="37"/>
                      </a:lnTo>
                      <a:lnTo>
                        <a:pt x="30" y="37"/>
                      </a:lnTo>
                      <a:lnTo>
                        <a:pt x="32" y="37"/>
                      </a:lnTo>
                      <a:lnTo>
                        <a:pt x="34" y="36"/>
                      </a:lnTo>
                      <a:lnTo>
                        <a:pt x="35" y="36"/>
                      </a:lnTo>
                      <a:lnTo>
                        <a:pt x="35" y="36"/>
                      </a:lnTo>
                      <a:lnTo>
                        <a:pt x="35" y="36"/>
                      </a:lnTo>
                      <a:lnTo>
                        <a:pt x="35" y="36"/>
                      </a:lnTo>
                      <a:lnTo>
                        <a:pt x="36" y="36"/>
                      </a:lnTo>
                      <a:lnTo>
                        <a:pt x="36" y="36"/>
                      </a:lnTo>
                      <a:lnTo>
                        <a:pt x="36" y="36"/>
                      </a:lnTo>
                      <a:lnTo>
                        <a:pt x="41" y="36"/>
                      </a:lnTo>
                      <a:lnTo>
                        <a:pt x="42" y="36"/>
                      </a:lnTo>
                      <a:lnTo>
                        <a:pt x="42" y="36"/>
                      </a:lnTo>
                      <a:lnTo>
                        <a:pt x="43" y="36"/>
                      </a:lnTo>
                      <a:lnTo>
                        <a:pt x="44" y="36"/>
                      </a:lnTo>
                      <a:lnTo>
                        <a:pt x="44" y="36"/>
                      </a:lnTo>
                      <a:lnTo>
                        <a:pt x="44" y="35"/>
                      </a:lnTo>
                      <a:lnTo>
                        <a:pt x="44" y="35"/>
                      </a:lnTo>
                      <a:lnTo>
                        <a:pt x="46" y="36"/>
                      </a:lnTo>
                      <a:lnTo>
                        <a:pt x="46" y="37"/>
                      </a:lnTo>
                      <a:lnTo>
                        <a:pt x="46" y="37"/>
                      </a:lnTo>
                      <a:lnTo>
                        <a:pt x="46" y="38"/>
                      </a:lnTo>
                      <a:lnTo>
                        <a:pt x="47" y="38"/>
                      </a:lnTo>
                      <a:lnTo>
                        <a:pt x="47" y="38"/>
                      </a:lnTo>
                      <a:lnTo>
                        <a:pt x="48" y="4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7" name="Freeform 87">
                  <a:extLst>
                    <a:ext uri="{FF2B5EF4-FFF2-40B4-BE49-F238E27FC236}">
                      <a16:creationId xmlns:a16="http://schemas.microsoft.com/office/drawing/2014/main" id="{E4FA3963-9C52-F05D-65BF-1857D7E8E310}"/>
                    </a:ext>
                  </a:extLst>
                </p:cNvPr>
                <p:cNvSpPr>
                  <a:spLocks noEditPoints="1"/>
                </p:cNvSpPr>
                <p:nvPr/>
              </p:nvSpPr>
              <p:spPr bwMode="auto">
                <a:xfrm>
                  <a:off x="7480663" y="3172294"/>
                  <a:ext cx="229328" cy="201202"/>
                </a:xfrm>
                <a:custGeom>
                  <a:avLst/>
                  <a:gdLst>
                    <a:gd name="T0" fmla="*/ 118 w 212"/>
                    <a:gd name="T1" fmla="*/ 73 h 186"/>
                    <a:gd name="T2" fmla="*/ 122 w 212"/>
                    <a:gd name="T3" fmla="*/ 77 h 186"/>
                    <a:gd name="T4" fmla="*/ 125 w 212"/>
                    <a:gd name="T5" fmla="*/ 80 h 186"/>
                    <a:gd name="T6" fmla="*/ 111 w 212"/>
                    <a:gd name="T7" fmla="*/ 77 h 186"/>
                    <a:gd name="T8" fmla="*/ 112 w 212"/>
                    <a:gd name="T9" fmla="*/ 76 h 186"/>
                    <a:gd name="T10" fmla="*/ 114 w 212"/>
                    <a:gd name="T11" fmla="*/ 71 h 186"/>
                    <a:gd name="T12" fmla="*/ 115 w 212"/>
                    <a:gd name="T13" fmla="*/ 64 h 186"/>
                    <a:gd name="T14" fmla="*/ 81 w 212"/>
                    <a:gd name="T15" fmla="*/ 23 h 186"/>
                    <a:gd name="T16" fmla="*/ 84 w 212"/>
                    <a:gd name="T17" fmla="*/ 35 h 186"/>
                    <a:gd name="T18" fmla="*/ 87 w 212"/>
                    <a:gd name="T19" fmla="*/ 48 h 186"/>
                    <a:gd name="T20" fmla="*/ 88 w 212"/>
                    <a:gd name="T21" fmla="*/ 57 h 186"/>
                    <a:gd name="T22" fmla="*/ 96 w 212"/>
                    <a:gd name="T23" fmla="*/ 76 h 186"/>
                    <a:gd name="T24" fmla="*/ 97 w 212"/>
                    <a:gd name="T25" fmla="*/ 83 h 186"/>
                    <a:gd name="T26" fmla="*/ 104 w 212"/>
                    <a:gd name="T27" fmla="*/ 97 h 186"/>
                    <a:gd name="T28" fmla="*/ 108 w 212"/>
                    <a:gd name="T29" fmla="*/ 91 h 186"/>
                    <a:gd name="T30" fmla="*/ 108 w 212"/>
                    <a:gd name="T31" fmla="*/ 84 h 186"/>
                    <a:gd name="T32" fmla="*/ 115 w 212"/>
                    <a:gd name="T33" fmla="*/ 91 h 186"/>
                    <a:gd name="T34" fmla="*/ 118 w 212"/>
                    <a:gd name="T35" fmla="*/ 99 h 186"/>
                    <a:gd name="T36" fmla="*/ 128 w 212"/>
                    <a:gd name="T37" fmla="*/ 100 h 186"/>
                    <a:gd name="T38" fmla="*/ 133 w 212"/>
                    <a:gd name="T39" fmla="*/ 101 h 186"/>
                    <a:gd name="T40" fmla="*/ 138 w 212"/>
                    <a:gd name="T41" fmla="*/ 109 h 186"/>
                    <a:gd name="T42" fmla="*/ 151 w 212"/>
                    <a:gd name="T43" fmla="*/ 112 h 186"/>
                    <a:gd name="T44" fmla="*/ 157 w 212"/>
                    <a:gd name="T45" fmla="*/ 121 h 186"/>
                    <a:gd name="T46" fmla="*/ 164 w 212"/>
                    <a:gd name="T47" fmla="*/ 130 h 186"/>
                    <a:gd name="T48" fmla="*/ 172 w 212"/>
                    <a:gd name="T49" fmla="*/ 136 h 186"/>
                    <a:gd name="T50" fmla="*/ 179 w 212"/>
                    <a:gd name="T51" fmla="*/ 142 h 186"/>
                    <a:gd name="T52" fmla="*/ 183 w 212"/>
                    <a:gd name="T53" fmla="*/ 148 h 186"/>
                    <a:gd name="T54" fmla="*/ 187 w 212"/>
                    <a:gd name="T55" fmla="*/ 150 h 186"/>
                    <a:gd name="T56" fmla="*/ 193 w 212"/>
                    <a:gd name="T57" fmla="*/ 158 h 186"/>
                    <a:gd name="T58" fmla="*/ 201 w 212"/>
                    <a:gd name="T59" fmla="*/ 168 h 186"/>
                    <a:gd name="T60" fmla="*/ 205 w 212"/>
                    <a:gd name="T61" fmla="*/ 172 h 186"/>
                    <a:gd name="T62" fmla="*/ 210 w 212"/>
                    <a:gd name="T63" fmla="*/ 171 h 186"/>
                    <a:gd name="T64" fmla="*/ 202 w 212"/>
                    <a:gd name="T65" fmla="*/ 183 h 186"/>
                    <a:gd name="T66" fmla="*/ 188 w 212"/>
                    <a:gd name="T67" fmla="*/ 183 h 186"/>
                    <a:gd name="T68" fmla="*/ 169 w 212"/>
                    <a:gd name="T69" fmla="*/ 161 h 186"/>
                    <a:gd name="T70" fmla="*/ 143 w 212"/>
                    <a:gd name="T71" fmla="*/ 134 h 186"/>
                    <a:gd name="T72" fmla="*/ 119 w 212"/>
                    <a:gd name="T73" fmla="*/ 119 h 186"/>
                    <a:gd name="T74" fmla="*/ 107 w 212"/>
                    <a:gd name="T75" fmla="*/ 116 h 186"/>
                    <a:gd name="T76" fmla="*/ 96 w 212"/>
                    <a:gd name="T77" fmla="*/ 116 h 186"/>
                    <a:gd name="T78" fmla="*/ 84 w 212"/>
                    <a:gd name="T79" fmla="*/ 112 h 186"/>
                    <a:gd name="T80" fmla="*/ 74 w 212"/>
                    <a:gd name="T81" fmla="*/ 118 h 186"/>
                    <a:gd name="T82" fmla="*/ 60 w 212"/>
                    <a:gd name="T83" fmla="*/ 116 h 186"/>
                    <a:gd name="T84" fmla="*/ 55 w 212"/>
                    <a:gd name="T85" fmla="*/ 109 h 186"/>
                    <a:gd name="T86" fmla="*/ 45 w 212"/>
                    <a:gd name="T87" fmla="*/ 107 h 186"/>
                    <a:gd name="T88" fmla="*/ 32 w 212"/>
                    <a:gd name="T89" fmla="*/ 126 h 186"/>
                    <a:gd name="T90" fmla="*/ 24 w 212"/>
                    <a:gd name="T91" fmla="*/ 118 h 186"/>
                    <a:gd name="T92" fmla="*/ 16 w 212"/>
                    <a:gd name="T93" fmla="*/ 122 h 186"/>
                    <a:gd name="T94" fmla="*/ 3 w 212"/>
                    <a:gd name="T95" fmla="*/ 123 h 186"/>
                    <a:gd name="T96" fmla="*/ 3 w 212"/>
                    <a:gd name="T97" fmla="*/ 91 h 186"/>
                    <a:gd name="T98" fmla="*/ 13 w 212"/>
                    <a:gd name="T99" fmla="*/ 63 h 186"/>
                    <a:gd name="T100" fmla="*/ 15 w 212"/>
                    <a:gd name="T101" fmla="*/ 50 h 186"/>
                    <a:gd name="T102" fmla="*/ 18 w 212"/>
                    <a:gd name="T103" fmla="*/ 39 h 186"/>
                    <a:gd name="T104" fmla="*/ 19 w 212"/>
                    <a:gd name="T105" fmla="*/ 31 h 186"/>
                    <a:gd name="T106" fmla="*/ 33 w 212"/>
                    <a:gd name="T107" fmla="*/ 29 h 186"/>
                    <a:gd name="T108" fmla="*/ 45 w 212"/>
                    <a:gd name="T109" fmla="*/ 19 h 186"/>
                    <a:gd name="T110" fmla="*/ 54 w 212"/>
                    <a:gd name="T111" fmla="*/ 15 h 186"/>
                    <a:gd name="T112" fmla="*/ 64 w 212"/>
                    <a:gd name="T113" fmla="*/ 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2" h="186">
                      <a:moveTo>
                        <a:pt x="115" y="71"/>
                      </a:moveTo>
                      <a:lnTo>
                        <a:pt x="116" y="71"/>
                      </a:lnTo>
                      <a:lnTo>
                        <a:pt x="116" y="72"/>
                      </a:lnTo>
                      <a:lnTo>
                        <a:pt x="117" y="72"/>
                      </a:lnTo>
                      <a:lnTo>
                        <a:pt x="117" y="73"/>
                      </a:lnTo>
                      <a:lnTo>
                        <a:pt x="116" y="73"/>
                      </a:lnTo>
                      <a:lnTo>
                        <a:pt x="116" y="74"/>
                      </a:lnTo>
                      <a:lnTo>
                        <a:pt x="117" y="74"/>
                      </a:lnTo>
                      <a:lnTo>
                        <a:pt x="117" y="73"/>
                      </a:lnTo>
                      <a:lnTo>
                        <a:pt x="118" y="73"/>
                      </a:lnTo>
                      <a:lnTo>
                        <a:pt x="118" y="74"/>
                      </a:lnTo>
                      <a:lnTo>
                        <a:pt x="118" y="77"/>
                      </a:lnTo>
                      <a:lnTo>
                        <a:pt x="118" y="78"/>
                      </a:lnTo>
                      <a:lnTo>
                        <a:pt x="118" y="79"/>
                      </a:lnTo>
                      <a:lnTo>
                        <a:pt x="119" y="79"/>
                      </a:lnTo>
                      <a:lnTo>
                        <a:pt x="121" y="79"/>
                      </a:lnTo>
                      <a:lnTo>
                        <a:pt x="122" y="78"/>
                      </a:lnTo>
                      <a:lnTo>
                        <a:pt x="121" y="78"/>
                      </a:lnTo>
                      <a:lnTo>
                        <a:pt x="121" y="77"/>
                      </a:lnTo>
                      <a:lnTo>
                        <a:pt x="122" y="77"/>
                      </a:lnTo>
                      <a:lnTo>
                        <a:pt x="123" y="77"/>
                      </a:lnTo>
                      <a:lnTo>
                        <a:pt x="124" y="77"/>
                      </a:lnTo>
                      <a:lnTo>
                        <a:pt x="124" y="78"/>
                      </a:lnTo>
                      <a:lnTo>
                        <a:pt x="125" y="78"/>
                      </a:lnTo>
                      <a:lnTo>
                        <a:pt x="125" y="79"/>
                      </a:lnTo>
                      <a:lnTo>
                        <a:pt x="126" y="79"/>
                      </a:lnTo>
                      <a:lnTo>
                        <a:pt x="126" y="80"/>
                      </a:lnTo>
                      <a:lnTo>
                        <a:pt x="126" y="81"/>
                      </a:lnTo>
                      <a:lnTo>
                        <a:pt x="125" y="81"/>
                      </a:lnTo>
                      <a:lnTo>
                        <a:pt x="125" y="80"/>
                      </a:lnTo>
                      <a:lnTo>
                        <a:pt x="123" y="81"/>
                      </a:lnTo>
                      <a:lnTo>
                        <a:pt x="122" y="81"/>
                      </a:lnTo>
                      <a:lnTo>
                        <a:pt x="121" y="80"/>
                      </a:lnTo>
                      <a:lnTo>
                        <a:pt x="118" y="80"/>
                      </a:lnTo>
                      <a:lnTo>
                        <a:pt x="117" y="80"/>
                      </a:lnTo>
                      <a:lnTo>
                        <a:pt x="116" y="80"/>
                      </a:lnTo>
                      <a:lnTo>
                        <a:pt x="114" y="80"/>
                      </a:lnTo>
                      <a:lnTo>
                        <a:pt x="112" y="80"/>
                      </a:lnTo>
                      <a:lnTo>
                        <a:pt x="112" y="79"/>
                      </a:lnTo>
                      <a:lnTo>
                        <a:pt x="111" y="77"/>
                      </a:lnTo>
                      <a:lnTo>
                        <a:pt x="112" y="77"/>
                      </a:lnTo>
                      <a:lnTo>
                        <a:pt x="112" y="78"/>
                      </a:lnTo>
                      <a:lnTo>
                        <a:pt x="114" y="78"/>
                      </a:lnTo>
                      <a:lnTo>
                        <a:pt x="114" y="79"/>
                      </a:lnTo>
                      <a:lnTo>
                        <a:pt x="115" y="79"/>
                      </a:lnTo>
                      <a:lnTo>
                        <a:pt x="116" y="78"/>
                      </a:lnTo>
                      <a:lnTo>
                        <a:pt x="116" y="77"/>
                      </a:lnTo>
                      <a:lnTo>
                        <a:pt x="115" y="77"/>
                      </a:lnTo>
                      <a:lnTo>
                        <a:pt x="114" y="76"/>
                      </a:lnTo>
                      <a:lnTo>
                        <a:pt x="112" y="76"/>
                      </a:lnTo>
                      <a:lnTo>
                        <a:pt x="111" y="76"/>
                      </a:lnTo>
                      <a:lnTo>
                        <a:pt x="111" y="74"/>
                      </a:lnTo>
                      <a:lnTo>
                        <a:pt x="112" y="74"/>
                      </a:lnTo>
                      <a:lnTo>
                        <a:pt x="114" y="74"/>
                      </a:lnTo>
                      <a:lnTo>
                        <a:pt x="112" y="73"/>
                      </a:lnTo>
                      <a:lnTo>
                        <a:pt x="114" y="73"/>
                      </a:lnTo>
                      <a:lnTo>
                        <a:pt x="115" y="73"/>
                      </a:lnTo>
                      <a:lnTo>
                        <a:pt x="115" y="72"/>
                      </a:lnTo>
                      <a:lnTo>
                        <a:pt x="115" y="71"/>
                      </a:lnTo>
                      <a:lnTo>
                        <a:pt x="114" y="71"/>
                      </a:lnTo>
                      <a:lnTo>
                        <a:pt x="112" y="71"/>
                      </a:lnTo>
                      <a:lnTo>
                        <a:pt x="114" y="71"/>
                      </a:lnTo>
                      <a:lnTo>
                        <a:pt x="115" y="71"/>
                      </a:lnTo>
                      <a:close/>
                      <a:moveTo>
                        <a:pt x="117" y="67"/>
                      </a:moveTo>
                      <a:lnTo>
                        <a:pt x="116" y="67"/>
                      </a:lnTo>
                      <a:lnTo>
                        <a:pt x="115" y="67"/>
                      </a:lnTo>
                      <a:lnTo>
                        <a:pt x="114" y="66"/>
                      </a:lnTo>
                      <a:lnTo>
                        <a:pt x="114" y="65"/>
                      </a:lnTo>
                      <a:lnTo>
                        <a:pt x="115" y="65"/>
                      </a:lnTo>
                      <a:lnTo>
                        <a:pt x="115" y="64"/>
                      </a:lnTo>
                      <a:lnTo>
                        <a:pt x="116" y="64"/>
                      </a:lnTo>
                      <a:lnTo>
                        <a:pt x="117" y="64"/>
                      </a:lnTo>
                      <a:lnTo>
                        <a:pt x="117" y="65"/>
                      </a:lnTo>
                      <a:lnTo>
                        <a:pt x="116" y="66"/>
                      </a:lnTo>
                      <a:lnTo>
                        <a:pt x="117" y="66"/>
                      </a:lnTo>
                      <a:lnTo>
                        <a:pt x="117" y="67"/>
                      </a:lnTo>
                      <a:close/>
                      <a:moveTo>
                        <a:pt x="75" y="12"/>
                      </a:moveTo>
                      <a:lnTo>
                        <a:pt x="77" y="16"/>
                      </a:lnTo>
                      <a:lnTo>
                        <a:pt x="80" y="21"/>
                      </a:lnTo>
                      <a:lnTo>
                        <a:pt x="81" y="23"/>
                      </a:lnTo>
                      <a:lnTo>
                        <a:pt x="81" y="24"/>
                      </a:lnTo>
                      <a:lnTo>
                        <a:pt x="81" y="25"/>
                      </a:lnTo>
                      <a:lnTo>
                        <a:pt x="81" y="27"/>
                      </a:lnTo>
                      <a:lnTo>
                        <a:pt x="82" y="27"/>
                      </a:lnTo>
                      <a:lnTo>
                        <a:pt x="82" y="28"/>
                      </a:lnTo>
                      <a:lnTo>
                        <a:pt x="82" y="29"/>
                      </a:lnTo>
                      <a:lnTo>
                        <a:pt x="83" y="30"/>
                      </a:lnTo>
                      <a:lnTo>
                        <a:pt x="83" y="32"/>
                      </a:lnTo>
                      <a:lnTo>
                        <a:pt x="83" y="34"/>
                      </a:lnTo>
                      <a:lnTo>
                        <a:pt x="84" y="35"/>
                      </a:lnTo>
                      <a:lnTo>
                        <a:pt x="84" y="36"/>
                      </a:lnTo>
                      <a:lnTo>
                        <a:pt x="84" y="37"/>
                      </a:lnTo>
                      <a:lnTo>
                        <a:pt x="84" y="38"/>
                      </a:lnTo>
                      <a:lnTo>
                        <a:pt x="86" y="41"/>
                      </a:lnTo>
                      <a:lnTo>
                        <a:pt x="87" y="43"/>
                      </a:lnTo>
                      <a:lnTo>
                        <a:pt x="86" y="43"/>
                      </a:lnTo>
                      <a:lnTo>
                        <a:pt x="87" y="44"/>
                      </a:lnTo>
                      <a:lnTo>
                        <a:pt x="87" y="45"/>
                      </a:lnTo>
                      <a:lnTo>
                        <a:pt x="87" y="46"/>
                      </a:lnTo>
                      <a:lnTo>
                        <a:pt x="87" y="48"/>
                      </a:lnTo>
                      <a:lnTo>
                        <a:pt x="87" y="49"/>
                      </a:lnTo>
                      <a:lnTo>
                        <a:pt x="87" y="50"/>
                      </a:lnTo>
                      <a:lnTo>
                        <a:pt x="88" y="50"/>
                      </a:lnTo>
                      <a:lnTo>
                        <a:pt x="87" y="51"/>
                      </a:lnTo>
                      <a:lnTo>
                        <a:pt x="88" y="51"/>
                      </a:lnTo>
                      <a:lnTo>
                        <a:pt x="88" y="52"/>
                      </a:lnTo>
                      <a:lnTo>
                        <a:pt x="88" y="53"/>
                      </a:lnTo>
                      <a:lnTo>
                        <a:pt x="88" y="55"/>
                      </a:lnTo>
                      <a:lnTo>
                        <a:pt x="88" y="56"/>
                      </a:lnTo>
                      <a:lnTo>
                        <a:pt x="88" y="57"/>
                      </a:lnTo>
                      <a:lnTo>
                        <a:pt x="89" y="62"/>
                      </a:lnTo>
                      <a:lnTo>
                        <a:pt x="89" y="63"/>
                      </a:lnTo>
                      <a:lnTo>
                        <a:pt x="90" y="65"/>
                      </a:lnTo>
                      <a:lnTo>
                        <a:pt x="91" y="70"/>
                      </a:lnTo>
                      <a:lnTo>
                        <a:pt x="91" y="71"/>
                      </a:lnTo>
                      <a:lnTo>
                        <a:pt x="94" y="72"/>
                      </a:lnTo>
                      <a:lnTo>
                        <a:pt x="95" y="73"/>
                      </a:lnTo>
                      <a:lnTo>
                        <a:pt x="96" y="73"/>
                      </a:lnTo>
                      <a:lnTo>
                        <a:pt x="95" y="74"/>
                      </a:lnTo>
                      <a:lnTo>
                        <a:pt x="96" y="76"/>
                      </a:lnTo>
                      <a:lnTo>
                        <a:pt x="96" y="77"/>
                      </a:lnTo>
                      <a:lnTo>
                        <a:pt x="97" y="78"/>
                      </a:lnTo>
                      <a:lnTo>
                        <a:pt x="96" y="78"/>
                      </a:lnTo>
                      <a:lnTo>
                        <a:pt x="96" y="79"/>
                      </a:lnTo>
                      <a:lnTo>
                        <a:pt x="97" y="79"/>
                      </a:lnTo>
                      <a:lnTo>
                        <a:pt x="96" y="80"/>
                      </a:lnTo>
                      <a:lnTo>
                        <a:pt x="95" y="80"/>
                      </a:lnTo>
                      <a:lnTo>
                        <a:pt x="96" y="81"/>
                      </a:lnTo>
                      <a:lnTo>
                        <a:pt x="96" y="83"/>
                      </a:lnTo>
                      <a:lnTo>
                        <a:pt x="97" y="83"/>
                      </a:lnTo>
                      <a:lnTo>
                        <a:pt x="98" y="83"/>
                      </a:lnTo>
                      <a:lnTo>
                        <a:pt x="100" y="83"/>
                      </a:lnTo>
                      <a:lnTo>
                        <a:pt x="101" y="83"/>
                      </a:lnTo>
                      <a:lnTo>
                        <a:pt x="101" y="84"/>
                      </a:lnTo>
                      <a:lnTo>
                        <a:pt x="103" y="88"/>
                      </a:lnTo>
                      <a:lnTo>
                        <a:pt x="103" y="90"/>
                      </a:lnTo>
                      <a:lnTo>
                        <a:pt x="104" y="91"/>
                      </a:lnTo>
                      <a:lnTo>
                        <a:pt x="104" y="93"/>
                      </a:lnTo>
                      <a:lnTo>
                        <a:pt x="104" y="95"/>
                      </a:lnTo>
                      <a:lnTo>
                        <a:pt x="104" y="97"/>
                      </a:lnTo>
                      <a:lnTo>
                        <a:pt x="105" y="97"/>
                      </a:lnTo>
                      <a:lnTo>
                        <a:pt x="105" y="98"/>
                      </a:lnTo>
                      <a:lnTo>
                        <a:pt x="107" y="98"/>
                      </a:lnTo>
                      <a:lnTo>
                        <a:pt x="108" y="98"/>
                      </a:lnTo>
                      <a:lnTo>
                        <a:pt x="108" y="97"/>
                      </a:lnTo>
                      <a:lnTo>
                        <a:pt x="108" y="95"/>
                      </a:lnTo>
                      <a:lnTo>
                        <a:pt x="109" y="94"/>
                      </a:lnTo>
                      <a:lnTo>
                        <a:pt x="109" y="93"/>
                      </a:lnTo>
                      <a:lnTo>
                        <a:pt x="108" y="92"/>
                      </a:lnTo>
                      <a:lnTo>
                        <a:pt x="108" y="91"/>
                      </a:lnTo>
                      <a:lnTo>
                        <a:pt x="107" y="91"/>
                      </a:lnTo>
                      <a:lnTo>
                        <a:pt x="107" y="92"/>
                      </a:lnTo>
                      <a:lnTo>
                        <a:pt x="107" y="91"/>
                      </a:lnTo>
                      <a:lnTo>
                        <a:pt x="107" y="90"/>
                      </a:lnTo>
                      <a:lnTo>
                        <a:pt x="107" y="88"/>
                      </a:lnTo>
                      <a:lnTo>
                        <a:pt x="107" y="87"/>
                      </a:lnTo>
                      <a:lnTo>
                        <a:pt x="107" y="86"/>
                      </a:lnTo>
                      <a:lnTo>
                        <a:pt x="107" y="85"/>
                      </a:lnTo>
                      <a:lnTo>
                        <a:pt x="108" y="85"/>
                      </a:lnTo>
                      <a:lnTo>
                        <a:pt x="108" y="84"/>
                      </a:lnTo>
                      <a:lnTo>
                        <a:pt x="109" y="84"/>
                      </a:lnTo>
                      <a:lnTo>
                        <a:pt x="109" y="85"/>
                      </a:lnTo>
                      <a:lnTo>
                        <a:pt x="109" y="84"/>
                      </a:lnTo>
                      <a:lnTo>
                        <a:pt x="110" y="84"/>
                      </a:lnTo>
                      <a:lnTo>
                        <a:pt x="110" y="85"/>
                      </a:lnTo>
                      <a:lnTo>
                        <a:pt x="114" y="87"/>
                      </a:lnTo>
                      <a:lnTo>
                        <a:pt x="115" y="88"/>
                      </a:lnTo>
                      <a:lnTo>
                        <a:pt x="116" y="88"/>
                      </a:lnTo>
                      <a:lnTo>
                        <a:pt x="116" y="90"/>
                      </a:lnTo>
                      <a:lnTo>
                        <a:pt x="115" y="91"/>
                      </a:lnTo>
                      <a:lnTo>
                        <a:pt x="115" y="92"/>
                      </a:lnTo>
                      <a:lnTo>
                        <a:pt x="115" y="93"/>
                      </a:lnTo>
                      <a:lnTo>
                        <a:pt x="115" y="94"/>
                      </a:lnTo>
                      <a:lnTo>
                        <a:pt x="116" y="94"/>
                      </a:lnTo>
                      <a:lnTo>
                        <a:pt x="116" y="95"/>
                      </a:lnTo>
                      <a:lnTo>
                        <a:pt x="117" y="97"/>
                      </a:lnTo>
                      <a:lnTo>
                        <a:pt x="116" y="98"/>
                      </a:lnTo>
                      <a:lnTo>
                        <a:pt x="117" y="98"/>
                      </a:lnTo>
                      <a:lnTo>
                        <a:pt x="118" y="98"/>
                      </a:lnTo>
                      <a:lnTo>
                        <a:pt x="118" y="99"/>
                      </a:lnTo>
                      <a:lnTo>
                        <a:pt x="118" y="100"/>
                      </a:lnTo>
                      <a:lnTo>
                        <a:pt x="119" y="101"/>
                      </a:lnTo>
                      <a:lnTo>
                        <a:pt x="122" y="102"/>
                      </a:lnTo>
                      <a:lnTo>
                        <a:pt x="123" y="102"/>
                      </a:lnTo>
                      <a:lnTo>
                        <a:pt x="124" y="102"/>
                      </a:lnTo>
                      <a:lnTo>
                        <a:pt x="125" y="101"/>
                      </a:lnTo>
                      <a:lnTo>
                        <a:pt x="125" y="100"/>
                      </a:lnTo>
                      <a:lnTo>
                        <a:pt x="126" y="101"/>
                      </a:lnTo>
                      <a:lnTo>
                        <a:pt x="126" y="100"/>
                      </a:lnTo>
                      <a:lnTo>
                        <a:pt x="128" y="100"/>
                      </a:lnTo>
                      <a:lnTo>
                        <a:pt x="129" y="100"/>
                      </a:lnTo>
                      <a:lnTo>
                        <a:pt x="128" y="100"/>
                      </a:lnTo>
                      <a:lnTo>
                        <a:pt x="128" y="101"/>
                      </a:lnTo>
                      <a:lnTo>
                        <a:pt x="129" y="101"/>
                      </a:lnTo>
                      <a:lnTo>
                        <a:pt x="130" y="101"/>
                      </a:lnTo>
                      <a:lnTo>
                        <a:pt x="130" y="100"/>
                      </a:lnTo>
                      <a:lnTo>
                        <a:pt x="131" y="100"/>
                      </a:lnTo>
                      <a:lnTo>
                        <a:pt x="131" y="101"/>
                      </a:lnTo>
                      <a:lnTo>
                        <a:pt x="132" y="101"/>
                      </a:lnTo>
                      <a:lnTo>
                        <a:pt x="133" y="101"/>
                      </a:lnTo>
                      <a:lnTo>
                        <a:pt x="133" y="102"/>
                      </a:lnTo>
                      <a:lnTo>
                        <a:pt x="133" y="104"/>
                      </a:lnTo>
                      <a:lnTo>
                        <a:pt x="134" y="104"/>
                      </a:lnTo>
                      <a:lnTo>
                        <a:pt x="136" y="104"/>
                      </a:lnTo>
                      <a:lnTo>
                        <a:pt x="134" y="104"/>
                      </a:lnTo>
                      <a:lnTo>
                        <a:pt x="136" y="106"/>
                      </a:lnTo>
                      <a:lnTo>
                        <a:pt x="137" y="106"/>
                      </a:lnTo>
                      <a:lnTo>
                        <a:pt x="137" y="107"/>
                      </a:lnTo>
                      <a:lnTo>
                        <a:pt x="137" y="108"/>
                      </a:lnTo>
                      <a:lnTo>
                        <a:pt x="138" y="109"/>
                      </a:lnTo>
                      <a:lnTo>
                        <a:pt x="138" y="111"/>
                      </a:lnTo>
                      <a:lnTo>
                        <a:pt x="138" y="109"/>
                      </a:lnTo>
                      <a:lnTo>
                        <a:pt x="139" y="109"/>
                      </a:lnTo>
                      <a:lnTo>
                        <a:pt x="140" y="109"/>
                      </a:lnTo>
                      <a:lnTo>
                        <a:pt x="141" y="109"/>
                      </a:lnTo>
                      <a:lnTo>
                        <a:pt x="143" y="111"/>
                      </a:lnTo>
                      <a:lnTo>
                        <a:pt x="144" y="111"/>
                      </a:lnTo>
                      <a:lnTo>
                        <a:pt x="146" y="111"/>
                      </a:lnTo>
                      <a:lnTo>
                        <a:pt x="150" y="112"/>
                      </a:lnTo>
                      <a:lnTo>
                        <a:pt x="151" y="112"/>
                      </a:lnTo>
                      <a:lnTo>
                        <a:pt x="151" y="113"/>
                      </a:lnTo>
                      <a:lnTo>
                        <a:pt x="151" y="114"/>
                      </a:lnTo>
                      <a:lnTo>
                        <a:pt x="152" y="114"/>
                      </a:lnTo>
                      <a:lnTo>
                        <a:pt x="153" y="115"/>
                      </a:lnTo>
                      <a:lnTo>
                        <a:pt x="154" y="116"/>
                      </a:lnTo>
                      <a:lnTo>
                        <a:pt x="154" y="118"/>
                      </a:lnTo>
                      <a:lnTo>
                        <a:pt x="155" y="119"/>
                      </a:lnTo>
                      <a:lnTo>
                        <a:pt x="155" y="120"/>
                      </a:lnTo>
                      <a:lnTo>
                        <a:pt x="157" y="120"/>
                      </a:lnTo>
                      <a:lnTo>
                        <a:pt x="157" y="121"/>
                      </a:lnTo>
                      <a:lnTo>
                        <a:pt x="158" y="121"/>
                      </a:lnTo>
                      <a:lnTo>
                        <a:pt x="158" y="122"/>
                      </a:lnTo>
                      <a:lnTo>
                        <a:pt x="158" y="123"/>
                      </a:lnTo>
                      <a:lnTo>
                        <a:pt x="159" y="123"/>
                      </a:lnTo>
                      <a:lnTo>
                        <a:pt x="160" y="126"/>
                      </a:lnTo>
                      <a:lnTo>
                        <a:pt x="161" y="126"/>
                      </a:lnTo>
                      <a:lnTo>
                        <a:pt x="161" y="127"/>
                      </a:lnTo>
                      <a:lnTo>
                        <a:pt x="162" y="128"/>
                      </a:lnTo>
                      <a:lnTo>
                        <a:pt x="162" y="129"/>
                      </a:lnTo>
                      <a:lnTo>
                        <a:pt x="164" y="130"/>
                      </a:lnTo>
                      <a:lnTo>
                        <a:pt x="165" y="130"/>
                      </a:lnTo>
                      <a:lnTo>
                        <a:pt x="165" y="132"/>
                      </a:lnTo>
                      <a:lnTo>
                        <a:pt x="166" y="133"/>
                      </a:lnTo>
                      <a:lnTo>
                        <a:pt x="166" y="135"/>
                      </a:lnTo>
                      <a:lnTo>
                        <a:pt x="167" y="135"/>
                      </a:lnTo>
                      <a:lnTo>
                        <a:pt x="168" y="136"/>
                      </a:lnTo>
                      <a:lnTo>
                        <a:pt x="169" y="136"/>
                      </a:lnTo>
                      <a:lnTo>
                        <a:pt x="169" y="135"/>
                      </a:lnTo>
                      <a:lnTo>
                        <a:pt x="171" y="135"/>
                      </a:lnTo>
                      <a:lnTo>
                        <a:pt x="172" y="136"/>
                      </a:lnTo>
                      <a:lnTo>
                        <a:pt x="172" y="137"/>
                      </a:lnTo>
                      <a:lnTo>
                        <a:pt x="173" y="137"/>
                      </a:lnTo>
                      <a:lnTo>
                        <a:pt x="174" y="137"/>
                      </a:lnTo>
                      <a:lnTo>
                        <a:pt x="175" y="139"/>
                      </a:lnTo>
                      <a:lnTo>
                        <a:pt x="176" y="139"/>
                      </a:lnTo>
                      <a:lnTo>
                        <a:pt x="176" y="140"/>
                      </a:lnTo>
                      <a:lnTo>
                        <a:pt x="176" y="141"/>
                      </a:lnTo>
                      <a:lnTo>
                        <a:pt x="178" y="141"/>
                      </a:lnTo>
                      <a:lnTo>
                        <a:pt x="178" y="142"/>
                      </a:lnTo>
                      <a:lnTo>
                        <a:pt x="179" y="142"/>
                      </a:lnTo>
                      <a:lnTo>
                        <a:pt x="179" y="143"/>
                      </a:lnTo>
                      <a:lnTo>
                        <a:pt x="180" y="143"/>
                      </a:lnTo>
                      <a:lnTo>
                        <a:pt x="180" y="144"/>
                      </a:lnTo>
                      <a:lnTo>
                        <a:pt x="180" y="146"/>
                      </a:lnTo>
                      <a:lnTo>
                        <a:pt x="181" y="144"/>
                      </a:lnTo>
                      <a:lnTo>
                        <a:pt x="182" y="146"/>
                      </a:lnTo>
                      <a:lnTo>
                        <a:pt x="182" y="147"/>
                      </a:lnTo>
                      <a:lnTo>
                        <a:pt x="183" y="148"/>
                      </a:lnTo>
                      <a:lnTo>
                        <a:pt x="185" y="148"/>
                      </a:lnTo>
                      <a:lnTo>
                        <a:pt x="183" y="148"/>
                      </a:lnTo>
                      <a:lnTo>
                        <a:pt x="183" y="147"/>
                      </a:lnTo>
                      <a:lnTo>
                        <a:pt x="183" y="146"/>
                      </a:lnTo>
                      <a:lnTo>
                        <a:pt x="183" y="144"/>
                      </a:lnTo>
                      <a:lnTo>
                        <a:pt x="182" y="144"/>
                      </a:lnTo>
                      <a:lnTo>
                        <a:pt x="183" y="146"/>
                      </a:lnTo>
                      <a:lnTo>
                        <a:pt x="185" y="147"/>
                      </a:lnTo>
                      <a:lnTo>
                        <a:pt x="186" y="147"/>
                      </a:lnTo>
                      <a:lnTo>
                        <a:pt x="186" y="148"/>
                      </a:lnTo>
                      <a:lnTo>
                        <a:pt x="186" y="149"/>
                      </a:lnTo>
                      <a:lnTo>
                        <a:pt x="187" y="150"/>
                      </a:lnTo>
                      <a:lnTo>
                        <a:pt x="187" y="151"/>
                      </a:lnTo>
                      <a:lnTo>
                        <a:pt x="188" y="153"/>
                      </a:lnTo>
                      <a:lnTo>
                        <a:pt x="188" y="156"/>
                      </a:lnTo>
                      <a:lnTo>
                        <a:pt x="188" y="157"/>
                      </a:lnTo>
                      <a:lnTo>
                        <a:pt x="189" y="158"/>
                      </a:lnTo>
                      <a:lnTo>
                        <a:pt x="189" y="160"/>
                      </a:lnTo>
                      <a:lnTo>
                        <a:pt x="190" y="160"/>
                      </a:lnTo>
                      <a:lnTo>
                        <a:pt x="192" y="160"/>
                      </a:lnTo>
                      <a:lnTo>
                        <a:pt x="193" y="160"/>
                      </a:lnTo>
                      <a:lnTo>
                        <a:pt x="193" y="158"/>
                      </a:lnTo>
                      <a:lnTo>
                        <a:pt x="194" y="158"/>
                      </a:lnTo>
                      <a:lnTo>
                        <a:pt x="194" y="160"/>
                      </a:lnTo>
                      <a:lnTo>
                        <a:pt x="195" y="160"/>
                      </a:lnTo>
                      <a:lnTo>
                        <a:pt x="195" y="161"/>
                      </a:lnTo>
                      <a:lnTo>
                        <a:pt x="196" y="162"/>
                      </a:lnTo>
                      <a:lnTo>
                        <a:pt x="197" y="164"/>
                      </a:lnTo>
                      <a:lnTo>
                        <a:pt x="198" y="164"/>
                      </a:lnTo>
                      <a:lnTo>
                        <a:pt x="200" y="164"/>
                      </a:lnTo>
                      <a:lnTo>
                        <a:pt x="200" y="165"/>
                      </a:lnTo>
                      <a:lnTo>
                        <a:pt x="201" y="168"/>
                      </a:lnTo>
                      <a:lnTo>
                        <a:pt x="201" y="169"/>
                      </a:lnTo>
                      <a:lnTo>
                        <a:pt x="201" y="170"/>
                      </a:lnTo>
                      <a:lnTo>
                        <a:pt x="202" y="171"/>
                      </a:lnTo>
                      <a:lnTo>
                        <a:pt x="203" y="171"/>
                      </a:lnTo>
                      <a:lnTo>
                        <a:pt x="203" y="170"/>
                      </a:lnTo>
                      <a:lnTo>
                        <a:pt x="203" y="171"/>
                      </a:lnTo>
                      <a:lnTo>
                        <a:pt x="204" y="172"/>
                      </a:lnTo>
                      <a:lnTo>
                        <a:pt x="205" y="172"/>
                      </a:lnTo>
                      <a:lnTo>
                        <a:pt x="207" y="172"/>
                      </a:lnTo>
                      <a:lnTo>
                        <a:pt x="205" y="172"/>
                      </a:lnTo>
                      <a:lnTo>
                        <a:pt x="207" y="174"/>
                      </a:lnTo>
                      <a:lnTo>
                        <a:pt x="207" y="172"/>
                      </a:lnTo>
                      <a:lnTo>
                        <a:pt x="208" y="172"/>
                      </a:lnTo>
                      <a:lnTo>
                        <a:pt x="208" y="171"/>
                      </a:lnTo>
                      <a:lnTo>
                        <a:pt x="209" y="170"/>
                      </a:lnTo>
                      <a:lnTo>
                        <a:pt x="208" y="170"/>
                      </a:lnTo>
                      <a:lnTo>
                        <a:pt x="209" y="169"/>
                      </a:lnTo>
                      <a:lnTo>
                        <a:pt x="209" y="170"/>
                      </a:lnTo>
                      <a:lnTo>
                        <a:pt x="210" y="170"/>
                      </a:lnTo>
                      <a:lnTo>
                        <a:pt x="210" y="171"/>
                      </a:lnTo>
                      <a:lnTo>
                        <a:pt x="211" y="171"/>
                      </a:lnTo>
                      <a:lnTo>
                        <a:pt x="211" y="172"/>
                      </a:lnTo>
                      <a:lnTo>
                        <a:pt x="211" y="174"/>
                      </a:lnTo>
                      <a:lnTo>
                        <a:pt x="212" y="176"/>
                      </a:lnTo>
                      <a:lnTo>
                        <a:pt x="205" y="178"/>
                      </a:lnTo>
                      <a:lnTo>
                        <a:pt x="204" y="178"/>
                      </a:lnTo>
                      <a:lnTo>
                        <a:pt x="203" y="178"/>
                      </a:lnTo>
                      <a:lnTo>
                        <a:pt x="203" y="181"/>
                      </a:lnTo>
                      <a:lnTo>
                        <a:pt x="202" y="182"/>
                      </a:lnTo>
                      <a:lnTo>
                        <a:pt x="202" y="183"/>
                      </a:lnTo>
                      <a:lnTo>
                        <a:pt x="202" y="184"/>
                      </a:lnTo>
                      <a:lnTo>
                        <a:pt x="202" y="185"/>
                      </a:lnTo>
                      <a:lnTo>
                        <a:pt x="201" y="185"/>
                      </a:lnTo>
                      <a:lnTo>
                        <a:pt x="200" y="185"/>
                      </a:lnTo>
                      <a:lnTo>
                        <a:pt x="200" y="186"/>
                      </a:lnTo>
                      <a:lnTo>
                        <a:pt x="198" y="186"/>
                      </a:lnTo>
                      <a:lnTo>
                        <a:pt x="193" y="183"/>
                      </a:lnTo>
                      <a:lnTo>
                        <a:pt x="192" y="182"/>
                      </a:lnTo>
                      <a:lnTo>
                        <a:pt x="190" y="182"/>
                      </a:lnTo>
                      <a:lnTo>
                        <a:pt x="188" y="183"/>
                      </a:lnTo>
                      <a:lnTo>
                        <a:pt x="187" y="182"/>
                      </a:lnTo>
                      <a:lnTo>
                        <a:pt x="185" y="178"/>
                      </a:lnTo>
                      <a:lnTo>
                        <a:pt x="182" y="175"/>
                      </a:lnTo>
                      <a:lnTo>
                        <a:pt x="181" y="174"/>
                      </a:lnTo>
                      <a:lnTo>
                        <a:pt x="179" y="172"/>
                      </a:lnTo>
                      <a:lnTo>
                        <a:pt x="178" y="171"/>
                      </a:lnTo>
                      <a:lnTo>
                        <a:pt x="175" y="170"/>
                      </a:lnTo>
                      <a:lnTo>
                        <a:pt x="173" y="168"/>
                      </a:lnTo>
                      <a:lnTo>
                        <a:pt x="171" y="162"/>
                      </a:lnTo>
                      <a:lnTo>
                        <a:pt x="169" y="161"/>
                      </a:lnTo>
                      <a:lnTo>
                        <a:pt x="168" y="160"/>
                      </a:lnTo>
                      <a:lnTo>
                        <a:pt x="167" y="157"/>
                      </a:lnTo>
                      <a:lnTo>
                        <a:pt x="165" y="156"/>
                      </a:lnTo>
                      <a:lnTo>
                        <a:pt x="161" y="153"/>
                      </a:lnTo>
                      <a:lnTo>
                        <a:pt x="157" y="149"/>
                      </a:lnTo>
                      <a:lnTo>
                        <a:pt x="152" y="147"/>
                      </a:lnTo>
                      <a:lnTo>
                        <a:pt x="151" y="146"/>
                      </a:lnTo>
                      <a:lnTo>
                        <a:pt x="148" y="142"/>
                      </a:lnTo>
                      <a:lnTo>
                        <a:pt x="146" y="137"/>
                      </a:lnTo>
                      <a:lnTo>
                        <a:pt x="143" y="134"/>
                      </a:lnTo>
                      <a:lnTo>
                        <a:pt x="139" y="129"/>
                      </a:lnTo>
                      <a:lnTo>
                        <a:pt x="138" y="128"/>
                      </a:lnTo>
                      <a:lnTo>
                        <a:pt x="136" y="127"/>
                      </a:lnTo>
                      <a:lnTo>
                        <a:pt x="132" y="127"/>
                      </a:lnTo>
                      <a:lnTo>
                        <a:pt x="129" y="125"/>
                      </a:lnTo>
                      <a:lnTo>
                        <a:pt x="126" y="123"/>
                      </a:lnTo>
                      <a:lnTo>
                        <a:pt x="124" y="122"/>
                      </a:lnTo>
                      <a:lnTo>
                        <a:pt x="122" y="120"/>
                      </a:lnTo>
                      <a:lnTo>
                        <a:pt x="121" y="119"/>
                      </a:lnTo>
                      <a:lnTo>
                        <a:pt x="119" y="119"/>
                      </a:lnTo>
                      <a:lnTo>
                        <a:pt x="117" y="118"/>
                      </a:lnTo>
                      <a:lnTo>
                        <a:pt x="116" y="118"/>
                      </a:lnTo>
                      <a:lnTo>
                        <a:pt x="115" y="118"/>
                      </a:lnTo>
                      <a:lnTo>
                        <a:pt x="114" y="118"/>
                      </a:lnTo>
                      <a:lnTo>
                        <a:pt x="112" y="118"/>
                      </a:lnTo>
                      <a:lnTo>
                        <a:pt x="111" y="119"/>
                      </a:lnTo>
                      <a:lnTo>
                        <a:pt x="110" y="119"/>
                      </a:lnTo>
                      <a:lnTo>
                        <a:pt x="109" y="119"/>
                      </a:lnTo>
                      <a:lnTo>
                        <a:pt x="108" y="118"/>
                      </a:lnTo>
                      <a:lnTo>
                        <a:pt x="107" y="116"/>
                      </a:lnTo>
                      <a:lnTo>
                        <a:pt x="105" y="116"/>
                      </a:lnTo>
                      <a:lnTo>
                        <a:pt x="104" y="116"/>
                      </a:lnTo>
                      <a:lnTo>
                        <a:pt x="103" y="116"/>
                      </a:lnTo>
                      <a:lnTo>
                        <a:pt x="102" y="116"/>
                      </a:lnTo>
                      <a:lnTo>
                        <a:pt x="101" y="116"/>
                      </a:lnTo>
                      <a:lnTo>
                        <a:pt x="100" y="115"/>
                      </a:lnTo>
                      <a:lnTo>
                        <a:pt x="98" y="114"/>
                      </a:lnTo>
                      <a:lnTo>
                        <a:pt x="97" y="114"/>
                      </a:lnTo>
                      <a:lnTo>
                        <a:pt x="97" y="115"/>
                      </a:lnTo>
                      <a:lnTo>
                        <a:pt x="96" y="116"/>
                      </a:lnTo>
                      <a:lnTo>
                        <a:pt x="93" y="116"/>
                      </a:lnTo>
                      <a:lnTo>
                        <a:pt x="90" y="116"/>
                      </a:lnTo>
                      <a:lnTo>
                        <a:pt x="89" y="118"/>
                      </a:lnTo>
                      <a:lnTo>
                        <a:pt x="89" y="119"/>
                      </a:lnTo>
                      <a:lnTo>
                        <a:pt x="88" y="119"/>
                      </a:lnTo>
                      <a:lnTo>
                        <a:pt x="87" y="116"/>
                      </a:lnTo>
                      <a:lnTo>
                        <a:pt x="87" y="114"/>
                      </a:lnTo>
                      <a:lnTo>
                        <a:pt x="86" y="114"/>
                      </a:lnTo>
                      <a:lnTo>
                        <a:pt x="86" y="113"/>
                      </a:lnTo>
                      <a:lnTo>
                        <a:pt x="84" y="112"/>
                      </a:lnTo>
                      <a:lnTo>
                        <a:pt x="83" y="112"/>
                      </a:lnTo>
                      <a:lnTo>
                        <a:pt x="82" y="112"/>
                      </a:lnTo>
                      <a:lnTo>
                        <a:pt x="81" y="112"/>
                      </a:lnTo>
                      <a:lnTo>
                        <a:pt x="81" y="113"/>
                      </a:lnTo>
                      <a:lnTo>
                        <a:pt x="81" y="114"/>
                      </a:lnTo>
                      <a:lnTo>
                        <a:pt x="80" y="114"/>
                      </a:lnTo>
                      <a:lnTo>
                        <a:pt x="79" y="115"/>
                      </a:lnTo>
                      <a:lnTo>
                        <a:pt x="77" y="116"/>
                      </a:lnTo>
                      <a:lnTo>
                        <a:pt x="75" y="116"/>
                      </a:lnTo>
                      <a:lnTo>
                        <a:pt x="74" y="118"/>
                      </a:lnTo>
                      <a:lnTo>
                        <a:pt x="73" y="118"/>
                      </a:lnTo>
                      <a:lnTo>
                        <a:pt x="72" y="118"/>
                      </a:lnTo>
                      <a:lnTo>
                        <a:pt x="70" y="118"/>
                      </a:lnTo>
                      <a:lnTo>
                        <a:pt x="69" y="119"/>
                      </a:lnTo>
                      <a:lnTo>
                        <a:pt x="68" y="119"/>
                      </a:lnTo>
                      <a:lnTo>
                        <a:pt x="65" y="119"/>
                      </a:lnTo>
                      <a:lnTo>
                        <a:pt x="64" y="119"/>
                      </a:lnTo>
                      <a:lnTo>
                        <a:pt x="62" y="119"/>
                      </a:lnTo>
                      <a:lnTo>
                        <a:pt x="62" y="118"/>
                      </a:lnTo>
                      <a:lnTo>
                        <a:pt x="60" y="116"/>
                      </a:lnTo>
                      <a:lnTo>
                        <a:pt x="60" y="115"/>
                      </a:lnTo>
                      <a:lnTo>
                        <a:pt x="59" y="115"/>
                      </a:lnTo>
                      <a:lnTo>
                        <a:pt x="59" y="114"/>
                      </a:lnTo>
                      <a:lnTo>
                        <a:pt x="59" y="113"/>
                      </a:lnTo>
                      <a:lnTo>
                        <a:pt x="58" y="113"/>
                      </a:lnTo>
                      <a:lnTo>
                        <a:pt x="58" y="112"/>
                      </a:lnTo>
                      <a:lnTo>
                        <a:pt x="58" y="111"/>
                      </a:lnTo>
                      <a:lnTo>
                        <a:pt x="57" y="111"/>
                      </a:lnTo>
                      <a:lnTo>
                        <a:pt x="57" y="109"/>
                      </a:lnTo>
                      <a:lnTo>
                        <a:pt x="55" y="109"/>
                      </a:lnTo>
                      <a:lnTo>
                        <a:pt x="54" y="111"/>
                      </a:lnTo>
                      <a:lnTo>
                        <a:pt x="53" y="111"/>
                      </a:lnTo>
                      <a:lnTo>
                        <a:pt x="50" y="108"/>
                      </a:lnTo>
                      <a:lnTo>
                        <a:pt x="50" y="107"/>
                      </a:lnTo>
                      <a:lnTo>
                        <a:pt x="48" y="107"/>
                      </a:lnTo>
                      <a:lnTo>
                        <a:pt x="48" y="106"/>
                      </a:lnTo>
                      <a:lnTo>
                        <a:pt x="47" y="106"/>
                      </a:lnTo>
                      <a:lnTo>
                        <a:pt x="47" y="105"/>
                      </a:lnTo>
                      <a:lnTo>
                        <a:pt x="46" y="104"/>
                      </a:lnTo>
                      <a:lnTo>
                        <a:pt x="45" y="107"/>
                      </a:lnTo>
                      <a:lnTo>
                        <a:pt x="43" y="112"/>
                      </a:lnTo>
                      <a:lnTo>
                        <a:pt x="40" y="116"/>
                      </a:lnTo>
                      <a:lnTo>
                        <a:pt x="39" y="121"/>
                      </a:lnTo>
                      <a:lnTo>
                        <a:pt x="37" y="126"/>
                      </a:lnTo>
                      <a:lnTo>
                        <a:pt x="36" y="128"/>
                      </a:lnTo>
                      <a:lnTo>
                        <a:pt x="36" y="129"/>
                      </a:lnTo>
                      <a:lnTo>
                        <a:pt x="34" y="128"/>
                      </a:lnTo>
                      <a:lnTo>
                        <a:pt x="34" y="127"/>
                      </a:lnTo>
                      <a:lnTo>
                        <a:pt x="33" y="126"/>
                      </a:lnTo>
                      <a:lnTo>
                        <a:pt x="32" y="126"/>
                      </a:lnTo>
                      <a:lnTo>
                        <a:pt x="32" y="125"/>
                      </a:lnTo>
                      <a:lnTo>
                        <a:pt x="32" y="123"/>
                      </a:lnTo>
                      <a:lnTo>
                        <a:pt x="31" y="122"/>
                      </a:lnTo>
                      <a:lnTo>
                        <a:pt x="30" y="122"/>
                      </a:lnTo>
                      <a:lnTo>
                        <a:pt x="30" y="121"/>
                      </a:lnTo>
                      <a:lnTo>
                        <a:pt x="30" y="120"/>
                      </a:lnTo>
                      <a:lnTo>
                        <a:pt x="29" y="119"/>
                      </a:lnTo>
                      <a:lnTo>
                        <a:pt x="27" y="118"/>
                      </a:lnTo>
                      <a:lnTo>
                        <a:pt x="26" y="118"/>
                      </a:lnTo>
                      <a:lnTo>
                        <a:pt x="24" y="118"/>
                      </a:lnTo>
                      <a:lnTo>
                        <a:pt x="23" y="118"/>
                      </a:lnTo>
                      <a:lnTo>
                        <a:pt x="22" y="119"/>
                      </a:lnTo>
                      <a:lnTo>
                        <a:pt x="20" y="119"/>
                      </a:lnTo>
                      <a:lnTo>
                        <a:pt x="20" y="120"/>
                      </a:lnTo>
                      <a:lnTo>
                        <a:pt x="20" y="121"/>
                      </a:lnTo>
                      <a:lnTo>
                        <a:pt x="20" y="122"/>
                      </a:lnTo>
                      <a:lnTo>
                        <a:pt x="19" y="123"/>
                      </a:lnTo>
                      <a:lnTo>
                        <a:pt x="18" y="123"/>
                      </a:lnTo>
                      <a:lnTo>
                        <a:pt x="17" y="123"/>
                      </a:lnTo>
                      <a:lnTo>
                        <a:pt x="16" y="122"/>
                      </a:lnTo>
                      <a:lnTo>
                        <a:pt x="15" y="122"/>
                      </a:lnTo>
                      <a:lnTo>
                        <a:pt x="12" y="121"/>
                      </a:lnTo>
                      <a:lnTo>
                        <a:pt x="11" y="121"/>
                      </a:lnTo>
                      <a:lnTo>
                        <a:pt x="10" y="121"/>
                      </a:lnTo>
                      <a:lnTo>
                        <a:pt x="9" y="121"/>
                      </a:lnTo>
                      <a:lnTo>
                        <a:pt x="9" y="122"/>
                      </a:lnTo>
                      <a:lnTo>
                        <a:pt x="6" y="122"/>
                      </a:lnTo>
                      <a:lnTo>
                        <a:pt x="5" y="122"/>
                      </a:lnTo>
                      <a:lnTo>
                        <a:pt x="4" y="122"/>
                      </a:lnTo>
                      <a:lnTo>
                        <a:pt x="3" y="123"/>
                      </a:lnTo>
                      <a:lnTo>
                        <a:pt x="2" y="118"/>
                      </a:lnTo>
                      <a:lnTo>
                        <a:pt x="2" y="113"/>
                      </a:lnTo>
                      <a:lnTo>
                        <a:pt x="1" y="109"/>
                      </a:lnTo>
                      <a:lnTo>
                        <a:pt x="1" y="106"/>
                      </a:lnTo>
                      <a:lnTo>
                        <a:pt x="1" y="105"/>
                      </a:lnTo>
                      <a:lnTo>
                        <a:pt x="0" y="99"/>
                      </a:lnTo>
                      <a:lnTo>
                        <a:pt x="0" y="95"/>
                      </a:lnTo>
                      <a:lnTo>
                        <a:pt x="0" y="94"/>
                      </a:lnTo>
                      <a:lnTo>
                        <a:pt x="2" y="92"/>
                      </a:lnTo>
                      <a:lnTo>
                        <a:pt x="3" y="91"/>
                      </a:lnTo>
                      <a:lnTo>
                        <a:pt x="4" y="86"/>
                      </a:lnTo>
                      <a:lnTo>
                        <a:pt x="5" y="85"/>
                      </a:lnTo>
                      <a:lnTo>
                        <a:pt x="5" y="84"/>
                      </a:lnTo>
                      <a:lnTo>
                        <a:pt x="5" y="81"/>
                      </a:lnTo>
                      <a:lnTo>
                        <a:pt x="8" y="76"/>
                      </a:lnTo>
                      <a:lnTo>
                        <a:pt x="8" y="74"/>
                      </a:lnTo>
                      <a:lnTo>
                        <a:pt x="9" y="73"/>
                      </a:lnTo>
                      <a:lnTo>
                        <a:pt x="10" y="72"/>
                      </a:lnTo>
                      <a:lnTo>
                        <a:pt x="11" y="67"/>
                      </a:lnTo>
                      <a:lnTo>
                        <a:pt x="13" y="63"/>
                      </a:lnTo>
                      <a:lnTo>
                        <a:pt x="15" y="60"/>
                      </a:lnTo>
                      <a:lnTo>
                        <a:pt x="15" y="59"/>
                      </a:lnTo>
                      <a:lnTo>
                        <a:pt x="16" y="58"/>
                      </a:lnTo>
                      <a:lnTo>
                        <a:pt x="17" y="57"/>
                      </a:lnTo>
                      <a:lnTo>
                        <a:pt x="16" y="57"/>
                      </a:lnTo>
                      <a:lnTo>
                        <a:pt x="16" y="55"/>
                      </a:lnTo>
                      <a:lnTo>
                        <a:pt x="16" y="53"/>
                      </a:lnTo>
                      <a:lnTo>
                        <a:pt x="16" y="52"/>
                      </a:lnTo>
                      <a:lnTo>
                        <a:pt x="15" y="51"/>
                      </a:lnTo>
                      <a:lnTo>
                        <a:pt x="15" y="50"/>
                      </a:lnTo>
                      <a:lnTo>
                        <a:pt x="13" y="50"/>
                      </a:lnTo>
                      <a:lnTo>
                        <a:pt x="13" y="49"/>
                      </a:lnTo>
                      <a:lnTo>
                        <a:pt x="15" y="48"/>
                      </a:lnTo>
                      <a:lnTo>
                        <a:pt x="15" y="46"/>
                      </a:lnTo>
                      <a:lnTo>
                        <a:pt x="15" y="45"/>
                      </a:lnTo>
                      <a:lnTo>
                        <a:pt x="16" y="44"/>
                      </a:lnTo>
                      <a:lnTo>
                        <a:pt x="16" y="43"/>
                      </a:lnTo>
                      <a:lnTo>
                        <a:pt x="17" y="43"/>
                      </a:lnTo>
                      <a:lnTo>
                        <a:pt x="17" y="41"/>
                      </a:lnTo>
                      <a:lnTo>
                        <a:pt x="18" y="39"/>
                      </a:lnTo>
                      <a:lnTo>
                        <a:pt x="18" y="38"/>
                      </a:lnTo>
                      <a:lnTo>
                        <a:pt x="18" y="37"/>
                      </a:lnTo>
                      <a:lnTo>
                        <a:pt x="18" y="36"/>
                      </a:lnTo>
                      <a:lnTo>
                        <a:pt x="17" y="36"/>
                      </a:lnTo>
                      <a:lnTo>
                        <a:pt x="17" y="35"/>
                      </a:lnTo>
                      <a:lnTo>
                        <a:pt x="18" y="34"/>
                      </a:lnTo>
                      <a:lnTo>
                        <a:pt x="18" y="32"/>
                      </a:lnTo>
                      <a:lnTo>
                        <a:pt x="17" y="31"/>
                      </a:lnTo>
                      <a:lnTo>
                        <a:pt x="18" y="31"/>
                      </a:lnTo>
                      <a:lnTo>
                        <a:pt x="19" y="31"/>
                      </a:lnTo>
                      <a:lnTo>
                        <a:pt x="20" y="31"/>
                      </a:lnTo>
                      <a:lnTo>
                        <a:pt x="20" y="32"/>
                      </a:lnTo>
                      <a:lnTo>
                        <a:pt x="22" y="32"/>
                      </a:lnTo>
                      <a:lnTo>
                        <a:pt x="23" y="32"/>
                      </a:lnTo>
                      <a:lnTo>
                        <a:pt x="24" y="32"/>
                      </a:lnTo>
                      <a:lnTo>
                        <a:pt x="25" y="32"/>
                      </a:lnTo>
                      <a:lnTo>
                        <a:pt x="27" y="31"/>
                      </a:lnTo>
                      <a:lnTo>
                        <a:pt x="31" y="32"/>
                      </a:lnTo>
                      <a:lnTo>
                        <a:pt x="33" y="30"/>
                      </a:lnTo>
                      <a:lnTo>
                        <a:pt x="33" y="29"/>
                      </a:lnTo>
                      <a:lnTo>
                        <a:pt x="34" y="28"/>
                      </a:lnTo>
                      <a:lnTo>
                        <a:pt x="34" y="27"/>
                      </a:lnTo>
                      <a:lnTo>
                        <a:pt x="34" y="25"/>
                      </a:lnTo>
                      <a:lnTo>
                        <a:pt x="34" y="23"/>
                      </a:lnTo>
                      <a:lnTo>
                        <a:pt x="39" y="22"/>
                      </a:lnTo>
                      <a:lnTo>
                        <a:pt x="40" y="21"/>
                      </a:lnTo>
                      <a:lnTo>
                        <a:pt x="41" y="21"/>
                      </a:lnTo>
                      <a:lnTo>
                        <a:pt x="43" y="19"/>
                      </a:lnTo>
                      <a:lnTo>
                        <a:pt x="44" y="17"/>
                      </a:lnTo>
                      <a:lnTo>
                        <a:pt x="45" y="19"/>
                      </a:lnTo>
                      <a:lnTo>
                        <a:pt x="46" y="19"/>
                      </a:lnTo>
                      <a:lnTo>
                        <a:pt x="47" y="19"/>
                      </a:lnTo>
                      <a:lnTo>
                        <a:pt x="48" y="17"/>
                      </a:lnTo>
                      <a:lnTo>
                        <a:pt x="51" y="15"/>
                      </a:lnTo>
                      <a:lnTo>
                        <a:pt x="52" y="15"/>
                      </a:lnTo>
                      <a:lnTo>
                        <a:pt x="52" y="16"/>
                      </a:lnTo>
                      <a:lnTo>
                        <a:pt x="52" y="17"/>
                      </a:lnTo>
                      <a:lnTo>
                        <a:pt x="53" y="17"/>
                      </a:lnTo>
                      <a:lnTo>
                        <a:pt x="54" y="16"/>
                      </a:lnTo>
                      <a:lnTo>
                        <a:pt x="54" y="15"/>
                      </a:lnTo>
                      <a:lnTo>
                        <a:pt x="55" y="15"/>
                      </a:lnTo>
                      <a:lnTo>
                        <a:pt x="57" y="16"/>
                      </a:lnTo>
                      <a:lnTo>
                        <a:pt x="58" y="16"/>
                      </a:lnTo>
                      <a:lnTo>
                        <a:pt x="58" y="15"/>
                      </a:lnTo>
                      <a:lnTo>
                        <a:pt x="58" y="14"/>
                      </a:lnTo>
                      <a:lnTo>
                        <a:pt x="59" y="13"/>
                      </a:lnTo>
                      <a:lnTo>
                        <a:pt x="60" y="13"/>
                      </a:lnTo>
                      <a:lnTo>
                        <a:pt x="61" y="12"/>
                      </a:lnTo>
                      <a:lnTo>
                        <a:pt x="62" y="10"/>
                      </a:lnTo>
                      <a:lnTo>
                        <a:pt x="64" y="6"/>
                      </a:lnTo>
                      <a:lnTo>
                        <a:pt x="65" y="5"/>
                      </a:lnTo>
                      <a:lnTo>
                        <a:pt x="69" y="0"/>
                      </a:lnTo>
                      <a:lnTo>
                        <a:pt x="69" y="1"/>
                      </a:lnTo>
                      <a:lnTo>
                        <a:pt x="70" y="2"/>
                      </a:lnTo>
                      <a:lnTo>
                        <a:pt x="72" y="3"/>
                      </a:lnTo>
                      <a:lnTo>
                        <a:pt x="72" y="5"/>
                      </a:lnTo>
                      <a:lnTo>
                        <a:pt x="72" y="6"/>
                      </a:lnTo>
                      <a:lnTo>
                        <a:pt x="73" y="7"/>
                      </a:lnTo>
                      <a:lnTo>
                        <a:pt x="75" y="1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8" name="Freeform 89">
                  <a:extLst>
                    <a:ext uri="{FF2B5EF4-FFF2-40B4-BE49-F238E27FC236}">
                      <a16:creationId xmlns:a16="http://schemas.microsoft.com/office/drawing/2014/main" id="{AEAA4527-8FBC-81C5-8882-3AA5E4CE88FA}"/>
                    </a:ext>
                  </a:extLst>
                </p:cNvPr>
                <p:cNvSpPr>
                  <a:spLocks noEditPoints="1"/>
                </p:cNvSpPr>
                <p:nvPr/>
              </p:nvSpPr>
              <p:spPr bwMode="auto">
                <a:xfrm>
                  <a:off x="6527657" y="3719649"/>
                  <a:ext cx="197958" cy="214183"/>
                </a:xfrm>
                <a:custGeom>
                  <a:avLst/>
                  <a:gdLst>
                    <a:gd name="T0" fmla="*/ 11 w 183"/>
                    <a:gd name="T1" fmla="*/ 97 h 198"/>
                    <a:gd name="T2" fmla="*/ 111 w 183"/>
                    <a:gd name="T3" fmla="*/ 1 h 198"/>
                    <a:gd name="T4" fmla="*/ 130 w 183"/>
                    <a:gd name="T5" fmla="*/ 2 h 198"/>
                    <a:gd name="T6" fmla="*/ 144 w 183"/>
                    <a:gd name="T7" fmla="*/ 2 h 198"/>
                    <a:gd name="T8" fmla="*/ 142 w 183"/>
                    <a:gd name="T9" fmla="*/ 14 h 198"/>
                    <a:gd name="T10" fmla="*/ 143 w 183"/>
                    <a:gd name="T11" fmla="*/ 28 h 198"/>
                    <a:gd name="T12" fmla="*/ 145 w 183"/>
                    <a:gd name="T13" fmla="*/ 35 h 198"/>
                    <a:gd name="T14" fmla="*/ 159 w 183"/>
                    <a:gd name="T15" fmla="*/ 30 h 198"/>
                    <a:gd name="T16" fmla="*/ 175 w 183"/>
                    <a:gd name="T17" fmla="*/ 32 h 198"/>
                    <a:gd name="T18" fmla="*/ 182 w 183"/>
                    <a:gd name="T19" fmla="*/ 46 h 198"/>
                    <a:gd name="T20" fmla="*/ 170 w 183"/>
                    <a:gd name="T21" fmla="*/ 58 h 198"/>
                    <a:gd name="T22" fmla="*/ 165 w 183"/>
                    <a:gd name="T23" fmla="*/ 74 h 198"/>
                    <a:gd name="T24" fmla="*/ 171 w 183"/>
                    <a:gd name="T25" fmla="*/ 82 h 198"/>
                    <a:gd name="T26" fmla="*/ 182 w 183"/>
                    <a:gd name="T27" fmla="*/ 90 h 198"/>
                    <a:gd name="T28" fmla="*/ 181 w 183"/>
                    <a:gd name="T29" fmla="*/ 109 h 198"/>
                    <a:gd name="T30" fmla="*/ 182 w 183"/>
                    <a:gd name="T31" fmla="*/ 119 h 198"/>
                    <a:gd name="T32" fmla="*/ 181 w 183"/>
                    <a:gd name="T33" fmla="*/ 132 h 198"/>
                    <a:gd name="T34" fmla="*/ 173 w 183"/>
                    <a:gd name="T35" fmla="*/ 144 h 198"/>
                    <a:gd name="T36" fmla="*/ 166 w 183"/>
                    <a:gd name="T37" fmla="*/ 152 h 198"/>
                    <a:gd name="T38" fmla="*/ 161 w 183"/>
                    <a:gd name="T39" fmla="*/ 140 h 198"/>
                    <a:gd name="T40" fmla="*/ 150 w 183"/>
                    <a:gd name="T41" fmla="*/ 149 h 198"/>
                    <a:gd name="T42" fmla="*/ 136 w 183"/>
                    <a:gd name="T43" fmla="*/ 145 h 198"/>
                    <a:gd name="T44" fmla="*/ 131 w 183"/>
                    <a:gd name="T45" fmla="*/ 135 h 198"/>
                    <a:gd name="T46" fmla="*/ 118 w 183"/>
                    <a:gd name="T47" fmla="*/ 133 h 198"/>
                    <a:gd name="T48" fmla="*/ 104 w 183"/>
                    <a:gd name="T49" fmla="*/ 148 h 198"/>
                    <a:gd name="T50" fmla="*/ 92 w 183"/>
                    <a:gd name="T51" fmla="*/ 149 h 198"/>
                    <a:gd name="T52" fmla="*/ 93 w 183"/>
                    <a:gd name="T53" fmla="*/ 163 h 198"/>
                    <a:gd name="T54" fmla="*/ 97 w 183"/>
                    <a:gd name="T55" fmla="*/ 175 h 198"/>
                    <a:gd name="T56" fmla="*/ 102 w 183"/>
                    <a:gd name="T57" fmla="*/ 189 h 198"/>
                    <a:gd name="T58" fmla="*/ 85 w 183"/>
                    <a:gd name="T59" fmla="*/ 188 h 198"/>
                    <a:gd name="T60" fmla="*/ 73 w 183"/>
                    <a:gd name="T61" fmla="*/ 190 h 198"/>
                    <a:gd name="T62" fmla="*/ 57 w 183"/>
                    <a:gd name="T63" fmla="*/ 174 h 198"/>
                    <a:gd name="T64" fmla="*/ 36 w 183"/>
                    <a:gd name="T65" fmla="*/ 153 h 198"/>
                    <a:gd name="T66" fmla="*/ 42 w 183"/>
                    <a:gd name="T67" fmla="*/ 156 h 198"/>
                    <a:gd name="T68" fmla="*/ 44 w 183"/>
                    <a:gd name="T69" fmla="*/ 155 h 198"/>
                    <a:gd name="T70" fmla="*/ 37 w 183"/>
                    <a:gd name="T71" fmla="*/ 151 h 198"/>
                    <a:gd name="T72" fmla="*/ 29 w 183"/>
                    <a:gd name="T73" fmla="*/ 148 h 198"/>
                    <a:gd name="T74" fmla="*/ 19 w 183"/>
                    <a:gd name="T75" fmla="*/ 133 h 198"/>
                    <a:gd name="T76" fmla="*/ 25 w 183"/>
                    <a:gd name="T77" fmla="*/ 137 h 198"/>
                    <a:gd name="T78" fmla="*/ 24 w 183"/>
                    <a:gd name="T79" fmla="*/ 134 h 198"/>
                    <a:gd name="T80" fmla="*/ 18 w 183"/>
                    <a:gd name="T81" fmla="*/ 130 h 198"/>
                    <a:gd name="T82" fmla="*/ 10 w 183"/>
                    <a:gd name="T83" fmla="*/ 114 h 198"/>
                    <a:gd name="T84" fmla="*/ 18 w 183"/>
                    <a:gd name="T85" fmla="*/ 127 h 198"/>
                    <a:gd name="T86" fmla="*/ 26 w 183"/>
                    <a:gd name="T87" fmla="*/ 125 h 198"/>
                    <a:gd name="T88" fmla="*/ 18 w 183"/>
                    <a:gd name="T89" fmla="*/ 120 h 198"/>
                    <a:gd name="T90" fmla="*/ 18 w 183"/>
                    <a:gd name="T91" fmla="*/ 118 h 198"/>
                    <a:gd name="T92" fmla="*/ 11 w 183"/>
                    <a:gd name="T93" fmla="*/ 112 h 198"/>
                    <a:gd name="T94" fmla="*/ 7 w 183"/>
                    <a:gd name="T95" fmla="*/ 105 h 198"/>
                    <a:gd name="T96" fmla="*/ 1 w 183"/>
                    <a:gd name="T97" fmla="*/ 92 h 198"/>
                    <a:gd name="T98" fmla="*/ 8 w 183"/>
                    <a:gd name="T99" fmla="*/ 96 h 198"/>
                    <a:gd name="T100" fmla="*/ 14 w 183"/>
                    <a:gd name="T101" fmla="*/ 95 h 198"/>
                    <a:gd name="T102" fmla="*/ 21 w 183"/>
                    <a:gd name="T103" fmla="*/ 74 h 198"/>
                    <a:gd name="T104" fmla="*/ 22 w 183"/>
                    <a:gd name="T105" fmla="*/ 69 h 198"/>
                    <a:gd name="T106" fmla="*/ 30 w 183"/>
                    <a:gd name="T107" fmla="*/ 70 h 198"/>
                    <a:gd name="T108" fmla="*/ 38 w 183"/>
                    <a:gd name="T109" fmla="*/ 68 h 198"/>
                    <a:gd name="T110" fmla="*/ 31 w 183"/>
                    <a:gd name="T111" fmla="*/ 67 h 198"/>
                    <a:gd name="T112" fmla="*/ 19 w 183"/>
                    <a:gd name="T113" fmla="*/ 55 h 198"/>
                    <a:gd name="T114" fmla="*/ 25 w 183"/>
                    <a:gd name="T115" fmla="*/ 55 h 198"/>
                    <a:gd name="T116" fmla="*/ 30 w 183"/>
                    <a:gd name="T117" fmla="*/ 56 h 198"/>
                    <a:gd name="T118" fmla="*/ 31 w 183"/>
                    <a:gd name="T119" fmla="*/ 41 h 198"/>
                    <a:gd name="T120" fmla="*/ 45 w 183"/>
                    <a:gd name="T121" fmla="*/ 42 h 198"/>
                    <a:gd name="T122" fmla="*/ 82 w 183"/>
                    <a:gd name="T123" fmla="*/ 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3" h="198">
                      <a:moveTo>
                        <a:pt x="10" y="98"/>
                      </a:moveTo>
                      <a:lnTo>
                        <a:pt x="9" y="98"/>
                      </a:lnTo>
                      <a:lnTo>
                        <a:pt x="9" y="97"/>
                      </a:lnTo>
                      <a:lnTo>
                        <a:pt x="9" y="96"/>
                      </a:lnTo>
                      <a:lnTo>
                        <a:pt x="8" y="96"/>
                      </a:lnTo>
                      <a:lnTo>
                        <a:pt x="8" y="95"/>
                      </a:lnTo>
                      <a:lnTo>
                        <a:pt x="9" y="95"/>
                      </a:lnTo>
                      <a:lnTo>
                        <a:pt x="9" y="93"/>
                      </a:lnTo>
                      <a:lnTo>
                        <a:pt x="10" y="93"/>
                      </a:lnTo>
                      <a:lnTo>
                        <a:pt x="10" y="95"/>
                      </a:lnTo>
                      <a:lnTo>
                        <a:pt x="11" y="95"/>
                      </a:lnTo>
                      <a:lnTo>
                        <a:pt x="11" y="96"/>
                      </a:lnTo>
                      <a:lnTo>
                        <a:pt x="11" y="97"/>
                      </a:lnTo>
                      <a:lnTo>
                        <a:pt x="11" y="98"/>
                      </a:lnTo>
                      <a:lnTo>
                        <a:pt x="10" y="98"/>
                      </a:lnTo>
                      <a:close/>
                      <a:moveTo>
                        <a:pt x="96" y="1"/>
                      </a:moveTo>
                      <a:lnTo>
                        <a:pt x="96" y="2"/>
                      </a:lnTo>
                      <a:lnTo>
                        <a:pt x="97" y="1"/>
                      </a:lnTo>
                      <a:lnTo>
                        <a:pt x="101" y="1"/>
                      </a:lnTo>
                      <a:lnTo>
                        <a:pt x="103" y="1"/>
                      </a:lnTo>
                      <a:lnTo>
                        <a:pt x="106" y="1"/>
                      </a:lnTo>
                      <a:lnTo>
                        <a:pt x="107" y="1"/>
                      </a:lnTo>
                      <a:lnTo>
                        <a:pt x="108" y="1"/>
                      </a:lnTo>
                      <a:lnTo>
                        <a:pt x="109" y="1"/>
                      </a:lnTo>
                      <a:lnTo>
                        <a:pt x="110" y="1"/>
                      </a:lnTo>
                      <a:lnTo>
                        <a:pt x="111" y="1"/>
                      </a:lnTo>
                      <a:lnTo>
                        <a:pt x="113" y="1"/>
                      </a:lnTo>
                      <a:lnTo>
                        <a:pt x="114" y="1"/>
                      </a:lnTo>
                      <a:lnTo>
                        <a:pt x="115" y="1"/>
                      </a:lnTo>
                      <a:lnTo>
                        <a:pt x="116" y="1"/>
                      </a:lnTo>
                      <a:lnTo>
                        <a:pt x="118" y="1"/>
                      </a:lnTo>
                      <a:lnTo>
                        <a:pt x="119" y="1"/>
                      </a:lnTo>
                      <a:lnTo>
                        <a:pt x="121" y="1"/>
                      </a:lnTo>
                      <a:lnTo>
                        <a:pt x="122" y="2"/>
                      </a:lnTo>
                      <a:lnTo>
                        <a:pt x="122" y="1"/>
                      </a:lnTo>
                      <a:lnTo>
                        <a:pt x="123" y="2"/>
                      </a:lnTo>
                      <a:lnTo>
                        <a:pt x="128" y="4"/>
                      </a:lnTo>
                      <a:lnTo>
                        <a:pt x="129" y="2"/>
                      </a:lnTo>
                      <a:lnTo>
                        <a:pt x="130" y="2"/>
                      </a:lnTo>
                      <a:lnTo>
                        <a:pt x="131" y="2"/>
                      </a:lnTo>
                      <a:lnTo>
                        <a:pt x="132" y="2"/>
                      </a:lnTo>
                      <a:lnTo>
                        <a:pt x="133" y="2"/>
                      </a:lnTo>
                      <a:lnTo>
                        <a:pt x="135" y="2"/>
                      </a:lnTo>
                      <a:lnTo>
                        <a:pt x="136" y="2"/>
                      </a:lnTo>
                      <a:lnTo>
                        <a:pt x="137" y="2"/>
                      </a:lnTo>
                      <a:lnTo>
                        <a:pt x="138" y="2"/>
                      </a:lnTo>
                      <a:lnTo>
                        <a:pt x="139" y="2"/>
                      </a:lnTo>
                      <a:lnTo>
                        <a:pt x="139" y="1"/>
                      </a:lnTo>
                      <a:lnTo>
                        <a:pt x="140" y="1"/>
                      </a:lnTo>
                      <a:lnTo>
                        <a:pt x="142" y="1"/>
                      </a:lnTo>
                      <a:lnTo>
                        <a:pt x="143" y="2"/>
                      </a:lnTo>
                      <a:lnTo>
                        <a:pt x="144" y="2"/>
                      </a:lnTo>
                      <a:lnTo>
                        <a:pt x="145" y="2"/>
                      </a:lnTo>
                      <a:lnTo>
                        <a:pt x="145" y="4"/>
                      </a:lnTo>
                      <a:lnTo>
                        <a:pt x="145" y="5"/>
                      </a:lnTo>
                      <a:lnTo>
                        <a:pt x="145" y="7"/>
                      </a:lnTo>
                      <a:lnTo>
                        <a:pt x="145" y="8"/>
                      </a:lnTo>
                      <a:lnTo>
                        <a:pt x="145" y="9"/>
                      </a:lnTo>
                      <a:lnTo>
                        <a:pt x="144" y="9"/>
                      </a:lnTo>
                      <a:lnTo>
                        <a:pt x="143" y="11"/>
                      </a:lnTo>
                      <a:lnTo>
                        <a:pt x="143" y="12"/>
                      </a:lnTo>
                      <a:lnTo>
                        <a:pt x="142" y="12"/>
                      </a:lnTo>
                      <a:lnTo>
                        <a:pt x="142" y="13"/>
                      </a:lnTo>
                      <a:lnTo>
                        <a:pt x="140" y="14"/>
                      </a:lnTo>
                      <a:lnTo>
                        <a:pt x="142" y="14"/>
                      </a:lnTo>
                      <a:lnTo>
                        <a:pt x="142" y="15"/>
                      </a:lnTo>
                      <a:lnTo>
                        <a:pt x="142" y="16"/>
                      </a:lnTo>
                      <a:lnTo>
                        <a:pt x="142" y="18"/>
                      </a:lnTo>
                      <a:lnTo>
                        <a:pt x="140" y="18"/>
                      </a:lnTo>
                      <a:lnTo>
                        <a:pt x="140" y="19"/>
                      </a:lnTo>
                      <a:lnTo>
                        <a:pt x="140" y="20"/>
                      </a:lnTo>
                      <a:lnTo>
                        <a:pt x="140" y="22"/>
                      </a:lnTo>
                      <a:lnTo>
                        <a:pt x="140" y="23"/>
                      </a:lnTo>
                      <a:lnTo>
                        <a:pt x="140" y="25"/>
                      </a:lnTo>
                      <a:lnTo>
                        <a:pt x="142" y="25"/>
                      </a:lnTo>
                      <a:lnTo>
                        <a:pt x="142" y="26"/>
                      </a:lnTo>
                      <a:lnTo>
                        <a:pt x="143" y="27"/>
                      </a:lnTo>
                      <a:lnTo>
                        <a:pt x="143" y="28"/>
                      </a:lnTo>
                      <a:lnTo>
                        <a:pt x="144" y="28"/>
                      </a:lnTo>
                      <a:lnTo>
                        <a:pt x="144" y="29"/>
                      </a:lnTo>
                      <a:lnTo>
                        <a:pt x="144" y="30"/>
                      </a:lnTo>
                      <a:lnTo>
                        <a:pt x="144" y="32"/>
                      </a:lnTo>
                      <a:lnTo>
                        <a:pt x="143" y="33"/>
                      </a:lnTo>
                      <a:lnTo>
                        <a:pt x="142" y="33"/>
                      </a:lnTo>
                      <a:lnTo>
                        <a:pt x="142" y="34"/>
                      </a:lnTo>
                      <a:lnTo>
                        <a:pt x="140" y="34"/>
                      </a:lnTo>
                      <a:lnTo>
                        <a:pt x="142" y="34"/>
                      </a:lnTo>
                      <a:lnTo>
                        <a:pt x="142" y="35"/>
                      </a:lnTo>
                      <a:lnTo>
                        <a:pt x="143" y="35"/>
                      </a:lnTo>
                      <a:lnTo>
                        <a:pt x="144" y="35"/>
                      </a:lnTo>
                      <a:lnTo>
                        <a:pt x="145" y="35"/>
                      </a:lnTo>
                      <a:lnTo>
                        <a:pt x="146" y="34"/>
                      </a:lnTo>
                      <a:lnTo>
                        <a:pt x="147" y="33"/>
                      </a:lnTo>
                      <a:lnTo>
                        <a:pt x="149" y="33"/>
                      </a:lnTo>
                      <a:lnTo>
                        <a:pt x="150" y="33"/>
                      </a:lnTo>
                      <a:lnTo>
                        <a:pt x="151" y="33"/>
                      </a:lnTo>
                      <a:lnTo>
                        <a:pt x="152" y="33"/>
                      </a:lnTo>
                      <a:lnTo>
                        <a:pt x="153" y="33"/>
                      </a:lnTo>
                      <a:lnTo>
                        <a:pt x="154" y="32"/>
                      </a:lnTo>
                      <a:lnTo>
                        <a:pt x="156" y="32"/>
                      </a:lnTo>
                      <a:lnTo>
                        <a:pt x="156" y="30"/>
                      </a:lnTo>
                      <a:lnTo>
                        <a:pt x="157" y="30"/>
                      </a:lnTo>
                      <a:lnTo>
                        <a:pt x="158" y="30"/>
                      </a:lnTo>
                      <a:lnTo>
                        <a:pt x="159" y="30"/>
                      </a:lnTo>
                      <a:lnTo>
                        <a:pt x="160" y="30"/>
                      </a:lnTo>
                      <a:lnTo>
                        <a:pt x="160" y="29"/>
                      </a:lnTo>
                      <a:lnTo>
                        <a:pt x="160" y="28"/>
                      </a:lnTo>
                      <a:lnTo>
                        <a:pt x="161" y="28"/>
                      </a:lnTo>
                      <a:lnTo>
                        <a:pt x="167" y="29"/>
                      </a:lnTo>
                      <a:lnTo>
                        <a:pt x="168" y="29"/>
                      </a:lnTo>
                      <a:lnTo>
                        <a:pt x="170" y="30"/>
                      </a:lnTo>
                      <a:lnTo>
                        <a:pt x="171" y="29"/>
                      </a:lnTo>
                      <a:lnTo>
                        <a:pt x="172" y="29"/>
                      </a:lnTo>
                      <a:lnTo>
                        <a:pt x="173" y="29"/>
                      </a:lnTo>
                      <a:lnTo>
                        <a:pt x="174" y="30"/>
                      </a:lnTo>
                      <a:lnTo>
                        <a:pt x="175" y="30"/>
                      </a:lnTo>
                      <a:lnTo>
                        <a:pt x="175" y="32"/>
                      </a:lnTo>
                      <a:lnTo>
                        <a:pt x="177" y="34"/>
                      </a:lnTo>
                      <a:lnTo>
                        <a:pt x="177" y="35"/>
                      </a:lnTo>
                      <a:lnTo>
                        <a:pt x="177" y="37"/>
                      </a:lnTo>
                      <a:lnTo>
                        <a:pt x="178" y="39"/>
                      </a:lnTo>
                      <a:lnTo>
                        <a:pt x="179" y="39"/>
                      </a:lnTo>
                      <a:lnTo>
                        <a:pt x="179" y="40"/>
                      </a:lnTo>
                      <a:lnTo>
                        <a:pt x="180" y="41"/>
                      </a:lnTo>
                      <a:lnTo>
                        <a:pt x="180" y="42"/>
                      </a:lnTo>
                      <a:lnTo>
                        <a:pt x="180" y="43"/>
                      </a:lnTo>
                      <a:lnTo>
                        <a:pt x="181" y="43"/>
                      </a:lnTo>
                      <a:lnTo>
                        <a:pt x="181" y="44"/>
                      </a:lnTo>
                      <a:lnTo>
                        <a:pt x="182" y="44"/>
                      </a:lnTo>
                      <a:lnTo>
                        <a:pt x="182" y="46"/>
                      </a:lnTo>
                      <a:lnTo>
                        <a:pt x="181" y="46"/>
                      </a:lnTo>
                      <a:lnTo>
                        <a:pt x="182" y="48"/>
                      </a:lnTo>
                      <a:lnTo>
                        <a:pt x="181" y="49"/>
                      </a:lnTo>
                      <a:lnTo>
                        <a:pt x="179" y="50"/>
                      </a:lnTo>
                      <a:lnTo>
                        <a:pt x="179" y="51"/>
                      </a:lnTo>
                      <a:lnTo>
                        <a:pt x="179" y="53"/>
                      </a:lnTo>
                      <a:lnTo>
                        <a:pt x="178" y="54"/>
                      </a:lnTo>
                      <a:lnTo>
                        <a:pt x="175" y="56"/>
                      </a:lnTo>
                      <a:lnTo>
                        <a:pt x="173" y="56"/>
                      </a:lnTo>
                      <a:lnTo>
                        <a:pt x="172" y="56"/>
                      </a:lnTo>
                      <a:lnTo>
                        <a:pt x="171" y="56"/>
                      </a:lnTo>
                      <a:lnTo>
                        <a:pt x="170" y="57"/>
                      </a:lnTo>
                      <a:lnTo>
                        <a:pt x="170" y="58"/>
                      </a:lnTo>
                      <a:lnTo>
                        <a:pt x="170" y="60"/>
                      </a:lnTo>
                      <a:lnTo>
                        <a:pt x="170" y="61"/>
                      </a:lnTo>
                      <a:lnTo>
                        <a:pt x="167" y="62"/>
                      </a:lnTo>
                      <a:lnTo>
                        <a:pt x="166" y="62"/>
                      </a:lnTo>
                      <a:lnTo>
                        <a:pt x="165" y="65"/>
                      </a:lnTo>
                      <a:lnTo>
                        <a:pt x="164" y="67"/>
                      </a:lnTo>
                      <a:lnTo>
                        <a:pt x="164" y="68"/>
                      </a:lnTo>
                      <a:lnTo>
                        <a:pt x="164" y="69"/>
                      </a:lnTo>
                      <a:lnTo>
                        <a:pt x="165" y="70"/>
                      </a:lnTo>
                      <a:lnTo>
                        <a:pt x="165" y="72"/>
                      </a:lnTo>
                      <a:lnTo>
                        <a:pt x="166" y="72"/>
                      </a:lnTo>
                      <a:lnTo>
                        <a:pt x="166" y="74"/>
                      </a:lnTo>
                      <a:lnTo>
                        <a:pt x="165" y="74"/>
                      </a:lnTo>
                      <a:lnTo>
                        <a:pt x="165" y="75"/>
                      </a:lnTo>
                      <a:lnTo>
                        <a:pt x="165" y="76"/>
                      </a:lnTo>
                      <a:lnTo>
                        <a:pt x="163" y="78"/>
                      </a:lnTo>
                      <a:lnTo>
                        <a:pt x="163" y="79"/>
                      </a:lnTo>
                      <a:lnTo>
                        <a:pt x="164" y="82"/>
                      </a:lnTo>
                      <a:lnTo>
                        <a:pt x="165" y="82"/>
                      </a:lnTo>
                      <a:lnTo>
                        <a:pt x="165" y="81"/>
                      </a:lnTo>
                      <a:lnTo>
                        <a:pt x="166" y="81"/>
                      </a:lnTo>
                      <a:lnTo>
                        <a:pt x="167" y="81"/>
                      </a:lnTo>
                      <a:lnTo>
                        <a:pt x="167" y="82"/>
                      </a:lnTo>
                      <a:lnTo>
                        <a:pt x="168" y="82"/>
                      </a:lnTo>
                      <a:lnTo>
                        <a:pt x="170" y="82"/>
                      </a:lnTo>
                      <a:lnTo>
                        <a:pt x="171" y="82"/>
                      </a:lnTo>
                      <a:lnTo>
                        <a:pt x="172" y="83"/>
                      </a:lnTo>
                      <a:lnTo>
                        <a:pt x="172" y="84"/>
                      </a:lnTo>
                      <a:lnTo>
                        <a:pt x="173" y="85"/>
                      </a:lnTo>
                      <a:lnTo>
                        <a:pt x="173" y="86"/>
                      </a:lnTo>
                      <a:lnTo>
                        <a:pt x="173" y="88"/>
                      </a:lnTo>
                      <a:lnTo>
                        <a:pt x="174" y="88"/>
                      </a:lnTo>
                      <a:lnTo>
                        <a:pt x="175" y="88"/>
                      </a:lnTo>
                      <a:lnTo>
                        <a:pt x="177" y="88"/>
                      </a:lnTo>
                      <a:lnTo>
                        <a:pt x="178" y="88"/>
                      </a:lnTo>
                      <a:lnTo>
                        <a:pt x="179" y="88"/>
                      </a:lnTo>
                      <a:lnTo>
                        <a:pt x="180" y="89"/>
                      </a:lnTo>
                      <a:lnTo>
                        <a:pt x="181" y="90"/>
                      </a:lnTo>
                      <a:lnTo>
                        <a:pt x="182" y="90"/>
                      </a:lnTo>
                      <a:lnTo>
                        <a:pt x="182" y="91"/>
                      </a:lnTo>
                      <a:lnTo>
                        <a:pt x="183" y="92"/>
                      </a:lnTo>
                      <a:lnTo>
                        <a:pt x="183" y="93"/>
                      </a:lnTo>
                      <a:lnTo>
                        <a:pt x="183" y="95"/>
                      </a:lnTo>
                      <a:lnTo>
                        <a:pt x="182" y="97"/>
                      </a:lnTo>
                      <a:lnTo>
                        <a:pt x="182" y="98"/>
                      </a:lnTo>
                      <a:lnTo>
                        <a:pt x="182" y="99"/>
                      </a:lnTo>
                      <a:lnTo>
                        <a:pt x="182" y="100"/>
                      </a:lnTo>
                      <a:lnTo>
                        <a:pt x="181" y="102"/>
                      </a:lnTo>
                      <a:lnTo>
                        <a:pt x="181" y="103"/>
                      </a:lnTo>
                      <a:lnTo>
                        <a:pt x="181" y="104"/>
                      </a:lnTo>
                      <a:lnTo>
                        <a:pt x="180" y="105"/>
                      </a:lnTo>
                      <a:lnTo>
                        <a:pt x="181" y="109"/>
                      </a:lnTo>
                      <a:lnTo>
                        <a:pt x="182" y="109"/>
                      </a:lnTo>
                      <a:lnTo>
                        <a:pt x="181" y="110"/>
                      </a:lnTo>
                      <a:lnTo>
                        <a:pt x="182" y="111"/>
                      </a:lnTo>
                      <a:lnTo>
                        <a:pt x="182" y="112"/>
                      </a:lnTo>
                      <a:lnTo>
                        <a:pt x="182" y="113"/>
                      </a:lnTo>
                      <a:lnTo>
                        <a:pt x="182" y="114"/>
                      </a:lnTo>
                      <a:lnTo>
                        <a:pt x="181" y="114"/>
                      </a:lnTo>
                      <a:lnTo>
                        <a:pt x="181" y="116"/>
                      </a:lnTo>
                      <a:lnTo>
                        <a:pt x="182" y="117"/>
                      </a:lnTo>
                      <a:lnTo>
                        <a:pt x="183" y="117"/>
                      </a:lnTo>
                      <a:lnTo>
                        <a:pt x="183" y="118"/>
                      </a:lnTo>
                      <a:lnTo>
                        <a:pt x="182" y="118"/>
                      </a:lnTo>
                      <a:lnTo>
                        <a:pt x="182" y="119"/>
                      </a:lnTo>
                      <a:lnTo>
                        <a:pt x="182" y="120"/>
                      </a:lnTo>
                      <a:lnTo>
                        <a:pt x="182" y="121"/>
                      </a:lnTo>
                      <a:lnTo>
                        <a:pt x="182" y="123"/>
                      </a:lnTo>
                      <a:lnTo>
                        <a:pt x="181" y="123"/>
                      </a:lnTo>
                      <a:lnTo>
                        <a:pt x="181" y="124"/>
                      </a:lnTo>
                      <a:lnTo>
                        <a:pt x="180" y="124"/>
                      </a:lnTo>
                      <a:lnTo>
                        <a:pt x="180" y="125"/>
                      </a:lnTo>
                      <a:lnTo>
                        <a:pt x="181" y="126"/>
                      </a:lnTo>
                      <a:lnTo>
                        <a:pt x="182" y="126"/>
                      </a:lnTo>
                      <a:lnTo>
                        <a:pt x="181" y="127"/>
                      </a:lnTo>
                      <a:lnTo>
                        <a:pt x="181" y="128"/>
                      </a:lnTo>
                      <a:lnTo>
                        <a:pt x="181" y="131"/>
                      </a:lnTo>
                      <a:lnTo>
                        <a:pt x="181" y="132"/>
                      </a:lnTo>
                      <a:lnTo>
                        <a:pt x="181" y="133"/>
                      </a:lnTo>
                      <a:lnTo>
                        <a:pt x="180" y="134"/>
                      </a:lnTo>
                      <a:lnTo>
                        <a:pt x="177" y="135"/>
                      </a:lnTo>
                      <a:lnTo>
                        <a:pt x="175" y="135"/>
                      </a:lnTo>
                      <a:lnTo>
                        <a:pt x="175" y="137"/>
                      </a:lnTo>
                      <a:lnTo>
                        <a:pt x="177" y="138"/>
                      </a:lnTo>
                      <a:lnTo>
                        <a:pt x="175" y="139"/>
                      </a:lnTo>
                      <a:lnTo>
                        <a:pt x="175" y="140"/>
                      </a:lnTo>
                      <a:lnTo>
                        <a:pt x="175" y="141"/>
                      </a:lnTo>
                      <a:lnTo>
                        <a:pt x="174" y="141"/>
                      </a:lnTo>
                      <a:lnTo>
                        <a:pt x="175" y="142"/>
                      </a:lnTo>
                      <a:lnTo>
                        <a:pt x="174" y="142"/>
                      </a:lnTo>
                      <a:lnTo>
                        <a:pt x="173" y="144"/>
                      </a:lnTo>
                      <a:lnTo>
                        <a:pt x="173" y="145"/>
                      </a:lnTo>
                      <a:lnTo>
                        <a:pt x="175" y="147"/>
                      </a:lnTo>
                      <a:lnTo>
                        <a:pt x="174" y="148"/>
                      </a:lnTo>
                      <a:lnTo>
                        <a:pt x="173" y="148"/>
                      </a:lnTo>
                      <a:lnTo>
                        <a:pt x="173" y="149"/>
                      </a:lnTo>
                      <a:lnTo>
                        <a:pt x="172" y="149"/>
                      </a:lnTo>
                      <a:lnTo>
                        <a:pt x="172" y="151"/>
                      </a:lnTo>
                      <a:lnTo>
                        <a:pt x="172" y="152"/>
                      </a:lnTo>
                      <a:lnTo>
                        <a:pt x="171" y="152"/>
                      </a:lnTo>
                      <a:lnTo>
                        <a:pt x="170" y="152"/>
                      </a:lnTo>
                      <a:lnTo>
                        <a:pt x="168" y="152"/>
                      </a:lnTo>
                      <a:lnTo>
                        <a:pt x="167" y="152"/>
                      </a:lnTo>
                      <a:lnTo>
                        <a:pt x="166" y="152"/>
                      </a:lnTo>
                      <a:lnTo>
                        <a:pt x="165" y="152"/>
                      </a:lnTo>
                      <a:lnTo>
                        <a:pt x="164" y="152"/>
                      </a:lnTo>
                      <a:lnTo>
                        <a:pt x="164" y="151"/>
                      </a:lnTo>
                      <a:lnTo>
                        <a:pt x="164" y="149"/>
                      </a:lnTo>
                      <a:lnTo>
                        <a:pt x="165" y="149"/>
                      </a:lnTo>
                      <a:lnTo>
                        <a:pt x="165" y="148"/>
                      </a:lnTo>
                      <a:lnTo>
                        <a:pt x="165" y="147"/>
                      </a:lnTo>
                      <a:lnTo>
                        <a:pt x="164" y="147"/>
                      </a:lnTo>
                      <a:lnTo>
                        <a:pt x="164" y="146"/>
                      </a:lnTo>
                      <a:lnTo>
                        <a:pt x="163" y="145"/>
                      </a:lnTo>
                      <a:lnTo>
                        <a:pt x="161" y="142"/>
                      </a:lnTo>
                      <a:lnTo>
                        <a:pt x="161" y="141"/>
                      </a:lnTo>
                      <a:lnTo>
                        <a:pt x="161" y="140"/>
                      </a:lnTo>
                      <a:lnTo>
                        <a:pt x="160" y="140"/>
                      </a:lnTo>
                      <a:lnTo>
                        <a:pt x="159" y="141"/>
                      </a:lnTo>
                      <a:lnTo>
                        <a:pt x="159" y="142"/>
                      </a:lnTo>
                      <a:lnTo>
                        <a:pt x="156" y="145"/>
                      </a:lnTo>
                      <a:lnTo>
                        <a:pt x="156" y="146"/>
                      </a:lnTo>
                      <a:lnTo>
                        <a:pt x="156" y="147"/>
                      </a:lnTo>
                      <a:lnTo>
                        <a:pt x="154" y="147"/>
                      </a:lnTo>
                      <a:lnTo>
                        <a:pt x="153" y="148"/>
                      </a:lnTo>
                      <a:lnTo>
                        <a:pt x="152" y="149"/>
                      </a:lnTo>
                      <a:lnTo>
                        <a:pt x="151" y="151"/>
                      </a:lnTo>
                      <a:lnTo>
                        <a:pt x="151" y="149"/>
                      </a:lnTo>
                      <a:lnTo>
                        <a:pt x="150" y="151"/>
                      </a:lnTo>
                      <a:lnTo>
                        <a:pt x="150" y="149"/>
                      </a:lnTo>
                      <a:lnTo>
                        <a:pt x="149" y="151"/>
                      </a:lnTo>
                      <a:lnTo>
                        <a:pt x="143" y="148"/>
                      </a:lnTo>
                      <a:lnTo>
                        <a:pt x="142" y="148"/>
                      </a:lnTo>
                      <a:lnTo>
                        <a:pt x="140" y="148"/>
                      </a:lnTo>
                      <a:lnTo>
                        <a:pt x="138" y="147"/>
                      </a:lnTo>
                      <a:lnTo>
                        <a:pt x="137" y="147"/>
                      </a:lnTo>
                      <a:lnTo>
                        <a:pt x="137" y="148"/>
                      </a:lnTo>
                      <a:lnTo>
                        <a:pt x="136" y="148"/>
                      </a:lnTo>
                      <a:lnTo>
                        <a:pt x="136" y="147"/>
                      </a:lnTo>
                      <a:lnTo>
                        <a:pt x="137" y="147"/>
                      </a:lnTo>
                      <a:lnTo>
                        <a:pt x="137" y="146"/>
                      </a:lnTo>
                      <a:lnTo>
                        <a:pt x="137" y="145"/>
                      </a:lnTo>
                      <a:lnTo>
                        <a:pt x="136" y="145"/>
                      </a:lnTo>
                      <a:lnTo>
                        <a:pt x="136" y="144"/>
                      </a:lnTo>
                      <a:lnTo>
                        <a:pt x="135" y="142"/>
                      </a:lnTo>
                      <a:lnTo>
                        <a:pt x="133" y="142"/>
                      </a:lnTo>
                      <a:lnTo>
                        <a:pt x="133" y="141"/>
                      </a:lnTo>
                      <a:lnTo>
                        <a:pt x="132" y="141"/>
                      </a:lnTo>
                      <a:lnTo>
                        <a:pt x="133" y="141"/>
                      </a:lnTo>
                      <a:lnTo>
                        <a:pt x="133" y="140"/>
                      </a:lnTo>
                      <a:lnTo>
                        <a:pt x="132" y="140"/>
                      </a:lnTo>
                      <a:lnTo>
                        <a:pt x="132" y="139"/>
                      </a:lnTo>
                      <a:lnTo>
                        <a:pt x="132" y="138"/>
                      </a:lnTo>
                      <a:lnTo>
                        <a:pt x="131" y="138"/>
                      </a:lnTo>
                      <a:lnTo>
                        <a:pt x="131" y="137"/>
                      </a:lnTo>
                      <a:lnTo>
                        <a:pt x="131" y="135"/>
                      </a:lnTo>
                      <a:lnTo>
                        <a:pt x="130" y="134"/>
                      </a:lnTo>
                      <a:lnTo>
                        <a:pt x="129" y="133"/>
                      </a:lnTo>
                      <a:lnTo>
                        <a:pt x="126" y="132"/>
                      </a:lnTo>
                      <a:lnTo>
                        <a:pt x="125" y="131"/>
                      </a:lnTo>
                      <a:lnTo>
                        <a:pt x="123" y="131"/>
                      </a:lnTo>
                      <a:lnTo>
                        <a:pt x="123" y="132"/>
                      </a:lnTo>
                      <a:lnTo>
                        <a:pt x="122" y="132"/>
                      </a:lnTo>
                      <a:lnTo>
                        <a:pt x="122" y="133"/>
                      </a:lnTo>
                      <a:lnTo>
                        <a:pt x="121" y="133"/>
                      </a:lnTo>
                      <a:lnTo>
                        <a:pt x="121" y="134"/>
                      </a:lnTo>
                      <a:lnTo>
                        <a:pt x="119" y="134"/>
                      </a:lnTo>
                      <a:lnTo>
                        <a:pt x="119" y="133"/>
                      </a:lnTo>
                      <a:lnTo>
                        <a:pt x="118" y="133"/>
                      </a:lnTo>
                      <a:lnTo>
                        <a:pt x="118" y="137"/>
                      </a:lnTo>
                      <a:lnTo>
                        <a:pt x="118" y="138"/>
                      </a:lnTo>
                      <a:lnTo>
                        <a:pt x="119" y="139"/>
                      </a:lnTo>
                      <a:lnTo>
                        <a:pt x="121" y="140"/>
                      </a:lnTo>
                      <a:lnTo>
                        <a:pt x="119" y="141"/>
                      </a:lnTo>
                      <a:lnTo>
                        <a:pt x="119" y="142"/>
                      </a:lnTo>
                      <a:lnTo>
                        <a:pt x="119" y="144"/>
                      </a:lnTo>
                      <a:lnTo>
                        <a:pt x="119" y="145"/>
                      </a:lnTo>
                      <a:lnTo>
                        <a:pt x="119" y="146"/>
                      </a:lnTo>
                      <a:lnTo>
                        <a:pt x="119" y="147"/>
                      </a:lnTo>
                      <a:lnTo>
                        <a:pt x="107" y="149"/>
                      </a:lnTo>
                      <a:lnTo>
                        <a:pt x="106" y="149"/>
                      </a:lnTo>
                      <a:lnTo>
                        <a:pt x="104" y="148"/>
                      </a:lnTo>
                      <a:lnTo>
                        <a:pt x="103" y="147"/>
                      </a:lnTo>
                      <a:lnTo>
                        <a:pt x="102" y="148"/>
                      </a:lnTo>
                      <a:lnTo>
                        <a:pt x="101" y="148"/>
                      </a:lnTo>
                      <a:lnTo>
                        <a:pt x="100" y="148"/>
                      </a:lnTo>
                      <a:lnTo>
                        <a:pt x="99" y="148"/>
                      </a:lnTo>
                      <a:lnTo>
                        <a:pt x="97" y="149"/>
                      </a:lnTo>
                      <a:lnTo>
                        <a:pt x="96" y="149"/>
                      </a:lnTo>
                      <a:lnTo>
                        <a:pt x="95" y="148"/>
                      </a:lnTo>
                      <a:lnTo>
                        <a:pt x="94" y="148"/>
                      </a:lnTo>
                      <a:lnTo>
                        <a:pt x="93" y="147"/>
                      </a:lnTo>
                      <a:lnTo>
                        <a:pt x="92" y="147"/>
                      </a:lnTo>
                      <a:lnTo>
                        <a:pt x="92" y="148"/>
                      </a:lnTo>
                      <a:lnTo>
                        <a:pt x="92" y="149"/>
                      </a:lnTo>
                      <a:lnTo>
                        <a:pt x="92" y="151"/>
                      </a:lnTo>
                      <a:lnTo>
                        <a:pt x="92" y="152"/>
                      </a:lnTo>
                      <a:lnTo>
                        <a:pt x="92" y="153"/>
                      </a:lnTo>
                      <a:lnTo>
                        <a:pt x="93" y="154"/>
                      </a:lnTo>
                      <a:lnTo>
                        <a:pt x="93" y="155"/>
                      </a:lnTo>
                      <a:lnTo>
                        <a:pt x="93" y="156"/>
                      </a:lnTo>
                      <a:lnTo>
                        <a:pt x="93" y="158"/>
                      </a:lnTo>
                      <a:lnTo>
                        <a:pt x="93" y="159"/>
                      </a:lnTo>
                      <a:lnTo>
                        <a:pt x="90" y="162"/>
                      </a:lnTo>
                      <a:lnTo>
                        <a:pt x="90" y="163"/>
                      </a:lnTo>
                      <a:lnTo>
                        <a:pt x="90" y="165"/>
                      </a:lnTo>
                      <a:lnTo>
                        <a:pt x="92" y="163"/>
                      </a:lnTo>
                      <a:lnTo>
                        <a:pt x="93" y="163"/>
                      </a:lnTo>
                      <a:lnTo>
                        <a:pt x="94" y="163"/>
                      </a:lnTo>
                      <a:lnTo>
                        <a:pt x="95" y="166"/>
                      </a:lnTo>
                      <a:lnTo>
                        <a:pt x="97" y="168"/>
                      </a:lnTo>
                      <a:lnTo>
                        <a:pt x="99" y="168"/>
                      </a:lnTo>
                      <a:lnTo>
                        <a:pt x="99" y="169"/>
                      </a:lnTo>
                      <a:lnTo>
                        <a:pt x="97" y="169"/>
                      </a:lnTo>
                      <a:lnTo>
                        <a:pt x="96" y="169"/>
                      </a:lnTo>
                      <a:lnTo>
                        <a:pt x="96" y="170"/>
                      </a:lnTo>
                      <a:lnTo>
                        <a:pt x="95" y="170"/>
                      </a:lnTo>
                      <a:lnTo>
                        <a:pt x="95" y="172"/>
                      </a:lnTo>
                      <a:lnTo>
                        <a:pt x="95" y="174"/>
                      </a:lnTo>
                      <a:lnTo>
                        <a:pt x="96" y="174"/>
                      </a:lnTo>
                      <a:lnTo>
                        <a:pt x="97" y="175"/>
                      </a:lnTo>
                      <a:lnTo>
                        <a:pt x="99" y="175"/>
                      </a:lnTo>
                      <a:lnTo>
                        <a:pt x="100" y="176"/>
                      </a:lnTo>
                      <a:lnTo>
                        <a:pt x="101" y="177"/>
                      </a:lnTo>
                      <a:lnTo>
                        <a:pt x="102" y="177"/>
                      </a:lnTo>
                      <a:lnTo>
                        <a:pt x="103" y="177"/>
                      </a:lnTo>
                      <a:lnTo>
                        <a:pt x="103" y="179"/>
                      </a:lnTo>
                      <a:lnTo>
                        <a:pt x="103" y="180"/>
                      </a:lnTo>
                      <a:lnTo>
                        <a:pt x="102" y="181"/>
                      </a:lnTo>
                      <a:lnTo>
                        <a:pt x="100" y="186"/>
                      </a:lnTo>
                      <a:lnTo>
                        <a:pt x="100" y="187"/>
                      </a:lnTo>
                      <a:lnTo>
                        <a:pt x="101" y="188"/>
                      </a:lnTo>
                      <a:lnTo>
                        <a:pt x="102" y="188"/>
                      </a:lnTo>
                      <a:lnTo>
                        <a:pt x="102" y="189"/>
                      </a:lnTo>
                      <a:lnTo>
                        <a:pt x="101" y="190"/>
                      </a:lnTo>
                      <a:lnTo>
                        <a:pt x="100" y="190"/>
                      </a:lnTo>
                      <a:lnTo>
                        <a:pt x="97" y="190"/>
                      </a:lnTo>
                      <a:lnTo>
                        <a:pt x="95" y="190"/>
                      </a:lnTo>
                      <a:lnTo>
                        <a:pt x="94" y="189"/>
                      </a:lnTo>
                      <a:lnTo>
                        <a:pt x="92" y="186"/>
                      </a:lnTo>
                      <a:lnTo>
                        <a:pt x="90" y="184"/>
                      </a:lnTo>
                      <a:lnTo>
                        <a:pt x="89" y="184"/>
                      </a:lnTo>
                      <a:lnTo>
                        <a:pt x="88" y="186"/>
                      </a:lnTo>
                      <a:lnTo>
                        <a:pt x="87" y="186"/>
                      </a:lnTo>
                      <a:lnTo>
                        <a:pt x="87" y="187"/>
                      </a:lnTo>
                      <a:lnTo>
                        <a:pt x="86" y="188"/>
                      </a:lnTo>
                      <a:lnTo>
                        <a:pt x="85" y="188"/>
                      </a:lnTo>
                      <a:lnTo>
                        <a:pt x="83" y="188"/>
                      </a:lnTo>
                      <a:lnTo>
                        <a:pt x="82" y="189"/>
                      </a:lnTo>
                      <a:lnTo>
                        <a:pt x="81" y="190"/>
                      </a:lnTo>
                      <a:lnTo>
                        <a:pt x="80" y="190"/>
                      </a:lnTo>
                      <a:lnTo>
                        <a:pt x="80" y="191"/>
                      </a:lnTo>
                      <a:lnTo>
                        <a:pt x="78" y="197"/>
                      </a:lnTo>
                      <a:lnTo>
                        <a:pt x="78" y="198"/>
                      </a:lnTo>
                      <a:lnTo>
                        <a:pt x="76" y="197"/>
                      </a:lnTo>
                      <a:lnTo>
                        <a:pt x="74" y="196"/>
                      </a:lnTo>
                      <a:lnTo>
                        <a:pt x="74" y="194"/>
                      </a:lnTo>
                      <a:lnTo>
                        <a:pt x="73" y="193"/>
                      </a:lnTo>
                      <a:lnTo>
                        <a:pt x="73" y="191"/>
                      </a:lnTo>
                      <a:lnTo>
                        <a:pt x="73" y="190"/>
                      </a:lnTo>
                      <a:lnTo>
                        <a:pt x="72" y="189"/>
                      </a:lnTo>
                      <a:lnTo>
                        <a:pt x="67" y="187"/>
                      </a:lnTo>
                      <a:lnTo>
                        <a:pt x="62" y="183"/>
                      </a:lnTo>
                      <a:lnTo>
                        <a:pt x="62" y="181"/>
                      </a:lnTo>
                      <a:lnTo>
                        <a:pt x="62" y="180"/>
                      </a:lnTo>
                      <a:lnTo>
                        <a:pt x="62" y="179"/>
                      </a:lnTo>
                      <a:lnTo>
                        <a:pt x="61" y="179"/>
                      </a:lnTo>
                      <a:lnTo>
                        <a:pt x="61" y="177"/>
                      </a:lnTo>
                      <a:lnTo>
                        <a:pt x="60" y="177"/>
                      </a:lnTo>
                      <a:lnTo>
                        <a:pt x="59" y="176"/>
                      </a:lnTo>
                      <a:lnTo>
                        <a:pt x="58" y="175"/>
                      </a:lnTo>
                      <a:lnTo>
                        <a:pt x="58" y="174"/>
                      </a:lnTo>
                      <a:lnTo>
                        <a:pt x="57" y="174"/>
                      </a:lnTo>
                      <a:lnTo>
                        <a:pt x="57" y="173"/>
                      </a:lnTo>
                      <a:lnTo>
                        <a:pt x="53" y="170"/>
                      </a:lnTo>
                      <a:lnTo>
                        <a:pt x="49" y="167"/>
                      </a:lnTo>
                      <a:lnTo>
                        <a:pt x="47" y="166"/>
                      </a:lnTo>
                      <a:lnTo>
                        <a:pt x="43" y="162"/>
                      </a:lnTo>
                      <a:lnTo>
                        <a:pt x="42" y="161"/>
                      </a:lnTo>
                      <a:lnTo>
                        <a:pt x="39" y="159"/>
                      </a:lnTo>
                      <a:lnTo>
                        <a:pt x="33" y="153"/>
                      </a:lnTo>
                      <a:lnTo>
                        <a:pt x="32" y="152"/>
                      </a:lnTo>
                      <a:lnTo>
                        <a:pt x="33" y="152"/>
                      </a:lnTo>
                      <a:lnTo>
                        <a:pt x="33" y="153"/>
                      </a:lnTo>
                      <a:lnTo>
                        <a:pt x="35" y="153"/>
                      </a:lnTo>
                      <a:lnTo>
                        <a:pt x="36" y="153"/>
                      </a:lnTo>
                      <a:lnTo>
                        <a:pt x="36" y="152"/>
                      </a:lnTo>
                      <a:lnTo>
                        <a:pt x="37" y="152"/>
                      </a:lnTo>
                      <a:lnTo>
                        <a:pt x="37" y="153"/>
                      </a:lnTo>
                      <a:lnTo>
                        <a:pt x="37" y="154"/>
                      </a:lnTo>
                      <a:lnTo>
                        <a:pt x="38" y="154"/>
                      </a:lnTo>
                      <a:lnTo>
                        <a:pt x="39" y="154"/>
                      </a:lnTo>
                      <a:lnTo>
                        <a:pt x="39" y="155"/>
                      </a:lnTo>
                      <a:lnTo>
                        <a:pt x="39" y="156"/>
                      </a:lnTo>
                      <a:lnTo>
                        <a:pt x="40" y="156"/>
                      </a:lnTo>
                      <a:lnTo>
                        <a:pt x="40" y="155"/>
                      </a:lnTo>
                      <a:lnTo>
                        <a:pt x="42" y="156"/>
                      </a:lnTo>
                      <a:lnTo>
                        <a:pt x="42" y="158"/>
                      </a:lnTo>
                      <a:lnTo>
                        <a:pt x="42" y="156"/>
                      </a:lnTo>
                      <a:lnTo>
                        <a:pt x="43" y="156"/>
                      </a:lnTo>
                      <a:lnTo>
                        <a:pt x="42" y="158"/>
                      </a:lnTo>
                      <a:lnTo>
                        <a:pt x="43" y="158"/>
                      </a:lnTo>
                      <a:lnTo>
                        <a:pt x="43" y="156"/>
                      </a:lnTo>
                      <a:lnTo>
                        <a:pt x="44" y="155"/>
                      </a:lnTo>
                      <a:lnTo>
                        <a:pt x="45" y="155"/>
                      </a:lnTo>
                      <a:lnTo>
                        <a:pt x="46" y="155"/>
                      </a:lnTo>
                      <a:lnTo>
                        <a:pt x="47" y="155"/>
                      </a:lnTo>
                      <a:lnTo>
                        <a:pt x="46" y="154"/>
                      </a:lnTo>
                      <a:lnTo>
                        <a:pt x="45" y="153"/>
                      </a:lnTo>
                      <a:lnTo>
                        <a:pt x="44" y="153"/>
                      </a:lnTo>
                      <a:lnTo>
                        <a:pt x="45" y="155"/>
                      </a:lnTo>
                      <a:lnTo>
                        <a:pt x="44" y="155"/>
                      </a:lnTo>
                      <a:lnTo>
                        <a:pt x="44" y="154"/>
                      </a:lnTo>
                      <a:lnTo>
                        <a:pt x="43" y="153"/>
                      </a:lnTo>
                      <a:lnTo>
                        <a:pt x="42" y="153"/>
                      </a:lnTo>
                      <a:lnTo>
                        <a:pt x="42" y="154"/>
                      </a:lnTo>
                      <a:lnTo>
                        <a:pt x="42" y="155"/>
                      </a:lnTo>
                      <a:lnTo>
                        <a:pt x="40" y="155"/>
                      </a:lnTo>
                      <a:lnTo>
                        <a:pt x="40" y="154"/>
                      </a:lnTo>
                      <a:lnTo>
                        <a:pt x="40" y="153"/>
                      </a:lnTo>
                      <a:lnTo>
                        <a:pt x="42" y="153"/>
                      </a:lnTo>
                      <a:lnTo>
                        <a:pt x="40" y="152"/>
                      </a:lnTo>
                      <a:lnTo>
                        <a:pt x="39" y="152"/>
                      </a:lnTo>
                      <a:lnTo>
                        <a:pt x="38" y="151"/>
                      </a:lnTo>
                      <a:lnTo>
                        <a:pt x="37" y="151"/>
                      </a:lnTo>
                      <a:lnTo>
                        <a:pt x="36" y="151"/>
                      </a:lnTo>
                      <a:lnTo>
                        <a:pt x="36" y="152"/>
                      </a:lnTo>
                      <a:lnTo>
                        <a:pt x="35" y="152"/>
                      </a:lnTo>
                      <a:lnTo>
                        <a:pt x="33" y="152"/>
                      </a:lnTo>
                      <a:lnTo>
                        <a:pt x="33" y="151"/>
                      </a:lnTo>
                      <a:lnTo>
                        <a:pt x="33" y="149"/>
                      </a:lnTo>
                      <a:lnTo>
                        <a:pt x="32" y="149"/>
                      </a:lnTo>
                      <a:lnTo>
                        <a:pt x="32" y="151"/>
                      </a:lnTo>
                      <a:lnTo>
                        <a:pt x="31" y="149"/>
                      </a:lnTo>
                      <a:lnTo>
                        <a:pt x="30" y="149"/>
                      </a:lnTo>
                      <a:lnTo>
                        <a:pt x="31" y="151"/>
                      </a:lnTo>
                      <a:lnTo>
                        <a:pt x="30" y="149"/>
                      </a:lnTo>
                      <a:lnTo>
                        <a:pt x="29" y="148"/>
                      </a:lnTo>
                      <a:lnTo>
                        <a:pt x="29" y="147"/>
                      </a:lnTo>
                      <a:lnTo>
                        <a:pt x="29" y="144"/>
                      </a:lnTo>
                      <a:lnTo>
                        <a:pt x="28" y="144"/>
                      </a:lnTo>
                      <a:lnTo>
                        <a:pt x="25" y="140"/>
                      </a:lnTo>
                      <a:lnTo>
                        <a:pt x="24" y="140"/>
                      </a:lnTo>
                      <a:lnTo>
                        <a:pt x="23" y="139"/>
                      </a:lnTo>
                      <a:lnTo>
                        <a:pt x="23" y="138"/>
                      </a:lnTo>
                      <a:lnTo>
                        <a:pt x="22" y="138"/>
                      </a:lnTo>
                      <a:lnTo>
                        <a:pt x="22" y="137"/>
                      </a:lnTo>
                      <a:lnTo>
                        <a:pt x="19" y="134"/>
                      </a:lnTo>
                      <a:lnTo>
                        <a:pt x="19" y="133"/>
                      </a:lnTo>
                      <a:lnTo>
                        <a:pt x="18" y="133"/>
                      </a:lnTo>
                      <a:lnTo>
                        <a:pt x="19" y="133"/>
                      </a:lnTo>
                      <a:lnTo>
                        <a:pt x="19" y="134"/>
                      </a:lnTo>
                      <a:lnTo>
                        <a:pt x="21" y="134"/>
                      </a:lnTo>
                      <a:lnTo>
                        <a:pt x="22" y="134"/>
                      </a:lnTo>
                      <a:lnTo>
                        <a:pt x="21" y="134"/>
                      </a:lnTo>
                      <a:lnTo>
                        <a:pt x="22" y="134"/>
                      </a:lnTo>
                      <a:lnTo>
                        <a:pt x="22" y="135"/>
                      </a:lnTo>
                      <a:lnTo>
                        <a:pt x="23" y="134"/>
                      </a:lnTo>
                      <a:lnTo>
                        <a:pt x="22" y="134"/>
                      </a:lnTo>
                      <a:lnTo>
                        <a:pt x="24" y="134"/>
                      </a:lnTo>
                      <a:lnTo>
                        <a:pt x="25" y="135"/>
                      </a:lnTo>
                      <a:lnTo>
                        <a:pt x="25" y="137"/>
                      </a:lnTo>
                      <a:lnTo>
                        <a:pt x="24" y="137"/>
                      </a:lnTo>
                      <a:lnTo>
                        <a:pt x="25" y="137"/>
                      </a:lnTo>
                      <a:lnTo>
                        <a:pt x="25" y="138"/>
                      </a:lnTo>
                      <a:lnTo>
                        <a:pt x="26" y="138"/>
                      </a:lnTo>
                      <a:lnTo>
                        <a:pt x="26" y="139"/>
                      </a:lnTo>
                      <a:lnTo>
                        <a:pt x="28" y="139"/>
                      </a:lnTo>
                      <a:lnTo>
                        <a:pt x="28" y="140"/>
                      </a:lnTo>
                      <a:lnTo>
                        <a:pt x="28" y="139"/>
                      </a:lnTo>
                      <a:lnTo>
                        <a:pt x="28" y="138"/>
                      </a:lnTo>
                      <a:lnTo>
                        <a:pt x="26" y="137"/>
                      </a:lnTo>
                      <a:lnTo>
                        <a:pt x="25" y="135"/>
                      </a:lnTo>
                      <a:lnTo>
                        <a:pt x="26" y="135"/>
                      </a:lnTo>
                      <a:lnTo>
                        <a:pt x="25" y="133"/>
                      </a:lnTo>
                      <a:lnTo>
                        <a:pt x="24" y="133"/>
                      </a:lnTo>
                      <a:lnTo>
                        <a:pt x="24" y="134"/>
                      </a:lnTo>
                      <a:lnTo>
                        <a:pt x="23" y="133"/>
                      </a:lnTo>
                      <a:lnTo>
                        <a:pt x="23" y="132"/>
                      </a:lnTo>
                      <a:lnTo>
                        <a:pt x="22" y="132"/>
                      </a:lnTo>
                      <a:lnTo>
                        <a:pt x="22" y="133"/>
                      </a:lnTo>
                      <a:lnTo>
                        <a:pt x="21" y="133"/>
                      </a:lnTo>
                      <a:lnTo>
                        <a:pt x="21" y="134"/>
                      </a:lnTo>
                      <a:lnTo>
                        <a:pt x="21" y="133"/>
                      </a:lnTo>
                      <a:lnTo>
                        <a:pt x="19" y="133"/>
                      </a:lnTo>
                      <a:lnTo>
                        <a:pt x="21" y="133"/>
                      </a:lnTo>
                      <a:lnTo>
                        <a:pt x="19" y="132"/>
                      </a:lnTo>
                      <a:lnTo>
                        <a:pt x="18" y="132"/>
                      </a:lnTo>
                      <a:lnTo>
                        <a:pt x="18" y="131"/>
                      </a:lnTo>
                      <a:lnTo>
                        <a:pt x="18" y="130"/>
                      </a:lnTo>
                      <a:lnTo>
                        <a:pt x="18" y="128"/>
                      </a:lnTo>
                      <a:lnTo>
                        <a:pt x="18" y="127"/>
                      </a:lnTo>
                      <a:lnTo>
                        <a:pt x="17" y="127"/>
                      </a:lnTo>
                      <a:lnTo>
                        <a:pt x="17" y="126"/>
                      </a:lnTo>
                      <a:lnTo>
                        <a:pt x="17" y="125"/>
                      </a:lnTo>
                      <a:lnTo>
                        <a:pt x="17" y="124"/>
                      </a:lnTo>
                      <a:lnTo>
                        <a:pt x="16" y="123"/>
                      </a:lnTo>
                      <a:lnTo>
                        <a:pt x="15" y="121"/>
                      </a:lnTo>
                      <a:lnTo>
                        <a:pt x="10" y="116"/>
                      </a:lnTo>
                      <a:lnTo>
                        <a:pt x="10" y="114"/>
                      </a:lnTo>
                      <a:lnTo>
                        <a:pt x="9" y="114"/>
                      </a:lnTo>
                      <a:lnTo>
                        <a:pt x="9" y="113"/>
                      </a:lnTo>
                      <a:lnTo>
                        <a:pt x="10" y="114"/>
                      </a:lnTo>
                      <a:lnTo>
                        <a:pt x="10" y="116"/>
                      </a:lnTo>
                      <a:lnTo>
                        <a:pt x="11" y="117"/>
                      </a:lnTo>
                      <a:lnTo>
                        <a:pt x="11" y="116"/>
                      </a:lnTo>
                      <a:lnTo>
                        <a:pt x="12" y="117"/>
                      </a:lnTo>
                      <a:lnTo>
                        <a:pt x="12" y="118"/>
                      </a:lnTo>
                      <a:lnTo>
                        <a:pt x="14" y="118"/>
                      </a:lnTo>
                      <a:lnTo>
                        <a:pt x="14" y="119"/>
                      </a:lnTo>
                      <a:lnTo>
                        <a:pt x="15" y="120"/>
                      </a:lnTo>
                      <a:lnTo>
                        <a:pt x="16" y="121"/>
                      </a:lnTo>
                      <a:lnTo>
                        <a:pt x="17" y="123"/>
                      </a:lnTo>
                      <a:lnTo>
                        <a:pt x="18" y="123"/>
                      </a:lnTo>
                      <a:lnTo>
                        <a:pt x="18" y="126"/>
                      </a:lnTo>
                      <a:lnTo>
                        <a:pt x="18" y="127"/>
                      </a:lnTo>
                      <a:lnTo>
                        <a:pt x="19" y="127"/>
                      </a:lnTo>
                      <a:lnTo>
                        <a:pt x="19" y="126"/>
                      </a:lnTo>
                      <a:lnTo>
                        <a:pt x="21" y="126"/>
                      </a:lnTo>
                      <a:lnTo>
                        <a:pt x="22" y="125"/>
                      </a:lnTo>
                      <a:lnTo>
                        <a:pt x="23" y="125"/>
                      </a:lnTo>
                      <a:lnTo>
                        <a:pt x="23" y="126"/>
                      </a:lnTo>
                      <a:lnTo>
                        <a:pt x="23" y="127"/>
                      </a:lnTo>
                      <a:lnTo>
                        <a:pt x="23" y="126"/>
                      </a:lnTo>
                      <a:lnTo>
                        <a:pt x="23" y="125"/>
                      </a:lnTo>
                      <a:lnTo>
                        <a:pt x="24" y="125"/>
                      </a:lnTo>
                      <a:lnTo>
                        <a:pt x="26" y="125"/>
                      </a:lnTo>
                      <a:lnTo>
                        <a:pt x="28" y="125"/>
                      </a:lnTo>
                      <a:lnTo>
                        <a:pt x="26" y="125"/>
                      </a:lnTo>
                      <a:lnTo>
                        <a:pt x="25" y="124"/>
                      </a:lnTo>
                      <a:lnTo>
                        <a:pt x="25" y="123"/>
                      </a:lnTo>
                      <a:lnTo>
                        <a:pt x="25" y="121"/>
                      </a:lnTo>
                      <a:lnTo>
                        <a:pt x="24" y="120"/>
                      </a:lnTo>
                      <a:lnTo>
                        <a:pt x="24" y="121"/>
                      </a:lnTo>
                      <a:lnTo>
                        <a:pt x="23" y="121"/>
                      </a:lnTo>
                      <a:lnTo>
                        <a:pt x="23" y="123"/>
                      </a:lnTo>
                      <a:lnTo>
                        <a:pt x="22" y="124"/>
                      </a:lnTo>
                      <a:lnTo>
                        <a:pt x="21" y="124"/>
                      </a:lnTo>
                      <a:lnTo>
                        <a:pt x="19" y="124"/>
                      </a:lnTo>
                      <a:lnTo>
                        <a:pt x="18" y="123"/>
                      </a:lnTo>
                      <a:lnTo>
                        <a:pt x="18" y="121"/>
                      </a:lnTo>
                      <a:lnTo>
                        <a:pt x="18" y="120"/>
                      </a:lnTo>
                      <a:lnTo>
                        <a:pt x="19" y="120"/>
                      </a:lnTo>
                      <a:lnTo>
                        <a:pt x="19" y="119"/>
                      </a:lnTo>
                      <a:lnTo>
                        <a:pt x="21" y="119"/>
                      </a:lnTo>
                      <a:lnTo>
                        <a:pt x="21" y="118"/>
                      </a:lnTo>
                      <a:lnTo>
                        <a:pt x="21" y="117"/>
                      </a:lnTo>
                      <a:lnTo>
                        <a:pt x="21" y="116"/>
                      </a:lnTo>
                      <a:lnTo>
                        <a:pt x="21" y="114"/>
                      </a:lnTo>
                      <a:lnTo>
                        <a:pt x="21" y="116"/>
                      </a:lnTo>
                      <a:lnTo>
                        <a:pt x="21" y="117"/>
                      </a:lnTo>
                      <a:lnTo>
                        <a:pt x="21" y="118"/>
                      </a:lnTo>
                      <a:lnTo>
                        <a:pt x="19" y="118"/>
                      </a:lnTo>
                      <a:lnTo>
                        <a:pt x="18" y="117"/>
                      </a:lnTo>
                      <a:lnTo>
                        <a:pt x="18" y="118"/>
                      </a:lnTo>
                      <a:lnTo>
                        <a:pt x="17" y="118"/>
                      </a:lnTo>
                      <a:lnTo>
                        <a:pt x="17" y="119"/>
                      </a:lnTo>
                      <a:lnTo>
                        <a:pt x="16" y="119"/>
                      </a:lnTo>
                      <a:lnTo>
                        <a:pt x="15" y="119"/>
                      </a:lnTo>
                      <a:lnTo>
                        <a:pt x="15" y="118"/>
                      </a:lnTo>
                      <a:lnTo>
                        <a:pt x="15" y="117"/>
                      </a:lnTo>
                      <a:lnTo>
                        <a:pt x="14" y="117"/>
                      </a:lnTo>
                      <a:lnTo>
                        <a:pt x="12" y="117"/>
                      </a:lnTo>
                      <a:lnTo>
                        <a:pt x="11" y="116"/>
                      </a:lnTo>
                      <a:lnTo>
                        <a:pt x="10" y="114"/>
                      </a:lnTo>
                      <a:lnTo>
                        <a:pt x="10" y="113"/>
                      </a:lnTo>
                      <a:lnTo>
                        <a:pt x="11" y="113"/>
                      </a:lnTo>
                      <a:lnTo>
                        <a:pt x="11" y="112"/>
                      </a:lnTo>
                      <a:lnTo>
                        <a:pt x="10" y="111"/>
                      </a:lnTo>
                      <a:lnTo>
                        <a:pt x="10" y="112"/>
                      </a:lnTo>
                      <a:lnTo>
                        <a:pt x="10" y="113"/>
                      </a:lnTo>
                      <a:lnTo>
                        <a:pt x="10" y="112"/>
                      </a:lnTo>
                      <a:lnTo>
                        <a:pt x="9" y="111"/>
                      </a:lnTo>
                      <a:lnTo>
                        <a:pt x="9" y="110"/>
                      </a:lnTo>
                      <a:lnTo>
                        <a:pt x="5" y="105"/>
                      </a:lnTo>
                      <a:lnTo>
                        <a:pt x="7" y="106"/>
                      </a:lnTo>
                      <a:lnTo>
                        <a:pt x="8" y="106"/>
                      </a:lnTo>
                      <a:lnTo>
                        <a:pt x="7" y="106"/>
                      </a:lnTo>
                      <a:lnTo>
                        <a:pt x="7" y="105"/>
                      </a:lnTo>
                      <a:lnTo>
                        <a:pt x="8" y="105"/>
                      </a:lnTo>
                      <a:lnTo>
                        <a:pt x="7" y="105"/>
                      </a:lnTo>
                      <a:lnTo>
                        <a:pt x="5" y="105"/>
                      </a:lnTo>
                      <a:lnTo>
                        <a:pt x="5" y="104"/>
                      </a:lnTo>
                      <a:lnTo>
                        <a:pt x="5" y="103"/>
                      </a:lnTo>
                      <a:lnTo>
                        <a:pt x="5" y="104"/>
                      </a:lnTo>
                      <a:lnTo>
                        <a:pt x="4" y="104"/>
                      </a:lnTo>
                      <a:lnTo>
                        <a:pt x="4" y="103"/>
                      </a:lnTo>
                      <a:lnTo>
                        <a:pt x="4" y="102"/>
                      </a:lnTo>
                      <a:lnTo>
                        <a:pt x="3" y="99"/>
                      </a:lnTo>
                      <a:lnTo>
                        <a:pt x="2" y="98"/>
                      </a:lnTo>
                      <a:lnTo>
                        <a:pt x="2" y="97"/>
                      </a:lnTo>
                      <a:lnTo>
                        <a:pt x="1" y="96"/>
                      </a:lnTo>
                      <a:lnTo>
                        <a:pt x="0" y="93"/>
                      </a:lnTo>
                      <a:lnTo>
                        <a:pt x="1" y="92"/>
                      </a:lnTo>
                      <a:lnTo>
                        <a:pt x="1" y="93"/>
                      </a:lnTo>
                      <a:lnTo>
                        <a:pt x="2" y="93"/>
                      </a:lnTo>
                      <a:lnTo>
                        <a:pt x="2" y="95"/>
                      </a:lnTo>
                      <a:lnTo>
                        <a:pt x="3" y="96"/>
                      </a:lnTo>
                      <a:lnTo>
                        <a:pt x="3" y="98"/>
                      </a:lnTo>
                      <a:lnTo>
                        <a:pt x="4" y="98"/>
                      </a:lnTo>
                      <a:lnTo>
                        <a:pt x="4" y="99"/>
                      </a:lnTo>
                      <a:lnTo>
                        <a:pt x="5" y="99"/>
                      </a:lnTo>
                      <a:lnTo>
                        <a:pt x="5" y="98"/>
                      </a:lnTo>
                      <a:lnTo>
                        <a:pt x="5" y="97"/>
                      </a:lnTo>
                      <a:lnTo>
                        <a:pt x="7" y="97"/>
                      </a:lnTo>
                      <a:lnTo>
                        <a:pt x="7" y="96"/>
                      </a:lnTo>
                      <a:lnTo>
                        <a:pt x="8" y="96"/>
                      </a:lnTo>
                      <a:lnTo>
                        <a:pt x="8" y="97"/>
                      </a:lnTo>
                      <a:lnTo>
                        <a:pt x="8" y="98"/>
                      </a:lnTo>
                      <a:lnTo>
                        <a:pt x="9" y="99"/>
                      </a:lnTo>
                      <a:lnTo>
                        <a:pt x="10" y="99"/>
                      </a:lnTo>
                      <a:lnTo>
                        <a:pt x="10" y="100"/>
                      </a:lnTo>
                      <a:lnTo>
                        <a:pt x="10" y="102"/>
                      </a:lnTo>
                      <a:lnTo>
                        <a:pt x="10" y="99"/>
                      </a:lnTo>
                      <a:lnTo>
                        <a:pt x="11" y="98"/>
                      </a:lnTo>
                      <a:lnTo>
                        <a:pt x="11" y="97"/>
                      </a:lnTo>
                      <a:lnTo>
                        <a:pt x="12" y="96"/>
                      </a:lnTo>
                      <a:lnTo>
                        <a:pt x="12" y="95"/>
                      </a:lnTo>
                      <a:lnTo>
                        <a:pt x="14" y="96"/>
                      </a:lnTo>
                      <a:lnTo>
                        <a:pt x="14" y="95"/>
                      </a:lnTo>
                      <a:lnTo>
                        <a:pt x="12" y="95"/>
                      </a:lnTo>
                      <a:lnTo>
                        <a:pt x="12" y="93"/>
                      </a:lnTo>
                      <a:lnTo>
                        <a:pt x="15" y="91"/>
                      </a:lnTo>
                      <a:lnTo>
                        <a:pt x="15" y="90"/>
                      </a:lnTo>
                      <a:lnTo>
                        <a:pt x="18" y="88"/>
                      </a:lnTo>
                      <a:lnTo>
                        <a:pt x="19" y="86"/>
                      </a:lnTo>
                      <a:lnTo>
                        <a:pt x="19" y="85"/>
                      </a:lnTo>
                      <a:lnTo>
                        <a:pt x="19" y="81"/>
                      </a:lnTo>
                      <a:lnTo>
                        <a:pt x="21" y="78"/>
                      </a:lnTo>
                      <a:lnTo>
                        <a:pt x="21" y="77"/>
                      </a:lnTo>
                      <a:lnTo>
                        <a:pt x="21" y="76"/>
                      </a:lnTo>
                      <a:lnTo>
                        <a:pt x="21" y="75"/>
                      </a:lnTo>
                      <a:lnTo>
                        <a:pt x="21" y="74"/>
                      </a:lnTo>
                      <a:lnTo>
                        <a:pt x="21" y="72"/>
                      </a:lnTo>
                      <a:lnTo>
                        <a:pt x="19" y="67"/>
                      </a:lnTo>
                      <a:lnTo>
                        <a:pt x="19" y="65"/>
                      </a:lnTo>
                      <a:lnTo>
                        <a:pt x="19" y="64"/>
                      </a:lnTo>
                      <a:lnTo>
                        <a:pt x="21" y="63"/>
                      </a:lnTo>
                      <a:lnTo>
                        <a:pt x="22" y="64"/>
                      </a:lnTo>
                      <a:lnTo>
                        <a:pt x="22" y="65"/>
                      </a:lnTo>
                      <a:lnTo>
                        <a:pt x="21" y="67"/>
                      </a:lnTo>
                      <a:lnTo>
                        <a:pt x="22" y="67"/>
                      </a:lnTo>
                      <a:lnTo>
                        <a:pt x="22" y="68"/>
                      </a:lnTo>
                      <a:lnTo>
                        <a:pt x="21" y="68"/>
                      </a:lnTo>
                      <a:lnTo>
                        <a:pt x="21" y="69"/>
                      </a:lnTo>
                      <a:lnTo>
                        <a:pt x="22" y="69"/>
                      </a:lnTo>
                      <a:lnTo>
                        <a:pt x="22" y="68"/>
                      </a:lnTo>
                      <a:lnTo>
                        <a:pt x="23" y="68"/>
                      </a:lnTo>
                      <a:lnTo>
                        <a:pt x="24" y="69"/>
                      </a:lnTo>
                      <a:lnTo>
                        <a:pt x="24" y="70"/>
                      </a:lnTo>
                      <a:lnTo>
                        <a:pt x="24" y="71"/>
                      </a:lnTo>
                      <a:lnTo>
                        <a:pt x="25" y="71"/>
                      </a:lnTo>
                      <a:lnTo>
                        <a:pt x="25" y="69"/>
                      </a:lnTo>
                      <a:lnTo>
                        <a:pt x="28" y="69"/>
                      </a:lnTo>
                      <a:lnTo>
                        <a:pt x="28" y="70"/>
                      </a:lnTo>
                      <a:lnTo>
                        <a:pt x="28" y="71"/>
                      </a:lnTo>
                      <a:lnTo>
                        <a:pt x="29" y="70"/>
                      </a:lnTo>
                      <a:lnTo>
                        <a:pt x="30" y="69"/>
                      </a:lnTo>
                      <a:lnTo>
                        <a:pt x="30" y="70"/>
                      </a:lnTo>
                      <a:lnTo>
                        <a:pt x="31" y="70"/>
                      </a:lnTo>
                      <a:lnTo>
                        <a:pt x="32" y="70"/>
                      </a:lnTo>
                      <a:lnTo>
                        <a:pt x="33" y="71"/>
                      </a:lnTo>
                      <a:lnTo>
                        <a:pt x="35" y="72"/>
                      </a:lnTo>
                      <a:lnTo>
                        <a:pt x="36" y="74"/>
                      </a:lnTo>
                      <a:lnTo>
                        <a:pt x="35" y="71"/>
                      </a:lnTo>
                      <a:lnTo>
                        <a:pt x="33" y="71"/>
                      </a:lnTo>
                      <a:lnTo>
                        <a:pt x="33" y="70"/>
                      </a:lnTo>
                      <a:lnTo>
                        <a:pt x="35" y="70"/>
                      </a:lnTo>
                      <a:lnTo>
                        <a:pt x="36" y="70"/>
                      </a:lnTo>
                      <a:lnTo>
                        <a:pt x="37" y="69"/>
                      </a:lnTo>
                      <a:lnTo>
                        <a:pt x="38" y="69"/>
                      </a:lnTo>
                      <a:lnTo>
                        <a:pt x="38" y="68"/>
                      </a:lnTo>
                      <a:lnTo>
                        <a:pt x="39" y="68"/>
                      </a:lnTo>
                      <a:lnTo>
                        <a:pt x="39" y="69"/>
                      </a:lnTo>
                      <a:lnTo>
                        <a:pt x="40" y="69"/>
                      </a:lnTo>
                      <a:lnTo>
                        <a:pt x="42" y="68"/>
                      </a:lnTo>
                      <a:lnTo>
                        <a:pt x="40" y="68"/>
                      </a:lnTo>
                      <a:lnTo>
                        <a:pt x="39" y="68"/>
                      </a:lnTo>
                      <a:lnTo>
                        <a:pt x="38" y="68"/>
                      </a:lnTo>
                      <a:lnTo>
                        <a:pt x="37" y="68"/>
                      </a:lnTo>
                      <a:lnTo>
                        <a:pt x="35" y="69"/>
                      </a:lnTo>
                      <a:lnTo>
                        <a:pt x="33" y="68"/>
                      </a:lnTo>
                      <a:lnTo>
                        <a:pt x="32" y="68"/>
                      </a:lnTo>
                      <a:lnTo>
                        <a:pt x="31" y="68"/>
                      </a:lnTo>
                      <a:lnTo>
                        <a:pt x="31" y="67"/>
                      </a:lnTo>
                      <a:lnTo>
                        <a:pt x="29" y="65"/>
                      </a:lnTo>
                      <a:lnTo>
                        <a:pt x="28" y="65"/>
                      </a:lnTo>
                      <a:lnTo>
                        <a:pt x="28" y="64"/>
                      </a:lnTo>
                      <a:lnTo>
                        <a:pt x="26" y="64"/>
                      </a:lnTo>
                      <a:lnTo>
                        <a:pt x="25" y="65"/>
                      </a:lnTo>
                      <a:lnTo>
                        <a:pt x="25" y="64"/>
                      </a:lnTo>
                      <a:lnTo>
                        <a:pt x="25" y="63"/>
                      </a:lnTo>
                      <a:lnTo>
                        <a:pt x="24" y="63"/>
                      </a:lnTo>
                      <a:lnTo>
                        <a:pt x="23" y="60"/>
                      </a:lnTo>
                      <a:lnTo>
                        <a:pt x="22" y="58"/>
                      </a:lnTo>
                      <a:lnTo>
                        <a:pt x="21" y="57"/>
                      </a:lnTo>
                      <a:lnTo>
                        <a:pt x="19" y="57"/>
                      </a:lnTo>
                      <a:lnTo>
                        <a:pt x="19" y="55"/>
                      </a:lnTo>
                      <a:lnTo>
                        <a:pt x="21" y="55"/>
                      </a:lnTo>
                      <a:lnTo>
                        <a:pt x="21" y="54"/>
                      </a:lnTo>
                      <a:lnTo>
                        <a:pt x="22" y="54"/>
                      </a:lnTo>
                      <a:lnTo>
                        <a:pt x="23" y="54"/>
                      </a:lnTo>
                      <a:lnTo>
                        <a:pt x="24" y="54"/>
                      </a:lnTo>
                      <a:lnTo>
                        <a:pt x="25" y="54"/>
                      </a:lnTo>
                      <a:lnTo>
                        <a:pt x="25" y="53"/>
                      </a:lnTo>
                      <a:lnTo>
                        <a:pt x="26" y="53"/>
                      </a:lnTo>
                      <a:lnTo>
                        <a:pt x="26" y="54"/>
                      </a:lnTo>
                      <a:lnTo>
                        <a:pt x="28" y="54"/>
                      </a:lnTo>
                      <a:lnTo>
                        <a:pt x="28" y="55"/>
                      </a:lnTo>
                      <a:lnTo>
                        <a:pt x="26" y="55"/>
                      </a:lnTo>
                      <a:lnTo>
                        <a:pt x="25" y="55"/>
                      </a:lnTo>
                      <a:lnTo>
                        <a:pt x="24" y="55"/>
                      </a:lnTo>
                      <a:lnTo>
                        <a:pt x="25" y="55"/>
                      </a:lnTo>
                      <a:lnTo>
                        <a:pt x="26" y="56"/>
                      </a:lnTo>
                      <a:lnTo>
                        <a:pt x="28" y="56"/>
                      </a:lnTo>
                      <a:lnTo>
                        <a:pt x="28" y="55"/>
                      </a:lnTo>
                      <a:lnTo>
                        <a:pt x="28" y="56"/>
                      </a:lnTo>
                      <a:lnTo>
                        <a:pt x="28" y="57"/>
                      </a:lnTo>
                      <a:lnTo>
                        <a:pt x="28" y="58"/>
                      </a:lnTo>
                      <a:lnTo>
                        <a:pt x="28" y="60"/>
                      </a:lnTo>
                      <a:lnTo>
                        <a:pt x="29" y="60"/>
                      </a:lnTo>
                      <a:lnTo>
                        <a:pt x="29" y="58"/>
                      </a:lnTo>
                      <a:lnTo>
                        <a:pt x="29" y="57"/>
                      </a:lnTo>
                      <a:lnTo>
                        <a:pt x="30" y="56"/>
                      </a:lnTo>
                      <a:lnTo>
                        <a:pt x="30" y="55"/>
                      </a:lnTo>
                      <a:lnTo>
                        <a:pt x="29" y="55"/>
                      </a:lnTo>
                      <a:lnTo>
                        <a:pt x="29" y="54"/>
                      </a:lnTo>
                      <a:lnTo>
                        <a:pt x="29" y="53"/>
                      </a:lnTo>
                      <a:lnTo>
                        <a:pt x="29" y="49"/>
                      </a:lnTo>
                      <a:lnTo>
                        <a:pt x="28" y="46"/>
                      </a:lnTo>
                      <a:lnTo>
                        <a:pt x="28" y="44"/>
                      </a:lnTo>
                      <a:lnTo>
                        <a:pt x="28" y="43"/>
                      </a:lnTo>
                      <a:lnTo>
                        <a:pt x="28" y="42"/>
                      </a:lnTo>
                      <a:lnTo>
                        <a:pt x="29" y="42"/>
                      </a:lnTo>
                      <a:lnTo>
                        <a:pt x="30" y="42"/>
                      </a:lnTo>
                      <a:lnTo>
                        <a:pt x="30" y="41"/>
                      </a:lnTo>
                      <a:lnTo>
                        <a:pt x="31" y="41"/>
                      </a:lnTo>
                      <a:lnTo>
                        <a:pt x="33" y="41"/>
                      </a:lnTo>
                      <a:lnTo>
                        <a:pt x="33" y="42"/>
                      </a:lnTo>
                      <a:lnTo>
                        <a:pt x="35" y="43"/>
                      </a:lnTo>
                      <a:lnTo>
                        <a:pt x="36" y="43"/>
                      </a:lnTo>
                      <a:lnTo>
                        <a:pt x="37" y="43"/>
                      </a:lnTo>
                      <a:lnTo>
                        <a:pt x="38" y="44"/>
                      </a:lnTo>
                      <a:lnTo>
                        <a:pt x="39" y="44"/>
                      </a:lnTo>
                      <a:lnTo>
                        <a:pt x="39" y="46"/>
                      </a:lnTo>
                      <a:lnTo>
                        <a:pt x="39" y="44"/>
                      </a:lnTo>
                      <a:lnTo>
                        <a:pt x="40" y="44"/>
                      </a:lnTo>
                      <a:lnTo>
                        <a:pt x="40" y="43"/>
                      </a:lnTo>
                      <a:lnTo>
                        <a:pt x="42" y="42"/>
                      </a:lnTo>
                      <a:lnTo>
                        <a:pt x="45" y="42"/>
                      </a:lnTo>
                      <a:lnTo>
                        <a:pt x="54" y="42"/>
                      </a:lnTo>
                      <a:lnTo>
                        <a:pt x="65" y="42"/>
                      </a:lnTo>
                      <a:lnTo>
                        <a:pt x="72" y="42"/>
                      </a:lnTo>
                      <a:lnTo>
                        <a:pt x="74" y="42"/>
                      </a:lnTo>
                      <a:lnTo>
                        <a:pt x="83" y="42"/>
                      </a:lnTo>
                      <a:lnTo>
                        <a:pt x="83" y="34"/>
                      </a:lnTo>
                      <a:lnTo>
                        <a:pt x="83" y="26"/>
                      </a:lnTo>
                      <a:lnTo>
                        <a:pt x="83" y="19"/>
                      </a:lnTo>
                      <a:lnTo>
                        <a:pt x="83" y="18"/>
                      </a:lnTo>
                      <a:lnTo>
                        <a:pt x="83" y="9"/>
                      </a:lnTo>
                      <a:lnTo>
                        <a:pt x="83" y="7"/>
                      </a:lnTo>
                      <a:lnTo>
                        <a:pt x="82" y="6"/>
                      </a:lnTo>
                      <a:lnTo>
                        <a:pt x="82" y="5"/>
                      </a:lnTo>
                      <a:lnTo>
                        <a:pt x="83" y="5"/>
                      </a:lnTo>
                      <a:lnTo>
                        <a:pt x="83" y="4"/>
                      </a:lnTo>
                      <a:lnTo>
                        <a:pt x="83" y="2"/>
                      </a:lnTo>
                      <a:lnTo>
                        <a:pt x="83" y="1"/>
                      </a:lnTo>
                      <a:lnTo>
                        <a:pt x="92" y="1"/>
                      </a:lnTo>
                      <a:lnTo>
                        <a:pt x="93" y="0"/>
                      </a:lnTo>
                      <a:lnTo>
                        <a:pt x="94" y="0"/>
                      </a:lnTo>
                      <a:lnTo>
                        <a:pt x="94" y="1"/>
                      </a:lnTo>
                      <a:lnTo>
                        <a:pt x="95" y="1"/>
                      </a:lnTo>
                      <a:lnTo>
                        <a:pt x="96"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19" name="Freeform 91">
                  <a:extLst>
                    <a:ext uri="{FF2B5EF4-FFF2-40B4-BE49-F238E27FC236}">
                      <a16:creationId xmlns:a16="http://schemas.microsoft.com/office/drawing/2014/main" id="{A6F18071-F2EF-DA05-5BC7-A614E628005E}"/>
                    </a:ext>
                  </a:extLst>
                </p:cNvPr>
                <p:cNvSpPr>
                  <a:spLocks/>
                </p:cNvSpPr>
                <p:nvPr/>
              </p:nvSpPr>
              <p:spPr bwMode="auto">
                <a:xfrm>
                  <a:off x="5706623" y="3372413"/>
                  <a:ext cx="256371" cy="188221"/>
                </a:xfrm>
                <a:custGeom>
                  <a:avLst/>
                  <a:gdLst>
                    <a:gd name="T0" fmla="*/ 120 w 237"/>
                    <a:gd name="T1" fmla="*/ 21 h 174"/>
                    <a:gd name="T2" fmla="*/ 135 w 237"/>
                    <a:gd name="T3" fmla="*/ 18 h 174"/>
                    <a:gd name="T4" fmla="*/ 144 w 237"/>
                    <a:gd name="T5" fmla="*/ 18 h 174"/>
                    <a:gd name="T6" fmla="*/ 155 w 237"/>
                    <a:gd name="T7" fmla="*/ 14 h 174"/>
                    <a:gd name="T8" fmla="*/ 171 w 237"/>
                    <a:gd name="T9" fmla="*/ 18 h 174"/>
                    <a:gd name="T10" fmla="*/ 181 w 237"/>
                    <a:gd name="T11" fmla="*/ 7 h 174"/>
                    <a:gd name="T12" fmla="*/ 193 w 237"/>
                    <a:gd name="T13" fmla="*/ 8 h 174"/>
                    <a:gd name="T14" fmla="*/ 199 w 237"/>
                    <a:gd name="T15" fmla="*/ 19 h 174"/>
                    <a:gd name="T16" fmla="*/ 207 w 237"/>
                    <a:gd name="T17" fmla="*/ 36 h 174"/>
                    <a:gd name="T18" fmla="*/ 209 w 237"/>
                    <a:gd name="T19" fmla="*/ 42 h 174"/>
                    <a:gd name="T20" fmla="*/ 207 w 237"/>
                    <a:gd name="T21" fmla="*/ 53 h 174"/>
                    <a:gd name="T22" fmla="*/ 215 w 237"/>
                    <a:gd name="T23" fmla="*/ 60 h 174"/>
                    <a:gd name="T24" fmla="*/ 226 w 237"/>
                    <a:gd name="T25" fmla="*/ 75 h 174"/>
                    <a:gd name="T26" fmla="*/ 221 w 237"/>
                    <a:gd name="T27" fmla="*/ 87 h 174"/>
                    <a:gd name="T28" fmla="*/ 229 w 237"/>
                    <a:gd name="T29" fmla="*/ 106 h 174"/>
                    <a:gd name="T30" fmla="*/ 228 w 237"/>
                    <a:gd name="T31" fmla="*/ 119 h 174"/>
                    <a:gd name="T32" fmla="*/ 236 w 237"/>
                    <a:gd name="T33" fmla="*/ 133 h 174"/>
                    <a:gd name="T34" fmla="*/ 223 w 237"/>
                    <a:gd name="T35" fmla="*/ 132 h 174"/>
                    <a:gd name="T36" fmla="*/ 226 w 237"/>
                    <a:gd name="T37" fmla="*/ 143 h 174"/>
                    <a:gd name="T38" fmla="*/ 222 w 237"/>
                    <a:gd name="T39" fmla="*/ 158 h 174"/>
                    <a:gd name="T40" fmla="*/ 212 w 237"/>
                    <a:gd name="T41" fmla="*/ 162 h 174"/>
                    <a:gd name="T42" fmla="*/ 200 w 237"/>
                    <a:gd name="T43" fmla="*/ 167 h 174"/>
                    <a:gd name="T44" fmla="*/ 192 w 237"/>
                    <a:gd name="T45" fmla="*/ 173 h 174"/>
                    <a:gd name="T46" fmla="*/ 180 w 237"/>
                    <a:gd name="T47" fmla="*/ 168 h 174"/>
                    <a:gd name="T48" fmla="*/ 183 w 237"/>
                    <a:gd name="T49" fmla="*/ 158 h 174"/>
                    <a:gd name="T50" fmla="*/ 179 w 237"/>
                    <a:gd name="T51" fmla="*/ 144 h 174"/>
                    <a:gd name="T52" fmla="*/ 174 w 237"/>
                    <a:gd name="T53" fmla="*/ 134 h 174"/>
                    <a:gd name="T54" fmla="*/ 164 w 237"/>
                    <a:gd name="T55" fmla="*/ 133 h 174"/>
                    <a:gd name="T56" fmla="*/ 150 w 237"/>
                    <a:gd name="T57" fmla="*/ 134 h 174"/>
                    <a:gd name="T58" fmla="*/ 141 w 237"/>
                    <a:gd name="T59" fmla="*/ 138 h 174"/>
                    <a:gd name="T60" fmla="*/ 143 w 237"/>
                    <a:gd name="T61" fmla="*/ 123 h 174"/>
                    <a:gd name="T62" fmla="*/ 141 w 237"/>
                    <a:gd name="T63" fmla="*/ 108 h 174"/>
                    <a:gd name="T64" fmla="*/ 131 w 237"/>
                    <a:gd name="T65" fmla="*/ 96 h 174"/>
                    <a:gd name="T66" fmla="*/ 101 w 237"/>
                    <a:gd name="T67" fmla="*/ 89 h 174"/>
                    <a:gd name="T68" fmla="*/ 80 w 237"/>
                    <a:gd name="T69" fmla="*/ 97 h 174"/>
                    <a:gd name="T70" fmla="*/ 71 w 237"/>
                    <a:gd name="T71" fmla="*/ 110 h 174"/>
                    <a:gd name="T72" fmla="*/ 60 w 237"/>
                    <a:gd name="T73" fmla="*/ 117 h 174"/>
                    <a:gd name="T74" fmla="*/ 59 w 237"/>
                    <a:gd name="T75" fmla="*/ 110 h 174"/>
                    <a:gd name="T76" fmla="*/ 53 w 237"/>
                    <a:gd name="T77" fmla="*/ 108 h 174"/>
                    <a:gd name="T78" fmla="*/ 48 w 237"/>
                    <a:gd name="T79" fmla="*/ 102 h 174"/>
                    <a:gd name="T80" fmla="*/ 48 w 237"/>
                    <a:gd name="T81" fmla="*/ 95 h 174"/>
                    <a:gd name="T82" fmla="*/ 43 w 237"/>
                    <a:gd name="T83" fmla="*/ 91 h 174"/>
                    <a:gd name="T84" fmla="*/ 34 w 237"/>
                    <a:gd name="T85" fmla="*/ 83 h 174"/>
                    <a:gd name="T86" fmla="*/ 29 w 237"/>
                    <a:gd name="T87" fmla="*/ 85 h 174"/>
                    <a:gd name="T88" fmla="*/ 20 w 237"/>
                    <a:gd name="T89" fmla="*/ 81 h 174"/>
                    <a:gd name="T90" fmla="*/ 13 w 237"/>
                    <a:gd name="T91" fmla="*/ 71 h 174"/>
                    <a:gd name="T92" fmla="*/ 19 w 237"/>
                    <a:gd name="T93" fmla="*/ 59 h 174"/>
                    <a:gd name="T94" fmla="*/ 13 w 237"/>
                    <a:gd name="T95" fmla="*/ 63 h 174"/>
                    <a:gd name="T96" fmla="*/ 10 w 237"/>
                    <a:gd name="T97" fmla="*/ 60 h 174"/>
                    <a:gd name="T98" fmla="*/ 13 w 237"/>
                    <a:gd name="T99" fmla="*/ 54 h 174"/>
                    <a:gd name="T100" fmla="*/ 6 w 237"/>
                    <a:gd name="T101" fmla="*/ 56 h 174"/>
                    <a:gd name="T102" fmla="*/ 1 w 237"/>
                    <a:gd name="T103" fmla="*/ 59 h 174"/>
                    <a:gd name="T104" fmla="*/ 20 w 237"/>
                    <a:gd name="T105" fmla="*/ 38 h 174"/>
                    <a:gd name="T106" fmla="*/ 39 w 237"/>
                    <a:gd name="T107" fmla="*/ 32 h 174"/>
                    <a:gd name="T108" fmla="*/ 36 w 237"/>
                    <a:gd name="T109" fmla="*/ 18 h 174"/>
                    <a:gd name="T110" fmla="*/ 44 w 237"/>
                    <a:gd name="T111" fmla="*/ 8 h 174"/>
                    <a:gd name="T112" fmla="*/ 62 w 237"/>
                    <a:gd name="T113" fmla="*/ 1 h 174"/>
                    <a:gd name="T114" fmla="*/ 72 w 237"/>
                    <a:gd name="T115" fmla="*/ 7 h 174"/>
                    <a:gd name="T116" fmla="*/ 94 w 237"/>
                    <a:gd name="T117" fmla="*/ 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7" h="174">
                      <a:moveTo>
                        <a:pt x="116" y="8"/>
                      </a:moveTo>
                      <a:lnTo>
                        <a:pt x="115" y="8"/>
                      </a:lnTo>
                      <a:lnTo>
                        <a:pt x="114" y="10"/>
                      </a:lnTo>
                      <a:lnTo>
                        <a:pt x="115" y="11"/>
                      </a:lnTo>
                      <a:lnTo>
                        <a:pt x="115" y="12"/>
                      </a:lnTo>
                      <a:lnTo>
                        <a:pt x="114" y="13"/>
                      </a:lnTo>
                      <a:lnTo>
                        <a:pt x="113" y="14"/>
                      </a:lnTo>
                      <a:lnTo>
                        <a:pt x="113" y="15"/>
                      </a:lnTo>
                      <a:lnTo>
                        <a:pt x="113" y="17"/>
                      </a:lnTo>
                      <a:lnTo>
                        <a:pt x="114" y="17"/>
                      </a:lnTo>
                      <a:lnTo>
                        <a:pt x="116" y="18"/>
                      </a:lnTo>
                      <a:lnTo>
                        <a:pt x="117" y="20"/>
                      </a:lnTo>
                      <a:lnTo>
                        <a:pt x="119" y="20"/>
                      </a:lnTo>
                      <a:lnTo>
                        <a:pt x="119" y="21"/>
                      </a:lnTo>
                      <a:lnTo>
                        <a:pt x="120" y="21"/>
                      </a:lnTo>
                      <a:lnTo>
                        <a:pt x="121" y="21"/>
                      </a:lnTo>
                      <a:lnTo>
                        <a:pt x="122" y="21"/>
                      </a:lnTo>
                      <a:lnTo>
                        <a:pt x="123" y="20"/>
                      </a:lnTo>
                      <a:lnTo>
                        <a:pt x="123" y="19"/>
                      </a:lnTo>
                      <a:lnTo>
                        <a:pt x="124" y="19"/>
                      </a:lnTo>
                      <a:lnTo>
                        <a:pt x="124" y="18"/>
                      </a:lnTo>
                      <a:lnTo>
                        <a:pt x="126" y="18"/>
                      </a:lnTo>
                      <a:lnTo>
                        <a:pt x="127" y="17"/>
                      </a:lnTo>
                      <a:lnTo>
                        <a:pt x="127" y="14"/>
                      </a:lnTo>
                      <a:lnTo>
                        <a:pt x="128" y="14"/>
                      </a:lnTo>
                      <a:lnTo>
                        <a:pt x="130" y="14"/>
                      </a:lnTo>
                      <a:lnTo>
                        <a:pt x="131" y="14"/>
                      </a:lnTo>
                      <a:lnTo>
                        <a:pt x="133" y="17"/>
                      </a:lnTo>
                      <a:lnTo>
                        <a:pt x="134" y="17"/>
                      </a:lnTo>
                      <a:lnTo>
                        <a:pt x="135" y="18"/>
                      </a:lnTo>
                      <a:lnTo>
                        <a:pt x="135" y="19"/>
                      </a:lnTo>
                      <a:lnTo>
                        <a:pt x="135" y="20"/>
                      </a:lnTo>
                      <a:lnTo>
                        <a:pt x="136" y="21"/>
                      </a:lnTo>
                      <a:lnTo>
                        <a:pt x="137" y="24"/>
                      </a:lnTo>
                      <a:lnTo>
                        <a:pt x="138" y="25"/>
                      </a:lnTo>
                      <a:lnTo>
                        <a:pt x="140" y="25"/>
                      </a:lnTo>
                      <a:lnTo>
                        <a:pt x="140" y="24"/>
                      </a:lnTo>
                      <a:lnTo>
                        <a:pt x="141" y="24"/>
                      </a:lnTo>
                      <a:lnTo>
                        <a:pt x="141" y="22"/>
                      </a:lnTo>
                      <a:lnTo>
                        <a:pt x="141" y="21"/>
                      </a:lnTo>
                      <a:lnTo>
                        <a:pt x="142" y="21"/>
                      </a:lnTo>
                      <a:lnTo>
                        <a:pt x="143" y="21"/>
                      </a:lnTo>
                      <a:lnTo>
                        <a:pt x="143" y="20"/>
                      </a:lnTo>
                      <a:lnTo>
                        <a:pt x="144" y="19"/>
                      </a:lnTo>
                      <a:lnTo>
                        <a:pt x="144" y="18"/>
                      </a:lnTo>
                      <a:lnTo>
                        <a:pt x="144" y="17"/>
                      </a:lnTo>
                      <a:lnTo>
                        <a:pt x="145" y="17"/>
                      </a:lnTo>
                      <a:lnTo>
                        <a:pt x="147" y="17"/>
                      </a:lnTo>
                      <a:lnTo>
                        <a:pt x="147" y="15"/>
                      </a:lnTo>
                      <a:lnTo>
                        <a:pt x="148" y="15"/>
                      </a:lnTo>
                      <a:lnTo>
                        <a:pt x="149" y="14"/>
                      </a:lnTo>
                      <a:lnTo>
                        <a:pt x="149" y="15"/>
                      </a:lnTo>
                      <a:lnTo>
                        <a:pt x="150" y="15"/>
                      </a:lnTo>
                      <a:lnTo>
                        <a:pt x="149" y="14"/>
                      </a:lnTo>
                      <a:lnTo>
                        <a:pt x="150" y="14"/>
                      </a:lnTo>
                      <a:lnTo>
                        <a:pt x="151" y="14"/>
                      </a:lnTo>
                      <a:lnTo>
                        <a:pt x="152" y="13"/>
                      </a:lnTo>
                      <a:lnTo>
                        <a:pt x="152" y="14"/>
                      </a:lnTo>
                      <a:lnTo>
                        <a:pt x="154" y="14"/>
                      </a:lnTo>
                      <a:lnTo>
                        <a:pt x="155" y="14"/>
                      </a:lnTo>
                      <a:lnTo>
                        <a:pt x="156" y="14"/>
                      </a:lnTo>
                      <a:lnTo>
                        <a:pt x="157" y="14"/>
                      </a:lnTo>
                      <a:lnTo>
                        <a:pt x="157" y="15"/>
                      </a:lnTo>
                      <a:lnTo>
                        <a:pt x="158" y="15"/>
                      </a:lnTo>
                      <a:lnTo>
                        <a:pt x="159" y="15"/>
                      </a:lnTo>
                      <a:lnTo>
                        <a:pt x="159" y="17"/>
                      </a:lnTo>
                      <a:lnTo>
                        <a:pt x="161" y="17"/>
                      </a:lnTo>
                      <a:lnTo>
                        <a:pt x="162" y="18"/>
                      </a:lnTo>
                      <a:lnTo>
                        <a:pt x="163" y="18"/>
                      </a:lnTo>
                      <a:lnTo>
                        <a:pt x="164" y="19"/>
                      </a:lnTo>
                      <a:lnTo>
                        <a:pt x="165" y="19"/>
                      </a:lnTo>
                      <a:lnTo>
                        <a:pt x="166" y="19"/>
                      </a:lnTo>
                      <a:lnTo>
                        <a:pt x="167" y="19"/>
                      </a:lnTo>
                      <a:lnTo>
                        <a:pt x="170" y="19"/>
                      </a:lnTo>
                      <a:lnTo>
                        <a:pt x="171" y="18"/>
                      </a:lnTo>
                      <a:lnTo>
                        <a:pt x="171" y="17"/>
                      </a:lnTo>
                      <a:lnTo>
                        <a:pt x="171" y="15"/>
                      </a:lnTo>
                      <a:lnTo>
                        <a:pt x="172" y="14"/>
                      </a:lnTo>
                      <a:lnTo>
                        <a:pt x="176" y="13"/>
                      </a:lnTo>
                      <a:lnTo>
                        <a:pt x="177" y="13"/>
                      </a:lnTo>
                      <a:lnTo>
                        <a:pt x="177" y="12"/>
                      </a:lnTo>
                      <a:lnTo>
                        <a:pt x="178" y="12"/>
                      </a:lnTo>
                      <a:lnTo>
                        <a:pt x="179" y="12"/>
                      </a:lnTo>
                      <a:lnTo>
                        <a:pt x="181" y="12"/>
                      </a:lnTo>
                      <a:lnTo>
                        <a:pt x="181" y="11"/>
                      </a:lnTo>
                      <a:lnTo>
                        <a:pt x="181" y="10"/>
                      </a:lnTo>
                      <a:lnTo>
                        <a:pt x="183" y="10"/>
                      </a:lnTo>
                      <a:lnTo>
                        <a:pt x="183" y="8"/>
                      </a:lnTo>
                      <a:lnTo>
                        <a:pt x="181" y="8"/>
                      </a:lnTo>
                      <a:lnTo>
                        <a:pt x="181" y="7"/>
                      </a:lnTo>
                      <a:lnTo>
                        <a:pt x="180" y="7"/>
                      </a:lnTo>
                      <a:lnTo>
                        <a:pt x="180" y="6"/>
                      </a:lnTo>
                      <a:lnTo>
                        <a:pt x="179" y="6"/>
                      </a:lnTo>
                      <a:lnTo>
                        <a:pt x="179" y="5"/>
                      </a:lnTo>
                      <a:lnTo>
                        <a:pt x="180" y="5"/>
                      </a:lnTo>
                      <a:lnTo>
                        <a:pt x="181" y="5"/>
                      </a:lnTo>
                      <a:lnTo>
                        <a:pt x="181" y="4"/>
                      </a:lnTo>
                      <a:lnTo>
                        <a:pt x="183" y="4"/>
                      </a:lnTo>
                      <a:lnTo>
                        <a:pt x="183" y="5"/>
                      </a:lnTo>
                      <a:lnTo>
                        <a:pt x="184" y="4"/>
                      </a:lnTo>
                      <a:lnTo>
                        <a:pt x="186" y="5"/>
                      </a:lnTo>
                      <a:lnTo>
                        <a:pt x="187" y="5"/>
                      </a:lnTo>
                      <a:lnTo>
                        <a:pt x="192" y="7"/>
                      </a:lnTo>
                      <a:lnTo>
                        <a:pt x="193" y="7"/>
                      </a:lnTo>
                      <a:lnTo>
                        <a:pt x="193" y="8"/>
                      </a:lnTo>
                      <a:lnTo>
                        <a:pt x="193" y="10"/>
                      </a:lnTo>
                      <a:lnTo>
                        <a:pt x="193" y="11"/>
                      </a:lnTo>
                      <a:lnTo>
                        <a:pt x="193" y="12"/>
                      </a:lnTo>
                      <a:lnTo>
                        <a:pt x="193" y="13"/>
                      </a:lnTo>
                      <a:lnTo>
                        <a:pt x="193" y="14"/>
                      </a:lnTo>
                      <a:lnTo>
                        <a:pt x="194" y="14"/>
                      </a:lnTo>
                      <a:lnTo>
                        <a:pt x="194" y="13"/>
                      </a:lnTo>
                      <a:lnTo>
                        <a:pt x="195" y="14"/>
                      </a:lnTo>
                      <a:lnTo>
                        <a:pt x="195" y="15"/>
                      </a:lnTo>
                      <a:lnTo>
                        <a:pt x="195" y="17"/>
                      </a:lnTo>
                      <a:lnTo>
                        <a:pt x="195" y="18"/>
                      </a:lnTo>
                      <a:lnTo>
                        <a:pt x="195" y="19"/>
                      </a:lnTo>
                      <a:lnTo>
                        <a:pt x="197" y="19"/>
                      </a:lnTo>
                      <a:lnTo>
                        <a:pt x="198" y="19"/>
                      </a:lnTo>
                      <a:lnTo>
                        <a:pt x="199" y="19"/>
                      </a:lnTo>
                      <a:lnTo>
                        <a:pt x="199" y="20"/>
                      </a:lnTo>
                      <a:lnTo>
                        <a:pt x="199" y="21"/>
                      </a:lnTo>
                      <a:lnTo>
                        <a:pt x="199" y="22"/>
                      </a:lnTo>
                      <a:lnTo>
                        <a:pt x="198" y="31"/>
                      </a:lnTo>
                      <a:lnTo>
                        <a:pt x="199" y="31"/>
                      </a:lnTo>
                      <a:lnTo>
                        <a:pt x="199" y="32"/>
                      </a:lnTo>
                      <a:lnTo>
                        <a:pt x="200" y="32"/>
                      </a:lnTo>
                      <a:lnTo>
                        <a:pt x="201" y="32"/>
                      </a:lnTo>
                      <a:lnTo>
                        <a:pt x="201" y="31"/>
                      </a:lnTo>
                      <a:lnTo>
                        <a:pt x="202" y="32"/>
                      </a:lnTo>
                      <a:lnTo>
                        <a:pt x="202" y="34"/>
                      </a:lnTo>
                      <a:lnTo>
                        <a:pt x="204" y="35"/>
                      </a:lnTo>
                      <a:lnTo>
                        <a:pt x="204" y="36"/>
                      </a:lnTo>
                      <a:lnTo>
                        <a:pt x="206" y="36"/>
                      </a:lnTo>
                      <a:lnTo>
                        <a:pt x="207" y="36"/>
                      </a:lnTo>
                      <a:lnTo>
                        <a:pt x="207" y="38"/>
                      </a:lnTo>
                      <a:lnTo>
                        <a:pt x="208" y="38"/>
                      </a:lnTo>
                      <a:lnTo>
                        <a:pt x="208" y="39"/>
                      </a:lnTo>
                      <a:lnTo>
                        <a:pt x="209" y="39"/>
                      </a:lnTo>
                      <a:lnTo>
                        <a:pt x="212" y="39"/>
                      </a:lnTo>
                      <a:lnTo>
                        <a:pt x="212" y="40"/>
                      </a:lnTo>
                      <a:lnTo>
                        <a:pt x="213" y="40"/>
                      </a:lnTo>
                      <a:lnTo>
                        <a:pt x="212" y="40"/>
                      </a:lnTo>
                      <a:lnTo>
                        <a:pt x="212" y="41"/>
                      </a:lnTo>
                      <a:lnTo>
                        <a:pt x="213" y="41"/>
                      </a:lnTo>
                      <a:lnTo>
                        <a:pt x="213" y="42"/>
                      </a:lnTo>
                      <a:lnTo>
                        <a:pt x="213" y="43"/>
                      </a:lnTo>
                      <a:lnTo>
                        <a:pt x="212" y="43"/>
                      </a:lnTo>
                      <a:lnTo>
                        <a:pt x="211" y="43"/>
                      </a:lnTo>
                      <a:lnTo>
                        <a:pt x="209" y="42"/>
                      </a:lnTo>
                      <a:lnTo>
                        <a:pt x="209" y="43"/>
                      </a:lnTo>
                      <a:lnTo>
                        <a:pt x="209" y="45"/>
                      </a:lnTo>
                      <a:lnTo>
                        <a:pt x="208" y="45"/>
                      </a:lnTo>
                      <a:lnTo>
                        <a:pt x="207" y="45"/>
                      </a:lnTo>
                      <a:lnTo>
                        <a:pt x="207" y="46"/>
                      </a:lnTo>
                      <a:lnTo>
                        <a:pt x="207" y="47"/>
                      </a:lnTo>
                      <a:lnTo>
                        <a:pt x="206" y="48"/>
                      </a:lnTo>
                      <a:lnTo>
                        <a:pt x="205" y="48"/>
                      </a:lnTo>
                      <a:lnTo>
                        <a:pt x="205" y="49"/>
                      </a:lnTo>
                      <a:lnTo>
                        <a:pt x="204" y="52"/>
                      </a:lnTo>
                      <a:lnTo>
                        <a:pt x="202" y="53"/>
                      </a:lnTo>
                      <a:lnTo>
                        <a:pt x="204" y="54"/>
                      </a:lnTo>
                      <a:lnTo>
                        <a:pt x="205" y="53"/>
                      </a:lnTo>
                      <a:lnTo>
                        <a:pt x="206" y="53"/>
                      </a:lnTo>
                      <a:lnTo>
                        <a:pt x="207" y="53"/>
                      </a:lnTo>
                      <a:lnTo>
                        <a:pt x="208" y="53"/>
                      </a:lnTo>
                      <a:lnTo>
                        <a:pt x="208" y="52"/>
                      </a:lnTo>
                      <a:lnTo>
                        <a:pt x="209" y="50"/>
                      </a:lnTo>
                      <a:lnTo>
                        <a:pt x="211" y="50"/>
                      </a:lnTo>
                      <a:lnTo>
                        <a:pt x="212" y="50"/>
                      </a:lnTo>
                      <a:lnTo>
                        <a:pt x="213" y="50"/>
                      </a:lnTo>
                      <a:lnTo>
                        <a:pt x="214" y="50"/>
                      </a:lnTo>
                      <a:lnTo>
                        <a:pt x="214" y="52"/>
                      </a:lnTo>
                      <a:lnTo>
                        <a:pt x="215" y="52"/>
                      </a:lnTo>
                      <a:lnTo>
                        <a:pt x="215" y="53"/>
                      </a:lnTo>
                      <a:lnTo>
                        <a:pt x="215" y="56"/>
                      </a:lnTo>
                      <a:lnTo>
                        <a:pt x="215" y="57"/>
                      </a:lnTo>
                      <a:lnTo>
                        <a:pt x="214" y="59"/>
                      </a:lnTo>
                      <a:lnTo>
                        <a:pt x="214" y="60"/>
                      </a:lnTo>
                      <a:lnTo>
                        <a:pt x="215" y="60"/>
                      </a:lnTo>
                      <a:lnTo>
                        <a:pt x="215" y="61"/>
                      </a:lnTo>
                      <a:lnTo>
                        <a:pt x="216" y="67"/>
                      </a:lnTo>
                      <a:lnTo>
                        <a:pt x="216" y="68"/>
                      </a:lnTo>
                      <a:lnTo>
                        <a:pt x="218" y="69"/>
                      </a:lnTo>
                      <a:lnTo>
                        <a:pt x="218" y="70"/>
                      </a:lnTo>
                      <a:lnTo>
                        <a:pt x="219" y="70"/>
                      </a:lnTo>
                      <a:lnTo>
                        <a:pt x="220" y="70"/>
                      </a:lnTo>
                      <a:lnTo>
                        <a:pt x="221" y="70"/>
                      </a:lnTo>
                      <a:lnTo>
                        <a:pt x="221" y="71"/>
                      </a:lnTo>
                      <a:lnTo>
                        <a:pt x="221" y="73"/>
                      </a:lnTo>
                      <a:lnTo>
                        <a:pt x="222" y="73"/>
                      </a:lnTo>
                      <a:lnTo>
                        <a:pt x="223" y="73"/>
                      </a:lnTo>
                      <a:lnTo>
                        <a:pt x="225" y="73"/>
                      </a:lnTo>
                      <a:lnTo>
                        <a:pt x="226" y="74"/>
                      </a:lnTo>
                      <a:lnTo>
                        <a:pt x="226" y="75"/>
                      </a:lnTo>
                      <a:lnTo>
                        <a:pt x="227" y="76"/>
                      </a:lnTo>
                      <a:lnTo>
                        <a:pt x="227" y="77"/>
                      </a:lnTo>
                      <a:lnTo>
                        <a:pt x="226" y="78"/>
                      </a:lnTo>
                      <a:lnTo>
                        <a:pt x="226" y="80"/>
                      </a:lnTo>
                      <a:lnTo>
                        <a:pt x="225" y="80"/>
                      </a:lnTo>
                      <a:lnTo>
                        <a:pt x="225" y="81"/>
                      </a:lnTo>
                      <a:lnTo>
                        <a:pt x="223" y="82"/>
                      </a:lnTo>
                      <a:lnTo>
                        <a:pt x="222" y="82"/>
                      </a:lnTo>
                      <a:lnTo>
                        <a:pt x="221" y="83"/>
                      </a:lnTo>
                      <a:lnTo>
                        <a:pt x="221" y="84"/>
                      </a:lnTo>
                      <a:lnTo>
                        <a:pt x="220" y="84"/>
                      </a:lnTo>
                      <a:lnTo>
                        <a:pt x="221" y="85"/>
                      </a:lnTo>
                      <a:lnTo>
                        <a:pt x="220" y="85"/>
                      </a:lnTo>
                      <a:lnTo>
                        <a:pt x="220" y="87"/>
                      </a:lnTo>
                      <a:lnTo>
                        <a:pt x="221" y="87"/>
                      </a:lnTo>
                      <a:lnTo>
                        <a:pt x="221" y="88"/>
                      </a:lnTo>
                      <a:lnTo>
                        <a:pt x="221" y="89"/>
                      </a:lnTo>
                      <a:lnTo>
                        <a:pt x="222" y="89"/>
                      </a:lnTo>
                      <a:lnTo>
                        <a:pt x="221" y="97"/>
                      </a:lnTo>
                      <a:lnTo>
                        <a:pt x="221" y="98"/>
                      </a:lnTo>
                      <a:lnTo>
                        <a:pt x="221" y="99"/>
                      </a:lnTo>
                      <a:lnTo>
                        <a:pt x="221" y="101"/>
                      </a:lnTo>
                      <a:lnTo>
                        <a:pt x="223" y="103"/>
                      </a:lnTo>
                      <a:lnTo>
                        <a:pt x="225" y="104"/>
                      </a:lnTo>
                      <a:lnTo>
                        <a:pt x="226" y="104"/>
                      </a:lnTo>
                      <a:lnTo>
                        <a:pt x="227" y="103"/>
                      </a:lnTo>
                      <a:lnTo>
                        <a:pt x="228" y="103"/>
                      </a:lnTo>
                      <a:lnTo>
                        <a:pt x="230" y="103"/>
                      </a:lnTo>
                      <a:lnTo>
                        <a:pt x="229" y="105"/>
                      </a:lnTo>
                      <a:lnTo>
                        <a:pt x="229" y="106"/>
                      </a:lnTo>
                      <a:lnTo>
                        <a:pt x="228" y="109"/>
                      </a:lnTo>
                      <a:lnTo>
                        <a:pt x="228" y="110"/>
                      </a:lnTo>
                      <a:lnTo>
                        <a:pt x="229" y="111"/>
                      </a:lnTo>
                      <a:lnTo>
                        <a:pt x="230" y="111"/>
                      </a:lnTo>
                      <a:lnTo>
                        <a:pt x="231" y="111"/>
                      </a:lnTo>
                      <a:lnTo>
                        <a:pt x="231" y="112"/>
                      </a:lnTo>
                      <a:lnTo>
                        <a:pt x="233" y="112"/>
                      </a:lnTo>
                      <a:lnTo>
                        <a:pt x="234" y="113"/>
                      </a:lnTo>
                      <a:lnTo>
                        <a:pt x="233" y="115"/>
                      </a:lnTo>
                      <a:lnTo>
                        <a:pt x="231" y="115"/>
                      </a:lnTo>
                      <a:lnTo>
                        <a:pt x="229" y="116"/>
                      </a:lnTo>
                      <a:lnTo>
                        <a:pt x="228" y="116"/>
                      </a:lnTo>
                      <a:lnTo>
                        <a:pt x="228" y="117"/>
                      </a:lnTo>
                      <a:lnTo>
                        <a:pt x="228" y="118"/>
                      </a:lnTo>
                      <a:lnTo>
                        <a:pt x="228" y="119"/>
                      </a:lnTo>
                      <a:lnTo>
                        <a:pt x="227" y="122"/>
                      </a:lnTo>
                      <a:lnTo>
                        <a:pt x="227" y="123"/>
                      </a:lnTo>
                      <a:lnTo>
                        <a:pt x="229" y="124"/>
                      </a:lnTo>
                      <a:lnTo>
                        <a:pt x="231" y="124"/>
                      </a:lnTo>
                      <a:lnTo>
                        <a:pt x="233" y="124"/>
                      </a:lnTo>
                      <a:lnTo>
                        <a:pt x="233" y="125"/>
                      </a:lnTo>
                      <a:lnTo>
                        <a:pt x="234" y="125"/>
                      </a:lnTo>
                      <a:lnTo>
                        <a:pt x="234" y="126"/>
                      </a:lnTo>
                      <a:lnTo>
                        <a:pt x="235" y="127"/>
                      </a:lnTo>
                      <a:lnTo>
                        <a:pt x="236" y="127"/>
                      </a:lnTo>
                      <a:lnTo>
                        <a:pt x="236" y="129"/>
                      </a:lnTo>
                      <a:lnTo>
                        <a:pt x="236" y="130"/>
                      </a:lnTo>
                      <a:lnTo>
                        <a:pt x="236" y="131"/>
                      </a:lnTo>
                      <a:lnTo>
                        <a:pt x="236" y="132"/>
                      </a:lnTo>
                      <a:lnTo>
                        <a:pt x="236" y="133"/>
                      </a:lnTo>
                      <a:lnTo>
                        <a:pt x="236" y="134"/>
                      </a:lnTo>
                      <a:lnTo>
                        <a:pt x="237" y="136"/>
                      </a:lnTo>
                      <a:lnTo>
                        <a:pt x="235" y="137"/>
                      </a:lnTo>
                      <a:lnTo>
                        <a:pt x="234" y="136"/>
                      </a:lnTo>
                      <a:lnTo>
                        <a:pt x="233" y="133"/>
                      </a:lnTo>
                      <a:lnTo>
                        <a:pt x="231" y="133"/>
                      </a:lnTo>
                      <a:lnTo>
                        <a:pt x="231" y="134"/>
                      </a:lnTo>
                      <a:lnTo>
                        <a:pt x="230" y="134"/>
                      </a:lnTo>
                      <a:lnTo>
                        <a:pt x="229" y="134"/>
                      </a:lnTo>
                      <a:lnTo>
                        <a:pt x="228" y="133"/>
                      </a:lnTo>
                      <a:lnTo>
                        <a:pt x="228" y="132"/>
                      </a:lnTo>
                      <a:lnTo>
                        <a:pt x="227" y="132"/>
                      </a:lnTo>
                      <a:lnTo>
                        <a:pt x="226" y="132"/>
                      </a:lnTo>
                      <a:lnTo>
                        <a:pt x="225" y="132"/>
                      </a:lnTo>
                      <a:lnTo>
                        <a:pt x="223" y="132"/>
                      </a:lnTo>
                      <a:lnTo>
                        <a:pt x="222" y="132"/>
                      </a:lnTo>
                      <a:lnTo>
                        <a:pt x="221" y="132"/>
                      </a:lnTo>
                      <a:lnTo>
                        <a:pt x="220" y="132"/>
                      </a:lnTo>
                      <a:lnTo>
                        <a:pt x="219" y="133"/>
                      </a:lnTo>
                      <a:lnTo>
                        <a:pt x="219" y="134"/>
                      </a:lnTo>
                      <a:lnTo>
                        <a:pt x="219" y="136"/>
                      </a:lnTo>
                      <a:lnTo>
                        <a:pt x="219" y="138"/>
                      </a:lnTo>
                      <a:lnTo>
                        <a:pt x="219" y="139"/>
                      </a:lnTo>
                      <a:lnTo>
                        <a:pt x="218" y="140"/>
                      </a:lnTo>
                      <a:lnTo>
                        <a:pt x="221" y="143"/>
                      </a:lnTo>
                      <a:lnTo>
                        <a:pt x="223" y="143"/>
                      </a:lnTo>
                      <a:lnTo>
                        <a:pt x="225" y="143"/>
                      </a:lnTo>
                      <a:lnTo>
                        <a:pt x="226" y="143"/>
                      </a:lnTo>
                      <a:lnTo>
                        <a:pt x="227" y="143"/>
                      </a:lnTo>
                      <a:lnTo>
                        <a:pt x="226" y="143"/>
                      </a:lnTo>
                      <a:lnTo>
                        <a:pt x="226" y="144"/>
                      </a:lnTo>
                      <a:lnTo>
                        <a:pt x="226" y="145"/>
                      </a:lnTo>
                      <a:lnTo>
                        <a:pt x="227" y="146"/>
                      </a:lnTo>
                      <a:lnTo>
                        <a:pt x="228" y="147"/>
                      </a:lnTo>
                      <a:lnTo>
                        <a:pt x="227" y="147"/>
                      </a:lnTo>
                      <a:lnTo>
                        <a:pt x="226" y="147"/>
                      </a:lnTo>
                      <a:lnTo>
                        <a:pt x="225" y="147"/>
                      </a:lnTo>
                      <a:lnTo>
                        <a:pt x="225" y="148"/>
                      </a:lnTo>
                      <a:lnTo>
                        <a:pt x="225" y="150"/>
                      </a:lnTo>
                      <a:lnTo>
                        <a:pt x="222" y="152"/>
                      </a:lnTo>
                      <a:lnTo>
                        <a:pt x="222" y="153"/>
                      </a:lnTo>
                      <a:lnTo>
                        <a:pt x="223" y="154"/>
                      </a:lnTo>
                      <a:lnTo>
                        <a:pt x="223" y="155"/>
                      </a:lnTo>
                      <a:lnTo>
                        <a:pt x="222" y="157"/>
                      </a:lnTo>
                      <a:lnTo>
                        <a:pt x="222" y="158"/>
                      </a:lnTo>
                      <a:lnTo>
                        <a:pt x="221" y="159"/>
                      </a:lnTo>
                      <a:lnTo>
                        <a:pt x="222" y="159"/>
                      </a:lnTo>
                      <a:lnTo>
                        <a:pt x="221" y="159"/>
                      </a:lnTo>
                      <a:lnTo>
                        <a:pt x="221" y="160"/>
                      </a:lnTo>
                      <a:lnTo>
                        <a:pt x="220" y="160"/>
                      </a:lnTo>
                      <a:lnTo>
                        <a:pt x="220" y="161"/>
                      </a:lnTo>
                      <a:lnTo>
                        <a:pt x="220" y="162"/>
                      </a:lnTo>
                      <a:lnTo>
                        <a:pt x="219" y="162"/>
                      </a:lnTo>
                      <a:lnTo>
                        <a:pt x="218" y="161"/>
                      </a:lnTo>
                      <a:lnTo>
                        <a:pt x="216" y="161"/>
                      </a:lnTo>
                      <a:lnTo>
                        <a:pt x="215" y="161"/>
                      </a:lnTo>
                      <a:lnTo>
                        <a:pt x="214" y="161"/>
                      </a:lnTo>
                      <a:lnTo>
                        <a:pt x="214" y="160"/>
                      </a:lnTo>
                      <a:lnTo>
                        <a:pt x="213" y="161"/>
                      </a:lnTo>
                      <a:lnTo>
                        <a:pt x="212" y="162"/>
                      </a:lnTo>
                      <a:lnTo>
                        <a:pt x="211" y="162"/>
                      </a:lnTo>
                      <a:lnTo>
                        <a:pt x="209" y="161"/>
                      </a:lnTo>
                      <a:lnTo>
                        <a:pt x="208" y="160"/>
                      </a:lnTo>
                      <a:lnTo>
                        <a:pt x="208" y="158"/>
                      </a:lnTo>
                      <a:lnTo>
                        <a:pt x="205" y="158"/>
                      </a:lnTo>
                      <a:lnTo>
                        <a:pt x="205" y="159"/>
                      </a:lnTo>
                      <a:lnTo>
                        <a:pt x="204" y="160"/>
                      </a:lnTo>
                      <a:lnTo>
                        <a:pt x="204" y="161"/>
                      </a:lnTo>
                      <a:lnTo>
                        <a:pt x="204" y="162"/>
                      </a:lnTo>
                      <a:lnTo>
                        <a:pt x="204" y="164"/>
                      </a:lnTo>
                      <a:lnTo>
                        <a:pt x="204" y="165"/>
                      </a:lnTo>
                      <a:lnTo>
                        <a:pt x="202" y="165"/>
                      </a:lnTo>
                      <a:lnTo>
                        <a:pt x="201" y="166"/>
                      </a:lnTo>
                      <a:lnTo>
                        <a:pt x="201" y="167"/>
                      </a:lnTo>
                      <a:lnTo>
                        <a:pt x="200" y="167"/>
                      </a:lnTo>
                      <a:lnTo>
                        <a:pt x="200" y="168"/>
                      </a:lnTo>
                      <a:lnTo>
                        <a:pt x="199" y="169"/>
                      </a:lnTo>
                      <a:lnTo>
                        <a:pt x="200" y="171"/>
                      </a:lnTo>
                      <a:lnTo>
                        <a:pt x="200" y="172"/>
                      </a:lnTo>
                      <a:lnTo>
                        <a:pt x="199" y="172"/>
                      </a:lnTo>
                      <a:lnTo>
                        <a:pt x="198" y="173"/>
                      </a:lnTo>
                      <a:lnTo>
                        <a:pt x="197" y="172"/>
                      </a:lnTo>
                      <a:lnTo>
                        <a:pt x="195" y="172"/>
                      </a:lnTo>
                      <a:lnTo>
                        <a:pt x="195" y="173"/>
                      </a:lnTo>
                      <a:lnTo>
                        <a:pt x="194" y="173"/>
                      </a:lnTo>
                      <a:lnTo>
                        <a:pt x="193" y="173"/>
                      </a:lnTo>
                      <a:lnTo>
                        <a:pt x="193" y="174"/>
                      </a:lnTo>
                      <a:lnTo>
                        <a:pt x="192" y="174"/>
                      </a:lnTo>
                      <a:lnTo>
                        <a:pt x="191" y="174"/>
                      </a:lnTo>
                      <a:lnTo>
                        <a:pt x="192" y="173"/>
                      </a:lnTo>
                      <a:lnTo>
                        <a:pt x="191" y="173"/>
                      </a:lnTo>
                      <a:lnTo>
                        <a:pt x="191" y="172"/>
                      </a:lnTo>
                      <a:lnTo>
                        <a:pt x="190" y="172"/>
                      </a:lnTo>
                      <a:lnTo>
                        <a:pt x="188" y="171"/>
                      </a:lnTo>
                      <a:lnTo>
                        <a:pt x="188" y="169"/>
                      </a:lnTo>
                      <a:lnTo>
                        <a:pt x="187" y="168"/>
                      </a:lnTo>
                      <a:lnTo>
                        <a:pt x="186" y="168"/>
                      </a:lnTo>
                      <a:lnTo>
                        <a:pt x="185" y="168"/>
                      </a:lnTo>
                      <a:lnTo>
                        <a:pt x="185" y="167"/>
                      </a:lnTo>
                      <a:lnTo>
                        <a:pt x="184" y="167"/>
                      </a:lnTo>
                      <a:lnTo>
                        <a:pt x="183" y="167"/>
                      </a:lnTo>
                      <a:lnTo>
                        <a:pt x="183" y="168"/>
                      </a:lnTo>
                      <a:lnTo>
                        <a:pt x="181" y="168"/>
                      </a:lnTo>
                      <a:lnTo>
                        <a:pt x="181" y="167"/>
                      </a:lnTo>
                      <a:lnTo>
                        <a:pt x="180" y="168"/>
                      </a:lnTo>
                      <a:lnTo>
                        <a:pt x="179" y="169"/>
                      </a:lnTo>
                      <a:lnTo>
                        <a:pt x="179" y="168"/>
                      </a:lnTo>
                      <a:lnTo>
                        <a:pt x="180" y="168"/>
                      </a:lnTo>
                      <a:lnTo>
                        <a:pt x="180" y="167"/>
                      </a:lnTo>
                      <a:lnTo>
                        <a:pt x="181" y="166"/>
                      </a:lnTo>
                      <a:lnTo>
                        <a:pt x="181" y="165"/>
                      </a:lnTo>
                      <a:lnTo>
                        <a:pt x="183" y="165"/>
                      </a:lnTo>
                      <a:lnTo>
                        <a:pt x="181" y="164"/>
                      </a:lnTo>
                      <a:lnTo>
                        <a:pt x="183" y="164"/>
                      </a:lnTo>
                      <a:lnTo>
                        <a:pt x="183" y="162"/>
                      </a:lnTo>
                      <a:lnTo>
                        <a:pt x="183" y="161"/>
                      </a:lnTo>
                      <a:lnTo>
                        <a:pt x="184" y="161"/>
                      </a:lnTo>
                      <a:lnTo>
                        <a:pt x="183" y="160"/>
                      </a:lnTo>
                      <a:lnTo>
                        <a:pt x="183" y="159"/>
                      </a:lnTo>
                      <a:lnTo>
                        <a:pt x="183" y="158"/>
                      </a:lnTo>
                      <a:lnTo>
                        <a:pt x="184" y="157"/>
                      </a:lnTo>
                      <a:lnTo>
                        <a:pt x="183" y="155"/>
                      </a:lnTo>
                      <a:lnTo>
                        <a:pt x="181" y="154"/>
                      </a:lnTo>
                      <a:lnTo>
                        <a:pt x="180" y="153"/>
                      </a:lnTo>
                      <a:lnTo>
                        <a:pt x="180" y="152"/>
                      </a:lnTo>
                      <a:lnTo>
                        <a:pt x="180" y="151"/>
                      </a:lnTo>
                      <a:lnTo>
                        <a:pt x="181" y="150"/>
                      </a:lnTo>
                      <a:lnTo>
                        <a:pt x="181" y="148"/>
                      </a:lnTo>
                      <a:lnTo>
                        <a:pt x="181" y="147"/>
                      </a:lnTo>
                      <a:lnTo>
                        <a:pt x="180" y="147"/>
                      </a:lnTo>
                      <a:lnTo>
                        <a:pt x="179" y="148"/>
                      </a:lnTo>
                      <a:lnTo>
                        <a:pt x="179" y="147"/>
                      </a:lnTo>
                      <a:lnTo>
                        <a:pt x="180" y="147"/>
                      </a:lnTo>
                      <a:lnTo>
                        <a:pt x="180" y="146"/>
                      </a:lnTo>
                      <a:lnTo>
                        <a:pt x="179" y="144"/>
                      </a:lnTo>
                      <a:lnTo>
                        <a:pt x="178" y="144"/>
                      </a:lnTo>
                      <a:lnTo>
                        <a:pt x="178" y="143"/>
                      </a:lnTo>
                      <a:lnTo>
                        <a:pt x="178" y="141"/>
                      </a:lnTo>
                      <a:lnTo>
                        <a:pt x="178" y="140"/>
                      </a:lnTo>
                      <a:lnTo>
                        <a:pt x="178" y="139"/>
                      </a:lnTo>
                      <a:lnTo>
                        <a:pt x="178" y="138"/>
                      </a:lnTo>
                      <a:lnTo>
                        <a:pt x="179" y="138"/>
                      </a:lnTo>
                      <a:lnTo>
                        <a:pt x="178" y="138"/>
                      </a:lnTo>
                      <a:lnTo>
                        <a:pt x="178" y="137"/>
                      </a:lnTo>
                      <a:lnTo>
                        <a:pt x="176" y="137"/>
                      </a:lnTo>
                      <a:lnTo>
                        <a:pt x="176" y="136"/>
                      </a:lnTo>
                      <a:lnTo>
                        <a:pt x="174" y="137"/>
                      </a:lnTo>
                      <a:lnTo>
                        <a:pt x="173" y="137"/>
                      </a:lnTo>
                      <a:lnTo>
                        <a:pt x="173" y="136"/>
                      </a:lnTo>
                      <a:lnTo>
                        <a:pt x="174" y="134"/>
                      </a:lnTo>
                      <a:lnTo>
                        <a:pt x="173" y="134"/>
                      </a:lnTo>
                      <a:lnTo>
                        <a:pt x="173" y="133"/>
                      </a:lnTo>
                      <a:lnTo>
                        <a:pt x="172" y="133"/>
                      </a:lnTo>
                      <a:lnTo>
                        <a:pt x="172" y="134"/>
                      </a:lnTo>
                      <a:lnTo>
                        <a:pt x="171" y="136"/>
                      </a:lnTo>
                      <a:lnTo>
                        <a:pt x="171" y="134"/>
                      </a:lnTo>
                      <a:lnTo>
                        <a:pt x="171" y="133"/>
                      </a:lnTo>
                      <a:lnTo>
                        <a:pt x="170" y="132"/>
                      </a:lnTo>
                      <a:lnTo>
                        <a:pt x="170" y="131"/>
                      </a:lnTo>
                      <a:lnTo>
                        <a:pt x="169" y="132"/>
                      </a:lnTo>
                      <a:lnTo>
                        <a:pt x="169" y="133"/>
                      </a:lnTo>
                      <a:lnTo>
                        <a:pt x="167" y="133"/>
                      </a:lnTo>
                      <a:lnTo>
                        <a:pt x="166" y="133"/>
                      </a:lnTo>
                      <a:lnTo>
                        <a:pt x="165" y="133"/>
                      </a:lnTo>
                      <a:lnTo>
                        <a:pt x="164" y="133"/>
                      </a:lnTo>
                      <a:lnTo>
                        <a:pt x="163" y="134"/>
                      </a:lnTo>
                      <a:lnTo>
                        <a:pt x="162" y="136"/>
                      </a:lnTo>
                      <a:lnTo>
                        <a:pt x="161" y="136"/>
                      </a:lnTo>
                      <a:lnTo>
                        <a:pt x="161" y="133"/>
                      </a:lnTo>
                      <a:lnTo>
                        <a:pt x="159" y="133"/>
                      </a:lnTo>
                      <a:lnTo>
                        <a:pt x="158" y="132"/>
                      </a:lnTo>
                      <a:lnTo>
                        <a:pt x="157" y="132"/>
                      </a:lnTo>
                      <a:lnTo>
                        <a:pt x="156" y="133"/>
                      </a:lnTo>
                      <a:lnTo>
                        <a:pt x="156" y="134"/>
                      </a:lnTo>
                      <a:lnTo>
                        <a:pt x="155" y="133"/>
                      </a:lnTo>
                      <a:lnTo>
                        <a:pt x="154" y="133"/>
                      </a:lnTo>
                      <a:lnTo>
                        <a:pt x="152" y="133"/>
                      </a:lnTo>
                      <a:lnTo>
                        <a:pt x="151" y="133"/>
                      </a:lnTo>
                      <a:lnTo>
                        <a:pt x="150" y="133"/>
                      </a:lnTo>
                      <a:lnTo>
                        <a:pt x="150" y="134"/>
                      </a:lnTo>
                      <a:lnTo>
                        <a:pt x="149" y="134"/>
                      </a:lnTo>
                      <a:lnTo>
                        <a:pt x="149" y="137"/>
                      </a:lnTo>
                      <a:lnTo>
                        <a:pt x="148" y="137"/>
                      </a:lnTo>
                      <a:lnTo>
                        <a:pt x="147" y="139"/>
                      </a:lnTo>
                      <a:lnTo>
                        <a:pt x="145" y="139"/>
                      </a:lnTo>
                      <a:lnTo>
                        <a:pt x="144" y="140"/>
                      </a:lnTo>
                      <a:lnTo>
                        <a:pt x="144" y="139"/>
                      </a:lnTo>
                      <a:lnTo>
                        <a:pt x="143" y="139"/>
                      </a:lnTo>
                      <a:lnTo>
                        <a:pt x="142" y="139"/>
                      </a:lnTo>
                      <a:lnTo>
                        <a:pt x="141" y="139"/>
                      </a:lnTo>
                      <a:lnTo>
                        <a:pt x="141" y="140"/>
                      </a:lnTo>
                      <a:lnTo>
                        <a:pt x="140" y="141"/>
                      </a:lnTo>
                      <a:lnTo>
                        <a:pt x="140" y="140"/>
                      </a:lnTo>
                      <a:lnTo>
                        <a:pt x="140" y="139"/>
                      </a:lnTo>
                      <a:lnTo>
                        <a:pt x="141" y="138"/>
                      </a:lnTo>
                      <a:lnTo>
                        <a:pt x="142" y="137"/>
                      </a:lnTo>
                      <a:lnTo>
                        <a:pt x="142" y="134"/>
                      </a:lnTo>
                      <a:lnTo>
                        <a:pt x="142" y="133"/>
                      </a:lnTo>
                      <a:lnTo>
                        <a:pt x="143" y="132"/>
                      </a:lnTo>
                      <a:lnTo>
                        <a:pt x="143" y="131"/>
                      </a:lnTo>
                      <a:lnTo>
                        <a:pt x="144" y="130"/>
                      </a:lnTo>
                      <a:lnTo>
                        <a:pt x="145" y="130"/>
                      </a:lnTo>
                      <a:lnTo>
                        <a:pt x="147" y="130"/>
                      </a:lnTo>
                      <a:lnTo>
                        <a:pt x="147" y="129"/>
                      </a:lnTo>
                      <a:lnTo>
                        <a:pt x="148" y="127"/>
                      </a:lnTo>
                      <a:lnTo>
                        <a:pt x="145" y="126"/>
                      </a:lnTo>
                      <a:lnTo>
                        <a:pt x="145" y="125"/>
                      </a:lnTo>
                      <a:lnTo>
                        <a:pt x="144" y="124"/>
                      </a:lnTo>
                      <a:lnTo>
                        <a:pt x="143" y="124"/>
                      </a:lnTo>
                      <a:lnTo>
                        <a:pt x="143" y="123"/>
                      </a:lnTo>
                      <a:lnTo>
                        <a:pt x="143" y="122"/>
                      </a:lnTo>
                      <a:lnTo>
                        <a:pt x="143" y="119"/>
                      </a:lnTo>
                      <a:lnTo>
                        <a:pt x="143" y="118"/>
                      </a:lnTo>
                      <a:lnTo>
                        <a:pt x="143" y="116"/>
                      </a:lnTo>
                      <a:lnTo>
                        <a:pt x="142" y="116"/>
                      </a:lnTo>
                      <a:lnTo>
                        <a:pt x="141" y="115"/>
                      </a:lnTo>
                      <a:lnTo>
                        <a:pt x="140" y="115"/>
                      </a:lnTo>
                      <a:lnTo>
                        <a:pt x="138" y="115"/>
                      </a:lnTo>
                      <a:lnTo>
                        <a:pt x="138" y="113"/>
                      </a:lnTo>
                      <a:lnTo>
                        <a:pt x="138" y="112"/>
                      </a:lnTo>
                      <a:lnTo>
                        <a:pt x="140" y="111"/>
                      </a:lnTo>
                      <a:lnTo>
                        <a:pt x="141" y="111"/>
                      </a:lnTo>
                      <a:lnTo>
                        <a:pt x="141" y="110"/>
                      </a:lnTo>
                      <a:lnTo>
                        <a:pt x="141" y="109"/>
                      </a:lnTo>
                      <a:lnTo>
                        <a:pt x="141" y="108"/>
                      </a:lnTo>
                      <a:lnTo>
                        <a:pt x="140" y="106"/>
                      </a:lnTo>
                      <a:lnTo>
                        <a:pt x="138" y="106"/>
                      </a:lnTo>
                      <a:lnTo>
                        <a:pt x="138" y="105"/>
                      </a:lnTo>
                      <a:lnTo>
                        <a:pt x="137" y="105"/>
                      </a:lnTo>
                      <a:lnTo>
                        <a:pt x="136" y="105"/>
                      </a:lnTo>
                      <a:lnTo>
                        <a:pt x="136" y="104"/>
                      </a:lnTo>
                      <a:lnTo>
                        <a:pt x="135" y="103"/>
                      </a:lnTo>
                      <a:lnTo>
                        <a:pt x="135" y="102"/>
                      </a:lnTo>
                      <a:lnTo>
                        <a:pt x="135" y="101"/>
                      </a:lnTo>
                      <a:lnTo>
                        <a:pt x="134" y="101"/>
                      </a:lnTo>
                      <a:lnTo>
                        <a:pt x="134" y="99"/>
                      </a:lnTo>
                      <a:lnTo>
                        <a:pt x="133" y="98"/>
                      </a:lnTo>
                      <a:lnTo>
                        <a:pt x="133" y="97"/>
                      </a:lnTo>
                      <a:lnTo>
                        <a:pt x="131" y="97"/>
                      </a:lnTo>
                      <a:lnTo>
                        <a:pt x="131" y="96"/>
                      </a:lnTo>
                      <a:lnTo>
                        <a:pt x="130" y="95"/>
                      </a:lnTo>
                      <a:lnTo>
                        <a:pt x="130" y="94"/>
                      </a:lnTo>
                      <a:lnTo>
                        <a:pt x="129" y="92"/>
                      </a:lnTo>
                      <a:lnTo>
                        <a:pt x="128" y="91"/>
                      </a:lnTo>
                      <a:lnTo>
                        <a:pt x="126" y="90"/>
                      </a:lnTo>
                      <a:lnTo>
                        <a:pt x="124" y="89"/>
                      </a:lnTo>
                      <a:lnTo>
                        <a:pt x="124" y="88"/>
                      </a:lnTo>
                      <a:lnTo>
                        <a:pt x="124" y="87"/>
                      </a:lnTo>
                      <a:lnTo>
                        <a:pt x="123" y="87"/>
                      </a:lnTo>
                      <a:lnTo>
                        <a:pt x="122" y="85"/>
                      </a:lnTo>
                      <a:lnTo>
                        <a:pt x="121" y="85"/>
                      </a:lnTo>
                      <a:lnTo>
                        <a:pt x="115" y="85"/>
                      </a:lnTo>
                      <a:lnTo>
                        <a:pt x="101" y="87"/>
                      </a:lnTo>
                      <a:lnTo>
                        <a:pt x="101" y="88"/>
                      </a:lnTo>
                      <a:lnTo>
                        <a:pt x="101" y="89"/>
                      </a:lnTo>
                      <a:lnTo>
                        <a:pt x="95" y="90"/>
                      </a:lnTo>
                      <a:lnTo>
                        <a:pt x="94" y="90"/>
                      </a:lnTo>
                      <a:lnTo>
                        <a:pt x="93" y="90"/>
                      </a:lnTo>
                      <a:lnTo>
                        <a:pt x="92" y="90"/>
                      </a:lnTo>
                      <a:lnTo>
                        <a:pt x="92" y="89"/>
                      </a:lnTo>
                      <a:lnTo>
                        <a:pt x="91" y="89"/>
                      </a:lnTo>
                      <a:lnTo>
                        <a:pt x="90" y="89"/>
                      </a:lnTo>
                      <a:lnTo>
                        <a:pt x="85" y="90"/>
                      </a:lnTo>
                      <a:lnTo>
                        <a:pt x="84" y="90"/>
                      </a:lnTo>
                      <a:lnTo>
                        <a:pt x="83" y="91"/>
                      </a:lnTo>
                      <a:lnTo>
                        <a:pt x="83" y="92"/>
                      </a:lnTo>
                      <a:lnTo>
                        <a:pt x="81" y="95"/>
                      </a:lnTo>
                      <a:lnTo>
                        <a:pt x="81" y="96"/>
                      </a:lnTo>
                      <a:lnTo>
                        <a:pt x="80" y="96"/>
                      </a:lnTo>
                      <a:lnTo>
                        <a:pt x="80" y="97"/>
                      </a:lnTo>
                      <a:lnTo>
                        <a:pt x="79" y="97"/>
                      </a:lnTo>
                      <a:lnTo>
                        <a:pt x="79" y="99"/>
                      </a:lnTo>
                      <a:lnTo>
                        <a:pt x="78" y="99"/>
                      </a:lnTo>
                      <a:lnTo>
                        <a:pt x="78" y="101"/>
                      </a:lnTo>
                      <a:lnTo>
                        <a:pt x="77" y="101"/>
                      </a:lnTo>
                      <a:lnTo>
                        <a:pt x="77" y="102"/>
                      </a:lnTo>
                      <a:lnTo>
                        <a:pt x="77" y="105"/>
                      </a:lnTo>
                      <a:lnTo>
                        <a:pt x="76" y="105"/>
                      </a:lnTo>
                      <a:lnTo>
                        <a:pt x="76" y="106"/>
                      </a:lnTo>
                      <a:lnTo>
                        <a:pt x="74" y="106"/>
                      </a:lnTo>
                      <a:lnTo>
                        <a:pt x="74" y="108"/>
                      </a:lnTo>
                      <a:lnTo>
                        <a:pt x="73" y="108"/>
                      </a:lnTo>
                      <a:lnTo>
                        <a:pt x="72" y="109"/>
                      </a:lnTo>
                      <a:lnTo>
                        <a:pt x="72" y="110"/>
                      </a:lnTo>
                      <a:lnTo>
                        <a:pt x="71" y="110"/>
                      </a:lnTo>
                      <a:lnTo>
                        <a:pt x="70" y="110"/>
                      </a:lnTo>
                      <a:lnTo>
                        <a:pt x="69" y="110"/>
                      </a:lnTo>
                      <a:lnTo>
                        <a:pt x="67" y="111"/>
                      </a:lnTo>
                      <a:lnTo>
                        <a:pt x="67" y="112"/>
                      </a:lnTo>
                      <a:lnTo>
                        <a:pt x="69" y="112"/>
                      </a:lnTo>
                      <a:lnTo>
                        <a:pt x="69" y="113"/>
                      </a:lnTo>
                      <a:lnTo>
                        <a:pt x="67" y="113"/>
                      </a:lnTo>
                      <a:lnTo>
                        <a:pt x="67" y="115"/>
                      </a:lnTo>
                      <a:lnTo>
                        <a:pt x="66" y="115"/>
                      </a:lnTo>
                      <a:lnTo>
                        <a:pt x="66" y="116"/>
                      </a:lnTo>
                      <a:lnTo>
                        <a:pt x="65" y="116"/>
                      </a:lnTo>
                      <a:lnTo>
                        <a:pt x="64" y="117"/>
                      </a:lnTo>
                      <a:lnTo>
                        <a:pt x="63" y="117"/>
                      </a:lnTo>
                      <a:lnTo>
                        <a:pt x="62" y="117"/>
                      </a:lnTo>
                      <a:lnTo>
                        <a:pt x="60" y="117"/>
                      </a:lnTo>
                      <a:lnTo>
                        <a:pt x="59" y="117"/>
                      </a:lnTo>
                      <a:lnTo>
                        <a:pt x="58" y="117"/>
                      </a:lnTo>
                      <a:lnTo>
                        <a:pt x="57" y="118"/>
                      </a:lnTo>
                      <a:lnTo>
                        <a:pt x="57" y="117"/>
                      </a:lnTo>
                      <a:lnTo>
                        <a:pt x="57" y="116"/>
                      </a:lnTo>
                      <a:lnTo>
                        <a:pt x="58" y="115"/>
                      </a:lnTo>
                      <a:lnTo>
                        <a:pt x="59" y="113"/>
                      </a:lnTo>
                      <a:lnTo>
                        <a:pt x="60" y="113"/>
                      </a:lnTo>
                      <a:lnTo>
                        <a:pt x="62" y="113"/>
                      </a:lnTo>
                      <a:lnTo>
                        <a:pt x="60" y="113"/>
                      </a:lnTo>
                      <a:lnTo>
                        <a:pt x="59" y="113"/>
                      </a:lnTo>
                      <a:lnTo>
                        <a:pt x="58" y="112"/>
                      </a:lnTo>
                      <a:lnTo>
                        <a:pt x="59" y="112"/>
                      </a:lnTo>
                      <a:lnTo>
                        <a:pt x="59" y="111"/>
                      </a:lnTo>
                      <a:lnTo>
                        <a:pt x="59" y="110"/>
                      </a:lnTo>
                      <a:lnTo>
                        <a:pt x="59" y="111"/>
                      </a:lnTo>
                      <a:lnTo>
                        <a:pt x="58" y="112"/>
                      </a:lnTo>
                      <a:lnTo>
                        <a:pt x="58" y="113"/>
                      </a:lnTo>
                      <a:lnTo>
                        <a:pt x="57" y="113"/>
                      </a:lnTo>
                      <a:lnTo>
                        <a:pt x="57" y="112"/>
                      </a:lnTo>
                      <a:lnTo>
                        <a:pt x="57" y="111"/>
                      </a:lnTo>
                      <a:lnTo>
                        <a:pt x="57" y="110"/>
                      </a:lnTo>
                      <a:lnTo>
                        <a:pt x="57" y="109"/>
                      </a:lnTo>
                      <a:lnTo>
                        <a:pt x="57" y="108"/>
                      </a:lnTo>
                      <a:lnTo>
                        <a:pt x="56" y="108"/>
                      </a:lnTo>
                      <a:lnTo>
                        <a:pt x="56" y="109"/>
                      </a:lnTo>
                      <a:lnTo>
                        <a:pt x="55" y="110"/>
                      </a:lnTo>
                      <a:lnTo>
                        <a:pt x="53" y="110"/>
                      </a:lnTo>
                      <a:lnTo>
                        <a:pt x="53" y="109"/>
                      </a:lnTo>
                      <a:lnTo>
                        <a:pt x="53" y="108"/>
                      </a:lnTo>
                      <a:lnTo>
                        <a:pt x="53" y="106"/>
                      </a:lnTo>
                      <a:lnTo>
                        <a:pt x="53" y="105"/>
                      </a:lnTo>
                      <a:lnTo>
                        <a:pt x="55" y="105"/>
                      </a:lnTo>
                      <a:lnTo>
                        <a:pt x="53" y="105"/>
                      </a:lnTo>
                      <a:lnTo>
                        <a:pt x="52" y="105"/>
                      </a:lnTo>
                      <a:lnTo>
                        <a:pt x="51" y="105"/>
                      </a:lnTo>
                      <a:lnTo>
                        <a:pt x="50" y="104"/>
                      </a:lnTo>
                      <a:lnTo>
                        <a:pt x="50" y="103"/>
                      </a:lnTo>
                      <a:lnTo>
                        <a:pt x="51" y="102"/>
                      </a:lnTo>
                      <a:lnTo>
                        <a:pt x="51" y="101"/>
                      </a:lnTo>
                      <a:lnTo>
                        <a:pt x="50" y="102"/>
                      </a:lnTo>
                      <a:lnTo>
                        <a:pt x="50" y="103"/>
                      </a:lnTo>
                      <a:lnTo>
                        <a:pt x="49" y="103"/>
                      </a:lnTo>
                      <a:lnTo>
                        <a:pt x="49" y="102"/>
                      </a:lnTo>
                      <a:lnTo>
                        <a:pt x="48" y="102"/>
                      </a:lnTo>
                      <a:lnTo>
                        <a:pt x="48" y="101"/>
                      </a:lnTo>
                      <a:lnTo>
                        <a:pt x="46" y="102"/>
                      </a:lnTo>
                      <a:lnTo>
                        <a:pt x="45" y="103"/>
                      </a:lnTo>
                      <a:lnTo>
                        <a:pt x="44" y="103"/>
                      </a:lnTo>
                      <a:lnTo>
                        <a:pt x="44" y="102"/>
                      </a:lnTo>
                      <a:lnTo>
                        <a:pt x="45" y="101"/>
                      </a:lnTo>
                      <a:lnTo>
                        <a:pt x="46" y="99"/>
                      </a:lnTo>
                      <a:lnTo>
                        <a:pt x="46" y="98"/>
                      </a:lnTo>
                      <a:lnTo>
                        <a:pt x="46" y="96"/>
                      </a:lnTo>
                      <a:lnTo>
                        <a:pt x="48" y="96"/>
                      </a:lnTo>
                      <a:lnTo>
                        <a:pt x="48" y="95"/>
                      </a:lnTo>
                      <a:lnTo>
                        <a:pt x="49" y="95"/>
                      </a:lnTo>
                      <a:lnTo>
                        <a:pt x="49" y="94"/>
                      </a:lnTo>
                      <a:lnTo>
                        <a:pt x="48" y="94"/>
                      </a:lnTo>
                      <a:lnTo>
                        <a:pt x="48" y="95"/>
                      </a:lnTo>
                      <a:lnTo>
                        <a:pt x="48" y="94"/>
                      </a:lnTo>
                      <a:lnTo>
                        <a:pt x="46" y="92"/>
                      </a:lnTo>
                      <a:lnTo>
                        <a:pt x="45" y="92"/>
                      </a:lnTo>
                      <a:lnTo>
                        <a:pt x="45" y="94"/>
                      </a:lnTo>
                      <a:lnTo>
                        <a:pt x="46" y="94"/>
                      </a:lnTo>
                      <a:lnTo>
                        <a:pt x="45" y="95"/>
                      </a:lnTo>
                      <a:lnTo>
                        <a:pt x="44" y="96"/>
                      </a:lnTo>
                      <a:lnTo>
                        <a:pt x="43" y="95"/>
                      </a:lnTo>
                      <a:lnTo>
                        <a:pt x="43" y="94"/>
                      </a:lnTo>
                      <a:lnTo>
                        <a:pt x="43" y="92"/>
                      </a:lnTo>
                      <a:lnTo>
                        <a:pt x="44" y="91"/>
                      </a:lnTo>
                      <a:lnTo>
                        <a:pt x="45" y="90"/>
                      </a:lnTo>
                      <a:lnTo>
                        <a:pt x="44" y="89"/>
                      </a:lnTo>
                      <a:lnTo>
                        <a:pt x="44" y="90"/>
                      </a:lnTo>
                      <a:lnTo>
                        <a:pt x="43" y="91"/>
                      </a:lnTo>
                      <a:lnTo>
                        <a:pt x="42" y="92"/>
                      </a:lnTo>
                      <a:lnTo>
                        <a:pt x="41" y="92"/>
                      </a:lnTo>
                      <a:lnTo>
                        <a:pt x="41" y="91"/>
                      </a:lnTo>
                      <a:lnTo>
                        <a:pt x="39" y="91"/>
                      </a:lnTo>
                      <a:lnTo>
                        <a:pt x="38" y="90"/>
                      </a:lnTo>
                      <a:lnTo>
                        <a:pt x="37" y="89"/>
                      </a:lnTo>
                      <a:lnTo>
                        <a:pt x="36" y="88"/>
                      </a:lnTo>
                      <a:lnTo>
                        <a:pt x="35" y="88"/>
                      </a:lnTo>
                      <a:lnTo>
                        <a:pt x="34" y="87"/>
                      </a:lnTo>
                      <a:lnTo>
                        <a:pt x="33" y="87"/>
                      </a:lnTo>
                      <a:lnTo>
                        <a:pt x="33" y="85"/>
                      </a:lnTo>
                      <a:lnTo>
                        <a:pt x="34" y="84"/>
                      </a:lnTo>
                      <a:lnTo>
                        <a:pt x="35" y="84"/>
                      </a:lnTo>
                      <a:lnTo>
                        <a:pt x="34" y="84"/>
                      </a:lnTo>
                      <a:lnTo>
                        <a:pt x="34" y="83"/>
                      </a:lnTo>
                      <a:lnTo>
                        <a:pt x="34" y="84"/>
                      </a:lnTo>
                      <a:lnTo>
                        <a:pt x="33" y="84"/>
                      </a:lnTo>
                      <a:lnTo>
                        <a:pt x="33" y="83"/>
                      </a:lnTo>
                      <a:lnTo>
                        <a:pt x="34" y="83"/>
                      </a:lnTo>
                      <a:lnTo>
                        <a:pt x="34" y="82"/>
                      </a:lnTo>
                      <a:lnTo>
                        <a:pt x="35" y="81"/>
                      </a:lnTo>
                      <a:lnTo>
                        <a:pt x="34" y="81"/>
                      </a:lnTo>
                      <a:lnTo>
                        <a:pt x="34" y="82"/>
                      </a:lnTo>
                      <a:lnTo>
                        <a:pt x="33" y="82"/>
                      </a:lnTo>
                      <a:lnTo>
                        <a:pt x="33" y="83"/>
                      </a:lnTo>
                      <a:lnTo>
                        <a:pt x="31" y="83"/>
                      </a:lnTo>
                      <a:lnTo>
                        <a:pt x="31" y="84"/>
                      </a:lnTo>
                      <a:lnTo>
                        <a:pt x="31" y="85"/>
                      </a:lnTo>
                      <a:lnTo>
                        <a:pt x="30" y="85"/>
                      </a:lnTo>
                      <a:lnTo>
                        <a:pt x="29" y="85"/>
                      </a:lnTo>
                      <a:lnTo>
                        <a:pt x="29" y="84"/>
                      </a:lnTo>
                      <a:lnTo>
                        <a:pt x="29" y="83"/>
                      </a:lnTo>
                      <a:lnTo>
                        <a:pt x="30" y="83"/>
                      </a:lnTo>
                      <a:lnTo>
                        <a:pt x="30" y="82"/>
                      </a:lnTo>
                      <a:lnTo>
                        <a:pt x="29" y="82"/>
                      </a:lnTo>
                      <a:lnTo>
                        <a:pt x="29" y="83"/>
                      </a:lnTo>
                      <a:lnTo>
                        <a:pt x="28" y="84"/>
                      </a:lnTo>
                      <a:lnTo>
                        <a:pt x="27" y="84"/>
                      </a:lnTo>
                      <a:lnTo>
                        <a:pt x="27" y="83"/>
                      </a:lnTo>
                      <a:lnTo>
                        <a:pt x="27" y="82"/>
                      </a:lnTo>
                      <a:lnTo>
                        <a:pt x="26" y="82"/>
                      </a:lnTo>
                      <a:lnTo>
                        <a:pt x="23" y="80"/>
                      </a:lnTo>
                      <a:lnTo>
                        <a:pt x="22" y="80"/>
                      </a:lnTo>
                      <a:lnTo>
                        <a:pt x="21" y="80"/>
                      </a:lnTo>
                      <a:lnTo>
                        <a:pt x="20" y="81"/>
                      </a:lnTo>
                      <a:lnTo>
                        <a:pt x="20" y="80"/>
                      </a:lnTo>
                      <a:lnTo>
                        <a:pt x="20" y="78"/>
                      </a:lnTo>
                      <a:lnTo>
                        <a:pt x="20" y="77"/>
                      </a:lnTo>
                      <a:lnTo>
                        <a:pt x="20" y="76"/>
                      </a:lnTo>
                      <a:lnTo>
                        <a:pt x="17" y="75"/>
                      </a:lnTo>
                      <a:lnTo>
                        <a:pt x="17" y="74"/>
                      </a:lnTo>
                      <a:lnTo>
                        <a:pt x="17" y="73"/>
                      </a:lnTo>
                      <a:lnTo>
                        <a:pt x="17" y="71"/>
                      </a:lnTo>
                      <a:lnTo>
                        <a:pt x="16" y="71"/>
                      </a:lnTo>
                      <a:lnTo>
                        <a:pt x="16" y="73"/>
                      </a:lnTo>
                      <a:lnTo>
                        <a:pt x="15" y="73"/>
                      </a:lnTo>
                      <a:lnTo>
                        <a:pt x="14" y="73"/>
                      </a:lnTo>
                      <a:lnTo>
                        <a:pt x="14" y="71"/>
                      </a:lnTo>
                      <a:lnTo>
                        <a:pt x="14" y="73"/>
                      </a:lnTo>
                      <a:lnTo>
                        <a:pt x="13" y="71"/>
                      </a:lnTo>
                      <a:lnTo>
                        <a:pt x="13" y="70"/>
                      </a:lnTo>
                      <a:lnTo>
                        <a:pt x="14" y="69"/>
                      </a:lnTo>
                      <a:lnTo>
                        <a:pt x="15" y="68"/>
                      </a:lnTo>
                      <a:lnTo>
                        <a:pt x="14" y="68"/>
                      </a:lnTo>
                      <a:lnTo>
                        <a:pt x="14" y="67"/>
                      </a:lnTo>
                      <a:lnTo>
                        <a:pt x="15" y="66"/>
                      </a:lnTo>
                      <a:lnTo>
                        <a:pt x="15" y="64"/>
                      </a:lnTo>
                      <a:lnTo>
                        <a:pt x="15" y="66"/>
                      </a:lnTo>
                      <a:lnTo>
                        <a:pt x="15" y="64"/>
                      </a:lnTo>
                      <a:lnTo>
                        <a:pt x="16" y="64"/>
                      </a:lnTo>
                      <a:lnTo>
                        <a:pt x="16" y="62"/>
                      </a:lnTo>
                      <a:lnTo>
                        <a:pt x="17" y="61"/>
                      </a:lnTo>
                      <a:lnTo>
                        <a:pt x="19" y="60"/>
                      </a:lnTo>
                      <a:lnTo>
                        <a:pt x="17" y="60"/>
                      </a:lnTo>
                      <a:lnTo>
                        <a:pt x="19" y="59"/>
                      </a:lnTo>
                      <a:lnTo>
                        <a:pt x="17" y="59"/>
                      </a:lnTo>
                      <a:lnTo>
                        <a:pt x="17" y="60"/>
                      </a:lnTo>
                      <a:lnTo>
                        <a:pt x="16" y="61"/>
                      </a:lnTo>
                      <a:lnTo>
                        <a:pt x="15" y="62"/>
                      </a:lnTo>
                      <a:lnTo>
                        <a:pt x="15" y="63"/>
                      </a:lnTo>
                      <a:lnTo>
                        <a:pt x="15" y="64"/>
                      </a:lnTo>
                      <a:lnTo>
                        <a:pt x="14" y="64"/>
                      </a:lnTo>
                      <a:lnTo>
                        <a:pt x="14" y="66"/>
                      </a:lnTo>
                      <a:lnTo>
                        <a:pt x="13" y="67"/>
                      </a:lnTo>
                      <a:lnTo>
                        <a:pt x="12" y="67"/>
                      </a:lnTo>
                      <a:lnTo>
                        <a:pt x="12" y="66"/>
                      </a:lnTo>
                      <a:lnTo>
                        <a:pt x="13" y="66"/>
                      </a:lnTo>
                      <a:lnTo>
                        <a:pt x="12" y="66"/>
                      </a:lnTo>
                      <a:lnTo>
                        <a:pt x="12" y="63"/>
                      </a:lnTo>
                      <a:lnTo>
                        <a:pt x="13" y="63"/>
                      </a:lnTo>
                      <a:lnTo>
                        <a:pt x="13" y="62"/>
                      </a:lnTo>
                      <a:lnTo>
                        <a:pt x="14" y="62"/>
                      </a:lnTo>
                      <a:lnTo>
                        <a:pt x="14" y="61"/>
                      </a:lnTo>
                      <a:lnTo>
                        <a:pt x="13" y="61"/>
                      </a:lnTo>
                      <a:lnTo>
                        <a:pt x="13" y="62"/>
                      </a:lnTo>
                      <a:lnTo>
                        <a:pt x="12" y="63"/>
                      </a:lnTo>
                      <a:lnTo>
                        <a:pt x="10" y="63"/>
                      </a:lnTo>
                      <a:lnTo>
                        <a:pt x="10" y="64"/>
                      </a:lnTo>
                      <a:lnTo>
                        <a:pt x="10" y="66"/>
                      </a:lnTo>
                      <a:lnTo>
                        <a:pt x="9" y="64"/>
                      </a:lnTo>
                      <a:lnTo>
                        <a:pt x="9" y="63"/>
                      </a:lnTo>
                      <a:lnTo>
                        <a:pt x="9" y="62"/>
                      </a:lnTo>
                      <a:lnTo>
                        <a:pt x="10" y="62"/>
                      </a:lnTo>
                      <a:lnTo>
                        <a:pt x="10" y="61"/>
                      </a:lnTo>
                      <a:lnTo>
                        <a:pt x="10" y="60"/>
                      </a:lnTo>
                      <a:lnTo>
                        <a:pt x="9" y="60"/>
                      </a:lnTo>
                      <a:lnTo>
                        <a:pt x="9" y="61"/>
                      </a:lnTo>
                      <a:lnTo>
                        <a:pt x="8" y="61"/>
                      </a:lnTo>
                      <a:lnTo>
                        <a:pt x="8" y="60"/>
                      </a:lnTo>
                      <a:lnTo>
                        <a:pt x="9" y="60"/>
                      </a:lnTo>
                      <a:lnTo>
                        <a:pt x="8" y="60"/>
                      </a:lnTo>
                      <a:lnTo>
                        <a:pt x="8" y="59"/>
                      </a:lnTo>
                      <a:lnTo>
                        <a:pt x="9" y="59"/>
                      </a:lnTo>
                      <a:lnTo>
                        <a:pt x="8" y="59"/>
                      </a:lnTo>
                      <a:lnTo>
                        <a:pt x="8" y="57"/>
                      </a:lnTo>
                      <a:lnTo>
                        <a:pt x="9" y="57"/>
                      </a:lnTo>
                      <a:lnTo>
                        <a:pt x="10" y="56"/>
                      </a:lnTo>
                      <a:lnTo>
                        <a:pt x="12" y="56"/>
                      </a:lnTo>
                      <a:lnTo>
                        <a:pt x="12" y="55"/>
                      </a:lnTo>
                      <a:lnTo>
                        <a:pt x="13" y="54"/>
                      </a:lnTo>
                      <a:lnTo>
                        <a:pt x="13" y="53"/>
                      </a:lnTo>
                      <a:lnTo>
                        <a:pt x="13" y="54"/>
                      </a:lnTo>
                      <a:lnTo>
                        <a:pt x="12" y="54"/>
                      </a:lnTo>
                      <a:lnTo>
                        <a:pt x="10" y="55"/>
                      </a:lnTo>
                      <a:lnTo>
                        <a:pt x="10" y="56"/>
                      </a:lnTo>
                      <a:lnTo>
                        <a:pt x="9" y="56"/>
                      </a:lnTo>
                      <a:lnTo>
                        <a:pt x="8" y="56"/>
                      </a:lnTo>
                      <a:lnTo>
                        <a:pt x="9" y="55"/>
                      </a:lnTo>
                      <a:lnTo>
                        <a:pt x="8" y="55"/>
                      </a:lnTo>
                      <a:lnTo>
                        <a:pt x="7" y="56"/>
                      </a:lnTo>
                      <a:lnTo>
                        <a:pt x="6" y="56"/>
                      </a:lnTo>
                      <a:lnTo>
                        <a:pt x="6" y="55"/>
                      </a:lnTo>
                      <a:lnTo>
                        <a:pt x="5" y="55"/>
                      </a:lnTo>
                      <a:lnTo>
                        <a:pt x="6" y="55"/>
                      </a:lnTo>
                      <a:lnTo>
                        <a:pt x="6" y="56"/>
                      </a:lnTo>
                      <a:lnTo>
                        <a:pt x="5" y="56"/>
                      </a:lnTo>
                      <a:lnTo>
                        <a:pt x="3" y="56"/>
                      </a:lnTo>
                      <a:lnTo>
                        <a:pt x="5" y="57"/>
                      </a:lnTo>
                      <a:lnTo>
                        <a:pt x="5" y="59"/>
                      </a:lnTo>
                      <a:lnTo>
                        <a:pt x="3" y="60"/>
                      </a:lnTo>
                      <a:lnTo>
                        <a:pt x="3" y="61"/>
                      </a:lnTo>
                      <a:lnTo>
                        <a:pt x="3" y="62"/>
                      </a:lnTo>
                      <a:lnTo>
                        <a:pt x="5" y="62"/>
                      </a:lnTo>
                      <a:lnTo>
                        <a:pt x="3" y="63"/>
                      </a:lnTo>
                      <a:lnTo>
                        <a:pt x="2" y="62"/>
                      </a:lnTo>
                      <a:lnTo>
                        <a:pt x="1" y="62"/>
                      </a:lnTo>
                      <a:lnTo>
                        <a:pt x="0" y="61"/>
                      </a:lnTo>
                      <a:lnTo>
                        <a:pt x="0" y="60"/>
                      </a:lnTo>
                      <a:lnTo>
                        <a:pt x="0" y="59"/>
                      </a:lnTo>
                      <a:lnTo>
                        <a:pt x="1" y="59"/>
                      </a:lnTo>
                      <a:lnTo>
                        <a:pt x="1" y="57"/>
                      </a:lnTo>
                      <a:lnTo>
                        <a:pt x="2" y="57"/>
                      </a:lnTo>
                      <a:lnTo>
                        <a:pt x="1" y="57"/>
                      </a:lnTo>
                      <a:lnTo>
                        <a:pt x="1" y="56"/>
                      </a:lnTo>
                      <a:lnTo>
                        <a:pt x="2" y="56"/>
                      </a:lnTo>
                      <a:lnTo>
                        <a:pt x="3" y="54"/>
                      </a:lnTo>
                      <a:lnTo>
                        <a:pt x="7" y="48"/>
                      </a:lnTo>
                      <a:lnTo>
                        <a:pt x="7" y="46"/>
                      </a:lnTo>
                      <a:lnTo>
                        <a:pt x="8" y="45"/>
                      </a:lnTo>
                      <a:lnTo>
                        <a:pt x="10" y="40"/>
                      </a:lnTo>
                      <a:lnTo>
                        <a:pt x="12" y="39"/>
                      </a:lnTo>
                      <a:lnTo>
                        <a:pt x="13" y="39"/>
                      </a:lnTo>
                      <a:lnTo>
                        <a:pt x="16" y="39"/>
                      </a:lnTo>
                      <a:lnTo>
                        <a:pt x="17" y="39"/>
                      </a:lnTo>
                      <a:lnTo>
                        <a:pt x="20" y="38"/>
                      </a:lnTo>
                      <a:lnTo>
                        <a:pt x="23" y="35"/>
                      </a:lnTo>
                      <a:lnTo>
                        <a:pt x="24" y="34"/>
                      </a:lnTo>
                      <a:lnTo>
                        <a:pt x="28" y="34"/>
                      </a:lnTo>
                      <a:lnTo>
                        <a:pt x="29" y="34"/>
                      </a:lnTo>
                      <a:lnTo>
                        <a:pt x="30" y="34"/>
                      </a:lnTo>
                      <a:lnTo>
                        <a:pt x="31" y="34"/>
                      </a:lnTo>
                      <a:lnTo>
                        <a:pt x="34" y="34"/>
                      </a:lnTo>
                      <a:lnTo>
                        <a:pt x="35" y="33"/>
                      </a:lnTo>
                      <a:lnTo>
                        <a:pt x="36" y="33"/>
                      </a:lnTo>
                      <a:lnTo>
                        <a:pt x="37" y="33"/>
                      </a:lnTo>
                      <a:lnTo>
                        <a:pt x="38" y="32"/>
                      </a:lnTo>
                      <a:lnTo>
                        <a:pt x="37" y="31"/>
                      </a:lnTo>
                      <a:lnTo>
                        <a:pt x="38" y="31"/>
                      </a:lnTo>
                      <a:lnTo>
                        <a:pt x="38" y="32"/>
                      </a:lnTo>
                      <a:lnTo>
                        <a:pt x="39" y="32"/>
                      </a:lnTo>
                      <a:lnTo>
                        <a:pt x="39" y="33"/>
                      </a:lnTo>
                      <a:lnTo>
                        <a:pt x="41" y="33"/>
                      </a:lnTo>
                      <a:lnTo>
                        <a:pt x="42" y="32"/>
                      </a:lnTo>
                      <a:lnTo>
                        <a:pt x="43" y="32"/>
                      </a:lnTo>
                      <a:lnTo>
                        <a:pt x="43" y="31"/>
                      </a:lnTo>
                      <a:lnTo>
                        <a:pt x="43" y="29"/>
                      </a:lnTo>
                      <a:lnTo>
                        <a:pt x="42" y="26"/>
                      </a:lnTo>
                      <a:lnTo>
                        <a:pt x="42" y="25"/>
                      </a:lnTo>
                      <a:lnTo>
                        <a:pt x="42" y="22"/>
                      </a:lnTo>
                      <a:lnTo>
                        <a:pt x="42" y="21"/>
                      </a:lnTo>
                      <a:lnTo>
                        <a:pt x="41" y="21"/>
                      </a:lnTo>
                      <a:lnTo>
                        <a:pt x="39" y="21"/>
                      </a:lnTo>
                      <a:lnTo>
                        <a:pt x="38" y="20"/>
                      </a:lnTo>
                      <a:lnTo>
                        <a:pt x="37" y="19"/>
                      </a:lnTo>
                      <a:lnTo>
                        <a:pt x="36" y="18"/>
                      </a:lnTo>
                      <a:lnTo>
                        <a:pt x="35" y="18"/>
                      </a:lnTo>
                      <a:lnTo>
                        <a:pt x="35" y="17"/>
                      </a:lnTo>
                      <a:lnTo>
                        <a:pt x="35" y="15"/>
                      </a:lnTo>
                      <a:lnTo>
                        <a:pt x="37" y="14"/>
                      </a:lnTo>
                      <a:lnTo>
                        <a:pt x="38" y="14"/>
                      </a:lnTo>
                      <a:lnTo>
                        <a:pt x="38" y="13"/>
                      </a:lnTo>
                      <a:lnTo>
                        <a:pt x="39" y="13"/>
                      </a:lnTo>
                      <a:lnTo>
                        <a:pt x="39" y="14"/>
                      </a:lnTo>
                      <a:lnTo>
                        <a:pt x="42" y="14"/>
                      </a:lnTo>
                      <a:lnTo>
                        <a:pt x="43" y="14"/>
                      </a:lnTo>
                      <a:lnTo>
                        <a:pt x="43" y="13"/>
                      </a:lnTo>
                      <a:lnTo>
                        <a:pt x="43" y="12"/>
                      </a:lnTo>
                      <a:lnTo>
                        <a:pt x="43" y="11"/>
                      </a:lnTo>
                      <a:lnTo>
                        <a:pt x="43" y="10"/>
                      </a:lnTo>
                      <a:lnTo>
                        <a:pt x="44" y="8"/>
                      </a:lnTo>
                      <a:lnTo>
                        <a:pt x="44" y="7"/>
                      </a:lnTo>
                      <a:lnTo>
                        <a:pt x="43" y="6"/>
                      </a:lnTo>
                      <a:lnTo>
                        <a:pt x="42" y="5"/>
                      </a:lnTo>
                      <a:lnTo>
                        <a:pt x="42" y="4"/>
                      </a:lnTo>
                      <a:lnTo>
                        <a:pt x="42" y="3"/>
                      </a:lnTo>
                      <a:lnTo>
                        <a:pt x="42" y="0"/>
                      </a:lnTo>
                      <a:lnTo>
                        <a:pt x="52" y="0"/>
                      </a:lnTo>
                      <a:lnTo>
                        <a:pt x="53" y="1"/>
                      </a:lnTo>
                      <a:lnTo>
                        <a:pt x="55" y="1"/>
                      </a:lnTo>
                      <a:lnTo>
                        <a:pt x="56" y="1"/>
                      </a:lnTo>
                      <a:lnTo>
                        <a:pt x="57" y="1"/>
                      </a:lnTo>
                      <a:lnTo>
                        <a:pt x="58" y="1"/>
                      </a:lnTo>
                      <a:lnTo>
                        <a:pt x="59" y="1"/>
                      </a:lnTo>
                      <a:lnTo>
                        <a:pt x="60" y="1"/>
                      </a:lnTo>
                      <a:lnTo>
                        <a:pt x="62" y="1"/>
                      </a:lnTo>
                      <a:lnTo>
                        <a:pt x="63" y="1"/>
                      </a:lnTo>
                      <a:lnTo>
                        <a:pt x="63" y="3"/>
                      </a:lnTo>
                      <a:lnTo>
                        <a:pt x="63" y="4"/>
                      </a:lnTo>
                      <a:lnTo>
                        <a:pt x="63" y="5"/>
                      </a:lnTo>
                      <a:lnTo>
                        <a:pt x="63" y="6"/>
                      </a:lnTo>
                      <a:lnTo>
                        <a:pt x="64" y="7"/>
                      </a:lnTo>
                      <a:lnTo>
                        <a:pt x="65" y="7"/>
                      </a:lnTo>
                      <a:lnTo>
                        <a:pt x="66" y="6"/>
                      </a:lnTo>
                      <a:lnTo>
                        <a:pt x="66" y="5"/>
                      </a:lnTo>
                      <a:lnTo>
                        <a:pt x="67" y="5"/>
                      </a:lnTo>
                      <a:lnTo>
                        <a:pt x="69" y="5"/>
                      </a:lnTo>
                      <a:lnTo>
                        <a:pt x="70" y="6"/>
                      </a:lnTo>
                      <a:lnTo>
                        <a:pt x="70" y="7"/>
                      </a:lnTo>
                      <a:lnTo>
                        <a:pt x="71" y="7"/>
                      </a:lnTo>
                      <a:lnTo>
                        <a:pt x="72" y="7"/>
                      </a:lnTo>
                      <a:lnTo>
                        <a:pt x="73" y="8"/>
                      </a:lnTo>
                      <a:lnTo>
                        <a:pt x="76" y="7"/>
                      </a:lnTo>
                      <a:lnTo>
                        <a:pt x="77" y="8"/>
                      </a:lnTo>
                      <a:lnTo>
                        <a:pt x="78" y="10"/>
                      </a:lnTo>
                      <a:lnTo>
                        <a:pt x="79" y="10"/>
                      </a:lnTo>
                      <a:lnTo>
                        <a:pt x="80" y="10"/>
                      </a:lnTo>
                      <a:lnTo>
                        <a:pt x="81" y="10"/>
                      </a:lnTo>
                      <a:lnTo>
                        <a:pt x="83" y="10"/>
                      </a:lnTo>
                      <a:lnTo>
                        <a:pt x="84" y="10"/>
                      </a:lnTo>
                      <a:lnTo>
                        <a:pt x="85" y="12"/>
                      </a:lnTo>
                      <a:lnTo>
                        <a:pt x="86" y="12"/>
                      </a:lnTo>
                      <a:lnTo>
                        <a:pt x="91" y="11"/>
                      </a:lnTo>
                      <a:lnTo>
                        <a:pt x="92" y="10"/>
                      </a:lnTo>
                      <a:lnTo>
                        <a:pt x="93" y="8"/>
                      </a:lnTo>
                      <a:lnTo>
                        <a:pt x="94" y="8"/>
                      </a:lnTo>
                      <a:lnTo>
                        <a:pt x="97" y="8"/>
                      </a:lnTo>
                      <a:lnTo>
                        <a:pt x="98" y="8"/>
                      </a:lnTo>
                      <a:lnTo>
                        <a:pt x="99" y="8"/>
                      </a:lnTo>
                      <a:lnTo>
                        <a:pt x="100" y="8"/>
                      </a:lnTo>
                      <a:lnTo>
                        <a:pt x="101" y="8"/>
                      </a:lnTo>
                      <a:lnTo>
                        <a:pt x="102" y="8"/>
                      </a:lnTo>
                      <a:lnTo>
                        <a:pt x="105" y="8"/>
                      </a:lnTo>
                      <a:lnTo>
                        <a:pt x="106" y="8"/>
                      </a:lnTo>
                      <a:lnTo>
                        <a:pt x="108" y="7"/>
                      </a:lnTo>
                      <a:lnTo>
                        <a:pt x="109" y="7"/>
                      </a:lnTo>
                      <a:lnTo>
                        <a:pt x="113" y="7"/>
                      </a:lnTo>
                      <a:lnTo>
                        <a:pt x="114" y="7"/>
                      </a:lnTo>
                      <a:lnTo>
                        <a:pt x="115" y="8"/>
                      </a:lnTo>
                      <a:lnTo>
                        <a:pt x="116" y="8"/>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21" name="Freeform 92">
                  <a:extLst>
                    <a:ext uri="{FF2B5EF4-FFF2-40B4-BE49-F238E27FC236}">
                      <a16:creationId xmlns:a16="http://schemas.microsoft.com/office/drawing/2014/main" id="{2E7240AE-0D0D-40BF-8130-BBE757B88E57}"/>
                    </a:ext>
                  </a:extLst>
                </p:cNvPr>
                <p:cNvSpPr>
                  <a:spLocks/>
                </p:cNvSpPr>
                <p:nvPr/>
              </p:nvSpPr>
              <p:spPr bwMode="auto">
                <a:xfrm>
                  <a:off x="5644963" y="3333471"/>
                  <a:ext cx="102765" cy="28125"/>
                </a:xfrm>
                <a:custGeom>
                  <a:avLst/>
                  <a:gdLst>
                    <a:gd name="T0" fmla="*/ 1 w 95"/>
                    <a:gd name="T1" fmla="*/ 23 h 26"/>
                    <a:gd name="T2" fmla="*/ 0 w 95"/>
                    <a:gd name="T3" fmla="*/ 19 h 26"/>
                    <a:gd name="T4" fmla="*/ 1 w 95"/>
                    <a:gd name="T5" fmla="*/ 15 h 26"/>
                    <a:gd name="T6" fmla="*/ 5 w 95"/>
                    <a:gd name="T7" fmla="*/ 12 h 26"/>
                    <a:gd name="T8" fmla="*/ 7 w 95"/>
                    <a:gd name="T9" fmla="*/ 13 h 26"/>
                    <a:gd name="T10" fmla="*/ 8 w 95"/>
                    <a:gd name="T11" fmla="*/ 18 h 26"/>
                    <a:gd name="T12" fmla="*/ 13 w 95"/>
                    <a:gd name="T13" fmla="*/ 19 h 26"/>
                    <a:gd name="T14" fmla="*/ 14 w 95"/>
                    <a:gd name="T15" fmla="*/ 21 h 26"/>
                    <a:gd name="T16" fmla="*/ 12 w 95"/>
                    <a:gd name="T17" fmla="*/ 19 h 26"/>
                    <a:gd name="T18" fmla="*/ 15 w 95"/>
                    <a:gd name="T19" fmla="*/ 19 h 26"/>
                    <a:gd name="T20" fmla="*/ 19 w 95"/>
                    <a:gd name="T21" fmla="*/ 19 h 26"/>
                    <a:gd name="T22" fmla="*/ 21 w 95"/>
                    <a:gd name="T23" fmla="*/ 19 h 26"/>
                    <a:gd name="T24" fmla="*/ 20 w 95"/>
                    <a:gd name="T25" fmla="*/ 18 h 26"/>
                    <a:gd name="T26" fmla="*/ 19 w 95"/>
                    <a:gd name="T27" fmla="*/ 15 h 26"/>
                    <a:gd name="T28" fmla="*/ 27 w 95"/>
                    <a:gd name="T29" fmla="*/ 14 h 26"/>
                    <a:gd name="T30" fmla="*/ 30 w 95"/>
                    <a:gd name="T31" fmla="*/ 13 h 26"/>
                    <a:gd name="T32" fmla="*/ 35 w 95"/>
                    <a:gd name="T33" fmla="*/ 12 h 26"/>
                    <a:gd name="T34" fmla="*/ 38 w 95"/>
                    <a:gd name="T35" fmla="*/ 12 h 26"/>
                    <a:gd name="T36" fmla="*/ 41 w 95"/>
                    <a:gd name="T37" fmla="*/ 11 h 26"/>
                    <a:gd name="T38" fmla="*/ 43 w 95"/>
                    <a:gd name="T39" fmla="*/ 11 h 26"/>
                    <a:gd name="T40" fmla="*/ 48 w 95"/>
                    <a:gd name="T41" fmla="*/ 12 h 26"/>
                    <a:gd name="T42" fmla="*/ 48 w 95"/>
                    <a:gd name="T43" fmla="*/ 12 h 26"/>
                    <a:gd name="T44" fmla="*/ 43 w 95"/>
                    <a:gd name="T45" fmla="*/ 11 h 26"/>
                    <a:gd name="T46" fmla="*/ 42 w 95"/>
                    <a:gd name="T47" fmla="*/ 11 h 26"/>
                    <a:gd name="T48" fmla="*/ 38 w 95"/>
                    <a:gd name="T49" fmla="*/ 11 h 26"/>
                    <a:gd name="T50" fmla="*/ 34 w 95"/>
                    <a:gd name="T51" fmla="*/ 12 h 26"/>
                    <a:gd name="T52" fmla="*/ 19 w 95"/>
                    <a:gd name="T53" fmla="*/ 15 h 26"/>
                    <a:gd name="T54" fmla="*/ 17 w 95"/>
                    <a:gd name="T55" fmla="*/ 15 h 26"/>
                    <a:gd name="T56" fmla="*/ 16 w 95"/>
                    <a:gd name="T57" fmla="*/ 15 h 26"/>
                    <a:gd name="T58" fmla="*/ 14 w 95"/>
                    <a:gd name="T59" fmla="*/ 16 h 26"/>
                    <a:gd name="T60" fmla="*/ 10 w 95"/>
                    <a:gd name="T61" fmla="*/ 14 h 26"/>
                    <a:gd name="T62" fmla="*/ 8 w 95"/>
                    <a:gd name="T63" fmla="*/ 12 h 26"/>
                    <a:gd name="T64" fmla="*/ 10 w 95"/>
                    <a:gd name="T65" fmla="*/ 8 h 26"/>
                    <a:gd name="T66" fmla="*/ 23 w 95"/>
                    <a:gd name="T67" fmla="*/ 8 h 26"/>
                    <a:gd name="T68" fmla="*/ 36 w 95"/>
                    <a:gd name="T69" fmla="*/ 8 h 26"/>
                    <a:gd name="T70" fmla="*/ 42 w 95"/>
                    <a:gd name="T71" fmla="*/ 6 h 26"/>
                    <a:gd name="T72" fmla="*/ 48 w 95"/>
                    <a:gd name="T73" fmla="*/ 1 h 26"/>
                    <a:gd name="T74" fmla="*/ 55 w 95"/>
                    <a:gd name="T75" fmla="*/ 0 h 26"/>
                    <a:gd name="T76" fmla="*/ 63 w 95"/>
                    <a:gd name="T77" fmla="*/ 4 h 26"/>
                    <a:gd name="T78" fmla="*/ 70 w 95"/>
                    <a:gd name="T79" fmla="*/ 5 h 26"/>
                    <a:gd name="T80" fmla="*/ 74 w 95"/>
                    <a:gd name="T81" fmla="*/ 9 h 26"/>
                    <a:gd name="T82" fmla="*/ 81 w 95"/>
                    <a:gd name="T83" fmla="*/ 11 h 26"/>
                    <a:gd name="T84" fmla="*/ 88 w 95"/>
                    <a:gd name="T85" fmla="*/ 8 h 26"/>
                    <a:gd name="T86" fmla="*/ 92 w 95"/>
                    <a:gd name="T87" fmla="*/ 8 h 26"/>
                    <a:gd name="T88" fmla="*/ 94 w 95"/>
                    <a:gd name="T89" fmla="*/ 11 h 26"/>
                    <a:gd name="T90" fmla="*/ 90 w 95"/>
                    <a:gd name="T91" fmla="*/ 16 h 26"/>
                    <a:gd name="T92" fmla="*/ 83 w 95"/>
                    <a:gd name="T93" fmla="*/ 19 h 26"/>
                    <a:gd name="T94" fmla="*/ 76 w 95"/>
                    <a:gd name="T95" fmla="*/ 18 h 26"/>
                    <a:gd name="T96" fmla="*/ 72 w 95"/>
                    <a:gd name="T97" fmla="*/ 16 h 26"/>
                    <a:gd name="T98" fmla="*/ 65 w 95"/>
                    <a:gd name="T99" fmla="*/ 14 h 26"/>
                    <a:gd name="T100" fmla="*/ 60 w 95"/>
                    <a:gd name="T101" fmla="*/ 12 h 26"/>
                    <a:gd name="T102" fmla="*/ 55 w 95"/>
                    <a:gd name="T103" fmla="*/ 8 h 26"/>
                    <a:gd name="T104" fmla="*/ 50 w 95"/>
                    <a:gd name="T105" fmla="*/ 13 h 26"/>
                    <a:gd name="T106" fmla="*/ 42 w 95"/>
                    <a:gd name="T107" fmla="*/ 14 h 26"/>
                    <a:gd name="T108" fmla="*/ 35 w 95"/>
                    <a:gd name="T109" fmla="*/ 16 h 26"/>
                    <a:gd name="T110" fmla="*/ 31 w 95"/>
                    <a:gd name="T111" fmla="*/ 22 h 26"/>
                    <a:gd name="T112" fmla="*/ 6 w 95"/>
                    <a:gd name="T113" fmla="*/ 22 h 26"/>
                    <a:gd name="T114" fmla="*/ 2 w 95"/>
                    <a:gd name="T115"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5" h="26">
                      <a:moveTo>
                        <a:pt x="2" y="26"/>
                      </a:moveTo>
                      <a:lnTo>
                        <a:pt x="2" y="26"/>
                      </a:lnTo>
                      <a:lnTo>
                        <a:pt x="1" y="25"/>
                      </a:lnTo>
                      <a:lnTo>
                        <a:pt x="1" y="25"/>
                      </a:lnTo>
                      <a:lnTo>
                        <a:pt x="1" y="25"/>
                      </a:lnTo>
                      <a:lnTo>
                        <a:pt x="1" y="25"/>
                      </a:lnTo>
                      <a:lnTo>
                        <a:pt x="1" y="23"/>
                      </a:lnTo>
                      <a:lnTo>
                        <a:pt x="1" y="22"/>
                      </a:lnTo>
                      <a:lnTo>
                        <a:pt x="1" y="21"/>
                      </a:lnTo>
                      <a:lnTo>
                        <a:pt x="1" y="20"/>
                      </a:lnTo>
                      <a:lnTo>
                        <a:pt x="1" y="20"/>
                      </a:lnTo>
                      <a:lnTo>
                        <a:pt x="0" y="19"/>
                      </a:lnTo>
                      <a:lnTo>
                        <a:pt x="0" y="19"/>
                      </a:lnTo>
                      <a:lnTo>
                        <a:pt x="0" y="19"/>
                      </a:lnTo>
                      <a:lnTo>
                        <a:pt x="0" y="18"/>
                      </a:lnTo>
                      <a:lnTo>
                        <a:pt x="0" y="18"/>
                      </a:lnTo>
                      <a:lnTo>
                        <a:pt x="0" y="16"/>
                      </a:lnTo>
                      <a:lnTo>
                        <a:pt x="0" y="16"/>
                      </a:lnTo>
                      <a:lnTo>
                        <a:pt x="0" y="15"/>
                      </a:lnTo>
                      <a:lnTo>
                        <a:pt x="0" y="15"/>
                      </a:lnTo>
                      <a:lnTo>
                        <a:pt x="1" y="15"/>
                      </a:lnTo>
                      <a:lnTo>
                        <a:pt x="1" y="15"/>
                      </a:lnTo>
                      <a:lnTo>
                        <a:pt x="1" y="14"/>
                      </a:lnTo>
                      <a:lnTo>
                        <a:pt x="3" y="12"/>
                      </a:lnTo>
                      <a:lnTo>
                        <a:pt x="5" y="12"/>
                      </a:lnTo>
                      <a:lnTo>
                        <a:pt x="5" y="12"/>
                      </a:lnTo>
                      <a:lnTo>
                        <a:pt x="5" y="12"/>
                      </a:lnTo>
                      <a:lnTo>
                        <a:pt x="5" y="12"/>
                      </a:lnTo>
                      <a:lnTo>
                        <a:pt x="5" y="13"/>
                      </a:lnTo>
                      <a:lnTo>
                        <a:pt x="6" y="12"/>
                      </a:lnTo>
                      <a:lnTo>
                        <a:pt x="6" y="12"/>
                      </a:lnTo>
                      <a:lnTo>
                        <a:pt x="7" y="12"/>
                      </a:lnTo>
                      <a:lnTo>
                        <a:pt x="7" y="13"/>
                      </a:lnTo>
                      <a:lnTo>
                        <a:pt x="7" y="13"/>
                      </a:lnTo>
                      <a:lnTo>
                        <a:pt x="7" y="13"/>
                      </a:lnTo>
                      <a:lnTo>
                        <a:pt x="7" y="13"/>
                      </a:lnTo>
                      <a:lnTo>
                        <a:pt x="6" y="14"/>
                      </a:lnTo>
                      <a:lnTo>
                        <a:pt x="7" y="14"/>
                      </a:lnTo>
                      <a:lnTo>
                        <a:pt x="7" y="15"/>
                      </a:lnTo>
                      <a:lnTo>
                        <a:pt x="7" y="16"/>
                      </a:lnTo>
                      <a:lnTo>
                        <a:pt x="7" y="16"/>
                      </a:lnTo>
                      <a:lnTo>
                        <a:pt x="8" y="18"/>
                      </a:lnTo>
                      <a:lnTo>
                        <a:pt x="8" y="19"/>
                      </a:lnTo>
                      <a:lnTo>
                        <a:pt x="10" y="19"/>
                      </a:lnTo>
                      <a:lnTo>
                        <a:pt x="10" y="19"/>
                      </a:lnTo>
                      <a:lnTo>
                        <a:pt x="12" y="19"/>
                      </a:lnTo>
                      <a:lnTo>
                        <a:pt x="12" y="19"/>
                      </a:lnTo>
                      <a:lnTo>
                        <a:pt x="12" y="19"/>
                      </a:lnTo>
                      <a:lnTo>
                        <a:pt x="13" y="19"/>
                      </a:lnTo>
                      <a:lnTo>
                        <a:pt x="13" y="19"/>
                      </a:lnTo>
                      <a:lnTo>
                        <a:pt x="13" y="20"/>
                      </a:lnTo>
                      <a:lnTo>
                        <a:pt x="13" y="20"/>
                      </a:lnTo>
                      <a:lnTo>
                        <a:pt x="13" y="21"/>
                      </a:lnTo>
                      <a:lnTo>
                        <a:pt x="14" y="20"/>
                      </a:lnTo>
                      <a:lnTo>
                        <a:pt x="14" y="20"/>
                      </a:lnTo>
                      <a:lnTo>
                        <a:pt x="14" y="21"/>
                      </a:lnTo>
                      <a:lnTo>
                        <a:pt x="14" y="20"/>
                      </a:lnTo>
                      <a:lnTo>
                        <a:pt x="13" y="20"/>
                      </a:lnTo>
                      <a:lnTo>
                        <a:pt x="13" y="20"/>
                      </a:lnTo>
                      <a:lnTo>
                        <a:pt x="13" y="19"/>
                      </a:lnTo>
                      <a:lnTo>
                        <a:pt x="13" y="19"/>
                      </a:lnTo>
                      <a:lnTo>
                        <a:pt x="13" y="19"/>
                      </a:lnTo>
                      <a:lnTo>
                        <a:pt x="12" y="19"/>
                      </a:lnTo>
                      <a:lnTo>
                        <a:pt x="12" y="19"/>
                      </a:lnTo>
                      <a:lnTo>
                        <a:pt x="13" y="19"/>
                      </a:lnTo>
                      <a:lnTo>
                        <a:pt x="14" y="19"/>
                      </a:lnTo>
                      <a:lnTo>
                        <a:pt x="14" y="19"/>
                      </a:lnTo>
                      <a:lnTo>
                        <a:pt x="14" y="19"/>
                      </a:lnTo>
                      <a:lnTo>
                        <a:pt x="14" y="19"/>
                      </a:lnTo>
                      <a:lnTo>
                        <a:pt x="15" y="19"/>
                      </a:lnTo>
                      <a:lnTo>
                        <a:pt x="15" y="18"/>
                      </a:lnTo>
                      <a:lnTo>
                        <a:pt x="16" y="18"/>
                      </a:lnTo>
                      <a:lnTo>
                        <a:pt x="17" y="18"/>
                      </a:lnTo>
                      <a:lnTo>
                        <a:pt x="17" y="16"/>
                      </a:lnTo>
                      <a:lnTo>
                        <a:pt x="19" y="18"/>
                      </a:lnTo>
                      <a:lnTo>
                        <a:pt x="19" y="18"/>
                      </a:lnTo>
                      <a:lnTo>
                        <a:pt x="19" y="19"/>
                      </a:lnTo>
                      <a:lnTo>
                        <a:pt x="19" y="19"/>
                      </a:lnTo>
                      <a:lnTo>
                        <a:pt x="20" y="19"/>
                      </a:lnTo>
                      <a:lnTo>
                        <a:pt x="20" y="19"/>
                      </a:lnTo>
                      <a:lnTo>
                        <a:pt x="21" y="19"/>
                      </a:lnTo>
                      <a:lnTo>
                        <a:pt x="21" y="19"/>
                      </a:lnTo>
                      <a:lnTo>
                        <a:pt x="21" y="19"/>
                      </a:lnTo>
                      <a:lnTo>
                        <a:pt x="21" y="19"/>
                      </a:lnTo>
                      <a:lnTo>
                        <a:pt x="20" y="19"/>
                      </a:lnTo>
                      <a:lnTo>
                        <a:pt x="20" y="19"/>
                      </a:lnTo>
                      <a:lnTo>
                        <a:pt x="20" y="19"/>
                      </a:lnTo>
                      <a:lnTo>
                        <a:pt x="20" y="19"/>
                      </a:lnTo>
                      <a:lnTo>
                        <a:pt x="20" y="18"/>
                      </a:lnTo>
                      <a:lnTo>
                        <a:pt x="20" y="18"/>
                      </a:lnTo>
                      <a:lnTo>
                        <a:pt x="20" y="18"/>
                      </a:lnTo>
                      <a:lnTo>
                        <a:pt x="19" y="18"/>
                      </a:lnTo>
                      <a:lnTo>
                        <a:pt x="19" y="18"/>
                      </a:lnTo>
                      <a:lnTo>
                        <a:pt x="19" y="16"/>
                      </a:lnTo>
                      <a:lnTo>
                        <a:pt x="19" y="16"/>
                      </a:lnTo>
                      <a:lnTo>
                        <a:pt x="19" y="16"/>
                      </a:lnTo>
                      <a:lnTo>
                        <a:pt x="19" y="15"/>
                      </a:lnTo>
                      <a:lnTo>
                        <a:pt x="19" y="15"/>
                      </a:lnTo>
                      <a:lnTo>
                        <a:pt x="21" y="14"/>
                      </a:lnTo>
                      <a:lnTo>
                        <a:pt x="21" y="14"/>
                      </a:lnTo>
                      <a:lnTo>
                        <a:pt x="21" y="14"/>
                      </a:lnTo>
                      <a:lnTo>
                        <a:pt x="21" y="13"/>
                      </a:lnTo>
                      <a:lnTo>
                        <a:pt x="21" y="14"/>
                      </a:lnTo>
                      <a:lnTo>
                        <a:pt x="22" y="14"/>
                      </a:lnTo>
                      <a:lnTo>
                        <a:pt x="27" y="14"/>
                      </a:lnTo>
                      <a:lnTo>
                        <a:pt x="28" y="13"/>
                      </a:lnTo>
                      <a:lnTo>
                        <a:pt x="28" y="13"/>
                      </a:lnTo>
                      <a:lnTo>
                        <a:pt x="29" y="13"/>
                      </a:lnTo>
                      <a:lnTo>
                        <a:pt x="29" y="13"/>
                      </a:lnTo>
                      <a:lnTo>
                        <a:pt x="29" y="13"/>
                      </a:lnTo>
                      <a:lnTo>
                        <a:pt x="29" y="13"/>
                      </a:lnTo>
                      <a:lnTo>
                        <a:pt x="30" y="13"/>
                      </a:lnTo>
                      <a:lnTo>
                        <a:pt x="30" y="13"/>
                      </a:lnTo>
                      <a:lnTo>
                        <a:pt x="30" y="13"/>
                      </a:lnTo>
                      <a:lnTo>
                        <a:pt x="30" y="13"/>
                      </a:lnTo>
                      <a:lnTo>
                        <a:pt x="30" y="13"/>
                      </a:lnTo>
                      <a:lnTo>
                        <a:pt x="32" y="13"/>
                      </a:lnTo>
                      <a:lnTo>
                        <a:pt x="34" y="13"/>
                      </a:lnTo>
                      <a:lnTo>
                        <a:pt x="35" y="12"/>
                      </a:lnTo>
                      <a:lnTo>
                        <a:pt x="36" y="12"/>
                      </a:lnTo>
                      <a:lnTo>
                        <a:pt x="36" y="12"/>
                      </a:lnTo>
                      <a:lnTo>
                        <a:pt x="36" y="12"/>
                      </a:lnTo>
                      <a:lnTo>
                        <a:pt x="37" y="12"/>
                      </a:lnTo>
                      <a:lnTo>
                        <a:pt x="37" y="12"/>
                      </a:lnTo>
                      <a:lnTo>
                        <a:pt x="37" y="12"/>
                      </a:lnTo>
                      <a:lnTo>
                        <a:pt x="38" y="12"/>
                      </a:lnTo>
                      <a:lnTo>
                        <a:pt x="38" y="12"/>
                      </a:lnTo>
                      <a:lnTo>
                        <a:pt x="38" y="12"/>
                      </a:lnTo>
                      <a:lnTo>
                        <a:pt x="39" y="12"/>
                      </a:lnTo>
                      <a:lnTo>
                        <a:pt x="39" y="12"/>
                      </a:lnTo>
                      <a:lnTo>
                        <a:pt x="39" y="11"/>
                      </a:lnTo>
                      <a:lnTo>
                        <a:pt x="39" y="11"/>
                      </a:lnTo>
                      <a:lnTo>
                        <a:pt x="41" y="11"/>
                      </a:lnTo>
                      <a:lnTo>
                        <a:pt x="41" y="11"/>
                      </a:lnTo>
                      <a:lnTo>
                        <a:pt x="41" y="11"/>
                      </a:lnTo>
                      <a:lnTo>
                        <a:pt x="42" y="11"/>
                      </a:lnTo>
                      <a:lnTo>
                        <a:pt x="42" y="11"/>
                      </a:lnTo>
                      <a:lnTo>
                        <a:pt x="42" y="11"/>
                      </a:lnTo>
                      <a:lnTo>
                        <a:pt x="43" y="11"/>
                      </a:lnTo>
                      <a:lnTo>
                        <a:pt x="43" y="11"/>
                      </a:lnTo>
                      <a:lnTo>
                        <a:pt x="43" y="11"/>
                      </a:lnTo>
                      <a:lnTo>
                        <a:pt x="44" y="12"/>
                      </a:lnTo>
                      <a:lnTo>
                        <a:pt x="44" y="12"/>
                      </a:lnTo>
                      <a:lnTo>
                        <a:pt x="44" y="12"/>
                      </a:lnTo>
                      <a:lnTo>
                        <a:pt x="45" y="13"/>
                      </a:lnTo>
                      <a:lnTo>
                        <a:pt x="46" y="13"/>
                      </a:lnTo>
                      <a:lnTo>
                        <a:pt x="48" y="12"/>
                      </a:lnTo>
                      <a:lnTo>
                        <a:pt x="49" y="11"/>
                      </a:lnTo>
                      <a:lnTo>
                        <a:pt x="48" y="11"/>
                      </a:lnTo>
                      <a:lnTo>
                        <a:pt x="48" y="11"/>
                      </a:lnTo>
                      <a:lnTo>
                        <a:pt x="48" y="11"/>
                      </a:lnTo>
                      <a:lnTo>
                        <a:pt x="48" y="12"/>
                      </a:lnTo>
                      <a:lnTo>
                        <a:pt x="48" y="12"/>
                      </a:lnTo>
                      <a:lnTo>
                        <a:pt x="48" y="12"/>
                      </a:lnTo>
                      <a:lnTo>
                        <a:pt x="48" y="12"/>
                      </a:lnTo>
                      <a:lnTo>
                        <a:pt x="46" y="12"/>
                      </a:lnTo>
                      <a:lnTo>
                        <a:pt x="45" y="12"/>
                      </a:lnTo>
                      <a:lnTo>
                        <a:pt x="45" y="12"/>
                      </a:lnTo>
                      <a:lnTo>
                        <a:pt x="44" y="12"/>
                      </a:lnTo>
                      <a:lnTo>
                        <a:pt x="44" y="12"/>
                      </a:lnTo>
                      <a:lnTo>
                        <a:pt x="43" y="11"/>
                      </a:lnTo>
                      <a:lnTo>
                        <a:pt x="43" y="11"/>
                      </a:lnTo>
                      <a:lnTo>
                        <a:pt x="43" y="11"/>
                      </a:lnTo>
                      <a:lnTo>
                        <a:pt x="42" y="11"/>
                      </a:lnTo>
                      <a:lnTo>
                        <a:pt x="42" y="11"/>
                      </a:lnTo>
                      <a:lnTo>
                        <a:pt x="42" y="11"/>
                      </a:lnTo>
                      <a:lnTo>
                        <a:pt x="42" y="11"/>
                      </a:lnTo>
                      <a:lnTo>
                        <a:pt x="42" y="11"/>
                      </a:lnTo>
                      <a:lnTo>
                        <a:pt x="42" y="11"/>
                      </a:lnTo>
                      <a:lnTo>
                        <a:pt x="41" y="11"/>
                      </a:lnTo>
                      <a:lnTo>
                        <a:pt x="41" y="9"/>
                      </a:lnTo>
                      <a:lnTo>
                        <a:pt x="39" y="9"/>
                      </a:lnTo>
                      <a:lnTo>
                        <a:pt x="39" y="11"/>
                      </a:lnTo>
                      <a:lnTo>
                        <a:pt x="39" y="11"/>
                      </a:lnTo>
                      <a:lnTo>
                        <a:pt x="38" y="11"/>
                      </a:lnTo>
                      <a:lnTo>
                        <a:pt x="38" y="11"/>
                      </a:lnTo>
                      <a:lnTo>
                        <a:pt x="38" y="12"/>
                      </a:lnTo>
                      <a:lnTo>
                        <a:pt x="37" y="11"/>
                      </a:lnTo>
                      <a:lnTo>
                        <a:pt x="36" y="11"/>
                      </a:lnTo>
                      <a:lnTo>
                        <a:pt x="36" y="11"/>
                      </a:lnTo>
                      <a:lnTo>
                        <a:pt x="35" y="12"/>
                      </a:lnTo>
                      <a:lnTo>
                        <a:pt x="34" y="12"/>
                      </a:lnTo>
                      <a:lnTo>
                        <a:pt x="23" y="13"/>
                      </a:lnTo>
                      <a:lnTo>
                        <a:pt x="22" y="13"/>
                      </a:lnTo>
                      <a:lnTo>
                        <a:pt x="21" y="13"/>
                      </a:lnTo>
                      <a:lnTo>
                        <a:pt x="21" y="13"/>
                      </a:lnTo>
                      <a:lnTo>
                        <a:pt x="20" y="13"/>
                      </a:lnTo>
                      <a:lnTo>
                        <a:pt x="20" y="14"/>
                      </a:lnTo>
                      <a:lnTo>
                        <a:pt x="19" y="15"/>
                      </a:lnTo>
                      <a:lnTo>
                        <a:pt x="17" y="15"/>
                      </a:lnTo>
                      <a:lnTo>
                        <a:pt x="17" y="15"/>
                      </a:lnTo>
                      <a:lnTo>
                        <a:pt x="17" y="15"/>
                      </a:lnTo>
                      <a:lnTo>
                        <a:pt x="17" y="15"/>
                      </a:lnTo>
                      <a:lnTo>
                        <a:pt x="16" y="15"/>
                      </a:lnTo>
                      <a:lnTo>
                        <a:pt x="16" y="15"/>
                      </a:lnTo>
                      <a:lnTo>
                        <a:pt x="17" y="15"/>
                      </a:lnTo>
                      <a:lnTo>
                        <a:pt x="17" y="14"/>
                      </a:lnTo>
                      <a:lnTo>
                        <a:pt x="16" y="14"/>
                      </a:lnTo>
                      <a:lnTo>
                        <a:pt x="16" y="15"/>
                      </a:lnTo>
                      <a:lnTo>
                        <a:pt x="16" y="15"/>
                      </a:lnTo>
                      <a:lnTo>
                        <a:pt x="16" y="15"/>
                      </a:lnTo>
                      <a:lnTo>
                        <a:pt x="16" y="15"/>
                      </a:lnTo>
                      <a:lnTo>
                        <a:pt x="16" y="15"/>
                      </a:lnTo>
                      <a:lnTo>
                        <a:pt x="16" y="15"/>
                      </a:lnTo>
                      <a:lnTo>
                        <a:pt x="16" y="16"/>
                      </a:lnTo>
                      <a:lnTo>
                        <a:pt x="16" y="16"/>
                      </a:lnTo>
                      <a:lnTo>
                        <a:pt x="16" y="16"/>
                      </a:lnTo>
                      <a:lnTo>
                        <a:pt x="16" y="16"/>
                      </a:lnTo>
                      <a:lnTo>
                        <a:pt x="15" y="16"/>
                      </a:lnTo>
                      <a:lnTo>
                        <a:pt x="14" y="16"/>
                      </a:lnTo>
                      <a:lnTo>
                        <a:pt x="13" y="16"/>
                      </a:lnTo>
                      <a:lnTo>
                        <a:pt x="10" y="16"/>
                      </a:lnTo>
                      <a:lnTo>
                        <a:pt x="9" y="16"/>
                      </a:lnTo>
                      <a:lnTo>
                        <a:pt x="9" y="15"/>
                      </a:lnTo>
                      <a:lnTo>
                        <a:pt x="10" y="15"/>
                      </a:lnTo>
                      <a:lnTo>
                        <a:pt x="10" y="14"/>
                      </a:lnTo>
                      <a:lnTo>
                        <a:pt x="10" y="14"/>
                      </a:lnTo>
                      <a:lnTo>
                        <a:pt x="9" y="13"/>
                      </a:lnTo>
                      <a:lnTo>
                        <a:pt x="9" y="13"/>
                      </a:lnTo>
                      <a:lnTo>
                        <a:pt x="9" y="13"/>
                      </a:lnTo>
                      <a:lnTo>
                        <a:pt x="9" y="13"/>
                      </a:lnTo>
                      <a:lnTo>
                        <a:pt x="8" y="12"/>
                      </a:lnTo>
                      <a:lnTo>
                        <a:pt x="8" y="12"/>
                      </a:lnTo>
                      <a:lnTo>
                        <a:pt x="8" y="12"/>
                      </a:lnTo>
                      <a:lnTo>
                        <a:pt x="8" y="12"/>
                      </a:lnTo>
                      <a:lnTo>
                        <a:pt x="8" y="9"/>
                      </a:lnTo>
                      <a:lnTo>
                        <a:pt x="8" y="9"/>
                      </a:lnTo>
                      <a:lnTo>
                        <a:pt x="8" y="9"/>
                      </a:lnTo>
                      <a:lnTo>
                        <a:pt x="8" y="8"/>
                      </a:lnTo>
                      <a:lnTo>
                        <a:pt x="8" y="8"/>
                      </a:lnTo>
                      <a:lnTo>
                        <a:pt x="10" y="8"/>
                      </a:lnTo>
                      <a:lnTo>
                        <a:pt x="12" y="8"/>
                      </a:lnTo>
                      <a:lnTo>
                        <a:pt x="14" y="8"/>
                      </a:lnTo>
                      <a:lnTo>
                        <a:pt x="16" y="8"/>
                      </a:lnTo>
                      <a:lnTo>
                        <a:pt x="17" y="8"/>
                      </a:lnTo>
                      <a:lnTo>
                        <a:pt x="20" y="8"/>
                      </a:lnTo>
                      <a:lnTo>
                        <a:pt x="22" y="8"/>
                      </a:lnTo>
                      <a:lnTo>
                        <a:pt x="23" y="8"/>
                      </a:lnTo>
                      <a:lnTo>
                        <a:pt x="24" y="8"/>
                      </a:lnTo>
                      <a:lnTo>
                        <a:pt x="26" y="8"/>
                      </a:lnTo>
                      <a:lnTo>
                        <a:pt x="28" y="8"/>
                      </a:lnTo>
                      <a:lnTo>
                        <a:pt x="30" y="8"/>
                      </a:lnTo>
                      <a:lnTo>
                        <a:pt x="31" y="8"/>
                      </a:lnTo>
                      <a:lnTo>
                        <a:pt x="34" y="8"/>
                      </a:lnTo>
                      <a:lnTo>
                        <a:pt x="36" y="8"/>
                      </a:lnTo>
                      <a:lnTo>
                        <a:pt x="37" y="8"/>
                      </a:lnTo>
                      <a:lnTo>
                        <a:pt x="39" y="8"/>
                      </a:lnTo>
                      <a:lnTo>
                        <a:pt x="41" y="8"/>
                      </a:lnTo>
                      <a:lnTo>
                        <a:pt x="42" y="8"/>
                      </a:lnTo>
                      <a:lnTo>
                        <a:pt x="42" y="7"/>
                      </a:lnTo>
                      <a:lnTo>
                        <a:pt x="42" y="6"/>
                      </a:lnTo>
                      <a:lnTo>
                        <a:pt x="42" y="6"/>
                      </a:lnTo>
                      <a:lnTo>
                        <a:pt x="42" y="5"/>
                      </a:lnTo>
                      <a:lnTo>
                        <a:pt x="42" y="5"/>
                      </a:lnTo>
                      <a:lnTo>
                        <a:pt x="43" y="4"/>
                      </a:lnTo>
                      <a:lnTo>
                        <a:pt x="44" y="2"/>
                      </a:lnTo>
                      <a:lnTo>
                        <a:pt x="45" y="1"/>
                      </a:lnTo>
                      <a:lnTo>
                        <a:pt x="46" y="1"/>
                      </a:lnTo>
                      <a:lnTo>
                        <a:pt x="48" y="1"/>
                      </a:lnTo>
                      <a:lnTo>
                        <a:pt x="48" y="1"/>
                      </a:lnTo>
                      <a:lnTo>
                        <a:pt x="49" y="2"/>
                      </a:lnTo>
                      <a:lnTo>
                        <a:pt x="49" y="2"/>
                      </a:lnTo>
                      <a:lnTo>
                        <a:pt x="50" y="2"/>
                      </a:lnTo>
                      <a:lnTo>
                        <a:pt x="52" y="1"/>
                      </a:lnTo>
                      <a:lnTo>
                        <a:pt x="55" y="0"/>
                      </a:lnTo>
                      <a:lnTo>
                        <a:pt x="55" y="0"/>
                      </a:lnTo>
                      <a:lnTo>
                        <a:pt x="57" y="1"/>
                      </a:lnTo>
                      <a:lnTo>
                        <a:pt x="60" y="1"/>
                      </a:lnTo>
                      <a:lnTo>
                        <a:pt x="62" y="1"/>
                      </a:lnTo>
                      <a:lnTo>
                        <a:pt x="62" y="1"/>
                      </a:lnTo>
                      <a:lnTo>
                        <a:pt x="63" y="2"/>
                      </a:lnTo>
                      <a:lnTo>
                        <a:pt x="63" y="2"/>
                      </a:lnTo>
                      <a:lnTo>
                        <a:pt x="63" y="4"/>
                      </a:lnTo>
                      <a:lnTo>
                        <a:pt x="64" y="5"/>
                      </a:lnTo>
                      <a:lnTo>
                        <a:pt x="64" y="6"/>
                      </a:lnTo>
                      <a:lnTo>
                        <a:pt x="65" y="6"/>
                      </a:lnTo>
                      <a:lnTo>
                        <a:pt x="66" y="6"/>
                      </a:lnTo>
                      <a:lnTo>
                        <a:pt x="66" y="6"/>
                      </a:lnTo>
                      <a:lnTo>
                        <a:pt x="69" y="5"/>
                      </a:lnTo>
                      <a:lnTo>
                        <a:pt x="70" y="5"/>
                      </a:lnTo>
                      <a:lnTo>
                        <a:pt x="71" y="5"/>
                      </a:lnTo>
                      <a:lnTo>
                        <a:pt x="72" y="6"/>
                      </a:lnTo>
                      <a:lnTo>
                        <a:pt x="73" y="6"/>
                      </a:lnTo>
                      <a:lnTo>
                        <a:pt x="73" y="7"/>
                      </a:lnTo>
                      <a:lnTo>
                        <a:pt x="73" y="7"/>
                      </a:lnTo>
                      <a:lnTo>
                        <a:pt x="74" y="8"/>
                      </a:lnTo>
                      <a:lnTo>
                        <a:pt x="74" y="9"/>
                      </a:lnTo>
                      <a:lnTo>
                        <a:pt x="74" y="9"/>
                      </a:lnTo>
                      <a:lnTo>
                        <a:pt x="74" y="9"/>
                      </a:lnTo>
                      <a:lnTo>
                        <a:pt x="77" y="12"/>
                      </a:lnTo>
                      <a:lnTo>
                        <a:pt x="78" y="12"/>
                      </a:lnTo>
                      <a:lnTo>
                        <a:pt x="79" y="12"/>
                      </a:lnTo>
                      <a:lnTo>
                        <a:pt x="79" y="12"/>
                      </a:lnTo>
                      <a:lnTo>
                        <a:pt x="81" y="11"/>
                      </a:lnTo>
                      <a:lnTo>
                        <a:pt x="83" y="9"/>
                      </a:lnTo>
                      <a:lnTo>
                        <a:pt x="84" y="9"/>
                      </a:lnTo>
                      <a:lnTo>
                        <a:pt x="85" y="9"/>
                      </a:lnTo>
                      <a:lnTo>
                        <a:pt x="86" y="8"/>
                      </a:lnTo>
                      <a:lnTo>
                        <a:pt x="87" y="8"/>
                      </a:lnTo>
                      <a:lnTo>
                        <a:pt x="87" y="8"/>
                      </a:lnTo>
                      <a:lnTo>
                        <a:pt x="88" y="8"/>
                      </a:lnTo>
                      <a:lnTo>
                        <a:pt x="88" y="8"/>
                      </a:lnTo>
                      <a:lnTo>
                        <a:pt x="88" y="8"/>
                      </a:lnTo>
                      <a:lnTo>
                        <a:pt x="90" y="7"/>
                      </a:lnTo>
                      <a:lnTo>
                        <a:pt x="90" y="7"/>
                      </a:lnTo>
                      <a:lnTo>
                        <a:pt x="91" y="7"/>
                      </a:lnTo>
                      <a:lnTo>
                        <a:pt x="92" y="7"/>
                      </a:lnTo>
                      <a:lnTo>
                        <a:pt x="92" y="8"/>
                      </a:lnTo>
                      <a:lnTo>
                        <a:pt x="93" y="8"/>
                      </a:lnTo>
                      <a:lnTo>
                        <a:pt x="93" y="8"/>
                      </a:lnTo>
                      <a:lnTo>
                        <a:pt x="93" y="9"/>
                      </a:lnTo>
                      <a:lnTo>
                        <a:pt x="93" y="9"/>
                      </a:lnTo>
                      <a:lnTo>
                        <a:pt x="93" y="9"/>
                      </a:lnTo>
                      <a:lnTo>
                        <a:pt x="93" y="9"/>
                      </a:lnTo>
                      <a:lnTo>
                        <a:pt x="94" y="11"/>
                      </a:lnTo>
                      <a:lnTo>
                        <a:pt x="94" y="11"/>
                      </a:lnTo>
                      <a:lnTo>
                        <a:pt x="95" y="12"/>
                      </a:lnTo>
                      <a:lnTo>
                        <a:pt x="95" y="14"/>
                      </a:lnTo>
                      <a:lnTo>
                        <a:pt x="94" y="15"/>
                      </a:lnTo>
                      <a:lnTo>
                        <a:pt x="93" y="15"/>
                      </a:lnTo>
                      <a:lnTo>
                        <a:pt x="91" y="16"/>
                      </a:lnTo>
                      <a:lnTo>
                        <a:pt x="90" y="16"/>
                      </a:lnTo>
                      <a:lnTo>
                        <a:pt x="88" y="16"/>
                      </a:lnTo>
                      <a:lnTo>
                        <a:pt x="86" y="18"/>
                      </a:lnTo>
                      <a:lnTo>
                        <a:pt x="86" y="18"/>
                      </a:lnTo>
                      <a:lnTo>
                        <a:pt x="86" y="18"/>
                      </a:lnTo>
                      <a:lnTo>
                        <a:pt x="84" y="19"/>
                      </a:lnTo>
                      <a:lnTo>
                        <a:pt x="84" y="19"/>
                      </a:lnTo>
                      <a:lnTo>
                        <a:pt x="83" y="19"/>
                      </a:lnTo>
                      <a:lnTo>
                        <a:pt x="80" y="19"/>
                      </a:lnTo>
                      <a:lnTo>
                        <a:pt x="79" y="19"/>
                      </a:lnTo>
                      <a:lnTo>
                        <a:pt x="78" y="19"/>
                      </a:lnTo>
                      <a:lnTo>
                        <a:pt x="77" y="19"/>
                      </a:lnTo>
                      <a:lnTo>
                        <a:pt x="76" y="18"/>
                      </a:lnTo>
                      <a:lnTo>
                        <a:pt x="76" y="18"/>
                      </a:lnTo>
                      <a:lnTo>
                        <a:pt x="76" y="18"/>
                      </a:lnTo>
                      <a:lnTo>
                        <a:pt x="76" y="18"/>
                      </a:lnTo>
                      <a:lnTo>
                        <a:pt x="74" y="16"/>
                      </a:lnTo>
                      <a:lnTo>
                        <a:pt x="74" y="16"/>
                      </a:lnTo>
                      <a:lnTo>
                        <a:pt x="73" y="16"/>
                      </a:lnTo>
                      <a:lnTo>
                        <a:pt x="73" y="16"/>
                      </a:lnTo>
                      <a:lnTo>
                        <a:pt x="72" y="16"/>
                      </a:lnTo>
                      <a:lnTo>
                        <a:pt x="72" y="16"/>
                      </a:lnTo>
                      <a:lnTo>
                        <a:pt x="71" y="15"/>
                      </a:lnTo>
                      <a:lnTo>
                        <a:pt x="71" y="15"/>
                      </a:lnTo>
                      <a:lnTo>
                        <a:pt x="70" y="15"/>
                      </a:lnTo>
                      <a:lnTo>
                        <a:pt x="69" y="15"/>
                      </a:lnTo>
                      <a:lnTo>
                        <a:pt x="67" y="15"/>
                      </a:lnTo>
                      <a:lnTo>
                        <a:pt x="66" y="15"/>
                      </a:lnTo>
                      <a:lnTo>
                        <a:pt x="65" y="14"/>
                      </a:lnTo>
                      <a:lnTo>
                        <a:pt x="65" y="13"/>
                      </a:lnTo>
                      <a:lnTo>
                        <a:pt x="64" y="13"/>
                      </a:lnTo>
                      <a:lnTo>
                        <a:pt x="64" y="13"/>
                      </a:lnTo>
                      <a:lnTo>
                        <a:pt x="63" y="13"/>
                      </a:lnTo>
                      <a:lnTo>
                        <a:pt x="62" y="12"/>
                      </a:lnTo>
                      <a:lnTo>
                        <a:pt x="62" y="12"/>
                      </a:lnTo>
                      <a:lnTo>
                        <a:pt x="60" y="12"/>
                      </a:lnTo>
                      <a:lnTo>
                        <a:pt x="59" y="12"/>
                      </a:lnTo>
                      <a:lnTo>
                        <a:pt x="57" y="11"/>
                      </a:lnTo>
                      <a:lnTo>
                        <a:pt x="57" y="11"/>
                      </a:lnTo>
                      <a:lnTo>
                        <a:pt x="57" y="11"/>
                      </a:lnTo>
                      <a:lnTo>
                        <a:pt x="57" y="11"/>
                      </a:lnTo>
                      <a:lnTo>
                        <a:pt x="56" y="9"/>
                      </a:lnTo>
                      <a:lnTo>
                        <a:pt x="55" y="8"/>
                      </a:lnTo>
                      <a:lnTo>
                        <a:pt x="53" y="7"/>
                      </a:lnTo>
                      <a:lnTo>
                        <a:pt x="52" y="8"/>
                      </a:lnTo>
                      <a:lnTo>
                        <a:pt x="52" y="8"/>
                      </a:lnTo>
                      <a:lnTo>
                        <a:pt x="51" y="9"/>
                      </a:lnTo>
                      <a:lnTo>
                        <a:pt x="51" y="11"/>
                      </a:lnTo>
                      <a:lnTo>
                        <a:pt x="51" y="12"/>
                      </a:lnTo>
                      <a:lnTo>
                        <a:pt x="50" y="13"/>
                      </a:lnTo>
                      <a:lnTo>
                        <a:pt x="50" y="14"/>
                      </a:lnTo>
                      <a:lnTo>
                        <a:pt x="49" y="14"/>
                      </a:lnTo>
                      <a:lnTo>
                        <a:pt x="48" y="15"/>
                      </a:lnTo>
                      <a:lnTo>
                        <a:pt x="46" y="15"/>
                      </a:lnTo>
                      <a:lnTo>
                        <a:pt x="45" y="15"/>
                      </a:lnTo>
                      <a:lnTo>
                        <a:pt x="42" y="14"/>
                      </a:lnTo>
                      <a:lnTo>
                        <a:pt x="42" y="14"/>
                      </a:lnTo>
                      <a:lnTo>
                        <a:pt x="41" y="15"/>
                      </a:lnTo>
                      <a:lnTo>
                        <a:pt x="39" y="15"/>
                      </a:lnTo>
                      <a:lnTo>
                        <a:pt x="38" y="15"/>
                      </a:lnTo>
                      <a:lnTo>
                        <a:pt x="38" y="15"/>
                      </a:lnTo>
                      <a:lnTo>
                        <a:pt x="36" y="15"/>
                      </a:lnTo>
                      <a:lnTo>
                        <a:pt x="36" y="15"/>
                      </a:lnTo>
                      <a:lnTo>
                        <a:pt x="35" y="16"/>
                      </a:lnTo>
                      <a:lnTo>
                        <a:pt x="32" y="16"/>
                      </a:lnTo>
                      <a:lnTo>
                        <a:pt x="31" y="16"/>
                      </a:lnTo>
                      <a:lnTo>
                        <a:pt x="31" y="16"/>
                      </a:lnTo>
                      <a:lnTo>
                        <a:pt x="31" y="19"/>
                      </a:lnTo>
                      <a:lnTo>
                        <a:pt x="31" y="20"/>
                      </a:lnTo>
                      <a:lnTo>
                        <a:pt x="31" y="22"/>
                      </a:lnTo>
                      <a:lnTo>
                        <a:pt x="31" y="22"/>
                      </a:lnTo>
                      <a:lnTo>
                        <a:pt x="30" y="22"/>
                      </a:lnTo>
                      <a:lnTo>
                        <a:pt x="29" y="22"/>
                      </a:lnTo>
                      <a:lnTo>
                        <a:pt x="28" y="22"/>
                      </a:lnTo>
                      <a:lnTo>
                        <a:pt x="23" y="22"/>
                      </a:lnTo>
                      <a:lnTo>
                        <a:pt x="16" y="22"/>
                      </a:lnTo>
                      <a:lnTo>
                        <a:pt x="12" y="22"/>
                      </a:lnTo>
                      <a:lnTo>
                        <a:pt x="6" y="22"/>
                      </a:lnTo>
                      <a:lnTo>
                        <a:pt x="5" y="22"/>
                      </a:lnTo>
                      <a:lnTo>
                        <a:pt x="3" y="22"/>
                      </a:lnTo>
                      <a:lnTo>
                        <a:pt x="3" y="23"/>
                      </a:lnTo>
                      <a:lnTo>
                        <a:pt x="3" y="23"/>
                      </a:lnTo>
                      <a:lnTo>
                        <a:pt x="2" y="25"/>
                      </a:lnTo>
                      <a:lnTo>
                        <a:pt x="2" y="25"/>
                      </a:lnTo>
                      <a:lnTo>
                        <a:pt x="2" y="25"/>
                      </a:lnTo>
                      <a:lnTo>
                        <a:pt x="2" y="26"/>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22" name="Freeform 93">
                  <a:extLst>
                    <a:ext uri="{FF2B5EF4-FFF2-40B4-BE49-F238E27FC236}">
                      <a16:creationId xmlns:a16="http://schemas.microsoft.com/office/drawing/2014/main" id="{BC970B11-99E9-48AA-7C7E-8DDFBAAE11A2}"/>
                    </a:ext>
                  </a:extLst>
                </p:cNvPr>
                <p:cNvSpPr>
                  <a:spLocks noEditPoints="1"/>
                </p:cNvSpPr>
                <p:nvPr/>
              </p:nvSpPr>
              <p:spPr bwMode="auto">
                <a:xfrm>
                  <a:off x="5648209" y="3372413"/>
                  <a:ext cx="106009" cy="61659"/>
                </a:xfrm>
                <a:custGeom>
                  <a:avLst/>
                  <a:gdLst>
                    <a:gd name="T0" fmla="*/ 27 w 98"/>
                    <a:gd name="T1" fmla="*/ 53 h 57"/>
                    <a:gd name="T2" fmla="*/ 25 w 98"/>
                    <a:gd name="T3" fmla="*/ 53 h 57"/>
                    <a:gd name="T4" fmla="*/ 23 w 98"/>
                    <a:gd name="T5" fmla="*/ 50 h 57"/>
                    <a:gd name="T6" fmla="*/ 19 w 98"/>
                    <a:gd name="T7" fmla="*/ 55 h 57"/>
                    <a:gd name="T8" fmla="*/ 21 w 98"/>
                    <a:gd name="T9" fmla="*/ 49 h 57"/>
                    <a:gd name="T10" fmla="*/ 29 w 98"/>
                    <a:gd name="T11" fmla="*/ 48 h 57"/>
                    <a:gd name="T12" fmla="*/ 32 w 98"/>
                    <a:gd name="T13" fmla="*/ 48 h 57"/>
                    <a:gd name="T14" fmla="*/ 19 w 98"/>
                    <a:gd name="T15" fmla="*/ 49 h 57"/>
                    <a:gd name="T16" fmla="*/ 34 w 98"/>
                    <a:gd name="T17" fmla="*/ 42 h 57"/>
                    <a:gd name="T18" fmla="*/ 14 w 98"/>
                    <a:gd name="T19" fmla="*/ 41 h 57"/>
                    <a:gd name="T20" fmla="*/ 16 w 98"/>
                    <a:gd name="T21" fmla="*/ 40 h 57"/>
                    <a:gd name="T22" fmla="*/ 13 w 98"/>
                    <a:gd name="T23" fmla="*/ 39 h 57"/>
                    <a:gd name="T24" fmla="*/ 26 w 98"/>
                    <a:gd name="T25" fmla="*/ 42 h 57"/>
                    <a:gd name="T26" fmla="*/ 26 w 98"/>
                    <a:gd name="T27" fmla="*/ 36 h 57"/>
                    <a:gd name="T28" fmla="*/ 38 w 98"/>
                    <a:gd name="T29" fmla="*/ 39 h 57"/>
                    <a:gd name="T30" fmla="*/ 39 w 98"/>
                    <a:gd name="T31" fmla="*/ 36 h 57"/>
                    <a:gd name="T32" fmla="*/ 20 w 98"/>
                    <a:gd name="T33" fmla="*/ 31 h 57"/>
                    <a:gd name="T34" fmla="*/ 97 w 98"/>
                    <a:gd name="T35" fmla="*/ 10 h 57"/>
                    <a:gd name="T36" fmla="*/ 91 w 98"/>
                    <a:gd name="T37" fmla="*/ 14 h 57"/>
                    <a:gd name="T38" fmla="*/ 96 w 98"/>
                    <a:gd name="T39" fmla="*/ 22 h 57"/>
                    <a:gd name="T40" fmla="*/ 92 w 98"/>
                    <a:gd name="T41" fmla="*/ 32 h 57"/>
                    <a:gd name="T42" fmla="*/ 83 w 98"/>
                    <a:gd name="T43" fmla="*/ 34 h 57"/>
                    <a:gd name="T44" fmla="*/ 62 w 98"/>
                    <a:gd name="T45" fmla="*/ 45 h 57"/>
                    <a:gd name="T46" fmla="*/ 54 w 98"/>
                    <a:gd name="T47" fmla="*/ 56 h 57"/>
                    <a:gd name="T48" fmla="*/ 55 w 98"/>
                    <a:gd name="T49" fmla="*/ 48 h 57"/>
                    <a:gd name="T50" fmla="*/ 49 w 98"/>
                    <a:gd name="T51" fmla="*/ 55 h 57"/>
                    <a:gd name="T52" fmla="*/ 48 w 98"/>
                    <a:gd name="T53" fmla="*/ 49 h 57"/>
                    <a:gd name="T54" fmla="*/ 43 w 98"/>
                    <a:gd name="T55" fmla="*/ 49 h 57"/>
                    <a:gd name="T56" fmla="*/ 46 w 98"/>
                    <a:gd name="T57" fmla="*/ 43 h 57"/>
                    <a:gd name="T58" fmla="*/ 42 w 98"/>
                    <a:gd name="T59" fmla="*/ 45 h 57"/>
                    <a:gd name="T60" fmla="*/ 43 w 98"/>
                    <a:gd name="T61" fmla="*/ 39 h 57"/>
                    <a:gd name="T62" fmla="*/ 46 w 98"/>
                    <a:gd name="T63" fmla="*/ 36 h 57"/>
                    <a:gd name="T64" fmla="*/ 47 w 98"/>
                    <a:gd name="T65" fmla="*/ 35 h 57"/>
                    <a:gd name="T66" fmla="*/ 52 w 98"/>
                    <a:gd name="T67" fmla="*/ 36 h 57"/>
                    <a:gd name="T68" fmla="*/ 55 w 98"/>
                    <a:gd name="T69" fmla="*/ 35 h 57"/>
                    <a:gd name="T70" fmla="*/ 53 w 98"/>
                    <a:gd name="T71" fmla="*/ 34 h 57"/>
                    <a:gd name="T72" fmla="*/ 48 w 98"/>
                    <a:gd name="T73" fmla="*/ 34 h 57"/>
                    <a:gd name="T74" fmla="*/ 47 w 98"/>
                    <a:gd name="T75" fmla="*/ 32 h 57"/>
                    <a:gd name="T76" fmla="*/ 45 w 98"/>
                    <a:gd name="T77" fmla="*/ 35 h 57"/>
                    <a:gd name="T78" fmla="*/ 41 w 98"/>
                    <a:gd name="T79" fmla="*/ 35 h 57"/>
                    <a:gd name="T80" fmla="*/ 39 w 98"/>
                    <a:gd name="T81" fmla="*/ 33 h 57"/>
                    <a:gd name="T82" fmla="*/ 49 w 98"/>
                    <a:gd name="T83" fmla="*/ 27 h 57"/>
                    <a:gd name="T84" fmla="*/ 53 w 98"/>
                    <a:gd name="T85" fmla="*/ 29 h 57"/>
                    <a:gd name="T86" fmla="*/ 55 w 98"/>
                    <a:gd name="T87" fmla="*/ 29 h 57"/>
                    <a:gd name="T88" fmla="*/ 50 w 98"/>
                    <a:gd name="T89" fmla="*/ 25 h 57"/>
                    <a:gd name="T90" fmla="*/ 41 w 98"/>
                    <a:gd name="T91" fmla="*/ 26 h 57"/>
                    <a:gd name="T92" fmla="*/ 29 w 98"/>
                    <a:gd name="T93" fmla="*/ 29 h 57"/>
                    <a:gd name="T94" fmla="*/ 28 w 98"/>
                    <a:gd name="T95" fmla="*/ 29 h 57"/>
                    <a:gd name="T96" fmla="*/ 26 w 98"/>
                    <a:gd name="T97" fmla="*/ 27 h 57"/>
                    <a:gd name="T98" fmla="*/ 33 w 98"/>
                    <a:gd name="T99" fmla="*/ 24 h 57"/>
                    <a:gd name="T100" fmla="*/ 25 w 98"/>
                    <a:gd name="T101" fmla="*/ 26 h 57"/>
                    <a:gd name="T102" fmla="*/ 14 w 98"/>
                    <a:gd name="T103" fmla="*/ 25 h 57"/>
                    <a:gd name="T104" fmla="*/ 16 w 98"/>
                    <a:gd name="T105" fmla="*/ 17 h 57"/>
                    <a:gd name="T106" fmla="*/ 17 w 98"/>
                    <a:gd name="T107" fmla="*/ 14 h 57"/>
                    <a:gd name="T108" fmla="*/ 9 w 98"/>
                    <a:gd name="T109" fmla="*/ 19 h 57"/>
                    <a:gd name="T110" fmla="*/ 2 w 98"/>
                    <a:gd name="T111" fmla="*/ 13 h 57"/>
                    <a:gd name="T112" fmla="*/ 17 w 98"/>
                    <a:gd name="T113" fmla="*/ 10 h 57"/>
                    <a:gd name="T114" fmla="*/ 43 w 98"/>
                    <a:gd name="T115" fmla="*/ 4 h 57"/>
                    <a:gd name="T116" fmla="*/ 84 w 98"/>
                    <a:gd name="T11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8" h="57">
                      <a:moveTo>
                        <a:pt x="27" y="52"/>
                      </a:moveTo>
                      <a:lnTo>
                        <a:pt x="27" y="53"/>
                      </a:lnTo>
                      <a:lnTo>
                        <a:pt x="28" y="53"/>
                      </a:lnTo>
                      <a:lnTo>
                        <a:pt x="28" y="54"/>
                      </a:lnTo>
                      <a:lnTo>
                        <a:pt x="27" y="54"/>
                      </a:lnTo>
                      <a:lnTo>
                        <a:pt x="26" y="54"/>
                      </a:lnTo>
                      <a:lnTo>
                        <a:pt x="25" y="55"/>
                      </a:lnTo>
                      <a:lnTo>
                        <a:pt x="25" y="54"/>
                      </a:lnTo>
                      <a:lnTo>
                        <a:pt x="26" y="54"/>
                      </a:lnTo>
                      <a:lnTo>
                        <a:pt x="27" y="53"/>
                      </a:lnTo>
                      <a:lnTo>
                        <a:pt x="26" y="53"/>
                      </a:lnTo>
                      <a:lnTo>
                        <a:pt x="26" y="54"/>
                      </a:lnTo>
                      <a:lnTo>
                        <a:pt x="26" y="53"/>
                      </a:lnTo>
                      <a:lnTo>
                        <a:pt x="26" y="52"/>
                      </a:lnTo>
                      <a:lnTo>
                        <a:pt x="26" y="50"/>
                      </a:lnTo>
                      <a:lnTo>
                        <a:pt x="26" y="49"/>
                      </a:lnTo>
                      <a:lnTo>
                        <a:pt x="27" y="50"/>
                      </a:lnTo>
                      <a:lnTo>
                        <a:pt x="27" y="52"/>
                      </a:lnTo>
                      <a:close/>
                      <a:moveTo>
                        <a:pt x="25" y="52"/>
                      </a:moveTo>
                      <a:lnTo>
                        <a:pt x="25" y="53"/>
                      </a:lnTo>
                      <a:lnTo>
                        <a:pt x="24" y="54"/>
                      </a:lnTo>
                      <a:lnTo>
                        <a:pt x="24" y="53"/>
                      </a:lnTo>
                      <a:lnTo>
                        <a:pt x="24" y="52"/>
                      </a:lnTo>
                      <a:lnTo>
                        <a:pt x="23" y="52"/>
                      </a:lnTo>
                      <a:lnTo>
                        <a:pt x="23" y="50"/>
                      </a:lnTo>
                      <a:lnTo>
                        <a:pt x="24" y="50"/>
                      </a:lnTo>
                      <a:lnTo>
                        <a:pt x="25" y="49"/>
                      </a:lnTo>
                      <a:lnTo>
                        <a:pt x="25" y="50"/>
                      </a:lnTo>
                      <a:lnTo>
                        <a:pt x="25" y="52"/>
                      </a:lnTo>
                      <a:close/>
                      <a:moveTo>
                        <a:pt x="23" y="50"/>
                      </a:moveTo>
                      <a:lnTo>
                        <a:pt x="23" y="52"/>
                      </a:lnTo>
                      <a:lnTo>
                        <a:pt x="23" y="53"/>
                      </a:lnTo>
                      <a:lnTo>
                        <a:pt x="23" y="54"/>
                      </a:lnTo>
                      <a:lnTo>
                        <a:pt x="23" y="55"/>
                      </a:lnTo>
                      <a:lnTo>
                        <a:pt x="21" y="55"/>
                      </a:lnTo>
                      <a:lnTo>
                        <a:pt x="20" y="55"/>
                      </a:lnTo>
                      <a:lnTo>
                        <a:pt x="20" y="54"/>
                      </a:lnTo>
                      <a:lnTo>
                        <a:pt x="19" y="55"/>
                      </a:lnTo>
                      <a:lnTo>
                        <a:pt x="20" y="55"/>
                      </a:lnTo>
                      <a:lnTo>
                        <a:pt x="19" y="55"/>
                      </a:lnTo>
                      <a:lnTo>
                        <a:pt x="18" y="55"/>
                      </a:lnTo>
                      <a:lnTo>
                        <a:pt x="17" y="54"/>
                      </a:lnTo>
                      <a:lnTo>
                        <a:pt x="17" y="53"/>
                      </a:lnTo>
                      <a:lnTo>
                        <a:pt x="18" y="52"/>
                      </a:lnTo>
                      <a:lnTo>
                        <a:pt x="18" y="53"/>
                      </a:lnTo>
                      <a:lnTo>
                        <a:pt x="19" y="53"/>
                      </a:lnTo>
                      <a:lnTo>
                        <a:pt x="19" y="52"/>
                      </a:lnTo>
                      <a:lnTo>
                        <a:pt x="19" y="50"/>
                      </a:lnTo>
                      <a:lnTo>
                        <a:pt x="20" y="50"/>
                      </a:lnTo>
                      <a:lnTo>
                        <a:pt x="21" y="49"/>
                      </a:lnTo>
                      <a:lnTo>
                        <a:pt x="23" y="50"/>
                      </a:lnTo>
                      <a:close/>
                      <a:moveTo>
                        <a:pt x="29" y="49"/>
                      </a:moveTo>
                      <a:lnTo>
                        <a:pt x="28" y="49"/>
                      </a:lnTo>
                      <a:lnTo>
                        <a:pt x="27" y="49"/>
                      </a:lnTo>
                      <a:lnTo>
                        <a:pt x="27" y="48"/>
                      </a:lnTo>
                      <a:lnTo>
                        <a:pt x="28" y="47"/>
                      </a:lnTo>
                      <a:lnTo>
                        <a:pt x="28" y="46"/>
                      </a:lnTo>
                      <a:lnTo>
                        <a:pt x="29" y="46"/>
                      </a:lnTo>
                      <a:lnTo>
                        <a:pt x="29" y="47"/>
                      </a:lnTo>
                      <a:lnTo>
                        <a:pt x="29" y="48"/>
                      </a:lnTo>
                      <a:lnTo>
                        <a:pt x="29" y="49"/>
                      </a:lnTo>
                      <a:close/>
                      <a:moveTo>
                        <a:pt x="35" y="47"/>
                      </a:moveTo>
                      <a:lnTo>
                        <a:pt x="35" y="48"/>
                      </a:lnTo>
                      <a:lnTo>
                        <a:pt x="34" y="48"/>
                      </a:lnTo>
                      <a:lnTo>
                        <a:pt x="34" y="49"/>
                      </a:lnTo>
                      <a:lnTo>
                        <a:pt x="33" y="49"/>
                      </a:lnTo>
                      <a:lnTo>
                        <a:pt x="33" y="50"/>
                      </a:lnTo>
                      <a:lnTo>
                        <a:pt x="32" y="50"/>
                      </a:lnTo>
                      <a:lnTo>
                        <a:pt x="32" y="49"/>
                      </a:lnTo>
                      <a:lnTo>
                        <a:pt x="32" y="48"/>
                      </a:lnTo>
                      <a:lnTo>
                        <a:pt x="32" y="47"/>
                      </a:lnTo>
                      <a:lnTo>
                        <a:pt x="33" y="47"/>
                      </a:lnTo>
                      <a:lnTo>
                        <a:pt x="34" y="46"/>
                      </a:lnTo>
                      <a:lnTo>
                        <a:pt x="35" y="46"/>
                      </a:lnTo>
                      <a:lnTo>
                        <a:pt x="35" y="47"/>
                      </a:lnTo>
                      <a:close/>
                      <a:moveTo>
                        <a:pt x="18" y="46"/>
                      </a:moveTo>
                      <a:lnTo>
                        <a:pt x="18" y="47"/>
                      </a:lnTo>
                      <a:lnTo>
                        <a:pt x="19" y="47"/>
                      </a:lnTo>
                      <a:lnTo>
                        <a:pt x="19" y="48"/>
                      </a:lnTo>
                      <a:lnTo>
                        <a:pt x="19" y="49"/>
                      </a:lnTo>
                      <a:lnTo>
                        <a:pt x="17" y="49"/>
                      </a:lnTo>
                      <a:lnTo>
                        <a:pt x="16" y="49"/>
                      </a:lnTo>
                      <a:lnTo>
                        <a:pt x="16" y="48"/>
                      </a:lnTo>
                      <a:lnTo>
                        <a:pt x="16" y="47"/>
                      </a:lnTo>
                      <a:lnTo>
                        <a:pt x="17" y="47"/>
                      </a:lnTo>
                      <a:lnTo>
                        <a:pt x="18" y="47"/>
                      </a:lnTo>
                      <a:lnTo>
                        <a:pt x="18" y="46"/>
                      </a:lnTo>
                      <a:close/>
                      <a:moveTo>
                        <a:pt x="35" y="40"/>
                      </a:moveTo>
                      <a:lnTo>
                        <a:pt x="35" y="41"/>
                      </a:lnTo>
                      <a:lnTo>
                        <a:pt x="34" y="42"/>
                      </a:lnTo>
                      <a:lnTo>
                        <a:pt x="34" y="41"/>
                      </a:lnTo>
                      <a:lnTo>
                        <a:pt x="33" y="42"/>
                      </a:lnTo>
                      <a:lnTo>
                        <a:pt x="33" y="41"/>
                      </a:lnTo>
                      <a:lnTo>
                        <a:pt x="34" y="40"/>
                      </a:lnTo>
                      <a:lnTo>
                        <a:pt x="35" y="40"/>
                      </a:lnTo>
                      <a:close/>
                      <a:moveTo>
                        <a:pt x="18" y="42"/>
                      </a:moveTo>
                      <a:lnTo>
                        <a:pt x="17" y="42"/>
                      </a:lnTo>
                      <a:lnTo>
                        <a:pt x="16" y="42"/>
                      </a:lnTo>
                      <a:lnTo>
                        <a:pt x="14" y="42"/>
                      </a:lnTo>
                      <a:lnTo>
                        <a:pt x="14" y="41"/>
                      </a:lnTo>
                      <a:lnTo>
                        <a:pt x="16" y="41"/>
                      </a:lnTo>
                      <a:lnTo>
                        <a:pt x="17" y="40"/>
                      </a:lnTo>
                      <a:lnTo>
                        <a:pt x="18" y="40"/>
                      </a:lnTo>
                      <a:lnTo>
                        <a:pt x="19" y="40"/>
                      </a:lnTo>
                      <a:lnTo>
                        <a:pt x="18" y="41"/>
                      </a:lnTo>
                      <a:lnTo>
                        <a:pt x="18" y="42"/>
                      </a:lnTo>
                      <a:close/>
                      <a:moveTo>
                        <a:pt x="17" y="38"/>
                      </a:moveTo>
                      <a:lnTo>
                        <a:pt x="17" y="39"/>
                      </a:lnTo>
                      <a:lnTo>
                        <a:pt x="16" y="39"/>
                      </a:lnTo>
                      <a:lnTo>
                        <a:pt x="16" y="40"/>
                      </a:lnTo>
                      <a:lnTo>
                        <a:pt x="14" y="40"/>
                      </a:lnTo>
                      <a:lnTo>
                        <a:pt x="14" y="41"/>
                      </a:lnTo>
                      <a:lnTo>
                        <a:pt x="13" y="40"/>
                      </a:lnTo>
                      <a:lnTo>
                        <a:pt x="12" y="40"/>
                      </a:lnTo>
                      <a:lnTo>
                        <a:pt x="11" y="40"/>
                      </a:lnTo>
                      <a:lnTo>
                        <a:pt x="11" y="41"/>
                      </a:lnTo>
                      <a:lnTo>
                        <a:pt x="11" y="40"/>
                      </a:lnTo>
                      <a:lnTo>
                        <a:pt x="11" y="39"/>
                      </a:lnTo>
                      <a:lnTo>
                        <a:pt x="12" y="39"/>
                      </a:lnTo>
                      <a:lnTo>
                        <a:pt x="13" y="39"/>
                      </a:lnTo>
                      <a:lnTo>
                        <a:pt x="14" y="39"/>
                      </a:lnTo>
                      <a:lnTo>
                        <a:pt x="16" y="38"/>
                      </a:lnTo>
                      <a:lnTo>
                        <a:pt x="17" y="38"/>
                      </a:lnTo>
                      <a:close/>
                      <a:moveTo>
                        <a:pt x="26" y="38"/>
                      </a:moveTo>
                      <a:lnTo>
                        <a:pt x="27" y="38"/>
                      </a:lnTo>
                      <a:lnTo>
                        <a:pt x="27" y="39"/>
                      </a:lnTo>
                      <a:lnTo>
                        <a:pt x="27" y="40"/>
                      </a:lnTo>
                      <a:lnTo>
                        <a:pt x="27" y="41"/>
                      </a:lnTo>
                      <a:lnTo>
                        <a:pt x="27" y="42"/>
                      </a:lnTo>
                      <a:lnTo>
                        <a:pt x="26" y="42"/>
                      </a:lnTo>
                      <a:lnTo>
                        <a:pt x="25" y="42"/>
                      </a:lnTo>
                      <a:lnTo>
                        <a:pt x="24" y="42"/>
                      </a:lnTo>
                      <a:lnTo>
                        <a:pt x="23" y="42"/>
                      </a:lnTo>
                      <a:lnTo>
                        <a:pt x="21" y="41"/>
                      </a:lnTo>
                      <a:lnTo>
                        <a:pt x="23" y="40"/>
                      </a:lnTo>
                      <a:lnTo>
                        <a:pt x="24" y="40"/>
                      </a:lnTo>
                      <a:lnTo>
                        <a:pt x="24" y="39"/>
                      </a:lnTo>
                      <a:lnTo>
                        <a:pt x="24" y="38"/>
                      </a:lnTo>
                      <a:lnTo>
                        <a:pt x="25" y="38"/>
                      </a:lnTo>
                      <a:lnTo>
                        <a:pt x="26" y="36"/>
                      </a:lnTo>
                      <a:lnTo>
                        <a:pt x="26" y="38"/>
                      </a:lnTo>
                      <a:close/>
                      <a:moveTo>
                        <a:pt x="41" y="35"/>
                      </a:moveTo>
                      <a:lnTo>
                        <a:pt x="41" y="36"/>
                      </a:lnTo>
                      <a:lnTo>
                        <a:pt x="40" y="36"/>
                      </a:lnTo>
                      <a:lnTo>
                        <a:pt x="41" y="36"/>
                      </a:lnTo>
                      <a:lnTo>
                        <a:pt x="41" y="38"/>
                      </a:lnTo>
                      <a:lnTo>
                        <a:pt x="40" y="38"/>
                      </a:lnTo>
                      <a:lnTo>
                        <a:pt x="39" y="38"/>
                      </a:lnTo>
                      <a:lnTo>
                        <a:pt x="38" y="38"/>
                      </a:lnTo>
                      <a:lnTo>
                        <a:pt x="38" y="39"/>
                      </a:lnTo>
                      <a:lnTo>
                        <a:pt x="39" y="39"/>
                      </a:lnTo>
                      <a:lnTo>
                        <a:pt x="38" y="40"/>
                      </a:lnTo>
                      <a:lnTo>
                        <a:pt x="38" y="39"/>
                      </a:lnTo>
                      <a:lnTo>
                        <a:pt x="36" y="39"/>
                      </a:lnTo>
                      <a:lnTo>
                        <a:pt x="35" y="39"/>
                      </a:lnTo>
                      <a:lnTo>
                        <a:pt x="36" y="39"/>
                      </a:lnTo>
                      <a:lnTo>
                        <a:pt x="36" y="38"/>
                      </a:lnTo>
                      <a:lnTo>
                        <a:pt x="38" y="38"/>
                      </a:lnTo>
                      <a:lnTo>
                        <a:pt x="38" y="36"/>
                      </a:lnTo>
                      <a:lnTo>
                        <a:pt x="39" y="36"/>
                      </a:lnTo>
                      <a:lnTo>
                        <a:pt x="39" y="35"/>
                      </a:lnTo>
                      <a:lnTo>
                        <a:pt x="40" y="35"/>
                      </a:lnTo>
                      <a:lnTo>
                        <a:pt x="41" y="35"/>
                      </a:lnTo>
                      <a:close/>
                      <a:moveTo>
                        <a:pt x="25" y="27"/>
                      </a:moveTo>
                      <a:lnTo>
                        <a:pt x="24" y="28"/>
                      </a:lnTo>
                      <a:lnTo>
                        <a:pt x="24" y="29"/>
                      </a:lnTo>
                      <a:lnTo>
                        <a:pt x="24" y="31"/>
                      </a:lnTo>
                      <a:lnTo>
                        <a:pt x="23" y="32"/>
                      </a:lnTo>
                      <a:lnTo>
                        <a:pt x="21" y="32"/>
                      </a:lnTo>
                      <a:lnTo>
                        <a:pt x="20" y="31"/>
                      </a:lnTo>
                      <a:lnTo>
                        <a:pt x="19" y="31"/>
                      </a:lnTo>
                      <a:lnTo>
                        <a:pt x="19" y="29"/>
                      </a:lnTo>
                      <a:lnTo>
                        <a:pt x="19" y="28"/>
                      </a:lnTo>
                      <a:lnTo>
                        <a:pt x="20" y="28"/>
                      </a:lnTo>
                      <a:lnTo>
                        <a:pt x="21" y="28"/>
                      </a:lnTo>
                      <a:lnTo>
                        <a:pt x="23" y="27"/>
                      </a:lnTo>
                      <a:lnTo>
                        <a:pt x="24" y="27"/>
                      </a:lnTo>
                      <a:lnTo>
                        <a:pt x="25" y="27"/>
                      </a:lnTo>
                      <a:close/>
                      <a:moveTo>
                        <a:pt x="98" y="8"/>
                      </a:moveTo>
                      <a:lnTo>
                        <a:pt x="97" y="10"/>
                      </a:lnTo>
                      <a:lnTo>
                        <a:pt x="97" y="11"/>
                      </a:lnTo>
                      <a:lnTo>
                        <a:pt x="97" y="12"/>
                      </a:lnTo>
                      <a:lnTo>
                        <a:pt x="97" y="13"/>
                      </a:lnTo>
                      <a:lnTo>
                        <a:pt x="97" y="14"/>
                      </a:lnTo>
                      <a:lnTo>
                        <a:pt x="96" y="14"/>
                      </a:lnTo>
                      <a:lnTo>
                        <a:pt x="93" y="14"/>
                      </a:lnTo>
                      <a:lnTo>
                        <a:pt x="93" y="13"/>
                      </a:lnTo>
                      <a:lnTo>
                        <a:pt x="92" y="13"/>
                      </a:lnTo>
                      <a:lnTo>
                        <a:pt x="92" y="14"/>
                      </a:lnTo>
                      <a:lnTo>
                        <a:pt x="91" y="14"/>
                      </a:lnTo>
                      <a:lnTo>
                        <a:pt x="89" y="15"/>
                      </a:lnTo>
                      <a:lnTo>
                        <a:pt x="89" y="17"/>
                      </a:lnTo>
                      <a:lnTo>
                        <a:pt x="89" y="18"/>
                      </a:lnTo>
                      <a:lnTo>
                        <a:pt x="90" y="18"/>
                      </a:lnTo>
                      <a:lnTo>
                        <a:pt x="91" y="19"/>
                      </a:lnTo>
                      <a:lnTo>
                        <a:pt x="92" y="20"/>
                      </a:lnTo>
                      <a:lnTo>
                        <a:pt x="93" y="21"/>
                      </a:lnTo>
                      <a:lnTo>
                        <a:pt x="95" y="21"/>
                      </a:lnTo>
                      <a:lnTo>
                        <a:pt x="96" y="21"/>
                      </a:lnTo>
                      <a:lnTo>
                        <a:pt x="96" y="22"/>
                      </a:lnTo>
                      <a:lnTo>
                        <a:pt x="96" y="25"/>
                      </a:lnTo>
                      <a:lnTo>
                        <a:pt x="96" y="26"/>
                      </a:lnTo>
                      <a:lnTo>
                        <a:pt x="97" y="29"/>
                      </a:lnTo>
                      <a:lnTo>
                        <a:pt x="97" y="31"/>
                      </a:lnTo>
                      <a:lnTo>
                        <a:pt x="97" y="32"/>
                      </a:lnTo>
                      <a:lnTo>
                        <a:pt x="96" y="32"/>
                      </a:lnTo>
                      <a:lnTo>
                        <a:pt x="95" y="33"/>
                      </a:lnTo>
                      <a:lnTo>
                        <a:pt x="93" y="33"/>
                      </a:lnTo>
                      <a:lnTo>
                        <a:pt x="93" y="32"/>
                      </a:lnTo>
                      <a:lnTo>
                        <a:pt x="92" y="32"/>
                      </a:lnTo>
                      <a:lnTo>
                        <a:pt x="92" y="31"/>
                      </a:lnTo>
                      <a:lnTo>
                        <a:pt x="91" y="31"/>
                      </a:lnTo>
                      <a:lnTo>
                        <a:pt x="92" y="32"/>
                      </a:lnTo>
                      <a:lnTo>
                        <a:pt x="91" y="33"/>
                      </a:lnTo>
                      <a:lnTo>
                        <a:pt x="90" y="33"/>
                      </a:lnTo>
                      <a:lnTo>
                        <a:pt x="89" y="33"/>
                      </a:lnTo>
                      <a:lnTo>
                        <a:pt x="88" y="34"/>
                      </a:lnTo>
                      <a:lnTo>
                        <a:pt x="85" y="34"/>
                      </a:lnTo>
                      <a:lnTo>
                        <a:pt x="84" y="34"/>
                      </a:lnTo>
                      <a:lnTo>
                        <a:pt x="83" y="34"/>
                      </a:lnTo>
                      <a:lnTo>
                        <a:pt x="82" y="34"/>
                      </a:lnTo>
                      <a:lnTo>
                        <a:pt x="78" y="34"/>
                      </a:lnTo>
                      <a:lnTo>
                        <a:pt x="77" y="35"/>
                      </a:lnTo>
                      <a:lnTo>
                        <a:pt x="74" y="38"/>
                      </a:lnTo>
                      <a:lnTo>
                        <a:pt x="71" y="39"/>
                      </a:lnTo>
                      <a:lnTo>
                        <a:pt x="70" y="39"/>
                      </a:lnTo>
                      <a:lnTo>
                        <a:pt x="67" y="39"/>
                      </a:lnTo>
                      <a:lnTo>
                        <a:pt x="66" y="39"/>
                      </a:lnTo>
                      <a:lnTo>
                        <a:pt x="64" y="40"/>
                      </a:lnTo>
                      <a:lnTo>
                        <a:pt x="62" y="45"/>
                      </a:lnTo>
                      <a:lnTo>
                        <a:pt x="61" y="46"/>
                      </a:lnTo>
                      <a:lnTo>
                        <a:pt x="61" y="48"/>
                      </a:lnTo>
                      <a:lnTo>
                        <a:pt x="57" y="54"/>
                      </a:lnTo>
                      <a:lnTo>
                        <a:pt x="56" y="56"/>
                      </a:lnTo>
                      <a:lnTo>
                        <a:pt x="55" y="56"/>
                      </a:lnTo>
                      <a:lnTo>
                        <a:pt x="54" y="57"/>
                      </a:lnTo>
                      <a:lnTo>
                        <a:pt x="53" y="57"/>
                      </a:lnTo>
                      <a:lnTo>
                        <a:pt x="54" y="57"/>
                      </a:lnTo>
                      <a:lnTo>
                        <a:pt x="55" y="56"/>
                      </a:lnTo>
                      <a:lnTo>
                        <a:pt x="54" y="56"/>
                      </a:lnTo>
                      <a:lnTo>
                        <a:pt x="53" y="56"/>
                      </a:lnTo>
                      <a:lnTo>
                        <a:pt x="53" y="54"/>
                      </a:lnTo>
                      <a:lnTo>
                        <a:pt x="54" y="53"/>
                      </a:lnTo>
                      <a:lnTo>
                        <a:pt x="54" y="52"/>
                      </a:lnTo>
                      <a:lnTo>
                        <a:pt x="55" y="52"/>
                      </a:lnTo>
                      <a:lnTo>
                        <a:pt x="56" y="50"/>
                      </a:lnTo>
                      <a:lnTo>
                        <a:pt x="55" y="50"/>
                      </a:lnTo>
                      <a:lnTo>
                        <a:pt x="56" y="49"/>
                      </a:lnTo>
                      <a:lnTo>
                        <a:pt x="56" y="48"/>
                      </a:lnTo>
                      <a:lnTo>
                        <a:pt x="55" y="48"/>
                      </a:lnTo>
                      <a:lnTo>
                        <a:pt x="55" y="49"/>
                      </a:lnTo>
                      <a:lnTo>
                        <a:pt x="54" y="50"/>
                      </a:lnTo>
                      <a:lnTo>
                        <a:pt x="54" y="52"/>
                      </a:lnTo>
                      <a:lnTo>
                        <a:pt x="53" y="52"/>
                      </a:lnTo>
                      <a:lnTo>
                        <a:pt x="53" y="50"/>
                      </a:lnTo>
                      <a:lnTo>
                        <a:pt x="53" y="52"/>
                      </a:lnTo>
                      <a:lnTo>
                        <a:pt x="52" y="53"/>
                      </a:lnTo>
                      <a:lnTo>
                        <a:pt x="50" y="53"/>
                      </a:lnTo>
                      <a:lnTo>
                        <a:pt x="50" y="54"/>
                      </a:lnTo>
                      <a:lnTo>
                        <a:pt x="49" y="55"/>
                      </a:lnTo>
                      <a:lnTo>
                        <a:pt x="49" y="56"/>
                      </a:lnTo>
                      <a:lnTo>
                        <a:pt x="48" y="56"/>
                      </a:lnTo>
                      <a:lnTo>
                        <a:pt x="48" y="55"/>
                      </a:lnTo>
                      <a:lnTo>
                        <a:pt x="48" y="54"/>
                      </a:lnTo>
                      <a:lnTo>
                        <a:pt x="49" y="54"/>
                      </a:lnTo>
                      <a:lnTo>
                        <a:pt x="49" y="53"/>
                      </a:lnTo>
                      <a:lnTo>
                        <a:pt x="49" y="52"/>
                      </a:lnTo>
                      <a:lnTo>
                        <a:pt x="49" y="49"/>
                      </a:lnTo>
                      <a:lnTo>
                        <a:pt x="49" y="48"/>
                      </a:lnTo>
                      <a:lnTo>
                        <a:pt x="48" y="49"/>
                      </a:lnTo>
                      <a:lnTo>
                        <a:pt x="49" y="49"/>
                      </a:lnTo>
                      <a:lnTo>
                        <a:pt x="49" y="50"/>
                      </a:lnTo>
                      <a:lnTo>
                        <a:pt x="49" y="52"/>
                      </a:lnTo>
                      <a:lnTo>
                        <a:pt x="48" y="52"/>
                      </a:lnTo>
                      <a:lnTo>
                        <a:pt x="47" y="52"/>
                      </a:lnTo>
                      <a:lnTo>
                        <a:pt x="46" y="52"/>
                      </a:lnTo>
                      <a:lnTo>
                        <a:pt x="45" y="52"/>
                      </a:lnTo>
                      <a:lnTo>
                        <a:pt x="45" y="50"/>
                      </a:lnTo>
                      <a:lnTo>
                        <a:pt x="43" y="50"/>
                      </a:lnTo>
                      <a:lnTo>
                        <a:pt x="43" y="49"/>
                      </a:lnTo>
                      <a:lnTo>
                        <a:pt x="43" y="47"/>
                      </a:lnTo>
                      <a:lnTo>
                        <a:pt x="42" y="47"/>
                      </a:lnTo>
                      <a:lnTo>
                        <a:pt x="42" y="46"/>
                      </a:lnTo>
                      <a:lnTo>
                        <a:pt x="43" y="45"/>
                      </a:lnTo>
                      <a:lnTo>
                        <a:pt x="43" y="43"/>
                      </a:lnTo>
                      <a:lnTo>
                        <a:pt x="45" y="43"/>
                      </a:lnTo>
                      <a:lnTo>
                        <a:pt x="46" y="43"/>
                      </a:lnTo>
                      <a:lnTo>
                        <a:pt x="47" y="43"/>
                      </a:lnTo>
                      <a:lnTo>
                        <a:pt x="47" y="42"/>
                      </a:lnTo>
                      <a:lnTo>
                        <a:pt x="46" y="43"/>
                      </a:lnTo>
                      <a:lnTo>
                        <a:pt x="45" y="43"/>
                      </a:lnTo>
                      <a:lnTo>
                        <a:pt x="45" y="42"/>
                      </a:lnTo>
                      <a:lnTo>
                        <a:pt x="45" y="41"/>
                      </a:lnTo>
                      <a:lnTo>
                        <a:pt x="46" y="41"/>
                      </a:lnTo>
                      <a:lnTo>
                        <a:pt x="45" y="41"/>
                      </a:lnTo>
                      <a:lnTo>
                        <a:pt x="45" y="42"/>
                      </a:lnTo>
                      <a:lnTo>
                        <a:pt x="43" y="42"/>
                      </a:lnTo>
                      <a:lnTo>
                        <a:pt x="43" y="43"/>
                      </a:lnTo>
                      <a:lnTo>
                        <a:pt x="42" y="43"/>
                      </a:lnTo>
                      <a:lnTo>
                        <a:pt x="42" y="45"/>
                      </a:lnTo>
                      <a:lnTo>
                        <a:pt x="41" y="45"/>
                      </a:lnTo>
                      <a:lnTo>
                        <a:pt x="40" y="45"/>
                      </a:lnTo>
                      <a:lnTo>
                        <a:pt x="40" y="43"/>
                      </a:lnTo>
                      <a:lnTo>
                        <a:pt x="40" y="42"/>
                      </a:lnTo>
                      <a:lnTo>
                        <a:pt x="41" y="42"/>
                      </a:lnTo>
                      <a:lnTo>
                        <a:pt x="41" y="41"/>
                      </a:lnTo>
                      <a:lnTo>
                        <a:pt x="41" y="40"/>
                      </a:lnTo>
                      <a:lnTo>
                        <a:pt x="42" y="40"/>
                      </a:lnTo>
                      <a:lnTo>
                        <a:pt x="43" y="40"/>
                      </a:lnTo>
                      <a:lnTo>
                        <a:pt x="43" y="39"/>
                      </a:lnTo>
                      <a:lnTo>
                        <a:pt x="42" y="39"/>
                      </a:lnTo>
                      <a:lnTo>
                        <a:pt x="43" y="39"/>
                      </a:lnTo>
                      <a:lnTo>
                        <a:pt x="45" y="39"/>
                      </a:lnTo>
                      <a:lnTo>
                        <a:pt x="45" y="38"/>
                      </a:lnTo>
                      <a:lnTo>
                        <a:pt x="46" y="38"/>
                      </a:lnTo>
                      <a:lnTo>
                        <a:pt x="46" y="39"/>
                      </a:lnTo>
                      <a:lnTo>
                        <a:pt x="47" y="39"/>
                      </a:lnTo>
                      <a:lnTo>
                        <a:pt x="47" y="38"/>
                      </a:lnTo>
                      <a:lnTo>
                        <a:pt x="46" y="38"/>
                      </a:lnTo>
                      <a:lnTo>
                        <a:pt x="46" y="36"/>
                      </a:lnTo>
                      <a:lnTo>
                        <a:pt x="46" y="38"/>
                      </a:lnTo>
                      <a:lnTo>
                        <a:pt x="45" y="38"/>
                      </a:lnTo>
                      <a:lnTo>
                        <a:pt x="45" y="36"/>
                      </a:lnTo>
                      <a:lnTo>
                        <a:pt x="46" y="36"/>
                      </a:lnTo>
                      <a:lnTo>
                        <a:pt x="47" y="36"/>
                      </a:lnTo>
                      <a:lnTo>
                        <a:pt x="47" y="38"/>
                      </a:lnTo>
                      <a:lnTo>
                        <a:pt x="48" y="38"/>
                      </a:lnTo>
                      <a:lnTo>
                        <a:pt x="48" y="36"/>
                      </a:lnTo>
                      <a:lnTo>
                        <a:pt x="47" y="36"/>
                      </a:lnTo>
                      <a:lnTo>
                        <a:pt x="47" y="35"/>
                      </a:lnTo>
                      <a:lnTo>
                        <a:pt x="48" y="35"/>
                      </a:lnTo>
                      <a:lnTo>
                        <a:pt x="48" y="36"/>
                      </a:lnTo>
                      <a:lnTo>
                        <a:pt x="48" y="35"/>
                      </a:lnTo>
                      <a:lnTo>
                        <a:pt x="48" y="36"/>
                      </a:lnTo>
                      <a:lnTo>
                        <a:pt x="49" y="38"/>
                      </a:lnTo>
                      <a:lnTo>
                        <a:pt x="49" y="36"/>
                      </a:lnTo>
                      <a:lnTo>
                        <a:pt x="49" y="35"/>
                      </a:lnTo>
                      <a:lnTo>
                        <a:pt x="50" y="35"/>
                      </a:lnTo>
                      <a:lnTo>
                        <a:pt x="52" y="35"/>
                      </a:lnTo>
                      <a:lnTo>
                        <a:pt x="52" y="36"/>
                      </a:lnTo>
                      <a:lnTo>
                        <a:pt x="52" y="35"/>
                      </a:lnTo>
                      <a:lnTo>
                        <a:pt x="53" y="35"/>
                      </a:lnTo>
                      <a:lnTo>
                        <a:pt x="53" y="36"/>
                      </a:lnTo>
                      <a:lnTo>
                        <a:pt x="52" y="36"/>
                      </a:lnTo>
                      <a:lnTo>
                        <a:pt x="52" y="38"/>
                      </a:lnTo>
                      <a:lnTo>
                        <a:pt x="53" y="38"/>
                      </a:lnTo>
                      <a:lnTo>
                        <a:pt x="54" y="38"/>
                      </a:lnTo>
                      <a:lnTo>
                        <a:pt x="54" y="36"/>
                      </a:lnTo>
                      <a:lnTo>
                        <a:pt x="55" y="36"/>
                      </a:lnTo>
                      <a:lnTo>
                        <a:pt x="55" y="35"/>
                      </a:lnTo>
                      <a:lnTo>
                        <a:pt x="55" y="36"/>
                      </a:lnTo>
                      <a:lnTo>
                        <a:pt x="54" y="36"/>
                      </a:lnTo>
                      <a:lnTo>
                        <a:pt x="53" y="36"/>
                      </a:lnTo>
                      <a:lnTo>
                        <a:pt x="53" y="35"/>
                      </a:lnTo>
                      <a:lnTo>
                        <a:pt x="54" y="35"/>
                      </a:lnTo>
                      <a:lnTo>
                        <a:pt x="54" y="34"/>
                      </a:lnTo>
                      <a:lnTo>
                        <a:pt x="53" y="35"/>
                      </a:lnTo>
                      <a:lnTo>
                        <a:pt x="52" y="35"/>
                      </a:lnTo>
                      <a:lnTo>
                        <a:pt x="52" y="34"/>
                      </a:lnTo>
                      <a:lnTo>
                        <a:pt x="53" y="34"/>
                      </a:lnTo>
                      <a:lnTo>
                        <a:pt x="53" y="33"/>
                      </a:lnTo>
                      <a:lnTo>
                        <a:pt x="52" y="33"/>
                      </a:lnTo>
                      <a:lnTo>
                        <a:pt x="52" y="34"/>
                      </a:lnTo>
                      <a:lnTo>
                        <a:pt x="50" y="34"/>
                      </a:lnTo>
                      <a:lnTo>
                        <a:pt x="52" y="34"/>
                      </a:lnTo>
                      <a:lnTo>
                        <a:pt x="52" y="33"/>
                      </a:lnTo>
                      <a:lnTo>
                        <a:pt x="50" y="33"/>
                      </a:lnTo>
                      <a:lnTo>
                        <a:pt x="50" y="34"/>
                      </a:lnTo>
                      <a:lnTo>
                        <a:pt x="49" y="34"/>
                      </a:lnTo>
                      <a:lnTo>
                        <a:pt x="48" y="34"/>
                      </a:lnTo>
                      <a:lnTo>
                        <a:pt x="49" y="33"/>
                      </a:lnTo>
                      <a:lnTo>
                        <a:pt x="49" y="32"/>
                      </a:lnTo>
                      <a:lnTo>
                        <a:pt x="50" y="33"/>
                      </a:lnTo>
                      <a:lnTo>
                        <a:pt x="49" y="32"/>
                      </a:lnTo>
                      <a:lnTo>
                        <a:pt x="48" y="32"/>
                      </a:lnTo>
                      <a:lnTo>
                        <a:pt x="48" y="33"/>
                      </a:lnTo>
                      <a:lnTo>
                        <a:pt x="48" y="34"/>
                      </a:lnTo>
                      <a:lnTo>
                        <a:pt x="47" y="34"/>
                      </a:lnTo>
                      <a:lnTo>
                        <a:pt x="47" y="33"/>
                      </a:lnTo>
                      <a:lnTo>
                        <a:pt x="47" y="32"/>
                      </a:lnTo>
                      <a:lnTo>
                        <a:pt x="47" y="33"/>
                      </a:lnTo>
                      <a:lnTo>
                        <a:pt x="46" y="33"/>
                      </a:lnTo>
                      <a:lnTo>
                        <a:pt x="47" y="34"/>
                      </a:lnTo>
                      <a:lnTo>
                        <a:pt x="46" y="34"/>
                      </a:lnTo>
                      <a:lnTo>
                        <a:pt x="46" y="35"/>
                      </a:lnTo>
                      <a:lnTo>
                        <a:pt x="46" y="34"/>
                      </a:lnTo>
                      <a:lnTo>
                        <a:pt x="45" y="34"/>
                      </a:lnTo>
                      <a:lnTo>
                        <a:pt x="45" y="35"/>
                      </a:lnTo>
                      <a:lnTo>
                        <a:pt x="45" y="36"/>
                      </a:lnTo>
                      <a:lnTo>
                        <a:pt x="45" y="35"/>
                      </a:lnTo>
                      <a:lnTo>
                        <a:pt x="43" y="34"/>
                      </a:lnTo>
                      <a:lnTo>
                        <a:pt x="43" y="35"/>
                      </a:lnTo>
                      <a:lnTo>
                        <a:pt x="43" y="36"/>
                      </a:lnTo>
                      <a:lnTo>
                        <a:pt x="45" y="36"/>
                      </a:lnTo>
                      <a:lnTo>
                        <a:pt x="43" y="36"/>
                      </a:lnTo>
                      <a:lnTo>
                        <a:pt x="42" y="36"/>
                      </a:lnTo>
                      <a:lnTo>
                        <a:pt x="42" y="38"/>
                      </a:lnTo>
                      <a:lnTo>
                        <a:pt x="41" y="38"/>
                      </a:lnTo>
                      <a:lnTo>
                        <a:pt x="41" y="36"/>
                      </a:lnTo>
                      <a:lnTo>
                        <a:pt x="41" y="35"/>
                      </a:lnTo>
                      <a:lnTo>
                        <a:pt x="42" y="35"/>
                      </a:lnTo>
                      <a:lnTo>
                        <a:pt x="42" y="34"/>
                      </a:lnTo>
                      <a:lnTo>
                        <a:pt x="42" y="33"/>
                      </a:lnTo>
                      <a:lnTo>
                        <a:pt x="41" y="34"/>
                      </a:lnTo>
                      <a:lnTo>
                        <a:pt x="41" y="35"/>
                      </a:lnTo>
                      <a:lnTo>
                        <a:pt x="40" y="34"/>
                      </a:lnTo>
                      <a:lnTo>
                        <a:pt x="40" y="33"/>
                      </a:lnTo>
                      <a:lnTo>
                        <a:pt x="39" y="33"/>
                      </a:lnTo>
                      <a:lnTo>
                        <a:pt x="39" y="34"/>
                      </a:lnTo>
                      <a:lnTo>
                        <a:pt x="39" y="33"/>
                      </a:lnTo>
                      <a:lnTo>
                        <a:pt x="39" y="32"/>
                      </a:lnTo>
                      <a:lnTo>
                        <a:pt x="39" y="31"/>
                      </a:lnTo>
                      <a:lnTo>
                        <a:pt x="40" y="29"/>
                      </a:lnTo>
                      <a:lnTo>
                        <a:pt x="41" y="28"/>
                      </a:lnTo>
                      <a:lnTo>
                        <a:pt x="41" y="27"/>
                      </a:lnTo>
                      <a:lnTo>
                        <a:pt x="42" y="27"/>
                      </a:lnTo>
                      <a:lnTo>
                        <a:pt x="43" y="27"/>
                      </a:lnTo>
                      <a:lnTo>
                        <a:pt x="45" y="27"/>
                      </a:lnTo>
                      <a:lnTo>
                        <a:pt x="46" y="27"/>
                      </a:lnTo>
                      <a:lnTo>
                        <a:pt x="49" y="27"/>
                      </a:lnTo>
                      <a:lnTo>
                        <a:pt x="50" y="27"/>
                      </a:lnTo>
                      <a:lnTo>
                        <a:pt x="52" y="27"/>
                      </a:lnTo>
                      <a:lnTo>
                        <a:pt x="52" y="26"/>
                      </a:lnTo>
                      <a:lnTo>
                        <a:pt x="53" y="26"/>
                      </a:lnTo>
                      <a:lnTo>
                        <a:pt x="53" y="25"/>
                      </a:lnTo>
                      <a:lnTo>
                        <a:pt x="54" y="25"/>
                      </a:lnTo>
                      <a:lnTo>
                        <a:pt x="54" y="26"/>
                      </a:lnTo>
                      <a:lnTo>
                        <a:pt x="53" y="27"/>
                      </a:lnTo>
                      <a:lnTo>
                        <a:pt x="53" y="28"/>
                      </a:lnTo>
                      <a:lnTo>
                        <a:pt x="53" y="29"/>
                      </a:lnTo>
                      <a:lnTo>
                        <a:pt x="54" y="29"/>
                      </a:lnTo>
                      <a:lnTo>
                        <a:pt x="55" y="31"/>
                      </a:lnTo>
                      <a:lnTo>
                        <a:pt x="56" y="31"/>
                      </a:lnTo>
                      <a:lnTo>
                        <a:pt x="56" y="32"/>
                      </a:lnTo>
                      <a:lnTo>
                        <a:pt x="57" y="32"/>
                      </a:lnTo>
                      <a:lnTo>
                        <a:pt x="59" y="31"/>
                      </a:lnTo>
                      <a:lnTo>
                        <a:pt x="57" y="31"/>
                      </a:lnTo>
                      <a:lnTo>
                        <a:pt x="56" y="31"/>
                      </a:lnTo>
                      <a:lnTo>
                        <a:pt x="56" y="29"/>
                      </a:lnTo>
                      <a:lnTo>
                        <a:pt x="55" y="29"/>
                      </a:lnTo>
                      <a:lnTo>
                        <a:pt x="54" y="29"/>
                      </a:lnTo>
                      <a:lnTo>
                        <a:pt x="54" y="28"/>
                      </a:lnTo>
                      <a:lnTo>
                        <a:pt x="54" y="27"/>
                      </a:lnTo>
                      <a:lnTo>
                        <a:pt x="55" y="25"/>
                      </a:lnTo>
                      <a:lnTo>
                        <a:pt x="56" y="25"/>
                      </a:lnTo>
                      <a:lnTo>
                        <a:pt x="55" y="24"/>
                      </a:lnTo>
                      <a:lnTo>
                        <a:pt x="54" y="24"/>
                      </a:lnTo>
                      <a:lnTo>
                        <a:pt x="53" y="24"/>
                      </a:lnTo>
                      <a:lnTo>
                        <a:pt x="52" y="25"/>
                      </a:lnTo>
                      <a:lnTo>
                        <a:pt x="50" y="25"/>
                      </a:lnTo>
                      <a:lnTo>
                        <a:pt x="50" y="26"/>
                      </a:lnTo>
                      <a:lnTo>
                        <a:pt x="49" y="26"/>
                      </a:lnTo>
                      <a:lnTo>
                        <a:pt x="48" y="26"/>
                      </a:lnTo>
                      <a:lnTo>
                        <a:pt x="47" y="26"/>
                      </a:lnTo>
                      <a:lnTo>
                        <a:pt x="46" y="26"/>
                      </a:lnTo>
                      <a:lnTo>
                        <a:pt x="45" y="25"/>
                      </a:lnTo>
                      <a:lnTo>
                        <a:pt x="43" y="25"/>
                      </a:lnTo>
                      <a:lnTo>
                        <a:pt x="42" y="25"/>
                      </a:lnTo>
                      <a:lnTo>
                        <a:pt x="41" y="25"/>
                      </a:lnTo>
                      <a:lnTo>
                        <a:pt x="41" y="26"/>
                      </a:lnTo>
                      <a:lnTo>
                        <a:pt x="40" y="26"/>
                      </a:lnTo>
                      <a:lnTo>
                        <a:pt x="39" y="27"/>
                      </a:lnTo>
                      <a:lnTo>
                        <a:pt x="38" y="27"/>
                      </a:lnTo>
                      <a:lnTo>
                        <a:pt x="38" y="28"/>
                      </a:lnTo>
                      <a:lnTo>
                        <a:pt x="36" y="28"/>
                      </a:lnTo>
                      <a:lnTo>
                        <a:pt x="35" y="29"/>
                      </a:lnTo>
                      <a:lnTo>
                        <a:pt x="34" y="29"/>
                      </a:lnTo>
                      <a:lnTo>
                        <a:pt x="32" y="31"/>
                      </a:lnTo>
                      <a:lnTo>
                        <a:pt x="29" y="32"/>
                      </a:lnTo>
                      <a:lnTo>
                        <a:pt x="29" y="29"/>
                      </a:lnTo>
                      <a:lnTo>
                        <a:pt x="31" y="28"/>
                      </a:lnTo>
                      <a:lnTo>
                        <a:pt x="32" y="28"/>
                      </a:lnTo>
                      <a:lnTo>
                        <a:pt x="31" y="27"/>
                      </a:lnTo>
                      <a:lnTo>
                        <a:pt x="29" y="28"/>
                      </a:lnTo>
                      <a:lnTo>
                        <a:pt x="29" y="29"/>
                      </a:lnTo>
                      <a:lnTo>
                        <a:pt x="28" y="31"/>
                      </a:lnTo>
                      <a:lnTo>
                        <a:pt x="28" y="32"/>
                      </a:lnTo>
                      <a:lnTo>
                        <a:pt x="28" y="31"/>
                      </a:lnTo>
                      <a:lnTo>
                        <a:pt x="27" y="31"/>
                      </a:lnTo>
                      <a:lnTo>
                        <a:pt x="28" y="29"/>
                      </a:lnTo>
                      <a:lnTo>
                        <a:pt x="27" y="29"/>
                      </a:lnTo>
                      <a:lnTo>
                        <a:pt x="27" y="31"/>
                      </a:lnTo>
                      <a:lnTo>
                        <a:pt x="27" y="32"/>
                      </a:lnTo>
                      <a:lnTo>
                        <a:pt x="26" y="32"/>
                      </a:lnTo>
                      <a:lnTo>
                        <a:pt x="25" y="33"/>
                      </a:lnTo>
                      <a:lnTo>
                        <a:pt x="25" y="32"/>
                      </a:lnTo>
                      <a:lnTo>
                        <a:pt x="25" y="31"/>
                      </a:lnTo>
                      <a:lnTo>
                        <a:pt x="26" y="29"/>
                      </a:lnTo>
                      <a:lnTo>
                        <a:pt x="26" y="28"/>
                      </a:lnTo>
                      <a:lnTo>
                        <a:pt x="26" y="27"/>
                      </a:lnTo>
                      <a:lnTo>
                        <a:pt x="27" y="27"/>
                      </a:lnTo>
                      <a:lnTo>
                        <a:pt x="27" y="26"/>
                      </a:lnTo>
                      <a:lnTo>
                        <a:pt x="28" y="25"/>
                      </a:lnTo>
                      <a:lnTo>
                        <a:pt x="28" y="24"/>
                      </a:lnTo>
                      <a:lnTo>
                        <a:pt x="29" y="24"/>
                      </a:lnTo>
                      <a:lnTo>
                        <a:pt x="31" y="24"/>
                      </a:lnTo>
                      <a:lnTo>
                        <a:pt x="31" y="25"/>
                      </a:lnTo>
                      <a:lnTo>
                        <a:pt x="32" y="25"/>
                      </a:lnTo>
                      <a:lnTo>
                        <a:pt x="33" y="25"/>
                      </a:lnTo>
                      <a:lnTo>
                        <a:pt x="33" y="24"/>
                      </a:lnTo>
                      <a:lnTo>
                        <a:pt x="32" y="24"/>
                      </a:lnTo>
                      <a:lnTo>
                        <a:pt x="31" y="24"/>
                      </a:lnTo>
                      <a:lnTo>
                        <a:pt x="29" y="24"/>
                      </a:lnTo>
                      <a:lnTo>
                        <a:pt x="28" y="24"/>
                      </a:lnTo>
                      <a:lnTo>
                        <a:pt x="28" y="22"/>
                      </a:lnTo>
                      <a:lnTo>
                        <a:pt x="28" y="24"/>
                      </a:lnTo>
                      <a:lnTo>
                        <a:pt x="27" y="24"/>
                      </a:lnTo>
                      <a:lnTo>
                        <a:pt x="26" y="24"/>
                      </a:lnTo>
                      <a:lnTo>
                        <a:pt x="26" y="25"/>
                      </a:lnTo>
                      <a:lnTo>
                        <a:pt x="25" y="26"/>
                      </a:lnTo>
                      <a:lnTo>
                        <a:pt x="23" y="26"/>
                      </a:lnTo>
                      <a:lnTo>
                        <a:pt x="21" y="27"/>
                      </a:lnTo>
                      <a:lnTo>
                        <a:pt x="20" y="27"/>
                      </a:lnTo>
                      <a:lnTo>
                        <a:pt x="19" y="27"/>
                      </a:lnTo>
                      <a:lnTo>
                        <a:pt x="18" y="27"/>
                      </a:lnTo>
                      <a:lnTo>
                        <a:pt x="17" y="27"/>
                      </a:lnTo>
                      <a:lnTo>
                        <a:pt x="17" y="26"/>
                      </a:lnTo>
                      <a:lnTo>
                        <a:pt x="16" y="26"/>
                      </a:lnTo>
                      <a:lnTo>
                        <a:pt x="16" y="25"/>
                      </a:lnTo>
                      <a:lnTo>
                        <a:pt x="14" y="25"/>
                      </a:lnTo>
                      <a:lnTo>
                        <a:pt x="13" y="25"/>
                      </a:lnTo>
                      <a:lnTo>
                        <a:pt x="13" y="24"/>
                      </a:lnTo>
                      <a:lnTo>
                        <a:pt x="13" y="22"/>
                      </a:lnTo>
                      <a:lnTo>
                        <a:pt x="12" y="21"/>
                      </a:lnTo>
                      <a:lnTo>
                        <a:pt x="13" y="19"/>
                      </a:lnTo>
                      <a:lnTo>
                        <a:pt x="14" y="18"/>
                      </a:lnTo>
                      <a:lnTo>
                        <a:pt x="14" y="19"/>
                      </a:lnTo>
                      <a:lnTo>
                        <a:pt x="16" y="19"/>
                      </a:lnTo>
                      <a:lnTo>
                        <a:pt x="16" y="18"/>
                      </a:lnTo>
                      <a:lnTo>
                        <a:pt x="16" y="17"/>
                      </a:lnTo>
                      <a:lnTo>
                        <a:pt x="17" y="15"/>
                      </a:lnTo>
                      <a:lnTo>
                        <a:pt x="19" y="14"/>
                      </a:lnTo>
                      <a:lnTo>
                        <a:pt x="20" y="14"/>
                      </a:lnTo>
                      <a:lnTo>
                        <a:pt x="20" y="13"/>
                      </a:lnTo>
                      <a:lnTo>
                        <a:pt x="21" y="13"/>
                      </a:lnTo>
                      <a:lnTo>
                        <a:pt x="21" y="12"/>
                      </a:lnTo>
                      <a:lnTo>
                        <a:pt x="20" y="12"/>
                      </a:lnTo>
                      <a:lnTo>
                        <a:pt x="20" y="13"/>
                      </a:lnTo>
                      <a:lnTo>
                        <a:pt x="19" y="14"/>
                      </a:lnTo>
                      <a:lnTo>
                        <a:pt x="17" y="14"/>
                      </a:lnTo>
                      <a:lnTo>
                        <a:pt x="16" y="15"/>
                      </a:lnTo>
                      <a:lnTo>
                        <a:pt x="14" y="17"/>
                      </a:lnTo>
                      <a:lnTo>
                        <a:pt x="13" y="17"/>
                      </a:lnTo>
                      <a:lnTo>
                        <a:pt x="13" y="15"/>
                      </a:lnTo>
                      <a:lnTo>
                        <a:pt x="13" y="17"/>
                      </a:lnTo>
                      <a:lnTo>
                        <a:pt x="12" y="18"/>
                      </a:lnTo>
                      <a:lnTo>
                        <a:pt x="11" y="18"/>
                      </a:lnTo>
                      <a:lnTo>
                        <a:pt x="10" y="18"/>
                      </a:lnTo>
                      <a:lnTo>
                        <a:pt x="10" y="19"/>
                      </a:lnTo>
                      <a:lnTo>
                        <a:pt x="9" y="19"/>
                      </a:lnTo>
                      <a:lnTo>
                        <a:pt x="9" y="18"/>
                      </a:lnTo>
                      <a:lnTo>
                        <a:pt x="7" y="18"/>
                      </a:lnTo>
                      <a:lnTo>
                        <a:pt x="7" y="17"/>
                      </a:lnTo>
                      <a:lnTo>
                        <a:pt x="6" y="17"/>
                      </a:lnTo>
                      <a:lnTo>
                        <a:pt x="6" y="15"/>
                      </a:lnTo>
                      <a:lnTo>
                        <a:pt x="5" y="15"/>
                      </a:lnTo>
                      <a:lnTo>
                        <a:pt x="4" y="15"/>
                      </a:lnTo>
                      <a:lnTo>
                        <a:pt x="4" y="14"/>
                      </a:lnTo>
                      <a:lnTo>
                        <a:pt x="3" y="13"/>
                      </a:lnTo>
                      <a:lnTo>
                        <a:pt x="2" y="13"/>
                      </a:lnTo>
                      <a:lnTo>
                        <a:pt x="0" y="14"/>
                      </a:lnTo>
                      <a:lnTo>
                        <a:pt x="0" y="13"/>
                      </a:lnTo>
                      <a:lnTo>
                        <a:pt x="2" y="13"/>
                      </a:lnTo>
                      <a:lnTo>
                        <a:pt x="3" y="13"/>
                      </a:lnTo>
                      <a:lnTo>
                        <a:pt x="6" y="13"/>
                      </a:lnTo>
                      <a:lnTo>
                        <a:pt x="7" y="13"/>
                      </a:lnTo>
                      <a:lnTo>
                        <a:pt x="9" y="12"/>
                      </a:lnTo>
                      <a:lnTo>
                        <a:pt x="11" y="12"/>
                      </a:lnTo>
                      <a:lnTo>
                        <a:pt x="14" y="11"/>
                      </a:lnTo>
                      <a:lnTo>
                        <a:pt x="17" y="10"/>
                      </a:lnTo>
                      <a:lnTo>
                        <a:pt x="18" y="10"/>
                      </a:lnTo>
                      <a:lnTo>
                        <a:pt x="20" y="8"/>
                      </a:lnTo>
                      <a:lnTo>
                        <a:pt x="21" y="8"/>
                      </a:lnTo>
                      <a:lnTo>
                        <a:pt x="24" y="10"/>
                      </a:lnTo>
                      <a:lnTo>
                        <a:pt x="25" y="10"/>
                      </a:lnTo>
                      <a:lnTo>
                        <a:pt x="27" y="10"/>
                      </a:lnTo>
                      <a:lnTo>
                        <a:pt x="33" y="10"/>
                      </a:lnTo>
                      <a:lnTo>
                        <a:pt x="34" y="10"/>
                      </a:lnTo>
                      <a:lnTo>
                        <a:pt x="42" y="5"/>
                      </a:lnTo>
                      <a:lnTo>
                        <a:pt x="43" y="4"/>
                      </a:lnTo>
                      <a:lnTo>
                        <a:pt x="46" y="4"/>
                      </a:lnTo>
                      <a:lnTo>
                        <a:pt x="47" y="1"/>
                      </a:lnTo>
                      <a:lnTo>
                        <a:pt x="48" y="1"/>
                      </a:lnTo>
                      <a:lnTo>
                        <a:pt x="49" y="1"/>
                      </a:lnTo>
                      <a:lnTo>
                        <a:pt x="50" y="1"/>
                      </a:lnTo>
                      <a:lnTo>
                        <a:pt x="60" y="1"/>
                      </a:lnTo>
                      <a:lnTo>
                        <a:pt x="62" y="1"/>
                      </a:lnTo>
                      <a:lnTo>
                        <a:pt x="74" y="1"/>
                      </a:lnTo>
                      <a:lnTo>
                        <a:pt x="76" y="1"/>
                      </a:lnTo>
                      <a:lnTo>
                        <a:pt x="84" y="0"/>
                      </a:lnTo>
                      <a:lnTo>
                        <a:pt x="96" y="0"/>
                      </a:lnTo>
                      <a:lnTo>
                        <a:pt x="96" y="3"/>
                      </a:lnTo>
                      <a:lnTo>
                        <a:pt x="96" y="4"/>
                      </a:lnTo>
                      <a:lnTo>
                        <a:pt x="96" y="5"/>
                      </a:lnTo>
                      <a:lnTo>
                        <a:pt x="97" y="6"/>
                      </a:lnTo>
                      <a:lnTo>
                        <a:pt x="98" y="7"/>
                      </a:lnTo>
                      <a:lnTo>
                        <a:pt x="98" y="8"/>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23" name="Freeform 94">
                  <a:extLst>
                    <a:ext uri="{FF2B5EF4-FFF2-40B4-BE49-F238E27FC236}">
                      <a16:creationId xmlns:a16="http://schemas.microsoft.com/office/drawing/2014/main" id="{08F8766F-76D0-096F-A061-C21FBF02D70B}"/>
                    </a:ext>
                  </a:extLst>
                </p:cNvPr>
                <p:cNvSpPr>
                  <a:spLocks noEditPoints="1"/>
                </p:cNvSpPr>
                <p:nvPr/>
              </p:nvSpPr>
              <p:spPr bwMode="auto">
                <a:xfrm>
                  <a:off x="6422729" y="3672052"/>
                  <a:ext cx="194712" cy="178486"/>
                </a:xfrm>
                <a:custGeom>
                  <a:avLst/>
                  <a:gdLst>
                    <a:gd name="T0" fmla="*/ 0 w 180"/>
                    <a:gd name="T1" fmla="*/ 165 h 165"/>
                    <a:gd name="T2" fmla="*/ 0 w 180"/>
                    <a:gd name="T3" fmla="*/ 164 h 165"/>
                    <a:gd name="T4" fmla="*/ 1 w 180"/>
                    <a:gd name="T5" fmla="*/ 165 h 165"/>
                    <a:gd name="T6" fmla="*/ 143 w 180"/>
                    <a:gd name="T7" fmla="*/ 50 h 165"/>
                    <a:gd name="T8" fmla="*/ 170 w 180"/>
                    <a:gd name="T9" fmla="*/ 50 h 165"/>
                    <a:gd name="T10" fmla="*/ 180 w 180"/>
                    <a:gd name="T11" fmla="*/ 62 h 165"/>
                    <a:gd name="T12" fmla="*/ 180 w 180"/>
                    <a:gd name="T13" fmla="*/ 86 h 165"/>
                    <a:gd name="T14" fmla="*/ 151 w 180"/>
                    <a:gd name="T15" fmla="*/ 86 h 165"/>
                    <a:gd name="T16" fmla="*/ 139 w 180"/>
                    <a:gd name="T17" fmla="*/ 86 h 165"/>
                    <a:gd name="T18" fmla="*/ 137 w 180"/>
                    <a:gd name="T19" fmla="*/ 88 h 165"/>
                    <a:gd name="T20" fmla="*/ 135 w 180"/>
                    <a:gd name="T21" fmla="*/ 88 h 165"/>
                    <a:gd name="T22" fmla="*/ 133 w 180"/>
                    <a:gd name="T23" fmla="*/ 87 h 165"/>
                    <a:gd name="T24" fmla="*/ 132 w 180"/>
                    <a:gd name="T25" fmla="*/ 86 h 165"/>
                    <a:gd name="T26" fmla="*/ 133 w 180"/>
                    <a:gd name="T27" fmla="*/ 85 h 165"/>
                    <a:gd name="T28" fmla="*/ 133 w 180"/>
                    <a:gd name="T29" fmla="*/ 84 h 165"/>
                    <a:gd name="T30" fmla="*/ 130 w 180"/>
                    <a:gd name="T31" fmla="*/ 84 h 165"/>
                    <a:gd name="T32" fmla="*/ 128 w 180"/>
                    <a:gd name="T33" fmla="*/ 84 h 165"/>
                    <a:gd name="T34" fmla="*/ 128 w 180"/>
                    <a:gd name="T35" fmla="*/ 83 h 165"/>
                    <a:gd name="T36" fmla="*/ 127 w 180"/>
                    <a:gd name="T37" fmla="*/ 85 h 165"/>
                    <a:gd name="T38" fmla="*/ 125 w 180"/>
                    <a:gd name="T39" fmla="*/ 84 h 165"/>
                    <a:gd name="T40" fmla="*/ 122 w 180"/>
                    <a:gd name="T41" fmla="*/ 83 h 165"/>
                    <a:gd name="T42" fmla="*/ 120 w 180"/>
                    <a:gd name="T43" fmla="*/ 84 h 165"/>
                    <a:gd name="T44" fmla="*/ 118 w 180"/>
                    <a:gd name="T45" fmla="*/ 83 h 165"/>
                    <a:gd name="T46" fmla="*/ 118 w 180"/>
                    <a:gd name="T47" fmla="*/ 81 h 165"/>
                    <a:gd name="T48" fmla="*/ 119 w 180"/>
                    <a:gd name="T49" fmla="*/ 78 h 165"/>
                    <a:gd name="T50" fmla="*/ 121 w 180"/>
                    <a:gd name="T51" fmla="*/ 76 h 165"/>
                    <a:gd name="T52" fmla="*/ 122 w 180"/>
                    <a:gd name="T53" fmla="*/ 73 h 165"/>
                    <a:gd name="T54" fmla="*/ 123 w 180"/>
                    <a:gd name="T55" fmla="*/ 71 h 165"/>
                    <a:gd name="T56" fmla="*/ 125 w 180"/>
                    <a:gd name="T57" fmla="*/ 70 h 165"/>
                    <a:gd name="T58" fmla="*/ 127 w 180"/>
                    <a:gd name="T59" fmla="*/ 69 h 165"/>
                    <a:gd name="T60" fmla="*/ 129 w 180"/>
                    <a:gd name="T61" fmla="*/ 69 h 165"/>
                    <a:gd name="T62" fmla="*/ 127 w 180"/>
                    <a:gd name="T63" fmla="*/ 69 h 165"/>
                    <a:gd name="T64" fmla="*/ 128 w 180"/>
                    <a:gd name="T65" fmla="*/ 64 h 165"/>
                    <a:gd name="T66" fmla="*/ 128 w 180"/>
                    <a:gd name="T67" fmla="*/ 63 h 165"/>
                    <a:gd name="T68" fmla="*/ 129 w 180"/>
                    <a:gd name="T69" fmla="*/ 62 h 165"/>
                    <a:gd name="T70" fmla="*/ 130 w 180"/>
                    <a:gd name="T71" fmla="*/ 60 h 165"/>
                    <a:gd name="T72" fmla="*/ 132 w 180"/>
                    <a:gd name="T73" fmla="*/ 58 h 165"/>
                    <a:gd name="T74" fmla="*/ 130 w 180"/>
                    <a:gd name="T75" fmla="*/ 52 h 165"/>
                    <a:gd name="T76" fmla="*/ 130 w 180"/>
                    <a:gd name="T77" fmla="*/ 51 h 165"/>
                    <a:gd name="T78" fmla="*/ 130 w 180"/>
                    <a:gd name="T79" fmla="*/ 46 h 165"/>
                    <a:gd name="T80" fmla="*/ 132 w 180"/>
                    <a:gd name="T81" fmla="*/ 44 h 165"/>
                    <a:gd name="T82" fmla="*/ 132 w 180"/>
                    <a:gd name="T83" fmla="*/ 46 h 165"/>
                    <a:gd name="T84" fmla="*/ 134 w 180"/>
                    <a:gd name="T85" fmla="*/ 49 h 165"/>
                    <a:gd name="T86" fmla="*/ 99 w 180"/>
                    <a:gd name="T87" fmla="*/ 0 h 165"/>
                    <a:gd name="T88" fmla="*/ 102 w 180"/>
                    <a:gd name="T89" fmla="*/ 0 h 165"/>
                    <a:gd name="T90" fmla="*/ 104 w 180"/>
                    <a:gd name="T91" fmla="*/ 0 h 165"/>
                    <a:gd name="T92" fmla="*/ 105 w 180"/>
                    <a:gd name="T93" fmla="*/ 3 h 165"/>
                    <a:gd name="T94" fmla="*/ 102 w 180"/>
                    <a:gd name="T95" fmla="*/ 6 h 165"/>
                    <a:gd name="T96" fmla="*/ 100 w 180"/>
                    <a:gd name="T97" fmla="*/ 9 h 165"/>
                    <a:gd name="T98" fmla="*/ 100 w 180"/>
                    <a:gd name="T99" fmla="*/ 10 h 165"/>
                    <a:gd name="T100" fmla="*/ 99 w 180"/>
                    <a:gd name="T101" fmla="*/ 14 h 165"/>
                    <a:gd name="T102" fmla="*/ 95 w 180"/>
                    <a:gd name="T103" fmla="*/ 17 h 165"/>
                    <a:gd name="T104" fmla="*/ 94 w 180"/>
                    <a:gd name="T105" fmla="*/ 17 h 165"/>
                    <a:gd name="T106" fmla="*/ 92 w 180"/>
                    <a:gd name="T107" fmla="*/ 16 h 165"/>
                    <a:gd name="T108" fmla="*/ 90 w 180"/>
                    <a:gd name="T109" fmla="*/ 16 h 165"/>
                    <a:gd name="T110" fmla="*/ 88 w 180"/>
                    <a:gd name="T111" fmla="*/ 14 h 165"/>
                    <a:gd name="T112" fmla="*/ 87 w 180"/>
                    <a:gd name="T113" fmla="*/ 13 h 165"/>
                    <a:gd name="T114" fmla="*/ 88 w 180"/>
                    <a:gd name="T115" fmla="*/ 9 h 165"/>
                    <a:gd name="T116" fmla="*/ 92 w 180"/>
                    <a:gd name="T117" fmla="*/ 9 h 165"/>
                    <a:gd name="T118" fmla="*/ 92 w 180"/>
                    <a:gd name="T119" fmla="*/ 8 h 165"/>
                    <a:gd name="T120" fmla="*/ 93 w 180"/>
                    <a:gd name="T121" fmla="*/ 7 h 165"/>
                    <a:gd name="T122" fmla="*/ 97 w 180"/>
                    <a:gd name="T123" fmla="*/ 0 h 165"/>
                    <a:gd name="T124" fmla="*/ 98 w 180"/>
                    <a:gd name="T12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165">
                      <a:moveTo>
                        <a:pt x="1" y="165"/>
                      </a:moveTo>
                      <a:lnTo>
                        <a:pt x="0" y="165"/>
                      </a:lnTo>
                      <a:lnTo>
                        <a:pt x="0" y="165"/>
                      </a:lnTo>
                      <a:lnTo>
                        <a:pt x="0" y="165"/>
                      </a:lnTo>
                      <a:lnTo>
                        <a:pt x="0" y="165"/>
                      </a:lnTo>
                      <a:lnTo>
                        <a:pt x="0" y="165"/>
                      </a:lnTo>
                      <a:lnTo>
                        <a:pt x="0" y="164"/>
                      </a:lnTo>
                      <a:lnTo>
                        <a:pt x="0" y="164"/>
                      </a:lnTo>
                      <a:lnTo>
                        <a:pt x="0" y="164"/>
                      </a:lnTo>
                      <a:lnTo>
                        <a:pt x="0" y="164"/>
                      </a:lnTo>
                      <a:lnTo>
                        <a:pt x="1" y="164"/>
                      </a:lnTo>
                      <a:lnTo>
                        <a:pt x="1" y="165"/>
                      </a:lnTo>
                      <a:close/>
                      <a:moveTo>
                        <a:pt x="137" y="50"/>
                      </a:moveTo>
                      <a:lnTo>
                        <a:pt x="137" y="50"/>
                      </a:lnTo>
                      <a:lnTo>
                        <a:pt x="142" y="50"/>
                      </a:lnTo>
                      <a:lnTo>
                        <a:pt x="143" y="50"/>
                      </a:lnTo>
                      <a:lnTo>
                        <a:pt x="150" y="50"/>
                      </a:lnTo>
                      <a:lnTo>
                        <a:pt x="151" y="50"/>
                      </a:lnTo>
                      <a:lnTo>
                        <a:pt x="161" y="50"/>
                      </a:lnTo>
                      <a:lnTo>
                        <a:pt x="170" y="50"/>
                      </a:lnTo>
                      <a:lnTo>
                        <a:pt x="179" y="50"/>
                      </a:lnTo>
                      <a:lnTo>
                        <a:pt x="180" y="51"/>
                      </a:lnTo>
                      <a:lnTo>
                        <a:pt x="180" y="53"/>
                      </a:lnTo>
                      <a:lnTo>
                        <a:pt x="180" y="62"/>
                      </a:lnTo>
                      <a:lnTo>
                        <a:pt x="180" y="63"/>
                      </a:lnTo>
                      <a:lnTo>
                        <a:pt x="180" y="70"/>
                      </a:lnTo>
                      <a:lnTo>
                        <a:pt x="180" y="78"/>
                      </a:lnTo>
                      <a:lnTo>
                        <a:pt x="180" y="86"/>
                      </a:lnTo>
                      <a:lnTo>
                        <a:pt x="171" y="86"/>
                      </a:lnTo>
                      <a:lnTo>
                        <a:pt x="169" y="86"/>
                      </a:lnTo>
                      <a:lnTo>
                        <a:pt x="162" y="86"/>
                      </a:lnTo>
                      <a:lnTo>
                        <a:pt x="151" y="86"/>
                      </a:lnTo>
                      <a:lnTo>
                        <a:pt x="151" y="86"/>
                      </a:lnTo>
                      <a:lnTo>
                        <a:pt x="142" y="86"/>
                      </a:lnTo>
                      <a:lnTo>
                        <a:pt x="139" y="86"/>
                      </a:lnTo>
                      <a:lnTo>
                        <a:pt x="139" y="86"/>
                      </a:lnTo>
                      <a:lnTo>
                        <a:pt x="137" y="87"/>
                      </a:lnTo>
                      <a:lnTo>
                        <a:pt x="137" y="87"/>
                      </a:lnTo>
                      <a:lnTo>
                        <a:pt x="137" y="88"/>
                      </a:lnTo>
                      <a:lnTo>
                        <a:pt x="137" y="88"/>
                      </a:lnTo>
                      <a:lnTo>
                        <a:pt x="136" y="88"/>
                      </a:lnTo>
                      <a:lnTo>
                        <a:pt x="136" y="90"/>
                      </a:lnTo>
                      <a:lnTo>
                        <a:pt x="136" y="88"/>
                      </a:lnTo>
                      <a:lnTo>
                        <a:pt x="135" y="88"/>
                      </a:lnTo>
                      <a:lnTo>
                        <a:pt x="135" y="88"/>
                      </a:lnTo>
                      <a:lnTo>
                        <a:pt x="134" y="87"/>
                      </a:lnTo>
                      <a:lnTo>
                        <a:pt x="133" y="87"/>
                      </a:lnTo>
                      <a:lnTo>
                        <a:pt x="133" y="87"/>
                      </a:lnTo>
                      <a:lnTo>
                        <a:pt x="132" y="87"/>
                      </a:lnTo>
                      <a:lnTo>
                        <a:pt x="132" y="87"/>
                      </a:lnTo>
                      <a:lnTo>
                        <a:pt x="132" y="86"/>
                      </a:lnTo>
                      <a:lnTo>
                        <a:pt x="132" y="86"/>
                      </a:lnTo>
                      <a:lnTo>
                        <a:pt x="132" y="85"/>
                      </a:lnTo>
                      <a:lnTo>
                        <a:pt x="132" y="85"/>
                      </a:lnTo>
                      <a:lnTo>
                        <a:pt x="132" y="85"/>
                      </a:lnTo>
                      <a:lnTo>
                        <a:pt x="133" y="85"/>
                      </a:lnTo>
                      <a:lnTo>
                        <a:pt x="133" y="85"/>
                      </a:lnTo>
                      <a:lnTo>
                        <a:pt x="133" y="85"/>
                      </a:lnTo>
                      <a:lnTo>
                        <a:pt x="133" y="84"/>
                      </a:lnTo>
                      <a:lnTo>
                        <a:pt x="133" y="84"/>
                      </a:lnTo>
                      <a:lnTo>
                        <a:pt x="132" y="84"/>
                      </a:lnTo>
                      <a:lnTo>
                        <a:pt x="132" y="84"/>
                      </a:lnTo>
                      <a:lnTo>
                        <a:pt x="132" y="84"/>
                      </a:lnTo>
                      <a:lnTo>
                        <a:pt x="130" y="84"/>
                      </a:lnTo>
                      <a:lnTo>
                        <a:pt x="130" y="84"/>
                      </a:lnTo>
                      <a:lnTo>
                        <a:pt x="129" y="84"/>
                      </a:lnTo>
                      <a:lnTo>
                        <a:pt x="128" y="84"/>
                      </a:lnTo>
                      <a:lnTo>
                        <a:pt x="128" y="84"/>
                      </a:lnTo>
                      <a:lnTo>
                        <a:pt x="128" y="83"/>
                      </a:lnTo>
                      <a:lnTo>
                        <a:pt x="129" y="83"/>
                      </a:lnTo>
                      <a:lnTo>
                        <a:pt x="129" y="83"/>
                      </a:lnTo>
                      <a:lnTo>
                        <a:pt x="128" y="83"/>
                      </a:lnTo>
                      <a:lnTo>
                        <a:pt x="128" y="84"/>
                      </a:lnTo>
                      <a:lnTo>
                        <a:pt x="127" y="84"/>
                      </a:lnTo>
                      <a:lnTo>
                        <a:pt x="127" y="85"/>
                      </a:lnTo>
                      <a:lnTo>
                        <a:pt x="127" y="85"/>
                      </a:lnTo>
                      <a:lnTo>
                        <a:pt x="126" y="85"/>
                      </a:lnTo>
                      <a:lnTo>
                        <a:pt x="125" y="85"/>
                      </a:lnTo>
                      <a:lnTo>
                        <a:pt x="125" y="85"/>
                      </a:lnTo>
                      <a:lnTo>
                        <a:pt x="125" y="84"/>
                      </a:lnTo>
                      <a:lnTo>
                        <a:pt x="123" y="83"/>
                      </a:lnTo>
                      <a:lnTo>
                        <a:pt x="123" y="83"/>
                      </a:lnTo>
                      <a:lnTo>
                        <a:pt x="123" y="83"/>
                      </a:lnTo>
                      <a:lnTo>
                        <a:pt x="122" y="83"/>
                      </a:lnTo>
                      <a:lnTo>
                        <a:pt x="122" y="83"/>
                      </a:lnTo>
                      <a:lnTo>
                        <a:pt x="121" y="83"/>
                      </a:lnTo>
                      <a:lnTo>
                        <a:pt x="121" y="83"/>
                      </a:lnTo>
                      <a:lnTo>
                        <a:pt x="120" y="84"/>
                      </a:lnTo>
                      <a:lnTo>
                        <a:pt x="119" y="84"/>
                      </a:lnTo>
                      <a:lnTo>
                        <a:pt x="119" y="84"/>
                      </a:lnTo>
                      <a:lnTo>
                        <a:pt x="118" y="83"/>
                      </a:lnTo>
                      <a:lnTo>
                        <a:pt x="118" y="83"/>
                      </a:lnTo>
                      <a:lnTo>
                        <a:pt x="118" y="81"/>
                      </a:lnTo>
                      <a:lnTo>
                        <a:pt x="118" y="81"/>
                      </a:lnTo>
                      <a:lnTo>
                        <a:pt x="118" y="81"/>
                      </a:lnTo>
                      <a:lnTo>
                        <a:pt x="118" y="81"/>
                      </a:lnTo>
                      <a:lnTo>
                        <a:pt x="118" y="80"/>
                      </a:lnTo>
                      <a:lnTo>
                        <a:pt x="119" y="80"/>
                      </a:lnTo>
                      <a:lnTo>
                        <a:pt x="119" y="78"/>
                      </a:lnTo>
                      <a:lnTo>
                        <a:pt x="119" y="78"/>
                      </a:lnTo>
                      <a:lnTo>
                        <a:pt x="120" y="78"/>
                      </a:lnTo>
                      <a:lnTo>
                        <a:pt x="120" y="77"/>
                      </a:lnTo>
                      <a:lnTo>
                        <a:pt x="120" y="77"/>
                      </a:lnTo>
                      <a:lnTo>
                        <a:pt x="121" y="76"/>
                      </a:lnTo>
                      <a:lnTo>
                        <a:pt x="121" y="76"/>
                      </a:lnTo>
                      <a:lnTo>
                        <a:pt x="121" y="74"/>
                      </a:lnTo>
                      <a:lnTo>
                        <a:pt x="121" y="73"/>
                      </a:lnTo>
                      <a:lnTo>
                        <a:pt x="122" y="73"/>
                      </a:lnTo>
                      <a:lnTo>
                        <a:pt x="123" y="72"/>
                      </a:lnTo>
                      <a:lnTo>
                        <a:pt x="123" y="71"/>
                      </a:lnTo>
                      <a:lnTo>
                        <a:pt x="123" y="71"/>
                      </a:lnTo>
                      <a:lnTo>
                        <a:pt x="123" y="71"/>
                      </a:lnTo>
                      <a:lnTo>
                        <a:pt x="123" y="71"/>
                      </a:lnTo>
                      <a:lnTo>
                        <a:pt x="125" y="71"/>
                      </a:lnTo>
                      <a:lnTo>
                        <a:pt x="125" y="71"/>
                      </a:lnTo>
                      <a:lnTo>
                        <a:pt x="125" y="70"/>
                      </a:lnTo>
                      <a:lnTo>
                        <a:pt x="125" y="69"/>
                      </a:lnTo>
                      <a:lnTo>
                        <a:pt x="126" y="69"/>
                      </a:lnTo>
                      <a:lnTo>
                        <a:pt x="126" y="69"/>
                      </a:lnTo>
                      <a:lnTo>
                        <a:pt x="127" y="69"/>
                      </a:lnTo>
                      <a:lnTo>
                        <a:pt x="127" y="69"/>
                      </a:lnTo>
                      <a:lnTo>
                        <a:pt x="128" y="69"/>
                      </a:lnTo>
                      <a:lnTo>
                        <a:pt x="128" y="69"/>
                      </a:lnTo>
                      <a:lnTo>
                        <a:pt x="129" y="69"/>
                      </a:lnTo>
                      <a:lnTo>
                        <a:pt x="129" y="67"/>
                      </a:lnTo>
                      <a:lnTo>
                        <a:pt x="129" y="67"/>
                      </a:lnTo>
                      <a:lnTo>
                        <a:pt x="128" y="69"/>
                      </a:lnTo>
                      <a:lnTo>
                        <a:pt x="127" y="69"/>
                      </a:lnTo>
                      <a:lnTo>
                        <a:pt x="126" y="67"/>
                      </a:lnTo>
                      <a:lnTo>
                        <a:pt x="126" y="66"/>
                      </a:lnTo>
                      <a:lnTo>
                        <a:pt x="126" y="65"/>
                      </a:lnTo>
                      <a:lnTo>
                        <a:pt x="128" y="64"/>
                      </a:lnTo>
                      <a:lnTo>
                        <a:pt x="128" y="64"/>
                      </a:lnTo>
                      <a:lnTo>
                        <a:pt x="128" y="63"/>
                      </a:lnTo>
                      <a:lnTo>
                        <a:pt x="128" y="63"/>
                      </a:lnTo>
                      <a:lnTo>
                        <a:pt x="128" y="63"/>
                      </a:lnTo>
                      <a:lnTo>
                        <a:pt x="129" y="63"/>
                      </a:lnTo>
                      <a:lnTo>
                        <a:pt x="129" y="62"/>
                      </a:lnTo>
                      <a:lnTo>
                        <a:pt x="129" y="62"/>
                      </a:lnTo>
                      <a:lnTo>
                        <a:pt x="129" y="62"/>
                      </a:lnTo>
                      <a:lnTo>
                        <a:pt x="129" y="62"/>
                      </a:lnTo>
                      <a:lnTo>
                        <a:pt x="129" y="60"/>
                      </a:lnTo>
                      <a:lnTo>
                        <a:pt x="129" y="60"/>
                      </a:lnTo>
                      <a:lnTo>
                        <a:pt x="130" y="60"/>
                      </a:lnTo>
                      <a:lnTo>
                        <a:pt x="130" y="59"/>
                      </a:lnTo>
                      <a:lnTo>
                        <a:pt x="130" y="59"/>
                      </a:lnTo>
                      <a:lnTo>
                        <a:pt x="130" y="59"/>
                      </a:lnTo>
                      <a:lnTo>
                        <a:pt x="132" y="58"/>
                      </a:lnTo>
                      <a:lnTo>
                        <a:pt x="132" y="57"/>
                      </a:lnTo>
                      <a:lnTo>
                        <a:pt x="132" y="56"/>
                      </a:lnTo>
                      <a:lnTo>
                        <a:pt x="130" y="53"/>
                      </a:lnTo>
                      <a:lnTo>
                        <a:pt x="130" y="52"/>
                      </a:lnTo>
                      <a:lnTo>
                        <a:pt x="130" y="52"/>
                      </a:lnTo>
                      <a:lnTo>
                        <a:pt x="130" y="52"/>
                      </a:lnTo>
                      <a:lnTo>
                        <a:pt x="130" y="52"/>
                      </a:lnTo>
                      <a:lnTo>
                        <a:pt x="130" y="51"/>
                      </a:lnTo>
                      <a:lnTo>
                        <a:pt x="130" y="51"/>
                      </a:lnTo>
                      <a:lnTo>
                        <a:pt x="130" y="51"/>
                      </a:lnTo>
                      <a:lnTo>
                        <a:pt x="130" y="48"/>
                      </a:lnTo>
                      <a:lnTo>
                        <a:pt x="130" y="46"/>
                      </a:lnTo>
                      <a:lnTo>
                        <a:pt x="130" y="46"/>
                      </a:lnTo>
                      <a:lnTo>
                        <a:pt x="130" y="45"/>
                      </a:lnTo>
                      <a:lnTo>
                        <a:pt x="130" y="45"/>
                      </a:lnTo>
                      <a:lnTo>
                        <a:pt x="132" y="44"/>
                      </a:lnTo>
                      <a:lnTo>
                        <a:pt x="132" y="45"/>
                      </a:lnTo>
                      <a:lnTo>
                        <a:pt x="132" y="45"/>
                      </a:lnTo>
                      <a:lnTo>
                        <a:pt x="132" y="46"/>
                      </a:lnTo>
                      <a:lnTo>
                        <a:pt x="132" y="46"/>
                      </a:lnTo>
                      <a:lnTo>
                        <a:pt x="132" y="48"/>
                      </a:lnTo>
                      <a:lnTo>
                        <a:pt x="133" y="48"/>
                      </a:lnTo>
                      <a:lnTo>
                        <a:pt x="134" y="49"/>
                      </a:lnTo>
                      <a:lnTo>
                        <a:pt x="134" y="49"/>
                      </a:lnTo>
                      <a:lnTo>
                        <a:pt x="135" y="49"/>
                      </a:lnTo>
                      <a:lnTo>
                        <a:pt x="137" y="50"/>
                      </a:lnTo>
                      <a:close/>
                      <a:moveTo>
                        <a:pt x="98" y="0"/>
                      </a:moveTo>
                      <a:lnTo>
                        <a:pt x="99" y="0"/>
                      </a:lnTo>
                      <a:lnTo>
                        <a:pt x="99" y="0"/>
                      </a:lnTo>
                      <a:lnTo>
                        <a:pt x="100" y="0"/>
                      </a:lnTo>
                      <a:lnTo>
                        <a:pt x="101" y="0"/>
                      </a:lnTo>
                      <a:lnTo>
                        <a:pt x="102" y="0"/>
                      </a:lnTo>
                      <a:lnTo>
                        <a:pt x="102" y="0"/>
                      </a:lnTo>
                      <a:lnTo>
                        <a:pt x="102" y="0"/>
                      </a:lnTo>
                      <a:lnTo>
                        <a:pt x="102" y="0"/>
                      </a:lnTo>
                      <a:lnTo>
                        <a:pt x="104" y="0"/>
                      </a:lnTo>
                      <a:lnTo>
                        <a:pt x="104" y="1"/>
                      </a:lnTo>
                      <a:lnTo>
                        <a:pt x="105" y="2"/>
                      </a:lnTo>
                      <a:lnTo>
                        <a:pt x="105" y="2"/>
                      </a:lnTo>
                      <a:lnTo>
                        <a:pt x="105" y="3"/>
                      </a:lnTo>
                      <a:lnTo>
                        <a:pt x="105" y="3"/>
                      </a:lnTo>
                      <a:lnTo>
                        <a:pt x="104" y="4"/>
                      </a:lnTo>
                      <a:lnTo>
                        <a:pt x="104" y="4"/>
                      </a:lnTo>
                      <a:lnTo>
                        <a:pt x="102" y="6"/>
                      </a:lnTo>
                      <a:lnTo>
                        <a:pt x="102" y="7"/>
                      </a:lnTo>
                      <a:lnTo>
                        <a:pt x="101" y="8"/>
                      </a:lnTo>
                      <a:lnTo>
                        <a:pt x="101" y="8"/>
                      </a:lnTo>
                      <a:lnTo>
                        <a:pt x="100" y="9"/>
                      </a:lnTo>
                      <a:lnTo>
                        <a:pt x="100" y="10"/>
                      </a:lnTo>
                      <a:lnTo>
                        <a:pt x="100" y="10"/>
                      </a:lnTo>
                      <a:lnTo>
                        <a:pt x="100" y="10"/>
                      </a:lnTo>
                      <a:lnTo>
                        <a:pt x="100" y="10"/>
                      </a:lnTo>
                      <a:lnTo>
                        <a:pt x="99" y="11"/>
                      </a:lnTo>
                      <a:lnTo>
                        <a:pt x="99" y="11"/>
                      </a:lnTo>
                      <a:lnTo>
                        <a:pt x="99" y="14"/>
                      </a:lnTo>
                      <a:lnTo>
                        <a:pt x="99" y="14"/>
                      </a:lnTo>
                      <a:lnTo>
                        <a:pt x="97" y="15"/>
                      </a:lnTo>
                      <a:lnTo>
                        <a:pt x="97" y="17"/>
                      </a:lnTo>
                      <a:lnTo>
                        <a:pt x="95" y="17"/>
                      </a:lnTo>
                      <a:lnTo>
                        <a:pt x="95" y="17"/>
                      </a:lnTo>
                      <a:lnTo>
                        <a:pt x="94" y="17"/>
                      </a:lnTo>
                      <a:lnTo>
                        <a:pt x="94" y="17"/>
                      </a:lnTo>
                      <a:lnTo>
                        <a:pt x="94" y="17"/>
                      </a:lnTo>
                      <a:lnTo>
                        <a:pt x="94" y="17"/>
                      </a:lnTo>
                      <a:lnTo>
                        <a:pt x="93" y="16"/>
                      </a:lnTo>
                      <a:lnTo>
                        <a:pt x="93" y="16"/>
                      </a:lnTo>
                      <a:lnTo>
                        <a:pt x="92" y="16"/>
                      </a:lnTo>
                      <a:lnTo>
                        <a:pt x="92" y="16"/>
                      </a:lnTo>
                      <a:lnTo>
                        <a:pt x="92" y="16"/>
                      </a:lnTo>
                      <a:lnTo>
                        <a:pt x="91" y="16"/>
                      </a:lnTo>
                      <a:lnTo>
                        <a:pt x="91" y="16"/>
                      </a:lnTo>
                      <a:lnTo>
                        <a:pt x="90" y="16"/>
                      </a:lnTo>
                      <a:lnTo>
                        <a:pt x="88" y="16"/>
                      </a:lnTo>
                      <a:lnTo>
                        <a:pt x="88" y="15"/>
                      </a:lnTo>
                      <a:lnTo>
                        <a:pt x="88" y="14"/>
                      </a:lnTo>
                      <a:lnTo>
                        <a:pt x="88" y="14"/>
                      </a:lnTo>
                      <a:lnTo>
                        <a:pt x="87" y="14"/>
                      </a:lnTo>
                      <a:lnTo>
                        <a:pt x="87" y="13"/>
                      </a:lnTo>
                      <a:lnTo>
                        <a:pt x="87" y="13"/>
                      </a:lnTo>
                      <a:lnTo>
                        <a:pt x="87" y="13"/>
                      </a:lnTo>
                      <a:lnTo>
                        <a:pt x="87" y="11"/>
                      </a:lnTo>
                      <a:lnTo>
                        <a:pt x="88" y="10"/>
                      </a:lnTo>
                      <a:lnTo>
                        <a:pt x="88" y="10"/>
                      </a:lnTo>
                      <a:lnTo>
                        <a:pt x="88" y="9"/>
                      </a:lnTo>
                      <a:lnTo>
                        <a:pt x="90" y="9"/>
                      </a:lnTo>
                      <a:lnTo>
                        <a:pt x="90" y="9"/>
                      </a:lnTo>
                      <a:lnTo>
                        <a:pt x="91" y="9"/>
                      </a:lnTo>
                      <a:lnTo>
                        <a:pt x="92" y="9"/>
                      </a:lnTo>
                      <a:lnTo>
                        <a:pt x="92" y="9"/>
                      </a:lnTo>
                      <a:lnTo>
                        <a:pt x="93" y="9"/>
                      </a:lnTo>
                      <a:lnTo>
                        <a:pt x="92" y="8"/>
                      </a:lnTo>
                      <a:lnTo>
                        <a:pt x="92" y="8"/>
                      </a:lnTo>
                      <a:lnTo>
                        <a:pt x="93" y="8"/>
                      </a:lnTo>
                      <a:lnTo>
                        <a:pt x="93" y="7"/>
                      </a:lnTo>
                      <a:lnTo>
                        <a:pt x="93" y="7"/>
                      </a:lnTo>
                      <a:lnTo>
                        <a:pt x="93" y="7"/>
                      </a:lnTo>
                      <a:lnTo>
                        <a:pt x="94" y="3"/>
                      </a:lnTo>
                      <a:lnTo>
                        <a:pt x="94" y="2"/>
                      </a:lnTo>
                      <a:lnTo>
                        <a:pt x="95" y="1"/>
                      </a:lnTo>
                      <a:lnTo>
                        <a:pt x="97" y="0"/>
                      </a:lnTo>
                      <a:lnTo>
                        <a:pt x="98" y="0"/>
                      </a:lnTo>
                      <a:lnTo>
                        <a:pt x="98" y="0"/>
                      </a:lnTo>
                      <a:lnTo>
                        <a:pt x="98" y="0"/>
                      </a:lnTo>
                      <a:lnTo>
                        <a:pt x="98"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26" name="Freeform 96">
                  <a:extLst>
                    <a:ext uri="{FF2B5EF4-FFF2-40B4-BE49-F238E27FC236}">
                      <a16:creationId xmlns:a16="http://schemas.microsoft.com/office/drawing/2014/main" id="{F15E50AD-E7D8-943C-35CE-1359A3FF7CF9}"/>
                    </a:ext>
                  </a:extLst>
                </p:cNvPr>
                <p:cNvSpPr>
                  <a:spLocks/>
                </p:cNvSpPr>
                <p:nvPr/>
              </p:nvSpPr>
              <p:spPr bwMode="auto">
                <a:xfrm>
                  <a:off x="5832104" y="3514120"/>
                  <a:ext cx="141707" cy="143871"/>
                </a:xfrm>
                <a:custGeom>
                  <a:avLst/>
                  <a:gdLst>
                    <a:gd name="T0" fmla="*/ 99 w 131"/>
                    <a:gd name="T1" fmla="*/ 40 h 133"/>
                    <a:gd name="T2" fmla="*/ 102 w 131"/>
                    <a:gd name="T3" fmla="*/ 45 h 133"/>
                    <a:gd name="T4" fmla="*/ 102 w 131"/>
                    <a:gd name="T5" fmla="*/ 54 h 133"/>
                    <a:gd name="T6" fmla="*/ 93 w 131"/>
                    <a:gd name="T7" fmla="*/ 64 h 133"/>
                    <a:gd name="T8" fmla="*/ 96 w 131"/>
                    <a:gd name="T9" fmla="*/ 68 h 133"/>
                    <a:gd name="T10" fmla="*/ 98 w 131"/>
                    <a:gd name="T11" fmla="*/ 70 h 133"/>
                    <a:gd name="T12" fmla="*/ 105 w 131"/>
                    <a:gd name="T13" fmla="*/ 72 h 133"/>
                    <a:gd name="T14" fmla="*/ 113 w 131"/>
                    <a:gd name="T15" fmla="*/ 72 h 133"/>
                    <a:gd name="T16" fmla="*/ 117 w 131"/>
                    <a:gd name="T17" fmla="*/ 78 h 133"/>
                    <a:gd name="T18" fmla="*/ 120 w 131"/>
                    <a:gd name="T19" fmla="*/ 84 h 133"/>
                    <a:gd name="T20" fmla="*/ 125 w 131"/>
                    <a:gd name="T21" fmla="*/ 85 h 133"/>
                    <a:gd name="T22" fmla="*/ 129 w 131"/>
                    <a:gd name="T23" fmla="*/ 86 h 133"/>
                    <a:gd name="T24" fmla="*/ 131 w 131"/>
                    <a:gd name="T25" fmla="*/ 96 h 133"/>
                    <a:gd name="T26" fmla="*/ 129 w 131"/>
                    <a:gd name="T27" fmla="*/ 100 h 133"/>
                    <a:gd name="T28" fmla="*/ 129 w 131"/>
                    <a:gd name="T29" fmla="*/ 104 h 133"/>
                    <a:gd name="T30" fmla="*/ 125 w 131"/>
                    <a:gd name="T31" fmla="*/ 110 h 133"/>
                    <a:gd name="T32" fmla="*/ 125 w 131"/>
                    <a:gd name="T33" fmla="*/ 117 h 133"/>
                    <a:gd name="T34" fmla="*/ 126 w 131"/>
                    <a:gd name="T35" fmla="*/ 131 h 133"/>
                    <a:gd name="T36" fmla="*/ 120 w 131"/>
                    <a:gd name="T37" fmla="*/ 132 h 133"/>
                    <a:gd name="T38" fmla="*/ 113 w 131"/>
                    <a:gd name="T39" fmla="*/ 128 h 133"/>
                    <a:gd name="T40" fmla="*/ 102 w 131"/>
                    <a:gd name="T41" fmla="*/ 125 h 133"/>
                    <a:gd name="T42" fmla="*/ 84 w 131"/>
                    <a:gd name="T43" fmla="*/ 115 h 133"/>
                    <a:gd name="T44" fmla="*/ 77 w 131"/>
                    <a:gd name="T45" fmla="*/ 112 h 133"/>
                    <a:gd name="T46" fmla="*/ 69 w 131"/>
                    <a:gd name="T47" fmla="*/ 107 h 133"/>
                    <a:gd name="T48" fmla="*/ 62 w 131"/>
                    <a:gd name="T49" fmla="*/ 100 h 133"/>
                    <a:gd name="T50" fmla="*/ 49 w 131"/>
                    <a:gd name="T51" fmla="*/ 89 h 133"/>
                    <a:gd name="T52" fmla="*/ 42 w 131"/>
                    <a:gd name="T53" fmla="*/ 82 h 133"/>
                    <a:gd name="T54" fmla="*/ 36 w 131"/>
                    <a:gd name="T55" fmla="*/ 78 h 133"/>
                    <a:gd name="T56" fmla="*/ 35 w 131"/>
                    <a:gd name="T57" fmla="*/ 77 h 133"/>
                    <a:gd name="T58" fmla="*/ 22 w 131"/>
                    <a:gd name="T59" fmla="*/ 71 h 133"/>
                    <a:gd name="T60" fmla="*/ 14 w 131"/>
                    <a:gd name="T61" fmla="*/ 64 h 133"/>
                    <a:gd name="T62" fmla="*/ 3 w 131"/>
                    <a:gd name="T63" fmla="*/ 56 h 133"/>
                    <a:gd name="T64" fmla="*/ 3 w 131"/>
                    <a:gd name="T65" fmla="*/ 50 h 133"/>
                    <a:gd name="T66" fmla="*/ 4 w 131"/>
                    <a:gd name="T67" fmla="*/ 48 h 133"/>
                    <a:gd name="T68" fmla="*/ 11 w 131"/>
                    <a:gd name="T69" fmla="*/ 40 h 133"/>
                    <a:gd name="T70" fmla="*/ 25 w 131"/>
                    <a:gd name="T71" fmla="*/ 27 h 133"/>
                    <a:gd name="T72" fmla="*/ 29 w 131"/>
                    <a:gd name="T73" fmla="*/ 15 h 133"/>
                    <a:gd name="T74" fmla="*/ 36 w 131"/>
                    <a:gd name="T75" fmla="*/ 10 h 133"/>
                    <a:gd name="T76" fmla="*/ 40 w 131"/>
                    <a:gd name="T77" fmla="*/ 2 h 133"/>
                    <a:gd name="T78" fmla="*/ 47 w 131"/>
                    <a:gd name="T79" fmla="*/ 3 h 133"/>
                    <a:gd name="T80" fmla="*/ 54 w 131"/>
                    <a:gd name="T81" fmla="*/ 0 h 133"/>
                    <a:gd name="T82" fmla="*/ 57 w 131"/>
                    <a:gd name="T83" fmla="*/ 2 h 133"/>
                    <a:gd name="T84" fmla="*/ 60 w 131"/>
                    <a:gd name="T85" fmla="*/ 6 h 133"/>
                    <a:gd name="T86" fmla="*/ 62 w 131"/>
                    <a:gd name="T87" fmla="*/ 10 h 133"/>
                    <a:gd name="T88" fmla="*/ 63 w 131"/>
                    <a:gd name="T89" fmla="*/ 17 h 133"/>
                    <a:gd name="T90" fmla="*/ 64 w 131"/>
                    <a:gd name="T91" fmla="*/ 22 h 133"/>
                    <a:gd name="T92" fmla="*/ 68 w 131"/>
                    <a:gd name="T93" fmla="*/ 30 h 133"/>
                    <a:gd name="T94" fmla="*/ 65 w 131"/>
                    <a:gd name="T95" fmla="*/ 35 h 133"/>
                    <a:gd name="T96" fmla="*/ 65 w 131"/>
                    <a:gd name="T97" fmla="*/ 37 h 133"/>
                    <a:gd name="T98" fmla="*/ 71 w 131"/>
                    <a:gd name="T99" fmla="*/ 37 h 133"/>
                    <a:gd name="T100" fmla="*/ 75 w 131"/>
                    <a:gd name="T101" fmla="*/ 43 h 133"/>
                    <a:gd name="T102" fmla="*/ 81 w 131"/>
                    <a:gd name="T103" fmla="*/ 41 h 133"/>
                    <a:gd name="T104" fmla="*/ 84 w 131"/>
                    <a:gd name="T105" fmla="*/ 36 h 133"/>
                    <a:gd name="T106" fmla="*/ 88 w 131"/>
                    <a:gd name="T107" fmla="*/ 30 h 133"/>
                    <a:gd name="T108" fmla="*/ 95 w 131"/>
                    <a:gd name="T109" fmla="*/ 3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1" h="133">
                      <a:moveTo>
                        <a:pt x="96" y="31"/>
                      </a:moveTo>
                      <a:lnTo>
                        <a:pt x="97" y="33"/>
                      </a:lnTo>
                      <a:lnTo>
                        <a:pt x="97" y="34"/>
                      </a:lnTo>
                      <a:lnTo>
                        <a:pt x="98" y="35"/>
                      </a:lnTo>
                      <a:lnTo>
                        <a:pt x="98" y="38"/>
                      </a:lnTo>
                      <a:lnTo>
                        <a:pt x="98" y="40"/>
                      </a:lnTo>
                      <a:lnTo>
                        <a:pt x="99" y="40"/>
                      </a:lnTo>
                      <a:lnTo>
                        <a:pt x="99" y="41"/>
                      </a:lnTo>
                      <a:lnTo>
                        <a:pt x="99" y="42"/>
                      </a:lnTo>
                      <a:lnTo>
                        <a:pt x="100" y="42"/>
                      </a:lnTo>
                      <a:lnTo>
                        <a:pt x="100" y="43"/>
                      </a:lnTo>
                      <a:lnTo>
                        <a:pt x="100" y="44"/>
                      </a:lnTo>
                      <a:lnTo>
                        <a:pt x="102" y="44"/>
                      </a:lnTo>
                      <a:lnTo>
                        <a:pt x="102" y="45"/>
                      </a:lnTo>
                      <a:lnTo>
                        <a:pt x="102" y="49"/>
                      </a:lnTo>
                      <a:lnTo>
                        <a:pt x="102" y="50"/>
                      </a:lnTo>
                      <a:lnTo>
                        <a:pt x="100" y="50"/>
                      </a:lnTo>
                      <a:lnTo>
                        <a:pt x="100" y="51"/>
                      </a:lnTo>
                      <a:lnTo>
                        <a:pt x="100" y="52"/>
                      </a:lnTo>
                      <a:lnTo>
                        <a:pt x="100" y="54"/>
                      </a:lnTo>
                      <a:lnTo>
                        <a:pt x="102" y="54"/>
                      </a:lnTo>
                      <a:lnTo>
                        <a:pt x="102" y="55"/>
                      </a:lnTo>
                      <a:lnTo>
                        <a:pt x="100" y="56"/>
                      </a:lnTo>
                      <a:lnTo>
                        <a:pt x="100" y="57"/>
                      </a:lnTo>
                      <a:lnTo>
                        <a:pt x="97" y="61"/>
                      </a:lnTo>
                      <a:lnTo>
                        <a:pt x="95" y="63"/>
                      </a:lnTo>
                      <a:lnTo>
                        <a:pt x="93" y="63"/>
                      </a:lnTo>
                      <a:lnTo>
                        <a:pt x="93" y="64"/>
                      </a:lnTo>
                      <a:lnTo>
                        <a:pt x="92" y="64"/>
                      </a:lnTo>
                      <a:lnTo>
                        <a:pt x="91" y="65"/>
                      </a:lnTo>
                      <a:lnTo>
                        <a:pt x="92" y="65"/>
                      </a:lnTo>
                      <a:lnTo>
                        <a:pt x="93" y="65"/>
                      </a:lnTo>
                      <a:lnTo>
                        <a:pt x="93" y="66"/>
                      </a:lnTo>
                      <a:lnTo>
                        <a:pt x="95" y="68"/>
                      </a:lnTo>
                      <a:lnTo>
                        <a:pt x="96" y="68"/>
                      </a:lnTo>
                      <a:lnTo>
                        <a:pt x="96" y="66"/>
                      </a:lnTo>
                      <a:lnTo>
                        <a:pt x="97" y="65"/>
                      </a:lnTo>
                      <a:lnTo>
                        <a:pt x="97" y="66"/>
                      </a:lnTo>
                      <a:lnTo>
                        <a:pt x="98" y="66"/>
                      </a:lnTo>
                      <a:lnTo>
                        <a:pt x="98" y="68"/>
                      </a:lnTo>
                      <a:lnTo>
                        <a:pt x="98" y="69"/>
                      </a:lnTo>
                      <a:lnTo>
                        <a:pt x="98" y="70"/>
                      </a:lnTo>
                      <a:lnTo>
                        <a:pt x="99" y="70"/>
                      </a:lnTo>
                      <a:lnTo>
                        <a:pt x="100" y="70"/>
                      </a:lnTo>
                      <a:lnTo>
                        <a:pt x="102" y="70"/>
                      </a:lnTo>
                      <a:lnTo>
                        <a:pt x="102" y="71"/>
                      </a:lnTo>
                      <a:lnTo>
                        <a:pt x="103" y="71"/>
                      </a:lnTo>
                      <a:lnTo>
                        <a:pt x="105" y="71"/>
                      </a:lnTo>
                      <a:lnTo>
                        <a:pt x="105" y="72"/>
                      </a:lnTo>
                      <a:lnTo>
                        <a:pt x="106" y="72"/>
                      </a:lnTo>
                      <a:lnTo>
                        <a:pt x="107" y="72"/>
                      </a:lnTo>
                      <a:lnTo>
                        <a:pt x="107" y="71"/>
                      </a:lnTo>
                      <a:lnTo>
                        <a:pt x="110" y="71"/>
                      </a:lnTo>
                      <a:lnTo>
                        <a:pt x="111" y="71"/>
                      </a:lnTo>
                      <a:lnTo>
                        <a:pt x="111" y="72"/>
                      </a:lnTo>
                      <a:lnTo>
                        <a:pt x="113" y="72"/>
                      </a:lnTo>
                      <a:lnTo>
                        <a:pt x="114" y="72"/>
                      </a:lnTo>
                      <a:lnTo>
                        <a:pt x="115" y="73"/>
                      </a:lnTo>
                      <a:lnTo>
                        <a:pt x="117" y="75"/>
                      </a:lnTo>
                      <a:lnTo>
                        <a:pt x="115" y="76"/>
                      </a:lnTo>
                      <a:lnTo>
                        <a:pt x="115" y="77"/>
                      </a:lnTo>
                      <a:lnTo>
                        <a:pt x="115" y="78"/>
                      </a:lnTo>
                      <a:lnTo>
                        <a:pt x="117" y="78"/>
                      </a:lnTo>
                      <a:lnTo>
                        <a:pt x="118" y="78"/>
                      </a:lnTo>
                      <a:lnTo>
                        <a:pt x="118" y="79"/>
                      </a:lnTo>
                      <a:lnTo>
                        <a:pt x="118" y="80"/>
                      </a:lnTo>
                      <a:lnTo>
                        <a:pt x="118" y="82"/>
                      </a:lnTo>
                      <a:lnTo>
                        <a:pt x="119" y="83"/>
                      </a:lnTo>
                      <a:lnTo>
                        <a:pt x="120" y="83"/>
                      </a:lnTo>
                      <a:lnTo>
                        <a:pt x="120" y="84"/>
                      </a:lnTo>
                      <a:lnTo>
                        <a:pt x="121" y="84"/>
                      </a:lnTo>
                      <a:lnTo>
                        <a:pt x="121" y="83"/>
                      </a:lnTo>
                      <a:lnTo>
                        <a:pt x="122" y="83"/>
                      </a:lnTo>
                      <a:lnTo>
                        <a:pt x="122" y="84"/>
                      </a:lnTo>
                      <a:lnTo>
                        <a:pt x="124" y="84"/>
                      </a:lnTo>
                      <a:lnTo>
                        <a:pt x="125" y="84"/>
                      </a:lnTo>
                      <a:lnTo>
                        <a:pt x="125" y="85"/>
                      </a:lnTo>
                      <a:lnTo>
                        <a:pt x="126" y="86"/>
                      </a:lnTo>
                      <a:lnTo>
                        <a:pt x="126" y="85"/>
                      </a:lnTo>
                      <a:lnTo>
                        <a:pt x="127" y="86"/>
                      </a:lnTo>
                      <a:lnTo>
                        <a:pt x="128" y="86"/>
                      </a:lnTo>
                      <a:lnTo>
                        <a:pt x="128" y="85"/>
                      </a:lnTo>
                      <a:lnTo>
                        <a:pt x="129" y="85"/>
                      </a:lnTo>
                      <a:lnTo>
                        <a:pt x="129" y="86"/>
                      </a:lnTo>
                      <a:lnTo>
                        <a:pt x="129" y="87"/>
                      </a:lnTo>
                      <a:lnTo>
                        <a:pt x="129" y="89"/>
                      </a:lnTo>
                      <a:lnTo>
                        <a:pt x="129" y="92"/>
                      </a:lnTo>
                      <a:lnTo>
                        <a:pt x="131" y="92"/>
                      </a:lnTo>
                      <a:lnTo>
                        <a:pt x="131" y="93"/>
                      </a:lnTo>
                      <a:lnTo>
                        <a:pt x="131" y="94"/>
                      </a:lnTo>
                      <a:lnTo>
                        <a:pt x="131" y="96"/>
                      </a:lnTo>
                      <a:lnTo>
                        <a:pt x="131" y="97"/>
                      </a:lnTo>
                      <a:lnTo>
                        <a:pt x="129" y="97"/>
                      </a:lnTo>
                      <a:lnTo>
                        <a:pt x="129" y="98"/>
                      </a:lnTo>
                      <a:lnTo>
                        <a:pt x="129" y="99"/>
                      </a:lnTo>
                      <a:lnTo>
                        <a:pt x="129" y="98"/>
                      </a:lnTo>
                      <a:lnTo>
                        <a:pt x="129" y="99"/>
                      </a:lnTo>
                      <a:lnTo>
                        <a:pt x="129" y="100"/>
                      </a:lnTo>
                      <a:lnTo>
                        <a:pt x="131" y="100"/>
                      </a:lnTo>
                      <a:lnTo>
                        <a:pt x="131" y="101"/>
                      </a:lnTo>
                      <a:lnTo>
                        <a:pt x="131" y="103"/>
                      </a:lnTo>
                      <a:lnTo>
                        <a:pt x="131" y="104"/>
                      </a:lnTo>
                      <a:lnTo>
                        <a:pt x="129" y="104"/>
                      </a:lnTo>
                      <a:lnTo>
                        <a:pt x="129" y="103"/>
                      </a:lnTo>
                      <a:lnTo>
                        <a:pt x="129" y="104"/>
                      </a:lnTo>
                      <a:lnTo>
                        <a:pt x="128" y="104"/>
                      </a:lnTo>
                      <a:lnTo>
                        <a:pt x="128" y="105"/>
                      </a:lnTo>
                      <a:lnTo>
                        <a:pt x="128" y="107"/>
                      </a:lnTo>
                      <a:lnTo>
                        <a:pt x="128" y="108"/>
                      </a:lnTo>
                      <a:lnTo>
                        <a:pt x="127" y="110"/>
                      </a:lnTo>
                      <a:lnTo>
                        <a:pt x="126" y="110"/>
                      </a:lnTo>
                      <a:lnTo>
                        <a:pt x="125" y="110"/>
                      </a:lnTo>
                      <a:lnTo>
                        <a:pt x="125" y="111"/>
                      </a:lnTo>
                      <a:lnTo>
                        <a:pt x="126" y="112"/>
                      </a:lnTo>
                      <a:lnTo>
                        <a:pt x="126" y="113"/>
                      </a:lnTo>
                      <a:lnTo>
                        <a:pt x="126" y="114"/>
                      </a:lnTo>
                      <a:lnTo>
                        <a:pt x="126" y="115"/>
                      </a:lnTo>
                      <a:lnTo>
                        <a:pt x="125" y="115"/>
                      </a:lnTo>
                      <a:lnTo>
                        <a:pt x="125" y="117"/>
                      </a:lnTo>
                      <a:lnTo>
                        <a:pt x="125" y="118"/>
                      </a:lnTo>
                      <a:lnTo>
                        <a:pt x="125" y="119"/>
                      </a:lnTo>
                      <a:lnTo>
                        <a:pt x="126" y="120"/>
                      </a:lnTo>
                      <a:lnTo>
                        <a:pt x="126" y="121"/>
                      </a:lnTo>
                      <a:lnTo>
                        <a:pt x="126" y="128"/>
                      </a:lnTo>
                      <a:lnTo>
                        <a:pt x="126" y="129"/>
                      </a:lnTo>
                      <a:lnTo>
                        <a:pt x="126" y="131"/>
                      </a:lnTo>
                      <a:lnTo>
                        <a:pt x="126" y="132"/>
                      </a:lnTo>
                      <a:lnTo>
                        <a:pt x="127" y="133"/>
                      </a:lnTo>
                      <a:lnTo>
                        <a:pt x="125" y="133"/>
                      </a:lnTo>
                      <a:lnTo>
                        <a:pt x="124" y="133"/>
                      </a:lnTo>
                      <a:lnTo>
                        <a:pt x="121" y="133"/>
                      </a:lnTo>
                      <a:lnTo>
                        <a:pt x="121" y="132"/>
                      </a:lnTo>
                      <a:lnTo>
                        <a:pt x="120" y="132"/>
                      </a:lnTo>
                      <a:lnTo>
                        <a:pt x="119" y="132"/>
                      </a:lnTo>
                      <a:lnTo>
                        <a:pt x="118" y="131"/>
                      </a:lnTo>
                      <a:lnTo>
                        <a:pt x="118" y="129"/>
                      </a:lnTo>
                      <a:lnTo>
                        <a:pt x="117" y="129"/>
                      </a:lnTo>
                      <a:lnTo>
                        <a:pt x="115" y="129"/>
                      </a:lnTo>
                      <a:lnTo>
                        <a:pt x="114" y="128"/>
                      </a:lnTo>
                      <a:lnTo>
                        <a:pt x="113" y="128"/>
                      </a:lnTo>
                      <a:lnTo>
                        <a:pt x="112" y="128"/>
                      </a:lnTo>
                      <a:lnTo>
                        <a:pt x="111" y="127"/>
                      </a:lnTo>
                      <a:lnTo>
                        <a:pt x="109" y="127"/>
                      </a:lnTo>
                      <a:lnTo>
                        <a:pt x="105" y="126"/>
                      </a:lnTo>
                      <a:lnTo>
                        <a:pt x="104" y="126"/>
                      </a:lnTo>
                      <a:lnTo>
                        <a:pt x="103" y="125"/>
                      </a:lnTo>
                      <a:lnTo>
                        <a:pt x="102" y="125"/>
                      </a:lnTo>
                      <a:lnTo>
                        <a:pt x="98" y="124"/>
                      </a:lnTo>
                      <a:lnTo>
                        <a:pt x="95" y="120"/>
                      </a:lnTo>
                      <a:lnTo>
                        <a:pt x="92" y="120"/>
                      </a:lnTo>
                      <a:lnTo>
                        <a:pt x="89" y="118"/>
                      </a:lnTo>
                      <a:lnTo>
                        <a:pt x="88" y="118"/>
                      </a:lnTo>
                      <a:lnTo>
                        <a:pt x="85" y="115"/>
                      </a:lnTo>
                      <a:lnTo>
                        <a:pt x="84" y="115"/>
                      </a:lnTo>
                      <a:lnTo>
                        <a:pt x="83" y="114"/>
                      </a:lnTo>
                      <a:lnTo>
                        <a:pt x="82" y="114"/>
                      </a:lnTo>
                      <a:lnTo>
                        <a:pt x="81" y="114"/>
                      </a:lnTo>
                      <a:lnTo>
                        <a:pt x="79" y="114"/>
                      </a:lnTo>
                      <a:lnTo>
                        <a:pt x="79" y="113"/>
                      </a:lnTo>
                      <a:lnTo>
                        <a:pt x="78" y="113"/>
                      </a:lnTo>
                      <a:lnTo>
                        <a:pt x="77" y="112"/>
                      </a:lnTo>
                      <a:lnTo>
                        <a:pt x="75" y="111"/>
                      </a:lnTo>
                      <a:lnTo>
                        <a:pt x="74" y="110"/>
                      </a:lnTo>
                      <a:lnTo>
                        <a:pt x="72" y="110"/>
                      </a:lnTo>
                      <a:lnTo>
                        <a:pt x="71" y="108"/>
                      </a:lnTo>
                      <a:lnTo>
                        <a:pt x="71" y="107"/>
                      </a:lnTo>
                      <a:lnTo>
                        <a:pt x="70" y="107"/>
                      </a:lnTo>
                      <a:lnTo>
                        <a:pt x="69" y="107"/>
                      </a:lnTo>
                      <a:lnTo>
                        <a:pt x="69" y="106"/>
                      </a:lnTo>
                      <a:lnTo>
                        <a:pt x="65" y="103"/>
                      </a:lnTo>
                      <a:lnTo>
                        <a:pt x="64" y="103"/>
                      </a:lnTo>
                      <a:lnTo>
                        <a:pt x="64" y="101"/>
                      </a:lnTo>
                      <a:lnTo>
                        <a:pt x="64" y="100"/>
                      </a:lnTo>
                      <a:lnTo>
                        <a:pt x="63" y="100"/>
                      </a:lnTo>
                      <a:lnTo>
                        <a:pt x="62" y="100"/>
                      </a:lnTo>
                      <a:lnTo>
                        <a:pt x="61" y="100"/>
                      </a:lnTo>
                      <a:lnTo>
                        <a:pt x="61" y="99"/>
                      </a:lnTo>
                      <a:lnTo>
                        <a:pt x="62" y="99"/>
                      </a:lnTo>
                      <a:lnTo>
                        <a:pt x="61" y="98"/>
                      </a:lnTo>
                      <a:lnTo>
                        <a:pt x="57" y="96"/>
                      </a:lnTo>
                      <a:lnTo>
                        <a:pt x="53" y="92"/>
                      </a:lnTo>
                      <a:lnTo>
                        <a:pt x="49" y="89"/>
                      </a:lnTo>
                      <a:lnTo>
                        <a:pt x="48" y="87"/>
                      </a:lnTo>
                      <a:lnTo>
                        <a:pt x="47" y="86"/>
                      </a:lnTo>
                      <a:lnTo>
                        <a:pt x="47" y="85"/>
                      </a:lnTo>
                      <a:lnTo>
                        <a:pt x="46" y="85"/>
                      </a:lnTo>
                      <a:lnTo>
                        <a:pt x="46" y="84"/>
                      </a:lnTo>
                      <a:lnTo>
                        <a:pt x="45" y="84"/>
                      </a:lnTo>
                      <a:lnTo>
                        <a:pt x="42" y="82"/>
                      </a:lnTo>
                      <a:lnTo>
                        <a:pt x="41" y="80"/>
                      </a:lnTo>
                      <a:lnTo>
                        <a:pt x="39" y="79"/>
                      </a:lnTo>
                      <a:lnTo>
                        <a:pt x="38" y="79"/>
                      </a:lnTo>
                      <a:lnTo>
                        <a:pt x="36" y="79"/>
                      </a:lnTo>
                      <a:lnTo>
                        <a:pt x="36" y="78"/>
                      </a:lnTo>
                      <a:lnTo>
                        <a:pt x="38" y="78"/>
                      </a:lnTo>
                      <a:lnTo>
                        <a:pt x="36" y="78"/>
                      </a:lnTo>
                      <a:lnTo>
                        <a:pt x="36" y="77"/>
                      </a:lnTo>
                      <a:lnTo>
                        <a:pt x="35" y="77"/>
                      </a:lnTo>
                      <a:lnTo>
                        <a:pt x="34" y="76"/>
                      </a:lnTo>
                      <a:lnTo>
                        <a:pt x="33" y="76"/>
                      </a:lnTo>
                      <a:lnTo>
                        <a:pt x="35" y="77"/>
                      </a:lnTo>
                      <a:lnTo>
                        <a:pt x="35" y="78"/>
                      </a:lnTo>
                      <a:lnTo>
                        <a:pt x="35" y="77"/>
                      </a:lnTo>
                      <a:lnTo>
                        <a:pt x="34" y="77"/>
                      </a:lnTo>
                      <a:lnTo>
                        <a:pt x="33" y="77"/>
                      </a:lnTo>
                      <a:lnTo>
                        <a:pt x="27" y="75"/>
                      </a:lnTo>
                      <a:lnTo>
                        <a:pt x="22" y="73"/>
                      </a:lnTo>
                      <a:lnTo>
                        <a:pt x="22" y="72"/>
                      </a:lnTo>
                      <a:lnTo>
                        <a:pt x="24" y="72"/>
                      </a:lnTo>
                      <a:lnTo>
                        <a:pt x="22" y="71"/>
                      </a:lnTo>
                      <a:lnTo>
                        <a:pt x="22" y="70"/>
                      </a:lnTo>
                      <a:lnTo>
                        <a:pt x="24" y="70"/>
                      </a:lnTo>
                      <a:lnTo>
                        <a:pt x="22" y="70"/>
                      </a:lnTo>
                      <a:lnTo>
                        <a:pt x="21" y="69"/>
                      </a:lnTo>
                      <a:lnTo>
                        <a:pt x="20" y="68"/>
                      </a:lnTo>
                      <a:lnTo>
                        <a:pt x="19" y="66"/>
                      </a:lnTo>
                      <a:lnTo>
                        <a:pt x="14" y="64"/>
                      </a:lnTo>
                      <a:lnTo>
                        <a:pt x="8" y="62"/>
                      </a:lnTo>
                      <a:lnTo>
                        <a:pt x="5" y="61"/>
                      </a:lnTo>
                      <a:lnTo>
                        <a:pt x="4" y="59"/>
                      </a:lnTo>
                      <a:lnTo>
                        <a:pt x="4" y="58"/>
                      </a:lnTo>
                      <a:lnTo>
                        <a:pt x="4" y="57"/>
                      </a:lnTo>
                      <a:lnTo>
                        <a:pt x="4" y="56"/>
                      </a:lnTo>
                      <a:lnTo>
                        <a:pt x="3" y="56"/>
                      </a:lnTo>
                      <a:lnTo>
                        <a:pt x="3" y="55"/>
                      </a:lnTo>
                      <a:lnTo>
                        <a:pt x="1" y="55"/>
                      </a:lnTo>
                      <a:lnTo>
                        <a:pt x="0" y="54"/>
                      </a:lnTo>
                      <a:lnTo>
                        <a:pt x="1" y="52"/>
                      </a:lnTo>
                      <a:lnTo>
                        <a:pt x="1" y="51"/>
                      </a:lnTo>
                      <a:lnTo>
                        <a:pt x="3" y="51"/>
                      </a:lnTo>
                      <a:lnTo>
                        <a:pt x="3" y="50"/>
                      </a:lnTo>
                      <a:lnTo>
                        <a:pt x="4" y="50"/>
                      </a:lnTo>
                      <a:lnTo>
                        <a:pt x="4" y="49"/>
                      </a:lnTo>
                      <a:lnTo>
                        <a:pt x="3" y="49"/>
                      </a:lnTo>
                      <a:lnTo>
                        <a:pt x="4" y="49"/>
                      </a:lnTo>
                      <a:lnTo>
                        <a:pt x="4" y="48"/>
                      </a:lnTo>
                      <a:lnTo>
                        <a:pt x="5" y="48"/>
                      </a:lnTo>
                      <a:lnTo>
                        <a:pt x="4" y="48"/>
                      </a:lnTo>
                      <a:lnTo>
                        <a:pt x="4" y="47"/>
                      </a:lnTo>
                      <a:lnTo>
                        <a:pt x="5" y="45"/>
                      </a:lnTo>
                      <a:lnTo>
                        <a:pt x="5" y="44"/>
                      </a:lnTo>
                      <a:lnTo>
                        <a:pt x="6" y="44"/>
                      </a:lnTo>
                      <a:lnTo>
                        <a:pt x="8" y="43"/>
                      </a:lnTo>
                      <a:lnTo>
                        <a:pt x="8" y="42"/>
                      </a:lnTo>
                      <a:lnTo>
                        <a:pt x="11" y="40"/>
                      </a:lnTo>
                      <a:lnTo>
                        <a:pt x="12" y="38"/>
                      </a:lnTo>
                      <a:lnTo>
                        <a:pt x="17" y="35"/>
                      </a:lnTo>
                      <a:lnTo>
                        <a:pt x="18" y="34"/>
                      </a:lnTo>
                      <a:lnTo>
                        <a:pt x="19" y="34"/>
                      </a:lnTo>
                      <a:lnTo>
                        <a:pt x="20" y="33"/>
                      </a:lnTo>
                      <a:lnTo>
                        <a:pt x="24" y="28"/>
                      </a:lnTo>
                      <a:lnTo>
                        <a:pt x="25" y="27"/>
                      </a:lnTo>
                      <a:lnTo>
                        <a:pt x="27" y="26"/>
                      </a:lnTo>
                      <a:lnTo>
                        <a:pt x="27" y="19"/>
                      </a:lnTo>
                      <a:lnTo>
                        <a:pt x="27" y="17"/>
                      </a:lnTo>
                      <a:lnTo>
                        <a:pt x="28" y="17"/>
                      </a:lnTo>
                      <a:lnTo>
                        <a:pt x="28" y="16"/>
                      </a:lnTo>
                      <a:lnTo>
                        <a:pt x="29" y="16"/>
                      </a:lnTo>
                      <a:lnTo>
                        <a:pt x="29" y="15"/>
                      </a:lnTo>
                      <a:lnTo>
                        <a:pt x="31" y="14"/>
                      </a:lnTo>
                      <a:lnTo>
                        <a:pt x="32" y="14"/>
                      </a:lnTo>
                      <a:lnTo>
                        <a:pt x="34" y="14"/>
                      </a:lnTo>
                      <a:lnTo>
                        <a:pt x="35" y="14"/>
                      </a:lnTo>
                      <a:lnTo>
                        <a:pt x="36" y="13"/>
                      </a:lnTo>
                      <a:lnTo>
                        <a:pt x="36" y="12"/>
                      </a:lnTo>
                      <a:lnTo>
                        <a:pt x="36" y="10"/>
                      </a:lnTo>
                      <a:lnTo>
                        <a:pt x="36" y="9"/>
                      </a:lnTo>
                      <a:lnTo>
                        <a:pt x="36" y="8"/>
                      </a:lnTo>
                      <a:lnTo>
                        <a:pt x="38" y="5"/>
                      </a:lnTo>
                      <a:lnTo>
                        <a:pt x="38" y="2"/>
                      </a:lnTo>
                      <a:lnTo>
                        <a:pt x="39" y="2"/>
                      </a:lnTo>
                      <a:lnTo>
                        <a:pt x="40" y="3"/>
                      </a:lnTo>
                      <a:lnTo>
                        <a:pt x="40" y="2"/>
                      </a:lnTo>
                      <a:lnTo>
                        <a:pt x="41" y="1"/>
                      </a:lnTo>
                      <a:lnTo>
                        <a:pt x="42" y="1"/>
                      </a:lnTo>
                      <a:lnTo>
                        <a:pt x="43" y="2"/>
                      </a:lnTo>
                      <a:lnTo>
                        <a:pt x="45" y="2"/>
                      </a:lnTo>
                      <a:lnTo>
                        <a:pt x="45" y="5"/>
                      </a:lnTo>
                      <a:lnTo>
                        <a:pt x="46" y="5"/>
                      </a:lnTo>
                      <a:lnTo>
                        <a:pt x="47" y="3"/>
                      </a:lnTo>
                      <a:lnTo>
                        <a:pt x="48" y="2"/>
                      </a:lnTo>
                      <a:lnTo>
                        <a:pt x="49" y="2"/>
                      </a:lnTo>
                      <a:lnTo>
                        <a:pt x="50" y="2"/>
                      </a:lnTo>
                      <a:lnTo>
                        <a:pt x="51" y="2"/>
                      </a:lnTo>
                      <a:lnTo>
                        <a:pt x="53" y="2"/>
                      </a:lnTo>
                      <a:lnTo>
                        <a:pt x="53" y="1"/>
                      </a:lnTo>
                      <a:lnTo>
                        <a:pt x="54" y="0"/>
                      </a:lnTo>
                      <a:lnTo>
                        <a:pt x="54" y="1"/>
                      </a:lnTo>
                      <a:lnTo>
                        <a:pt x="55" y="2"/>
                      </a:lnTo>
                      <a:lnTo>
                        <a:pt x="55" y="3"/>
                      </a:lnTo>
                      <a:lnTo>
                        <a:pt x="55" y="5"/>
                      </a:lnTo>
                      <a:lnTo>
                        <a:pt x="56" y="3"/>
                      </a:lnTo>
                      <a:lnTo>
                        <a:pt x="56" y="2"/>
                      </a:lnTo>
                      <a:lnTo>
                        <a:pt x="57" y="2"/>
                      </a:lnTo>
                      <a:lnTo>
                        <a:pt x="57" y="3"/>
                      </a:lnTo>
                      <a:lnTo>
                        <a:pt x="58" y="3"/>
                      </a:lnTo>
                      <a:lnTo>
                        <a:pt x="57" y="5"/>
                      </a:lnTo>
                      <a:lnTo>
                        <a:pt x="57" y="6"/>
                      </a:lnTo>
                      <a:lnTo>
                        <a:pt x="58" y="6"/>
                      </a:lnTo>
                      <a:lnTo>
                        <a:pt x="60" y="5"/>
                      </a:lnTo>
                      <a:lnTo>
                        <a:pt x="60" y="6"/>
                      </a:lnTo>
                      <a:lnTo>
                        <a:pt x="62" y="6"/>
                      </a:lnTo>
                      <a:lnTo>
                        <a:pt x="62" y="7"/>
                      </a:lnTo>
                      <a:lnTo>
                        <a:pt x="63" y="7"/>
                      </a:lnTo>
                      <a:lnTo>
                        <a:pt x="62" y="7"/>
                      </a:lnTo>
                      <a:lnTo>
                        <a:pt x="62" y="8"/>
                      </a:lnTo>
                      <a:lnTo>
                        <a:pt x="62" y="9"/>
                      </a:lnTo>
                      <a:lnTo>
                        <a:pt x="62" y="10"/>
                      </a:lnTo>
                      <a:lnTo>
                        <a:pt x="62" y="12"/>
                      </a:lnTo>
                      <a:lnTo>
                        <a:pt x="62" y="13"/>
                      </a:lnTo>
                      <a:lnTo>
                        <a:pt x="63" y="13"/>
                      </a:lnTo>
                      <a:lnTo>
                        <a:pt x="64" y="15"/>
                      </a:lnTo>
                      <a:lnTo>
                        <a:pt x="64" y="16"/>
                      </a:lnTo>
                      <a:lnTo>
                        <a:pt x="63" y="16"/>
                      </a:lnTo>
                      <a:lnTo>
                        <a:pt x="63" y="17"/>
                      </a:lnTo>
                      <a:lnTo>
                        <a:pt x="64" y="16"/>
                      </a:lnTo>
                      <a:lnTo>
                        <a:pt x="65" y="16"/>
                      </a:lnTo>
                      <a:lnTo>
                        <a:pt x="65" y="17"/>
                      </a:lnTo>
                      <a:lnTo>
                        <a:pt x="65" y="19"/>
                      </a:lnTo>
                      <a:lnTo>
                        <a:pt x="64" y="20"/>
                      </a:lnTo>
                      <a:lnTo>
                        <a:pt x="64" y="21"/>
                      </a:lnTo>
                      <a:lnTo>
                        <a:pt x="64" y="22"/>
                      </a:lnTo>
                      <a:lnTo>
                        <a:pt x="65" y="23"/>
                      </a:lnTo>
                      <a:lnTo>
                        <a:pt x="67" y="24"/>
                      </a:lnTo>
                      <a:lnTo>
                        <a:pt x="68" y="26"/>
                      </a:lnTo>
                      <a:lnTo>
                        <a:pt x="67" y="27"/>
                      </a:lnTo>
                      <a:lnTo>
                        <a:pt x="67" y="28"/>
                      </a:lnTo>
                      <a:lnTo>
                        <a:pt x="67" y="29"/>
                      </a:lnTo>
                      <a:lnTo>
                        <a:pt x="68" y="30"/>
                      </a:lnTo>
                      <a:lnTo>
                        <a:pt x="67" y="30"/>
                      </a:lnTo>
                      <a:lnTo>
                        <a:pt x="67" y="31"/>
                      </a:lnTo>
                      <a:lnTo>
                        <a:pt x="67" y="33"/>
                      </a:lnTo>
                      <a:lnTo>
                        <a:pt x="65" y="33"/>
                      </a:lnTo>
                      <a:lnTo>
                        <a:pt x="67" y="34"/>
                      </a:lnTo>
                      <a:lnTo>
                        <a:pt x="65" y="34"/>
                      </a:lnTo>
                      <a:lnTo>
                        <a:pt x="65" y="35"/>
                      </a:lnTo>
                      <a:lnTo>
                        <a:pt x="64" y="36"/>
                      </a:lnTo>
                      <a:lnTo>
                        <a:pt x="64" y="37"/>
                      </a:lnTo>
                      <a:lnTo>
                        <a:pt x="63" y="37"/>
                      </a:lnTo>
                      <a:lnTo>
                        <a:pt x="63" y="38"/>
                      </a:lnTo>
                      <a:lnTo>
                        <a:pt x="64" y="37"/>
                      </a:lnTo>
                      <a:lnTo>
                        <a:pt x="65" y="36"/>
                      </a:lnTo>
                      <a:lnTo>
                        <a:pt x="65" y="37"/>
                      </a:lnTo>
                      <a:lnTo>
                        <a:pt x="67" y="37"/>
                      </a:lnTo>
                      <a:lnTo>
                        <a:pt x="67" y="36"/>
                      </a:lnTo>
                      <a:lnTo>
                        <a:pt x="68" y="36"/>
                      </a:lnTo>
                      <a:lnTo>
                        <a:pt x="69" y="36"/>
                      </a:lnTo>
                      <a:lnTo>
                        <a:pt x="69" y="37"/>
                      </a:lnTo>
                      <a:lnTo>
                        <a:pt x="70" y="37"/>
                      </a:lnTo>
                      <a:lnTo>
                        <a:pt x="71" y="37"/>
                      </a:lnTo>
                      <a:lnTo>
                        <a:pt x="72" y="38"/>
                      </a:lnTo>
                      <a:lnTo>
                        <a:pt x="72" y="40"/>
                      </a:lnTo>
                      <a:lnTo>
                        <a:pt x="74" y="41"/>
                      </a:lnTo>
                      <a:lnTo>
                        <a:pt x="75" y="41"/>
                      </a:lnTo>
                      <a:lnTo>
                        <a:pt x="75" y="42"/>
                      </a:lnTo>
                      <a:lnTo>
                        <a:pt x="76" y="42"/>
                      </a:lnTo>
                      <a:lnTo>
                        <a:pt x="75" y="43"/>
                      </a:lnTo>
                      <a:lnTo>
                        <a:pt x="76" y="43"/>
                      </a:lnTo>
                      <a:lnTo>
                        <a:pt x="77" y="43"/>
                      </a:lnTo>
                      <a:lnTo>
                        <a:pt x="77" y="42"/>
                      </a:lnTo>
                      <a:lnTo>
                        <a:pt x="78" y="42"/>
                      </a:lnTo>
                      <a:lnTo>
                        <a:pt x="79" y="42"/>
                      </a:lnTo>
                      <a:lnTo>
                        <a:pt x="79" y="41"/>
                      </a:lnTo>
                      <a:lnTo>
                        <a:pt x="81" y="41"/>
                      </a:lnTo>
                      <a:lnTo>
                        <a:pt x="82" y="42"/>
                      </a:lnTo>
                      <a:lnTo>
                        <a:pt x="83" y="41"/>
                      </a:lnTo>
                      <a:lnTo>
                        <a:pt x="84" y="41"/>
                      </a:lnTo>
                      <a:lnTo>
                        <a:pt x="84" y="40"/>
                      </a:lnTo>
                      <a:lnTo>
                        <a:pt x="83" y="38"/>
                      </a:lnTo>
                      <a:lnTo>
                        <a:pt x="84" y="37"/>
                      </a:lnTo>
                      <a:lnTo>
                        <a:pt x="84" y="36"/>
                      </a:lnTo>
                      <a:lnTo>
                        <a:pt x="85" y="36"/>
                      </a:lnTo>
                      <a:lnTo>
                        <a:pt x="85" y="35"/>
                      </a:lnTo>
                      <a:lnTo>
                        <a:pt x="86" y="34"/>
                      </a:lnTo>
                      <a:lnTo>
                        <a:pt x="88" y="34"/>
                      </a:lnTo>
                      <a:lnTo>
                        <a:pt x="88" y="33"/>
                      </a:lnTo>
                      <a:lnTo>
                        <a:pt x="88" y="31"/>
                      </a:lnTo>
                      <a:lnTo>
                        <a:pt x="88" y="30"/>
                      </a:lnTo>
                      <a:lnTo>
                        <a:pt x="88" y="29"/>
                      </a:lnTo>
                      <a:lnTo>
                        <a:pt x="89" y="28"/>
                      </a:lnTo>
                      <a:lnTo>
                        <a:pt x="89" y="27"/>
                      </a:lnTo>
                      <a:lnTo>
                        <a:pt x="92" y="27"/>
                      </a:lnTo>
                      <a:lnTo>
                        <a:pt x="92" y="29"/>
                      </a:lnTo>
                      <a:lnTo>
                        <a:pt x="93" y="30"/>
                      </a:lnTo>
                      <a:lnTo>
                        <a:pt x="95" y="31"/>
                      </a:lnTo>
                      <a:lnTo>
                        <a:pt x="96" y="3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27" name="Freeform 97">
                  <a:extLst>
                    <a:ext uri="{FF2B5EF4-FFF2-40B4-BE49-F238E27FC236}">
                      <a16:creationId xmlns:a16="http://schemas.microsoft.com/office/drawing/2014/main" id="{BDFF9A6B-F9AA-A888-3F89-6D20BBE6DA47}"/>
                    </a:ext>
                  </a:extLst>
                </p:cNvPr>
                <p:cNvSpPr>
                  <a:spLocks/>
                </p:cNvSpPr>
                <p:nvPr/>
              </p:nvSpPr>
              <p:spPr bwMode="auto">
                <a:xfrm>
                  <a:off x="6539557" y="2588158"/>
                  <a:ext cx="551683" cy="528967"/>
                </a:xfrm>
                <a:custGeom>
                  <a:avLst/>
                  <a:gdLst>
                    <a:gd name="T0" fmla="*/ 501 w 510"/>
                    <a:gd name="T1" fmla="*/ 76 h 489"/>
                    <a:gd name="T2" fmla="*/ 503 w 510"/>
                    <a:gd name="T3" fmla="*/ 95 h 489"/>
                    <a:gd name="T4" fmla="*/ 497 w 510"/>
                    <a:gd name="T5" fmla="*/ 108 h 489"/>
                    <a:gd name="T6" fmla="*/ 498 w 510"/>
                    <a:gd name="T7" fmla="*/ 126 h 489"/>
                    <a:gd name="T8" fmla="*/ 504 w 510"/>
                    <a:gd name="T9" fmla="*/ 147 h 489"/>
                    <a:gd name="T10" fmla="*/ 504 w 510"/>
                    <a:gd name="T11" fmla="*/ 211 h 489"/>
                    <a:gd name="T12" fmla="*/ 504 w 510"/>
                    <a:gd name="T13" fmla="*/ 291 h 489"/>
                    <a:gd name="T14" fmla="*/ 504 w 510"/>
                    <a:gd name="T15" fmla="*/ 384 h 489"/>
                    <a:gd name="T16" fmla="*/ 504 w 510"/>
                    <a:gd name="T17" fmla="*/ 434 h 489"/>
                    <a:gd name="T18" fmla="*/ 504 w 510"/>
                    <a:gd name="T19" fmla="*/ 468 h 489"/>
                    <a:gd name="T20" fmla="*/ 477 w 510"/>
                    <a:gd name="T21" fmla="*/ 472 h 489"/>
                    <a:gd name="T22" fmla="*/ 456 w 510"/>
                    <a:gd name="T23" fmla="*/ 480 h 489"/>
                    <a:gd name="T24" fmla="*/ 422 w 510"/>
                    <a:gd name="T25" fmla="*/ 462 h 489"/>
                    <a:gd name="T26" fmla="*/ 385 w 510"/>
                    <a:gd name="T27" fmla="*/ 443 h 489"/>
                    <a:gd name="T28" fmla="*/ 351 w 510"/>
                    <a:gd name="T29" fmla="*/ 424 h 489"/>
                    <a:gd name="T30" fmla="*/ 318 w 510"/>
                    <a:gd name="T31" fmla="*/ 408 h 489"/>
                    <a:gd name="T32" fmla="*/ 283 w 510"/>
                    <a:gd name="T33" fmla="*/ 389 h 489"/>
                    <a:gd name="T34" fmla="*/ 247 w 510"/>
                    <a:gd name="T35" fmla="*/ 371 h 489"/>
                    <a:gd name="T36" fmla="*/ 216 w 510"/>
                    <a:gd name="T37" fmla="*/ 354 h 489"/>
                    <a:gd name="T38" fmla="*/ 199 w 510"/>
                    <a:gd name="T39" fmla="*/ 363 h 489"/>
                    <a:gd name="T40" fmla="*/ 184 w 510"/>
                    <a:gd name="T41" fmla="*/ 370 h 489"/>
                    <a:gd name="T42" fmla="*/ 150 w 510"/>
                    <a:gd name="T43" fmla="*/ 374 h 489"/>
                    <a:gd name="T44" fmla="*/ 121 w 510"/>
                    <a:gd name="T45" fmla="*/ 360 h 489"/>
                    <a:gd name="T46" fmla="*/ 97 w 510"/>
                    <a:gd name="T47" fmla="*/ 354 h 489"/>
                    <a:gd name="T48" fmla="*/ 74 w 510"/>
                    <a:gd name="T49" fmla="*/ 325 h 489"/>
                    <a:gd name="T50" fmla="*/ 38 w 510"/>
                    <a:gd name="T51" fmla="*/ 319 h 489"/>
                    <a:gd name="T52" fmla="*/ 26 w 510"/>
                    <a:gd name="T53" fmla="*/ 301 h 489"/>
                    <a:gd name="T54" fmla="*/ 4 w 510"/>
                    <a:gd name="T55" fmla="*/ 260 h 489"/>
                    <a:gd name="T56" fmla="*/ 20 w 510"/>
                    <a:gd name="T57" fmla="*/ 239 h 489"/>
                    <a:gd name="T58" fmla="*/ 15 w 510"/>
                    <a:gd name="T59" fmla="*/ 217 h 489"/>
                    <a:gd name="T60" fmla="*/ 21 w 510"/>
                    <a:gd name="T61" fmla="*/ 199 h 489"/>
                    <a:gd name="T62" fmla="*/ 13 w 510"/>
                    <a:gd name="T63" fmla="*/ 135 h 489"/>
                    <a:gd name="T64" fmla="*/ 19 w 510"/>
                    <a:gd name="T65" fmla="*/ 107 h 489"/>
                    <a:gd name="T66" fmla="*/ 31 w 510"/>
                    <a:gd name="T67" fmla="*/ 80 h 489"/>
                    <a:gd name="T68" fmla="*/ 39 w 510"/>
                    <a:gd name="T69" fmla="*/ 56 h 489"/>
                    <a:gd name="T70" fmla="*/ 46 w 510"/>
                    <a:gd name="T71" fmla="*/ 46 h 489"/>
                    <a:gd name="T72" fmla="*/ 71 w 510"/>
                    <a:gd name="T73" fmla="*/ 29 h 489"/>
                    <a:gd name="T74" fmla="*/ 69 w 510"/>
                    <a:gd name="T75" fmla="*/ 10 h 489"/>
                    <a:gd name="T76" fmla="*/ 79 w 510"/>
                    <a:gd name="T77" fmla="*/ 3 h 489"/>
                    <a:gd name="T78" fmla="*/ 95 w 510"/>
                    <a:gd name="T79" fmla="*/ 11 h 489"/>
                    <a:gd name="T80" fmla="*/ 127 w 510"/>
                    <a:gd name="T81" fmla="*/ 10 h 489"/>
                    <a:gd name="T82" fmla="*/ 157 w 510"/>
                    <a:gd name="T83" fmla="*/ 18 h 489"/>
                    <a:gd name="T84" fmla="*/ 172 w 510"/>
                    <a:gd name="T85" fmla="*/ 27 h 489"/>
                    <a:gd name="T86" fmla="*/ 192 w 510"/>
                    <a:gd name="T87" fmla="*/ 34 h 489"/>
                    <a:gd name="T88" fmla="*/ 195 w 510"/>
                    <a:gd name="T89" fmla="*/ 45 h 489"/>
                    <a:gd name="T90" fmla="*/ 239 w 510"/>
                    <a:gd name="T91" fmla="*/ 73 h 489"/>
                    <a:gd name="T92" fmla="*/ 268 w 510"/>
                    <a:gd name="T93" fmla="*/ 81 h 489"/>
                    <a:gd name="T94" fmla="*/ 287 w 510"/>
                    <a:gd name="T95" fmla="*/ 91 h 489"/>
                    <a:gd name="T96" fmla="*/ 311 w 510"/>
                    <a:gd name="T97" fmla="*/ 108 h 489"/>
                    <a:gd name="T98" fmla="*/ 337 w 510"/>
                    <a:gd name="T99" fmla="*/ 100 h 489"/>
                    <a:gd name="T100" fmla="*/ 349 w 510"/>
                    <a:gd name="T101" fmla="*/ 73 h 489"/>
                    <a:gd name="T102" fmla="*/ 342 w 510"/>
                    <a:gd name="T103" fmla="*/ 56 h 489"/>
                    <a:gd name="T104" fmla="*/ 347 w 510"/>
                    <a:gd name="T105" fmla="*/ 37 h 489"/>
                    <a:gd name="T106" fmla="*/ 378 w 510"/>
                    <a:gd name="T107" fmla="*/ 15 h 489"/>
                    <a:gd name="T108" fmla="*/ 401 w 510"/>
                    <a:gd name="T109" fmla="*/ 8 h 489"/>
                    <a:gd name="T110" fmla="*/ 416 w 510"/>
                    <a:gd name="T111" fmla="*/ 10 h 489"/>
                    <a:gd name="T112" fmla="*/ 437 w 510"/>
                    <a:gd name="T113" fmla="*/ 17 h 489"/>
                    <a:gd name="T114" fmla="*/ 444 w 510"/>
                    <a:gd name="T115" fmla="*/ 22 h 489"/>
                    <a:gd name="T116" fmla="*/ 444 w 510"/>
                    <a:gd name="T117" fmla="*/ 27 h 489"/>
                    <a:gd name="T118" fmla="*/ 451 w 510"/>
                    <a:gd name="T119" fmla="*/ 36 h 489"/>
                    <a:gd name="T120" fmla="*/ 473 w 510"/>
                    <a:gd name="T121" fmla="*/ 41 h 489"/>
                    <a:gd name="T122" fmla="*/ 496 w 510"/>
                    <a:gd name="T123" fmla="*/ 43 h 489"/>
                    <a:gd name="T124" fmla="*/ 506 w 510"/>
                    <a:gd name="T125" fmla="*/ 5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0" h="489">
                      <a:moveTo>
                        <a:pt x="510" y="57"/>
                      </a:moveTo>
                      <a:lnTo>
                        <a:pt x="508" y="58"/>
                      </a:lnTo>
                      <a:lnTo>
                        <a:pt x="506" y="59"/>
                      </a:lnTo>
                      <a:lnTo>
                        <a:pt x="505" y="63"/>
                      </a:lnTo>
                      <a:lnTo>
                        <a:pt x="501" y="67"/>
                      </a:lnTo>
                      <a:lnTo>
                        <a:pt x="501" y="69"/>
                      </a:lnTo>
                      <a:lnTo>
                        <a:pt x="501" y="70"/>
                      </a:lnTo>
                      <a:lnTo>
                        <a:pt x="501" y="73"/>
                      </a:lnTo>
                      <a:lnTo>
                        <a:pt x="501" y="76"/>
                      </a:lnTo>
                      <a:lnTo>
                        <a:pt x="502" y="80"/>
                      </a:lnTo>
                      <a:lnTo>
                        <a:pt x="503" y="83"/>
                      </a:lnTo>
                      <a:lnTo>
                        <a:pt x="503" y="85"/>
                      </a:lnTo>
                      <a:lnTo>
                        <a:pt x="504" y="87"/>
                      </a:lnTo>
                      <a:lnTo>
                        <a:pt x="505" y="90"/>
                      </a:lnTo>
                      <a:lnTo>
                        <a:pt x="504" y="91"/>
                      </a:lnTo>
                      <a:lnTo>
                        <a:pt x="504" y="92"/>
                      </a:lnTo>
                      <a:lnTo>
                        <a:pt x="504" y="93"/>
                      </a:lnTo>
                      <a:lnTo>
                        <a:pt x="503" y="95"/>
                      </a:lnTo>
                      <a:lnTo>
                        <a:pt x="503" y="98"/>
                      </a:lnTo>
                      <a:lnTo>
                        <a:pt x="503" y="99"/>
                      </a:lnTo>
                      <a:lnTo>
                        <a:pt x="502" y="100"/>
                      </a:lnTo>
                      <a:lnTo>
                        <a:pt x="502" y="101"/>
                      </a:lnTo>
                      <a:lnTo>
                        <a:pt x="499" y="104"/>
                      </a:lnTo>
                      <a:lnTo>
                        <a:pt x="498" y="105"/>
                      </a:lnTo>
                      <a:lnTo>
                        <a:pt x="498" y="106"/>
                      </a:lnTo>
                      <a:lnTo>
                        <a:pt x="497" y="107"/>
                      </a:lnTo>
                      <a:lnTo>
                        <a:pt x="497" y="108"/>
                      </a:lnTo>
                      <a:lnTo>
                        <a:pt x="496" y="111"/>
                      </a:lnTo>
                      <a:lnTo>
                        <a:pt x="495" y="112"/>
                      </a:lnTo>
                      <a:lnTo>
                        <a:pt x="495" y="113"/>
                      </a:lnTo>
                      <a:lnTo>
                        <a:pt x="495" y="114"/>
                      </a:lnTo>
                      <a:lnTo>
                        <a:pt x="496" y="115"/>
                      </a:lnTo>
                      <a:lnTo>
                        <a:pt x="499" y="122"/>
                      </a:lnTo>
                      <a:lnTo>
                        <a:pt x="499" y="123"/>
                      </a:lnTo>
                      <a:lnTo>
                        <a:pt x="499" y="125"/>
                      </a:lnTo>
                      <a:lnTo>
                        <a:pt x="498" y="126"/>
                      </a:lnTo>
                      <a:lnTo>
                        <a:pt x="498" y="128"/>
                      </a:lnTo>
                      <a:lnTo>
                        <a:pt x="501" y="130"/>
                      </a:lnTo>
                      <a:lnTo>
                        <a:pt x="501" y="132"/>
                      </a:lnTo>
                      <a:lnTo>
                        <a:pt x="501" y="133"/>
                      </a:lnTo>
                      <a:lnTo>
                        <a:pt x="501" y="135"/>
                      </a:lnTo>
                      <a:lnTo>
                        <a:pt x="501" y="136"/>
                      </a:lnTo>
                      <a:lnTo>
                        <a:pt x="501" y="139"/>
                      </a:lnTo>
                      <a:lnTo>
                        <a:pt x="504" y="144"/>
                      </a:lnTo>
                      <a:lnTo>
                        <a:pt x="504" y="147"/>
                      </a:lnTo>
                      <a:lnTo>
                        <a:pt x="504" y="149"/>
                      </a:lnTo>
                      <a:lnTo>
                        <a:pt x="504" y="153"/>
                      </a:lnTo>
                      <a:lnTo>
                        <a:pt x="504" y="160"/>
                      </a:lnTo>
                      <a:lnTo>
                        <a:pt x="504" y="174"/>
                      </a:lnTo>
                      <a:lnTo>
                        <a:pt x="504" y="189"/>
                      </a:lnTo>
                      <a:lnTo>
                        <a:pt x="504" y="191"/>
                      </a:lnTo>
                      <a:lnTo>
                        <a:pt x="504" y="204"/>
                      </a:lnTo>
                      <a:lnTo>
                        <a:pt x="504" y="205"/>
                      </a:lnTo>
                      <a:lnTo>
                        <a:pt x="504" y="211"/>
                      </a:lnTo>
                      <a:lnTo>
                        <a:pt x="504" y="223"/>
                      </a:lnTo>
                      <a:lnTo>
                        <a:pt x="504" y="226"/>
                      </a:lnTo>
                      <a:lnTo>
                        <a:pt x="504" y="233"/>
                      </a:lnTo>
                      <a:lnTo>
                        <a:pt x="504" y="240"/>
                      </a:lnTo>
                      <a:lnTo>
                        <a:pt x="504" y="251"/>
                      </a:lnTo>
                      <a:lnTo>
                        <a:pt x="504" y="261"/>
                      </a:lnTo>
                      <a:lnTo>
                        <a:pt x="504" y="272"/>
                      </a:lnTo>
                      <a:lnTo>
                        <a:pt x="504" y="281"/>
                      </a:lnTo>
                      <a:lnTo>
                        <a:pt x="504" y="291"/>
                      </a:lnTo>
                      <a:lnTo>
                        <a:pt x="504" y="302"/>
                      </a:lnTo>
                      <a:lnTo>
                        <a:pt x="504" y="312"/>
                      </a:lnTo>
                      <a:lnTo>
                        <a:pt x="504" y="323"/>
                      </a:lnTo>
                      <a:lnTo>
                        <a:pt x="504" y="332"/>
                      </a:lnTo>
                      <a:lnTo>
                        <a:pt x="504" y="343"/>
                      </a:lnTo>
                      <a:lnTo>
                        <a:pt x="504" y="353"/>
                      </a:lnTo>
                      <a:lnTo>
                        <a:pt x="504" y="364"/>
                      </a:lnTo>
                      <a:lnTo>
                        <a:pt x="504" y="373"/>
                      </a:lnTo>
                      <a:lnTo>
                        <a:pt x="504" y="384"/>
                      </a:lnTo>
                      <a:lnTo>
                        <a:pt x="504" y="393"/>
                      </a:lnTo>
                      <a:lnTo>
                        <a:pt x="504" y="403"/>
                      </a:lnTo>
                      <a:lnTo>
                        <a:pt x="504" y="408"/>
                      </a:lnTo>
                      <a:lnTo>
                        <a:pt x="504" y="412"/>
                      </a:lnTo>
                      <a:lnTo>
                        <a:pt x="504" y="416"/>
                      </a:lnTo>
                      <a:lnTo>
                        <a:pt x="504" y="421"/>
                      </a:lnTo>
                      <a:lnTo>
                        <a:pt x="504" y="424"/>
                      </a:lnTo>
                      <a:lnTo>
                        <a:pt x="504" y="429"/>
                      </a:lnTo>
                      <a:lnTo>
                        <a:pt x="504" y="434"/>
                      </a:lnTo>
                      <a:lnTo>
                        <a:pt x="504" y="437"/>
                      </a:lnTo>
                      <a:lnTo>
                        <a:pt x="504" y="442"/>
                      </a:lnTo>
                      <a:lnTo>
                        <a:pt x="504" y="447"/>
                      </a:lnTo>
                      <a:lnTo>
                        <a:pt x="504" y="450"/>
                      </a:lnTo>
                      <a:lnTo>
                        <a:pt x="504" y="455"/>
                      </a:lnTo>
                      <a:lnTo>
                        <a:pt x="504" y="458"/>
                      </a:lnTo>
                      <a:lnTo>
                        <a:pt x="504" y="461"/>
                      </a:lnTo>
                      <a:lnTo>
                        <a:pt x="504" y="464"/>
                      </a:lnTo>
                      <a:lnTo>
                        <a:pt x="504" y="468"/>
                      </a:lnTo>
                      <a:lnTo>
                        <a:pt x="504" y="471"/>
                      </a:lnTo>
                      <a:lnTo>
                        <a:pt x="504" y="472"/>
                      </a:lnTo>
                      <a:lnTo>
                        <a:pt x="501" y="472"/>
                      </a:lnTo>
                      <a:lnTo>
                        <a:pt x="496" y="472"/>
                      </a:lnTo>
                      <a:lnTo>
                        <a:pt x="492" y="472"/>
                      </a:lnTo>
                      <a:lnTo>
                        <a:pt x="488" y="472"/>
                      </a:lnTo>
                      <a:lnTo>
                        <a:pt x="484" y="472"/>
                      </a:lnTo>
                      <a:lnTo>
                        <a:pt x="481" y="472"/>
                      </a:lnTo>
                      <a:lnTo>
                        <a:pt x="477" y="472"/>
                      </a:lnTo>
                      <a:lnTo>
                        <a:pt x="473" y="472"/>
                      </a:lnTo>
                      <a:lnTo>
                        <a:pt x="473" y="476"/>
                      </a:lnTo>
                      <a:lnTo>
                        <a:pt x="473" y="480"/>
                      </a:lnTo>
                      <a:lnTo>
                        <a:pt x="473" y="484"/>
                      </a:lnTo>
                      <a:lnTo>
                        <a:pt x="473" y="489"/>
                      </a:lnTo>
                      <a:lnTo>
                        <a:pt x="468" y="486"/>
                      </a:lnTo>
                      <a:lnTo>
                        <a:pt x="465" y="485"/>
                      </a:lnTo>
                      <a:lnTo>
                        <a:pt x="461" y="483"/>
                      </a:lnTo>
                      <a:lnTo>
                        <a:pt x="456" y="480"/>
                      </a:lnTo>
                      <a:lnTo>
                        <a:pt x="453" y="478"/>
                      </a:lnTo>
                      <a:lnTo>
                        <a:pt x="448" y="477"/>
                      </a:lnTo>
                      <a:lnTo>
                        <a:pt x="445" y="475"/>
                      </a:lnTo>
                      <a:lnTo>
                        <a:pt x="441" y="472"/>
                      </a:lnTo>
                      <a:lnTo>
                        <a:pt x="437" y="470"/>
                      </a:lnTo>
                      <a:lnTo>
                        <a:pt x="433" y="468"/>
                      </a:lnTo>
                      <a:lnTo>
                        <a:pt x="430" y="466"/>
                      </a:lnTo>
                      <a:lnTo>
                        <a:pt x="425" y="464"/>
                      </a:lnTo>
                      <a:lnTo>
                        <a:pt x="422" y="462"/>
                      </a:lnTo>
                      <a:lnTo>
                        <a:pt x="417" y="459"/>
                      </a:lnTo>
                      <a:lnTo>
                        <a:pt x="413" y="458"/>
                      </a:lnTo>
                      <a:lnTo>
                        <a:pt x="410" y="456"/>
                      </a:lnTo>
                      <a:lnTo>
                        <a:pt x="405" y="454"/>
                      </a:lnTo>
                      <a:lnTo>
                        <a:pt x="402" y="451"/>
                      </a:lnTo>
                      <a:lnTo>
                        <a:pt x="397" y="449"/>
                      </a:lnTo>
                      <a:lnTo>
                        <a:pt x="394" y="448"/>
                      </a:lnTo>
                      <a:lnTo>
                        <a:pt x="390" y="445"/>
                      </a:lnTo>
                      <a:lnTo>
                        <a:pt x="385" y="443"/>
                      </a:lnTo>
                      <a:lnTo>
                        <a:pt x="382" y="441"/>
                      </a:lnTo>
                      <a:lnTo>
                        <a:pt x="377" y="440"/>
                      </a:lnTo>
                      <a:lnTo>
                        <a:pt x="374" y="437"/>
                      </a:lnTo>
                      <a:lnTo>
                        <a:pt x="370" y="435"/>
                      </a:lnTo>
                      <a:lnTo>
                        <a:pt x="366" y="433"/>
                      </a:lnTo>
                      <a:lnTo>
                        <a:pt x="362" y="430"/>
                      </a:lnTo>
                      <a:lnTo>
                        <a:pt x="358" y="429"/>
                      </a:lnTo>
                      <a:lnTo>
                        <a:pt x="354" y="427"/>
                      </a:lnTo>
                      <a:lnTo>
                        <a:pt x="351" y="424"/>
                      </a:lnTo>
                      <a:lnTo>
                        <a:pt x="346" y="422"/>
                      </a:lnTo>
                      <a:lnTo>
                        <a:pt x="342" y="421"/>
                      </a:lnTo>
                      <a:lnTo>
                        <a:pt x="338" y="419"/>
                      </a:lnTo>
                      <a:lnTo>
                        <a:pt x="334" y="416"/>
                      </a:lnTo>
                      <a:lnTo>
                        <a:pt x="331" y="414"/>
                      </a:lnTo>
                      <a:lnTo>
                        <a:pt x="326" y="412"/>
                      </a:lnTo>
                      <a:lnTo>
                        <a:pt x="323" y="410"/>
                      </a:lnTo>
                      <a:lnTo>
                        <a:pt x="319" y="408"/>
                      </a:lnTo>
                      <a:lnTo>
                        <a:pt x="318" y="408"/>
                      </a:lnTo>
                      <a:lnTo>
                        <a:pt x="314" y="406"/>
                      </a:lnTo>
                      <a:lnTo>
                        <a:pt x="311" y="403"/>
                      </a:lnTo>
                      <a:lnTo>
                        <a:pt x="306" y="401"/>
                      </a:lnTo>
                      <a:lnTo>
                        <a:pt x="303" y="400"/>
                      </a:lnTo>
                      <a:lnTo>
                        <a:pt x="298" y="398"/>
                      </a:lnTo>
                      <a:lnTo>
                        <a:pt x="295" y="395"/>
                      </a:lnTo>
                      <a:lnTo>
                        <a:pt x="291" y="393"/>
                      </a:lnTo>
                      <a:lnTo>
                        <a:pt x="287" y="392"/>
                      </a:lnTo>
                      <a:lnTo>
                        <a:pt x="283" y="389"/>
                      </a:lnTo>
                      <a:lnTo>
                        <a:pt x="278" y="387"/>
                      </a:lnTo>
                      <a:lnTo>
                        <a:pt x="275" y="385"/>
                      </a:lnTo>
                      <a:lnTo>
                        <a:pt x="271" y="382"/>
                      </a:lnTo>
                      <a:lnTo>
                        <a:pt x="267" y="381"/>
                      </a:lnTo>
                      <a:lnTo>
                        <a:pt x="263" y="379"/>
                      </a:lnTo>
                      <a:lnTo>
                        <a:pt x="259" y="377"/>
                      </a:lnTo>
                      <a:lnTo>
                        <a:pt x="255" y="374"/>
                      </a:lnTo>
                      <a:lnTo>
                        <a:pt x="252" y="372"/>
                      </a:lnTo>
                      <a:lnTo>
                        <a:pt x="247" y="371"/>
                      </a:lnTo>
                      <a:lnTo>
                        <a:pt x="243" y="368"/>
                      </a:lnTo>
                      <a:lnTo>
                        <a:pt x="239" y="366"/>
                      </a:lnTo>
                      <a:lnTo>
                        <a:pt x="235" y="364"/>
                      </a:lnTo>
                      <a:lnTo>
                        <a:pt x="232" y="361"/>
                      </a:lnTo>
                      <a:lnTo>
                        <a:pt x="227" y="360"/>
                      </a:lnTo>
                      <a:lnTo>
                        <a:pt x="224" y="358"/>
                      </a:lnTo>
                      <a:lnTo>
                        <a:pt x="219" y="356"/>
                      </a:lnTo>
                      <a:lnTo>
                        <a:pt x="217" y="354"/>
                      </a:lnTo>
                      <a:lnTo>
                        <a:pt x="216" y="354"/>
                      </a:lnTo>
                      <a:lnTo>
                        <a:pt x="214" y="354"/>
                      </a:lnTo>
                      <a:lnTo>
                        <a:pt x="212" y="356"/>
                      </a:lnTo>
                      <a:lnTo>
                        <a:pt x="211" y="357"/>
                      </a:lnTo>
                      <a:lnTo>
                        <a:pt x="209" y="358"/>
                      </a:lnTo>
                      <a:lnTo>
                        <a:pt x="207" y="358"/>
                      </a:lnTo>
                      <a:lnTo>
                        <a:pt x="205" y="359"/>
                      </a:lnTo>
                      <a:lnTo>
                        <a:pt x="204" y="360"/>
                      </a:lnTo>
                      <a:lnTo>
                        <a:pt x="202" y="361"/>
                      </a:lnTo>
                      <a:lnTo>
                        <a:pt x="199" y="363"/>
                      </a:lnTo>
                      <a:lnTo>
                        <a:pt x="198" y="363"/>
                      </a:lnTo>
                      <a:lnTo>
                        <a:pt x="196" y="364"/>
                      </a:lnTo>
                      <a:lnTo>
                        <a:pt x="195" y="365"/>
                      </a:lnTo>
                      <a:lnTo>
                        <a:pt x="192" y="366"/>
                      </a:lnTo>
                      <a:lnTo>
                        <a:pt x="190" y="367"/>
                      </a:lnTo>
                      <a:lnTo>
                        <a:pt x="189" y="367"/>
                      </a:lnTo>
                      <a:lnTo>
                        <a:pt x="186" y="368"/>
                      </a:lnTo>
                      <a:lnTo>
                        <a:pt x="185" y="370"/>
                      </a:lnTo>
                      <a:lnTo>
                        <a:pt x="184" y="370"/>
                      </a:lnTo>
                      <a:lnTo>
                        <a:pt x="178" y="373"/>
                      </a:lnTo>
                      <a:lnTo>
                        <a:pt x="174" y="375"/>
                      </a:lnTo>
                      <a:lnTo>
                        <a:pt x="168" y="379"/>
                      </a:lnTo>
                      <a:lnTo>
                        <a:pt x="162" y="381"/>
                      </a:lnTo>
                      <a:lnTo>
                        <a:pt x="161" y="382"/>
                      </a:lnTo>
                      <a:lnTo>
                        <a:pt x="160" y="382"/>
                      </a:lnTo>
                      <a:lnTo>
                        <a:pt x="159" y="381"/>
                      </a:lnTo>
                      <a:lnTo>
                        <a:pt x="154" y="378"/>
                      </a:lnTo>
                      <a:lnTo>
                        <a:pt x="150" y="374"/>
                      </a:lnTo>
                      <a:lnTo>
                        <a:pt x="146" y="371"/>
                      </a:lnTo>
                      <a:lnTo>
                        <a:pt x="142" y="367"/>
                      </a:lnTo>
                      <a:lnTo>
                        <a:pt x="140" y="366"/>
                      </a:lnTo>
                      <a:lnTo>
                        <a:pt x="136" y="364"/>
                      </a:lnTo>
                      <a:lnTo>
                        <a:pt x="133" y="363"/>
                      </a:lnTo>
                      <a:lnTo>
                        <a:pt x="131" y="363"/>
                      </a:lnTo>
                      <a:lnTo>
                        <a:pt x="127" y="361"/>
                      </a:lnTo>
                      <a:lnTo>
                        <a:pt x="125" y="360"/>
                      </a:lnTo>
                      <a:lnTo>
                        <a:pt x="121" y="360"/>
                      </a:lnTo>
                      <a:lnTo>
                        <a:pt x="119" y="359"/>
                      </a:lnTo>
                      <a:lnTo>
                        <a:pt x="117" y="359"/>
                      </a:lnTo>
                      <a:lnTo>
                        <a:pt x="113" y="358"/>
                      </a:lnTo>
                      <a:lnTo>
                        <a:pt x="111" y="358"/>
                      </a:lnTo>
                      <a:lnTo>
                        <a:pt x="107" y="357"/>
                      </a:lnTo>
                      <a:lnTo>
                        <a:pt x="105" y="356"/>
                      </a:lnTo>
                      <a:lnTo>
                        <a:pt x="102" y="356"/>
                      </a:lnTo>
                      <a:lnTo>
                        <a:pt x="99" y="354"/>
                      </a:lnTo>
                      <a:lnTo>
                        <a:pt x="97" y="354"/>
                      </a:lnTo>
                      <a:lnTo>
                        <a:pt x="93" y="353"/>
                      </a:lnTo>
                      <a:lnTo>
                        <a:pt x="91" y="353"/>
                      </a:lnTo>
                      <a:lnTo>
                        <a:pt x="88" y="352"/>
                      </a:lnTo>
                      <a:lnTo>
                        <a:pt x="85" y="347"/>
                      </a:lnTo>
                      <a:lnTo>
                        <a:pt x="83" y="343"/>
                      </a:lnTo>
                      <a:lnTo>
                        <a:pt x="79" y="336"/>
                      </a:lnTo>
                      <a:lnTo>
                        <a:pt x="77" y="331"/>
                      </a:lnTo>
                      <a:lnTo>
                        <a:pt x="75" y="326"/>
                      </a:lnTo>
                      <a:lnTo>
                        <a:pt x="74" y="325"/>
                      </a:lnTo>
                      <a:lnTo>
                        <a:pt x="72" y="324"/>
                      </a:lnTo>
                      <a:lnTo>
                        <a:pt x="71" y="324"/>
                      </a:lnTo>
                      <a:lnTo>
                        <a:pt x="62" y="321"/>
                      </a:lnTo>
                      <a:lnTo>
                        <a:pt x="54" y="318"/>
                      </a:lnTo>
                      <a:lnTo>
                        <a:pt x="48" y="316"/>
                      </a:lnTo>
                      <a:lnTo>
                        <a:pt x="47" y="316"/>
                      </a:lnTo>
                      <a:lnTo>
                        <a:pt x="42" y="317"/>
                      </a:lnTo>
                      <a:lnTo>
                        <a:pt x="39" y="319"/>
                      </a:lnTo>
                      <a:lnTo>
                        <a:pt x="38" y="319"/>
                      </a:lnTo>
                      <a:lnTo>
                        <a:pt x="38" y="318"/>
                      </a:lnTo>
                      <a:lnTo>
                        <a:pt x="33" y="316"/>
                      </a:lnTo>
                      <a:lnTo>
                        <a:pt x="33" y="315"/>
                      </a:lnTo>
                      <a:lnTo>
                        <a:pt x="32" y="314"/>
                      </a:lnTo>
                      <a:lnTo>
                        <a:pt x="32" y="310"/>
                      </a:lnTo>
                      <a:lnTo>
                        <a:pt x="31" y="309"/>
                      </a:lnTo>
                      <a:lnTo>
                        <a:pt x="26" y="307"/>
                      </a:lnTo>
                      <a:lnTo>
                        <a:pt x="26" y="305"/>
                      </a:lnTo>
                      <a:lnTo>
                        <a:pt x="26" y="301"/>
                      </a:lnTo>
                      <a:lnTo>
                        <a:pt x="25" y="296"/>
                      </a:lnTo>
                      <a:lnTo>
                        <a:pt x="25" y="291"/>
                      </a:lnTo>
                      <a:lnTo>
                        <a:pt x="25" y="289"/>
                      </a:lnTo>
                      <a:lnTo>
                        <a:pt x="24" y="287"/>
                      </a:lnTo>
                      <a:lnTo>
                        <a:pt x="19" y="280"/>
                      </a:lnTo>
                      <a:lnTo>
                        <a:pt x="14" y="274"/>
                      </a:lnTo>
                      <a:lnTo>
                        <a:pt x="10" y="268"/>
                      </a:lnTo>
                      <a:lnTo>
                        <a:pt x="5" y="261"/>
                      </a:lnTo>
                      <a:lnTo>
                        <a:pt x="4" y="260"/>
                      </a:lnTo>
                      <a:lnTo>
                        <a:pt x="5" y="258"/>
                      </a:lnTo>
                      <a:lnTo>
                        <a:pt x="6" y="255"/>
                      </a:lnTo>
                      <a:lnTo>
                        <a:pt x="7" y="254"/>
                      </a:lnTo>
                      <a:lnTo>
                        <a:pt x="7" y="253"/>
                      </a:lnTo>
                      <a:lnTo>
                        <a:pt x="19" y="247"/>
                      </a:lnTo>
                      <a:lnTo>
                        <a:pt x="21" y="242"/>
                      </a:lnTo>
                      <a:lnTo>
                        <a:pt x="21" y="241"/>
                      </a:lnTo>
                      <a:lnTo>
                        <a:pt x="20" y="240"/>
                      </a:lnTo>
                      <a:lnTo>
                        <a:pt x="20" y="239"/>
                      </a:lnTo>
                      <a:lnTo>
                        <a:pt x="21" y="235"/>
                      </a:lnTo>
                      <a:lnTo>
                        <a:pt x="21" y="234"/>
                      </a:lnTo>
                      <a:lnTo>
                        <a:pt x="20" y="234"/>
                      </a:lnTo>
                      <a:lnTo>
                        <a:pt x="19" y="233"/>
                      </a:lnTo>
                      <a:lnTo>
                        <a:pt x="19" y="232"/>
                      </a:lnTo>
                      <a:lnTo>
                        <a:pt x="18" y="228"/>
                      </a:lnTo>
                      <a:lnTo>
                        <a:pt x="15" y="219"/>
                      </a:lnTo>
                      <a:lnTo>
                        <a:pt x="15" y="218"/>
                      </a:lnTo>
                      <a:lnTo>
                        <a:pt x="15" y="217"/>
                      </a:lnTo>
                      <a:lnTo>
                        <a:pt x="17" y="214"/>
                      </a:lnTo>
                      <a:lnTo>
                        <a:pt x="17" y="213"/>
                      </a:lnTo>
                      <a:lnTo>
                        <a:pt x="18" y="212"/>
                      </a:lnTo>
                      <a:lnTo>
                        <a:pt x="18" y="211"/>
                      </a:lnTo>
                      <a:lnTo>
                        <a:pt x="18" y="210"/>
                      </a:lnTo>
                      <a:lnTo>
                        <a:pt x="18" y="209"/>
                      </a:lnTo>
                      <a:lnTo>
                        <a:pt x="19" y="207"/>
                      </a:lnTo>
                      <a:lnTo>
                        <a:pt x="21" y="200"/>
                      </a:lnTo>
                      <a:lnTo>
                        <a:pt x="21" y="199"/>
                      </a:lnTo>
                      <a:lnTo>
                        <a:pt x="21" y="198"/>
                      </a:lnTo>
                      <a:lnTo>
                        <a:pt x="17" y="186"/>
                      </a:lnTo>
                      <a:lnTo>
                        <a:pt x="17" y="184"/>
                      </a:lnTo>
                      <a:lnTo>
                        <a:pt x="18" y="171"/>
                      </a:lnTo>
                      <a:lnTo>
                        <a:pt x="19" y="164"/>
                      </a:lnTo>
                      <a:lnTo>
                        <a:pt x="19" y="158"/>
                      </a:lnTo>
                      <a:lnTo>
                        <a:pt x="18" y="153"/>
                      </a:lnTo>
                      <a:lnTo>
                        <a:pt x="15" y="143"/>
                      </a:lnTo>
                      <a:lnTo>
                        <a:pt x="13" y="135"/>
                      </a:lnTo>
                      <a:lnTo>
                        <a:pt x="8" y="128"/>
                      </a:lnTo>
                      <a:lnTo>
                        <a:pt x="5" y="121"/>
                      </a:lnTo>
                      <a:lnTo>
                        <a:pt x="3" y="120"/>
                      </a:lnTo>
                      <a:lnTo>
                        <a:pt x="1" y="118"/>
                      </a:lnTo>
                      <a:lnTo>
                        <a:pt x="0" y="116"/>
                      </a:lnTo>
                      <a:lnTo>
                        <a:pt x="7" y="112"/>
                      </a:lnTo>
                      <a:lnTo>
                        <a:pt x="15" y="108"/>
                      </a:lnTo>
                      <a:lnTo>
                        <a:pt x="18" y="107"/>
                      </a:lnTo>
                      <a:lnTo>
                        <a:pt x="19" y="107"/>
                      </a:lnTo>
                      <a:lnTo>
                        <a:pt x="22" y="101"/>
                      </a:lnTo>
                      <a:lnTo>
                        <a:pt x="26" y="97"/>
                      </a:lnTo>
                      <a:lnTo>
                        <a:pt x="29" y="93"/>
                      </a:lnTo>
                      <a:lnTo>
                        <a:pt x="32" y="88"/>
                      </a:lnTo>
                      <a:lnTo>
                        <a:pt x="32" y="87"/>
                      </a:lnTo>
                      <a:lnTo>
                        <a:pt x="32" y="86"/>
                      </a:lnTo>
                      <a:lnTo>
                        <a:pt x="31" y="84"/>
                      </a:lnTo>
                      <a:lnTo>
                        <a:pt x="31" y="83"/>
                      </a:lnTo>
                      <a:lnTo>
                        <a:pt x="31" y="80"/>
                      </a:lnTo>
                      <a:lnTo>
                        <a:pt x="29" y="78"/>
                      </a:lnTo>
                      <a:lnTo>
                        <a:pt x="28" y="74"/>
                      </a:lnTo>
                      <a:lnTo>
                        <a:pt x="26" y="67"/>
                      </a:lnTo>
                      <a:lnTo>
                        <a:pt x="27" y="64"/>
                      </a:lnTo>
                      <a:lnTo>
                        <a:pt x="29" y="62"/>
                      </a:lnTo>
                      <a:lnTo>
                        <a:pt x="32" y="57"/>
                      </a:lnTo>
                      <a:lnTo>
                        <a:pt x="33" y="56"/>
                      </a:lnTo>
                      <a:lnTo>
                        <a:pt x="36" y="56"/>
                      </a:lnTo>
                      <a:lnTo>
                        <a:pt x="39" y="56"/>
                      </a:lnTo>
                      <a:lnTo>
                        <a:pt x="39" y="55"/>
                      </a:lnTo>
                      <a:lnTo>
                        <a:pt x="40" y="53"/>
                      </a:lnTo>
                      <a:lnTo>
                        <a:pt x="40" y="52"/>
                      </a:lnTo>
                      <a:lnTo>
                        <a:pt x="41" y="51"/>
                      </a:lnTo>
                      <a:lnTo>
                        <a:pt x="42" y="50"/>
                      </a:lnTo>
                      <a:lnTo>
                        <a:pt x="42" y="46"/>
                      </a:lnTo>
                      <a:lnTo>
                        <a:pt x="43" y="46"/>
                      </a:lnTo>
                      <a:lnTo>
                        <a:pt x="44" y="46"/>
                      </a:lnTo>
                      <a:lnTo>
                        <a:pt x="46" y="46"/>
                      </a:lnTo>
                      <a:lnTo>
                        <a:pt x="47" y="45"/>
                      </a:lnTo>
                      <a:lnTo>
                        <a:pt x="48" y="45"/>
                      </a:lnTo>
                      <a:lnTo>
                        <a:pt x="49" y="44"/>
                      </a:lnTo>
                      <a:lnTo>
                        <a:pt x="50" y="41"/>
                      </a:lnTo>
                      <a:lnTo>
                        <a:pt x="50" y="39"/>
                      </a:lnTo>
                      <a:lnTo>
                        <a:pt x="61" y="35"/>
                      </a:lnTo>
                      <a:lnTo>
                        <a:pt x="69" y="31"/>
                      </a:lnTo>
                      <a:lnTo>
                        <a:pt x="71" y="30"/>
                      </a:lnTo>
                      <a:lnTo>
                        <a:pt x="71" y="29"/>
                      </a:lnTo>
                      <a:lnTo>
                        <a:pt x="72" y="29"/>
                      </a:lnTo>
                      <a:lnTo>
                        <a:pt x="72" y="28"/>
                      </a:lnTo>
                      <a:lnTo>
                        <a:pt x="72" y="25"/>
                      </a:lnTo>
                      <a:lnTo>
                        <a:pt x="72" y="24"/>
                      </a:lnTo>
                      <a:lnTo>
                        <a:pt x="70" y="22"/>
                      </a:lnTo>
                      <a:lnTo>
                        <a:pt x="69" y="21"/>
                      </a:lnTo>
                      <a:lnTo>
                        <a:pt x="69" y="18"/>
                      </a:lnTo>
                      <a:lnTo>
                        <a:pt x="70" y="15"/>
                      </a:lnTo>
                      <a:lnTo>
                        <a:pt x="69" y="10"/>
                      </a:lnTo>
                      <a:lnTo>
                        <a:pt x="70" y="8"/>
                      </a:lnTo>
                      <a:lnTo>
                        <a:pt x="70" y="6"/>
                      </a:lnTo>
                      <a:lnTo>
                        <a:pt x="71" y="2"/>
                      </a:lnTo>
                      <a:lnTo>
                        <a:pt x="71" y="0"/>
                      </a:lnTo>
                      <a:lnTo>
                        <a:pt x="72" y="1"/>
                      </a:lnTo>
                      <a:lnTo>
                        <a:pt x="74" y="1"/>
                      </a:lnTo>
                      <a:lnTo>
                        <a:pt x="74" y="2"/>
                      </a:lnTo>
                      <a:lnTo>
                        <a:pt x="75" y="3"/>
                      </a:lnTo>
                      <a:lnTo>
                        <a:pt x="79" y="3"/>
                      </a:lnTo>
                      <a:lnTo>
                        <a:pt x="81" y="3"/>
                      </a:lnTo>
                      <a:lnTo>
                        <a:pt x="79" y="3"/>
                      </a:lnTo>
                      <a:lnTo>
                        <a:pt x="77" y="2"/>
                      </a:lnTo>
                      <a:lnTo>
                        <a:pt x="78" y="2"/>
                      </a:lnTo>
                      <a:lnTo>
                        <a:pt x="82" y="3"/>
                      </a:lnTo>
                      <a:lnTo>
                        <a:pt x="90" y="8"/>
                      </a:lnTo>
                      <a:lnTo>
                        <a:pt x="91" y="10"/>
                      </a:lnTo>
                      <a:lnTo>
                        <a:pt x="92" y="10"/>
                      </a:lnTo>
                      <a:lnTo>
                        <a:pt x="95" y="11"/>
                      </a:lnTo>
                      <a:lnTo>
                        <a:pt x="97" y="13"/>
                      </a:lnTo>
                      <a:lnTo>
                        <a:pt x="98" y="14"/>
                      </a:lnTo>
                      <a:lnTo>
                        <a:pt x="111" y="15"/>
                      </a:lnTo>
                      <a:lnTo>
                        <a:pt x="113" y="14"/>
                      </a:lnTo>
                      <a:lnTo>
                        <a:pt x="121" y="11"/>
                      </a:lnTo>
                      <a:lnTo>
                        <a:pt x="122" y="11"/>
                      </a:lnTo>
                      <a:lnTo>
                        <a:pt x="124" y="10"/>
                      </a:lnTo>
                      <a:lnTo>
                        <a:pt x="125" y="10"/>
                      </a:lnTo>
                      <a:lnTo>
                        <a:pt x="127" y="10"/>
                      </a:lnTo>
                      <a:lnTo>
                        <a:pt x="131" y="10"/>
                      </a:lnTo>
                      <a:lnTo>
                        <a:pt x="138" y="14"/>
                      </a:lnTo>
                      <a:lnTo>
                        <a:pt x="139" y="15"/>
                      </a:lnTo>
                      <a:lnTo>
                        <a:pt x="145" y="14"/>
                      </a:lnTo>
                      <a:lnTo>
                        <a:pt x="146" y="15"/>
                      </a:lnTo>
                      <a:lnTo>
                        <a:pt x="148" y="15"/>
                      </a:lnTo>
                      <a:lnTo>
                        <a:pt x="150" y="16"/>
                      </a:lnTo>
                      <a:lnTo>
                        <a:pt x="157" y="17"/>
                      </a:lnTo>
                      <a:lnTo>
                        <a:pt x="157" y="18"/>
                      </a:lnTo>
                      <a:lnTo>
                        <a:pt x="159" y="18"/>
                      </a:lnTo>
                      <a:lnTo>
                        <a:pt x="160" y="20"/>
                      </a:lnTo>
                      <a:lnTo>
                        <a:pt x="161" y="21"/>
                      </a:lnTo>
                      <a:lnTo>
                        <a:pt x="164" y="23"/>
                      </a:lnTo>
                      <a:lnTo>
                        <a:pt x="166" y="24"/>
                      </a:lnTo>
                      <a:lnTo>
                        <a:pt x="167" y="24"/>
                      </a:lnTo>
                      <a:lnTo>
                        <a:pt x="171" y="25"/>
                      </a:lnTo>
                      <a:lnTo>
                        <a:pt x="172" y="25"/>
                      </a:lnTo>
                      <a:lnTo>
                        <a:pt x="172" y="27"/>
                      </a:lnTo>
                      <a:lnTo>
                        <a:pt x="174" y="27"/>
                      </a:lnTo>
                      <a:lnTo>
                        <a:pt x="175" y="28"/>
                      </a:lnTo>
                      <a:lnTo>
                        <a:pt x="181" y="28"/>
                      </a:lnTo>
                      <a:lnTo>
                        <a:pt x="188" y="29"/>
                      </a:lnTo>
                      <a:lnTo>
                        <a:pt x="189" y="29"/>
                      </a:lnTo>
                      <a:lnTo>
                        <a:pt x="190" y="30"/>
                      </a:lnTo>
                      <a:lnTo>
                        <a:pt x="191" y="31"/>
                      </a:lnTo>
                      <a:lnTo>
                        <a:pt x="192" y="32"/>
                      </a:lnTo>
                      <a:lnTo>
                        <a:pt x="192" y="34"/>
                      </a:lnTo>
                      <a:lnTo>
                        <a:pt x="193" y="35"/>
                      </a:lnTo>
                      <a:lnTo>
                        <a:pt x="193" y="36"/>
                      </a:lnTo>
                      <a:lnTo>
                        <a:pt x="195" y="38"/>
                      </a:lnTo>
                      <a:lnTo>
                        <a:pt x="196" y="38"/>
                      </a:lnTo>
                      <a:lnTo>
                        <a:pt x="196" y="39"/>
                      </a:lnTo>
                      <a:lnTo>
                        <a:pt x="195" y="41"/>
                      </a:lnTo>
                      <a:lnTo>
                        <a:pt x="195" y="42"/>
                      </a:lnTo>
                      <a:lnTo>
                        <a:pt x="195" y="43"/>
                      </a:lnTo>
                      <a:lnTo>
                        <a:pt x="195" y="45"/>
                      </a:lnTo>
                      <a:lnTo>
                        <a:pt x="196" y="48"/>
                      </a:lnTo>
                      <a:lnTo>
                        <a:pt x="199" y="57"/>
                      </a:lnTo>
                      <a:lnTo>
                        <a:pt x="200" y="58"/>
                      </a:lnTo>
                      <a:lnTo>
                        <a:pt x="204" y="63"/>
                      </a:lnTo>
                      <a:lnTo>
                        <a:pt x="206" y="65"/>
                      </a:lnTo>
                      <a:lnTo>
                        <a:pt x="209" y="67"/>
                      </a:lnTo>
                      <a:lnTo>
                        <a:pt x="217" y="72"/>
                      </a:lnTo>
                      <a:lnTo>
                        <a:pt x="227" y="73"/>
                      </a:lnTo>
                      <a:lnTo>
                        <a:pt x="239" y="73"/>
                      </a:lnTo>
                      <a:lnTo>
                        <a:pt x="246" y="74"/>
                      </a:lnTo>
                      <a:lnTo>
                        <a:pt x="253" y="77"/>
                      </a:lnTo>
                      <a:lnTo>
                        <a:pt x="259" y="78"/>
                      </a:lnTo>
                      <a:lnTo>
                        <a:pt x="260" y="78"/>
                      </a:lnTo>
                      <a:lnTo>
                        <a:pt x="260" y="79"/>
                      </a:lnTo>
                      <a:lnTo>
                        <a:pt x="261" y="79"/>
                      </a:lnTo>
                      <a:lnTo>
                        <a:pt x="262" y="80"/>
                      </a:lnTo>
                      <a:lnTo>
                        <a:pt x="263" y="80"/>
                      </a:lnTo>
                      <a:lnTo>
                        <a:pt x="268" y="81"/>
                      </a:lnTo>
                      <a:lnTo>
                        <a:pt x="270" y="84"/>
                      </a:lnTo>
                      <a:lnTo>
                        <a:pt x="273" y="84"/>
                      </a:lnTo>
                      <a:lnTo>
                        <a:pt x="275" y="85"/>
                      </a:lnTo>
                      <a:lnTo>
                        <a:pt x="276" y="85"/>
                      </a:lnTo>
                      <a:lnTo>
                        <a:pt x="276" y="86"/>
                      </a:lnTo>
                      <a:lnTo>
                        <a:pt x="277" y="87"/>
                      </a:lnTo>
                      <a:lnTo>
                        <a:pt x="281" y="87"/>
                      </a:lnTo>
                      <a:lnTo>
                        <a:pt x="285" y="90"/>
                      </a:lnTo>
                      <a:lnTo>
                        <a:pt x="287" y="91"/>
                      </a:lnTo>
                      <a:lnTo>
                        <a:pt x="288" y="91"/>
                      </a:lnTo>
                      <a:lnTo>
                        <a:pt x="290" y="94"/>
                      </a:lnTo>
                      <a:lnTo>
                        <a:pt x="298" y="100"/>
                      </a:lnTo>
                      <a:lnTo>
                        <a:pt x="300" y="102"/>
                      </a:lnTo>
                      <a:lnTo>
                        <a:pt x="302" y="104"/>
                      </a:lnTo>
                      <a:lnTo>
                        <a:pt x="303" y="105"/>
                      </a:lnTo>
                      <a:lnTo>
                        <a:pt x="305" y="105"/>
                      </a:lnTo>
                      <a:lnTo>
                        <a:pt x="310" y="108"/>
                      </a:lnTo>
                      <a:lnTo>
                        <a:pt x="311" y="108"/>
                      </a:lnTo>
                      <a:lnTo>
                        <a:pt x="314" y="109"/>
                      </a:lnTo>
                      <a:lnTo>
                        <a:pt x="317" y="109"/>
                      </a:lnTo>
                      <a:lnTo>
                        <a:pt x="320" y="108"/>
                      </a:lnTo>
                      <a:lnTo>
                        <a:pt x="321" y="108"/>
                      </a:lnTo>
                      <a:lnTo>
                        <a:pt x="323" y="107"/>
                      </a:lnTo>
                      <a:lnTo>
                        <a:pt x="326" y="106"/>
                      </a:lnTo>
                      <a:lnTo>
                        <a:pt x="330" y="104"/>
                      </a:lnTo>
                      <a:lnTo>
                        <a:pt x="332" y="104"/>
                      </a:lnTo>
                      <a:lnTo>
                        <a:pt x="337" y="100"/>
                      </a:lnTo>
                      <a:lnTo>
                        <a:pt x="341" y="93"/>
                      </a:lnTo>
                      <a:lnTo>
                        <a:pt x="344" y="91"/>
                      </a:lnTo>
                      <a:lnTo>
                        <a:pt x="344" y="90"/>
                      </a:lnTo>
                      <a:lnTo>
                        <a:pt x="345" y="88"/>
                      </a:lnTo>
                      <a:lnTo>
                        <a:pt x="346" y="88"/>
                      </a:lnTo>
                      <a:lnTo>
                        <a:pt x="347" y="84"/>
                      </a:lnTo>
                      <a:lnTo>
                        <a:pt x="349" y="80"/>
                      </a:lnTo>
                      <a:lnTo>
                        <a:pt x="349" y="78"/>
                      </a:lnTo>
                      <a:lnTo>
                        <a:pt x="349" y="73"/>
                      </a:lnTo>
                      <a:lnTo>
                        <a:pt x="348" y="72"/>
                      </a:lnTo>
                      <a:lnTo>
                        <a:pt x="348" y="70"/>
                      </a:lnTo>
                      <a:lnTo>
                        <a:pt x="347" y="69"/>
                      </a:lnTo>
                      <a:lnTo>
                        <a:pt x="346" y="67"/>
                      </a:lnTo>
                      <a:lnTo>
                        <a:pt x="345" y="66"/>
                      </a:lnTo>
                      <a:lnTo>
                        <a:pt x="342" y="60"/>
                      </a:lnTo>
                      <a:lnTo>
                        <a:pt x="342" y="59"/>
                      </a:lnTo>
                      <a:lnTo>
                        <a:pt x="342" y="57"/>
                      </a:lnTo>
                      <a:lnTo>
                        <a:pt x="342" y="56"/>
                      </a:lnTo>
                      <a:lnTo>
                        <a:pt x="341" y="55"/>
                      </a:lnTo>
                      <a:lnTo>
                        <a:pt x="341" y="53"/>
                      </a:lnTo>
                      <a:lnTo>
                        <a:pt x="341" y="51"/>
                      </a:lnTo>
                      <a:lnTo>
                        <a:pt x="342" y="48"/>
                      </a:lnTo>
                      <a:lnTo>
                        <a:pt x="342" y="46"/>
                      </a:lnTo>
                      <a:lnTo>
                        <a:pt x="342" y="45"/>
                      </a:lnTo>
                      <a:lnTo>
                        <a:pt x="342" y="44"/>
                      </a:lnTo>
                      <a:lnTo>
                        <a:pt x="346" y="38"/>
                      </a:lnTo>
                      <a:lnTo>
                        <a:pt x="347" y="37"/>
                      </a:lnTo>
                      <a:lnTo>
                        <a:pt x="353" y="31"/>
                      </a:lnTo>
                      <a:lnTo>
                        <a:pt x="353" y="30"/>
                      </a:lnTo>
                      <a:lnTo>
                        <a:pt x="355" y="28"/>
                      </a:lnTo>
                      <a:lnTo>
                        <a:pt x="356" y="28"/>
                      </a:lnTo>
                      <a:lnTo>
                        <a:pt x="358" y="27"/>
                      </a:lnTo>
                      <a:lnTo>
                        <a:pt x="362" y="23"/>
                      </a:lnTo>
                      <a:lnTo>
                        <a:pt x="370" y="20"/>
                      </a:lnTo>
                      <a:lnTo>
                        <a:pt x="374" y="16"/>
                      </a:lnTo>
                      <a:lnTo>
                        <a:pt x="378" y="15"/>
                      </a:lnTo>
                      <a:lnTo>
                        <a:pt x="380" y="14"/>
                      </a:lnTo>
                      <a:lnTo>
                        <a:pt x="385" y="15"/>
                      </a:lnTo>
                      <a:lnTo>
                        <a:pt x="387" y="14"/>
                      </a:lnTo>
                      <a:lnTo>
                        <a:pt x="390" y="14"/>
                      </a:lnTo>
                      <a:lnTo>
                        <a:pt x="391" y="13"/>
                      </a:lnTo>
                      <a:lnTo>
                        <a:pt x="396" y="8"/>
                      </a:lnTo>
                      <a:lnTo>
                        <a:pt x="398" y="8"/>
                      </a:lnTo>
                      <a:lnTo>
                        <a:pt x="399" y="8"/>
                      </a:lnTo>
                      <a:lnTo>
                        <a:pt x="401" y="8"/>
                      </a:lnTo>
                      <a:lnTo>
                        <a:pt x="402" y="9"/>
                      </a:lnTo>
                      <a:lnTo>
                        <a:pt x="403" y="9"/>
                      </a:lnTo>
                      <a:lnTo>
                        <a:pt x="404" y="9"/>
                      </a:lnTo>
                      <a:lnTo>
                        <a:pt x="412" y="9"/>
                      </a:lnTo>
                      <a:lnTo>
                        <a:pt x="412" y="8"/>
                      </a:lnTo>
                      <a:lnTo>
                        <a:pt x="413" y="8"/>
                      </a:lnTo>
                      <a:lnTo>
                        <a:pt x="415" y="8"/>
                      </a:lnTo>
                      <a:lnTo>
                        <a:pt x="415" y="9"/>
                      </a:lnTo>
                      <a:lnTo>
                        <a:pt x="416" y="10"/>
                      </a:lnTo>
                      <a:lnTo>
                        <a:pt x="417" y="10"/>
                      </a:lnTo>
                      <a:lnTo>
                        <a:pt x="419" y="10"/>
                      </a:lnTo>
                      <a:lnTo>
                        <a:pt x="420" y="10"/>
                      </a:lnTo>
                      <a:lnTo>
                        <a:pt x="424" y="13"/>
                      </a:lnTo>
                      <a:lnTo>
                        <a:pt x="425" y="14"/>
                      </a:lnTo>
                      <a:lnTo>
                        <a:pt x="426" y="14"/>
                      </a:lnTo>
                      <a:lnTo>
                        <a:pt x="427" y="14"/>
                      </a:lnTo>
                      <a:lnTo>
                        <a:pt x="434" y="16"/>
                      </a:lnTo>
                      <a:lnTo>
                        <a:pt x="437" y="17"/>
                      </a:lnTo>
                      <a:lnTo>
                        <a:pt x="438" y="17"/>
                      </a:lnTo>
                      <a:lnTo>
                        <a:pt x="439" y="18"/>
                      </a:lnTo>
                      <a:lnTo>
                        <a:pt x="440" y="18"/>
                      </a:lnTo>
                      <a:lnTo>
                        <a:pt x="441" y="18"/>
                      </a:lnTo>
                      <a:lnTo>
                        <a:pt x="442" y="18"/>
                      </a:lnTo>
                      <a:lnTo>
                        <a:pt x="444" y="20"/>
                      </a:lnTo>
                      <a:lnTo>
                        <a:pt x="445" y="20"/>
                      </a:lnTo>
                      <a:lnTo>
                        <a:pt x="445" y="21"/>
                      </a:lnTo>
                      <a:lnTo>
                        <a:pt x="444" y="22"/>
                      </a:lnTo>
                      <a:lnTo>
                        <a:pt x="444" y="24"/>
                      </a:lnTo>
                      <a:lnTo>
                        <a:pt x="445" y="24"/>
                      </a:lnTo>
                      <a:lnTo>
                        <a:pt x="445" y="25"/>
                      </a:lnTo>
                      <a:lnTo>
                        <a:pt x="446" y="25"/>
                      </a:lnTo>
                      <a:lnTo>
                        <a:pt x="445" y="27"/>
                      </a:lnTo>
                      <a:lnTo>
                        <a:pt x="445" y="29"/>
                      </a:lnTo>
                      <a:lnTo>
                        <a:pt x="445" y="28"/>
                      </a:lnTo>
                      <a:lnTo>
                        <a:pt x="444" y="28"/>
                      </a:lnTo>
                      <a:lnTo>
                        <a:pt x="444" y="27"/>
                      </a:lnTo>
                      <a:lnTo>
                        <a:pt x="444" y="30"/>
                      </a:lnTo>
                      <a:lnTo>
                        <a:pt x="444" y="31"/>
                      </a:lnTo>
                      <a:lnTo>
                        <a:pt x="446" y="32"/>
                      </a:lnTo>
                      <a:lnTo>
                        <a:pt x="447" y="32"/>
                      </a:lnTo>
                      <a:lnTo>
                        <a:pt x="447" y="34"/>
                      </a:lnTo>
                      <a:lnTo>
                        <a:pt x="448" y="34"/>
                      </a:lnTo>
                      <a:lnTo>
                        <a:pt x="448" y="35"/>
                      </a:lnTo>
                      <a:lnTo>
                        <a:pt x="449" y="36"/>
                      </a:lnTo>
                      <a:lnTo>
                        <a:pt x="451" y="36"/>
                      </a:lnTo>
                      <a:lnTo>
                        <a:pt x="451" y="37"/>
                      </a:lnTo>
                      <a:lnTo>
                        <a:pt x="451" y="35"/>
                      </a:lnTo>
                      <a:lnTo>
                        <a:pt x="451" y="36"/>
                      </a:lnTo>
                      <a:lnTo>
                        <a:pt x="453" y="36"/>
                      </a:lnTo>
                      <a:lnTo>
                        <a:pt x="454" y="36"/>
                      </a:lnTo>
                      <a:lnTo>
                        <a:pt x="458" y="37"/>
                      </a:lnTo>
                      <a:lnTo>
                        <a:pt x="462" y="37"/>
                      </a:lnTo>
                      <a:lnTo>
                        <a:pt x="468" y="38"/>
                      </a:lnTo>
                      <a:lnTo>
                        <a:pt x="473" y="41"/>
                      </a:lnTo>
                      <a:lnTo>
                        <a:pt x="472" y="41"/>
                      </a:lnTo>
                      <a:lnTo>
                        <a:pt x="473" y="42"/>
                      </a:lnTo>
                      <a:lnTo>
                        <a:pt x="475" y="43"/>
                      </a:lnTo>
                      <a:lnTo>
                        <a:pt x="476" y="43"/>
                      </a:lnTo>
                      <a:lnTo>
                        <a:pt x="482" y="43"/>
                      </a:lnTo>
                      <a:lnTo>
                        <a:pt x="490" y="44"/>
                      </a:lnTo>
                      <a:lnTo>
                        <a:pt x="494" y="43"/>
                      </a:lnTo>
                      <a:lnTo>
                        <a:pt x="495" y="43"/>
                      </a:lnTo>
                      <a:lnTo>
                        <a:pt x="496" y="43"/>
                      </a:lnTo>
                      <a:lnTo>
                        <a:pt x="497" y="43"/>
                      </a:lnTo>
                      <a:lnTo>
                        <a:pt x="498" y="43"/>
                      </a:lnTo>
                      <a:lnTo>
                        <a:pt x="499" y="44"/>
                      </a:lnTo>
                      <a:lnTo>
                        <a:pt x="501" y="44"/>
                      </a:lnTo>
                      <a:lnTo>
                        <a:pt x="504" y="45"/>
                      </a:lnTo>
                      <a:lnTo>
                        <a:pt x="505" y="45"/>
                      </a:lnTo>
                      <a:lnTo>
                        <a:pt x="506" y="46"/>
                      </a:lnTo>
                      <a:lnTo>
                        <a:pt x="505" y="49"/>
                      </a:lnTo>
                      <a:lnTo>
                        <a:pt x="506" y="50"/>
                      </a:lnTo>
                      <a:lnTo>
                        <a:pt x="508" y="51"/>
                      </a:lnTo>
                      <a:lnTo>
                        <a:pt x="509" y="53"/>
                      </a:lnTo>
                      <a:lnTo>
                        <a:pt x="509" y="55"/>
                      </a:lnTo>
                      <a:lnTo>
                        <a:pt x="510" y="56"/>
                      </a:lnTo>
                      <a:lnTo>
                        <a:pt x="510" y="57"/>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28" name="Freeform 98">
                  <a:extLst>
                    <a:ext uri="{FF2B5EF4-FFF2-40B4-BE49-F238E27FC236}">
                      <a16:creationId xmlns:a16="http://schemas.microsoft.com/office/drawing/2014/main" id="{FFBC53A5-DB63-5E93-A721-55C6684F4F41}"/>
                    </a:ext>
                  </a:extLst>
                </p:cNvPr>
                <p:cNvSpPr>
                  <a:spLocks/>
                </p:cNvSpPr>
                <p:nvPr/>
              </p:nvSpPr>
              <p:spPr bwMode="auto">
                <a:xfrm>
                  <a:off x="7153980" y="4808952"/>
                  <a:ext cx="82211" cy="80048"/>
                </a:xfrm>
                <a:custGeom>
                  <a:avLst/>
                  <a:gdLst>
                    <a:gd name="T0" fmla="*/ 57 w 76"/>
                    <a:gd name="T1" fmla="*/ 7 h 74"/>
                    <a:gd name="T2" fmla="*/ 62 w 76"/>
                    <a:gd name="T3" fmla="*/ 13 h 74"/>
                    <a:gd name="T4" fmla="*/ 64 w 76"/>
                    <a:gd name="T5" fmla="*/ 14 h 74"/>
                    <a:gd name="T6" fmla="*/ 71 w 76"/>
                    <a:gd name="T7" fmla="*/ 18 h 74"/>
                    <a:gd name="T8" fmla="*/ 73 w 76"/>
                    <a:gd name="T9" fmla="*/ 22 h 74"/>
                    <a:gd name="T10" fmla="*/ 75 w 76"/>
                    <a:gd name="T11" fmla="*/ 27 h 74"/>
                    <a:gd name="T12" fmla="*/ 75 w 76"/>
                    <a:gd name="T13" fmla="*/ 29 h 74"/>
                    <a:gd name="T14" fmla="*/ 72 w 76"/>
                    <a:gd name="T15" fmla="*/ 31 h 74"/>
                    <a:gd name="T16" fmla="*/ 71 w 76"/>
                    <a:gd name="T17" fmla="*/ 35 h 74"/>
                    <a:gd name="T18" fmla="*/ 68 w 76"/>
                    <a:gd name="T19" fmla="*/ 38 h 74"/>
                    <a:gd name="T20" fmla="*/ 65 w 76"/>
                    <a:gd name="T21" fmla="*/ 43 h 74"/>
                    <a:gd name="T22" fmla="*/ 66 w 76"/>
                    <a:gd name="T23" fmla="*/ 46 h 74"/>
                    <a:gd name="T24" fmla="*/ 65 w 76"/>
                    <a:gd name="T25" fmla="*/ 49 h 74"/>
                    <a:gd name="T26" fmla="*/ 54 w 76"/>
                    <a:gd name="T27" fmla="*/ 55 h 74"/>
                    <a:gd name="T28" fmla="*/ 46 w 76"/>
                    <a:gd name="T29" fmla="*/ 56 h 74"/>
                    <a:gd name="T30" fmla="*/ 41 w 76"/>
                    <a:gd name="T31" fmla="*/ 58 h 74"/>
                    <a:gd name="T32" fmla="*/ 39 w 76"/>
                    <a:gd name="T33" fmla="*/ 60 h 74"/>
                    <a:gd name="T34" fmla="*/ 37 w 76"/>
                    <a:gd name="T35" fmla="*/ 63 h 74"/>
                    <a:gd name="T36" fmla="*/ 35 w 76"/>
                    <a:gd name="T37" fmla="*/ 67 h 74"/>
                    <a:gd name="T38" fmla="*/ 34 w 76"/>
                    <a:gd name="T39" fmla="*/ 71 h 74"/>
                    <a:gd name="T40" fmla="*/ 33 w 76"/>
                    <a:gd name="T41" fmla="*/ 73 h 74"/>
                    <a:gd name="T42" fmla="*/ 28 w 76"/>
                    <a:gd name="T43" fmla="*/ 74 h 74"/>
                    <a:gd name="T44" fmla="*/ 26 w 76"/>
                    <a:gd name="T45" fmla="*/ 73 h 74"/>
                    <a:gd name="T46" fmla="*/ 20 w 76"/>
                    <a:gd name="T47" fmla="*/ 70 h 74"/>
                    <a:gd name="T48" fmla="*/ 18 w 76"/>
                    <a:gd name="T49" fmla="*/ 66 h 74"/>
                    <a:gd name="T50" fmla="*/ 14 w 76"/>
                    <a:gd name="T51" fmla="*/ 63 h 74"/>
                    <a:gd name="T52" fmla="*/ 12 w 76"/>
                    <a:gd name="T53" fmla="*/ 63 h 74"/>
                    <a:gd name="T54" fmla="*/ 11 w 76"/>
                    <a:gd name="T55" fmla="*/ 59 h 74"/>
                    <a:gd name="T56" fmla="*/ 9 w 76"/>
                    <a:gd name="T57" fmla="*/ 56 h 74"/>
                    <a:gd name="T58" fmla="*/ 8 w 76"/>
                    <a:gd name="T59" fmla="*/ 52 h 74"/>
                    <a:gd name="T60" fmla="*/ 2 w 76"/>
                    <a:gd name="T61" fmla="*/ 42 h 74"/>
                    <a:gd name="T62" fmla="*/ 0 w 76"/>
                    <a:gd name="T63" fmla="*/ 39 h 74"/>
                    <a:gd name="T64" fmla="*/ 1 w 76"/>
                    <a:gd name="T65" fmla="*/ 37 h 74"/>
                    <a:gd name="T66" fmla="*/ 2 w 76"/>
                    <a:gd name="T67" fmla="*/ 37 h 74"/>
                    <a:gd name="T68" fmla="*/ 6 w 76"/>
                    <a:gd name="T69" fmla="*/ 36 h 74"/>
                    <a:gd name="T70" fmla="*/ 9 w 76"/>
                    <a:gd name="T71" fmla="*/ 34 h 74"/>
                    <a:gd name="T72" fmla="*/ 11 w 76"/>
                    <a:gd name="T73" fmla="*/ 32 h 74"/>
                    <a:gd name="T74" fmla="*/ 13 w 76"/>
                    <a:gd name="T75" fmla="*/ 29 h 74"/>
                    <a:gd name="T76" fmla="*/ 13 w 76"/>
                    <a:gd name="T77" fmla="*/ 28 h 74"/>
                    <a:gd name="T78" fmla="*/ 14 w 76"/>
                    <a:gd name="T79" fmla="*/ 25 h 74"/>
                    <a:gd name="T80" fmla="*/ 15 w 76"/>
                    <a:gd name="T81" fmla="*/ 23 h 74"/>
                    <a:gd name="T82" fmla="*/ 20 w 76"/>
                    <a:gd name="T83" fmla="*/ 18 h 74"/>
                    <a:gd name="T84" fmla="*/ 20 w 76"/>
                    <a:gd name="T85" fmla="*/ 17 h 74"/>
                    <a:gd name="T86" fmla="*/ 20 w 76"/>
                    <a:gd name="T87" fmla="*/ 16 h 74"/>
                    <a:gd name="T88" fmla="*/ 22 w 76"/>
                    <a:gd name="T89" fmla="*/ 15 h 74"/>
                    <a:gd name="T90" fmla="*/ 22 w 76"/>
                    <a:gd name="T91" fmla="*/ 14 h 74"/>
                    <a:gd name="T92" fmla="*/ 27 w 76"/>
                    <a:gd name="T93" fmla="*/ 11 h 74"/>
                    <a:gd name="T94" fmla="*/ 29 w 76"/>
                    <a:gd name="T95" fmla="*/ 10 h 74"/>
                    <a:gd name="T96" fmla="*/ 32 w 76"/>
                    <a:gd name="T97" fmla="*/ 10 h 74"/>
                    <a:gd name="T98" fmla="*/ 35 w 76"/>
                    <a:gd name="T99" fmla="*/ 6 h 74"/>
                    <a:gd name="T100" fmla="*/ 40 w 76"/>
                    <a:gd name="T101" fmla="*/ 4 h 74"/>
                    <a:gd name="T102" fmla="*/ 43 w 76"/>
                    <a:gd name="T103" fmla="*/ 2 h 74"/>
                    <a:gd name="T104" fmla="*/ 51 w 76"/>
                    <a:gd name="T105" fmla="*/ 1 h 74"/>
                    <a:gd name="T106" fmla="*/ 55 w 76"/>
                    <a:gd name="T10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6" h="74">
                      <a:moveTo>
                        <a:pt x="55" y="4"/>
                      </a:moveTo>
                      <a:lnTo>
                        <a:pt x="55" y="7"/>
                      </a:lnTo>
                      <a:lnTo>
                        <a:pt x="56" y="7"/>
                      </a:lnTo>
                      <a:lnTo>
                        <a:pt x="56" y="7"/>
                      </a:lnTo>
                      <a:lnTo>
                        <a:pt x="57" y="7"/>
                      </a:lnTo>
                      <a:lnTo>
                        <a:pt x="57" y="7"/>
                      </a:lnTo>
                      <a:lnTo>
                        <a:pt x="57" y="7"/>
                      </a:lnTo>
                      <a:lnTo>
                        <a:pt x="57" y="7"/>
                      </a:lnTo>
                      <a:lnTo>
                        <a:pt x="58" y="8"/>
                      </a:lnTo>
                      <a:lnTo>
                        <a:pt x="58" y="8"/>
                      </a:lnTo>
                      <a:lnTo>
                        <a:pt x="59" y="10"/>
                      </a:lnTo>
                      <a:lnTo>
                        <a:pt x="62" y="13"/>
                      </a:lnTo>
                      <a:lnTo>
                        <a:pt x="62" y="13"/>
                      </a:lnTo>
                      <a:lnTo>
                        <a:pt x="63" y="13"/>
                      </a:lnTo>
                      <a:lnTo>
                        <a:pt x="63" y="13"/>
                      </a:lnTo>
                      <a:lnTo>
                        <a:pt x="63" y="13"/>
                      </a:lnTo>
                      <a:lnTo>
                        <a:pt x="63" y="14"/>
                      </a:lnTo>
                      <a:lnTo>
                        <a:pt x="64" y="14"/>
                      </a:lnTo>
                      <a:lnTo>
                        <a:pt x="64" y="15"/>
                      </a:lnTo>
                      <a:lnTo>
                        <a:pt x="65" y="15"/>
                      </a:lnTo>
                      <a:lnTo>
                        <a:pt x="65" y="15"/>
                      </a:lnTo>
                      <a:lnTo>
                        <a:pt x="69" y="17"/>
                      </a:lnTo>
                      <a:lnTo>
                        <a:pt x="70" y="18"/>
                      </a:lnTo>
                      <a:lnTo>
                        <a:pt x="71" y="18"/>
                      </a:lnTo>
                      <a:lnTo>
                        <a:pt x="71" y="18"/>
                      </a:lnTo>
                      <a:lnTo>
                        <a:pt x="72" y="21"/>
                      </a:lnTo>
                      <a:lnTo>
                        <a:pt x="72" y="21"/>
                      </a:lnTo>
                      <a:lnTo>
                        <a:pt x="72" y="22"/>
                      </a:lnTo>
                      <a:lnTo>
                        <a:pt x="73" y="22"/>
                      </a:lnTo>
                      <a:lnTo>
                        <a:pt x="73" y="22"/>
                      </a:lnTo>
                      <a:lnTo>
                        <a:pt x="73" y="24"/>
                      </a:lnTo>
                      <a:lnTo>
                        <a:pt x="75" y="25"/>
                      </a:lnTo>
                      <a:lnTo>
                        <a:pt x="75" y="25"/>
                      </a:lnTo>
                      <a:lnTo>
                        <a:pt x="75" y="25"/>
                      </a:lnTo>
                      <a:lnTo>
                        <a:pt x="75" y="27"/>
                      </a:lnTo>
                      <a:lnTo>
                        <a:pt x="75" y="27"/>
                      </a:lnTo>
                      <a:lnTo>
                        <a:pt x="75" y="27"/>
                      </a:lnTo>
                      <a:lnTo>
                        <a:pt x="76" y="28"/>
                      </a:lnTo>
                      <a:lnTo>
                        <a:pt x="76" y="28"/>
                      </a:lnTo>
                      <a:lnTo>
                        <a:pt x="76" y="28"/>
                      </a:lnTo>
                      <a:lnTo>
                        <a:pt x="75" y="29"/>
                      </a:lnTo>
                      <a:lnTo>
                        <a:pt x="75" y="29"/>
                      </a:lnTo>
                      <a:lnTo>
                        <a:pt x="75" y="30"/>
                      </a:lnTo>
                      <a:lnTo>
                        <a:pt x="75" y="30"/>
                      </a:lnTo>
                      <a:lnTo>
                        <a:pt x="75" y="31"/>
                      </a:lnTo>
                      <a:lnTo>
                        <a:pt x="75" y="31"/>
                      </a:lnTo>
                      <a:lnTo>
                        <a:pt x="73" y="31"/>
                      </a:lnTo>
                      <a:lnTo>
                        <a:pt x="72" y="31"/>
                      </a:lnTo>
                      <a:lnTo>
                        <a:pt x="71" y="32"/>
                      </a:lnTo>
                      <a:lnTo>
                        <a:pt x="71" y="32"/>
                      </a:lnTo>
                      <a:lnTo>
                        <a:pt x="70" y="34"/>
                      </a:lnTo>
                      <a:lnTo>
                        <a:pt x="70" y="35"/>
                      </a:lnTo>
                      <a:lnTo>
                        <a:pt x="70" y="35"/>
                      </a:lnTo>
                      <a:lnTo>
                        <a:pt x="71" y="35"/>
                      </a:lnTo>
                      <a:lnTo>
                        <a:pt x="71" y="36"/>
                      </a:lnTo>
                      <a:lnTo>
                        <a:pt x="71" y="36"/>
                      </a:lnTo>
                      <a:lnTo>
                        <a:pt x="71" y="37"/>
                      </a:lnTo>
                      <a:lnTo>
                        <a:pt x="71" y="37"/>
                      </a:lnTo>
                      <a:lnTo>
                        <a:pt x="70" y="38"/>
                      </a:lnTo>
                      <a:lnTo>
                        <a:pt x="68" y="38"/>
                      </a:lnTo>
                      <a:lnTo>
                        <a:pt x="66" y="39"/>
                      </a:lnTo>
                      <a:lnTo>
                        <a:pt x="66" y="41"/>
                      </a:lnTo>
                      <a:lnTo>
                        <a:pt x="66" y="41"/>
                      </a:lnTo>
                      <a:lnTo>
                        <a:pt x="65" y="42"/>
                      </a:lnTo>
                      <a:lnTo>
                        <a:pt x="65" y="42"/>
                      </a:lnTo>
                      <a:lnTo>
                        <a:pt x="65" y="43"/>
                      </a:lnTo>
                      <a:lnTo>
                        <a:pt x="65" y="44"/>
                      </a:lnTo>
                      <a:lnTo>
                        <a:pt x="65" y="45"/>
                      </a:lnTo>
                      <a:lnTo>
                        <a:pt x="65" y="45"/>
                      </a:lnTo>
                      <a:lnTo>
                        <a:pt x="66" y="45"/>
                      </a:lnTo>
                      <a:lnTo>
                        <a:pt x="66" y="46"/>
                      </a:lnTo>
                      <a:lnTo>
                        <a:pt x="66" y="46"/>
                      </a:lnTo>
                      <a:lnTo>
                        <a:pt x="66" y="46"/>
                      </a:lnTo>
                      <a:lnTo>
                        <a:pt x="66" y="48"/>
                      </a:lnTo>
                      <a:lnTo>
                        <a:pt x="66" y="48"/>
                      </a:lnTo>
                      <a:lnTo>
                        <a:pt x="66" y="49"/>
                      </a:lnTo>
                      <a:lnTo>
                        <a:pt x="66" y="49"/>
                      </a:lnTo>
                      <a:lnTo>
                        <a:pt x="65" y="49"/>
                      </a:lnTo>
                      <a:lnTo>
                        <a:pt x="65" y="49"/>
                      </a:lnTo>
                      <a:lnTo>
                        <a:pt x="62" y="50"/>
                      </a:lnTo>
                      <a:lnTo>
                        <a:pt x="61" y="51"/>
                      </a:lnTo>
                      <a:lnTo>
                        <a:pt x="57" y="53"/>
                      </a:lnTo>
                      <a:lnTo>
                        <a:pt x="56" y="55"/>
                      </a:lnTo>
                      <a:lnTo>
                        <a:pt x="54" y="55"/>
                      </a:lnTo>
                      <a:lnTo>
                        <a:pt x="50" y="56"/>
                      </a:lnTo>
                      <a:lnTo>
                        <a:pt x="49" y="56"/>
                      </a:lnTo>
                      <a:lnTo>
                        <a:pt x="48" y="56"/>
                      </a:lnTo>
                      <a:lnTo>
                        <a:pt x="48" y="55"/>
                      </a:lnTo>
                      <a:lnTo>
                        <a:pt x="47" y="56"/>
                      </a:lnTo>
                      <a:lnTo>
                        <a:pt x="46" y="56"/>
                      </a:lnTo>
                      <a:lnTo>
                        <a:pt x="44" y="57"/>
                      </a:lnTo>
                      <a:lnTo>
                        <a:pt x="43" y="56"/>
                      </a:lnTo>
                      <a:lnTo>
                        <a:pt x="43" y="56"/>
                      </a:lnTo>
                      <a:lnTo>
                        <a:pt x="42" y="57"/>
                      </a:lnTo>
                      <a:lnTo>
                        <a:pt x="42" y="57"/>
                      </a:lnTo>
                      <a:lnTo>
                        <a:pt x="41" y="58"/>
                      </a:lnTo>
                      <a:lnTo>
                        <a:pt x="41" y="59"/>
                      </a:lnTo>
                      <a:lnTo>
                        <a:pt x="41" y="59"/>
                      </a:lnTo>
                      <a:lnTo>
                        <a:pt x="40" y="59"/>
                      </a:lnTo>
                      <a:lnTo>
                        <a:pt x="40" y="59"/>
                      </a:lnTo>
                      <a:lnTo>
                        <a:pt x="40" y="60"/>
                      </a:lnTo>
                      <a:lnTo>
                        <a:pt x="39" y="60"/>
                      </a:lnTo>
                      <a:lnTo>
                        <a:pt x="39" y="60"/>
                      </a:lnTo>
                      <a:lnTo>
                        <a:pt x="37" y="60"/>
                      </a:lnTo>
                      <a:lnTo>
                        <a:pt x="37" y="62"/>
                      </a:lnTo>
                      <a:lnTo>
                        <a:pt x="37" y="62"/>
                      </a:lnTo>
                      <a:lnTo>
                        <a:pt x="37" y="63"/>
                      </a:lnTo>
                      <a:lnTo>
                        <a:pt x="37" y="63"/>
                      </a:lnTo>
                      <a:lnTo>
                        <a:pt x="39" y="63"/>
                      </a:lnTo>
                      <a:lnTo>
                        <a:pt x="39" y="64"/>
                      </a:lnTo>
                      <a:lnTo>
                        <a:pt x="37" y="65"/>
                      </a:lnTo>
                      <a:lnTo>
                        <a:pt x="37" y="65"/>
                      </a:lnTo>
                      <a:lnTo>
                        <a:pt x="35" y="67"/>
                      </a:lnTo>
                      <a:lnTo>
                        <a:pt x="35" y="67"/>
                      </a:lnTo>
                      <a:lnTo>
                        <a:pt x="35" y="67"/>
                      </a:lnTo>
                      <a:lnTo>
                        <a:pt x="35" y="69"/>
                      </a:lnTo>
                      <a:lnTo>
                        <a:pt x="35" y="69"/>
                      </a:lnTo>
                      <a:lnTo>
                        <a:pt x="35" y="69"/>
                      </a:lnTo>
                      <a:lnTo>
                        <a:pt x="35" y="71"/>
                      </a:lnTo>
                      <a:lnTo>
                        <a:pt x="34" y="71"/>
                      </a:lnTo>
                      <a:lnTo>
                        <a:pt x="34" y="71"/>
                      </a:lnTo>
                      <a:lnTo>
                        <a:pt x="34" y="72"/>
                      </a:lnTo>
                      <a:lnTo>
                        <a:pt x="34" y="72"/>
                      </a:lnTo>
                      <a:lnTo>
                        <a:pt x="34" y="72"/>
                      </a:lnTo>
                      <a:lnTo>
                        <a:pt x="33" y="72"/>
                      </a:lnTo>
                      <a:lnTo>
                        <a:pt x="33" y="73"/>
                      </a:lnTo>
                      <a:lnTo>
                        <a:pt x="33" y="73"/>
                      </a:lnTo>
                      <a:lnTo>
                        <a:pt x="33" y="74"/>
                      </a:lnTo>
                      <a:lnTo>
                        <a:pt x="33" y="74"/>
                      </a:lnTo>
                      <a:lnTo>
                        <a:pt x="33" y="74"/>
                      </a:lnTo>
                      <a:lnTo>
                        <a:pt x="29" y="74"/>
                      </a:lnTo>
                      <a:lnTo>
                        <a:pt x="28" y="74"/>
                      </a:lnTo>
                      <a:lnTo>
                        <a:pt x="27" y="73"/>
                      </a:lnTo>
                      <a:lnTo>
                        <a:pt x="27" y="73"/>
                      </a:lnTo>
                      <a:lnTo>
                        <a:pt x="27" y="73"/>
                      </a:lnTo>
                      <a:lnTo>
                        <a:pt x="27" y="73"/>
                      </a:lnTo>
                      <a:lnTo>
                        <a:pt x="26" y="73"/>
                      </a:lnTo>
                      <a:lnTo>
                        <a:pt x="26" y="73"/>
                      </a:lnTo>
                      <a:lnTo>
                        <a:pt x="26" y="73"/>
                      </a:lnTo>
                      <a:lnTo>
                        <a:pt x="25" y="73"/>
                      </a:lnTo>
                      <a:lnTo>
                        <a:pt x="23" y="73"/>
                      </a:lnTo>
                      <a:lnTo>
                        <a:pt x="22" y="73"/>
                      </a:lnTo>
                      <a:lnTo>
                        <a:pt x="22" y="72"/>
                      </a:lnTo>
                      <a:lnTo>
                        <a:pt x="20" y="70"/>
                      </a:lnTo>
                      <a:lnTo>
                        <a:pt x="18" y="69"/>
                      </a:lnTo>
                      <a:lnTo>
                        <a:pt x="18" y="69"/>
                      </a:lnTo>
                      <a:lnTo>
                        <a:pt x="18" y="69"/>
                      </a:lnTo>
                      <a:lnTo>
                        <a:pt x="18" y="67"/>
                      </a:lnTo>
                      <a:lnTo>
                        <a:pt x="18" y="67"/>
                      </a:lnTo>
                      <a:lnTo>
                        <a:pt x="18" y="66"/>
                      </a:lnTo>
                      <a:lnTo>
                        <a:pt x="16" y="65"/>
                      </a:lnTo>
                      <a:lnTo>
                        <a:pt x="16" y="65"/>
                      </a:lnTo>
                      <a:lnTo>
                        <a:pt x="16" y="65"/>
                      </a:lnTo>
                      <a:lnTo>
                        <a:pt x="15" y="64"/>
                      </a:lnTo>
                      <a:lnTo>
                        <a:pt x="14" y="64"/>
                      </a:lnTo>
                      <a:lnTo>
                        <a:pt x="14" y="63"/>
                      </a:lnTo>
                      <a:lnTo>
                        <a:pt x="14" y="63"/>
                      </a:lnTo>
                      <a:lnTo>
                        <a:pt x="14" y="63"/>
                      </a:lnTo>
                      <a:lnTo>
                        <a:pt x="13" y="63"/>
                      </a:lnTo>
                      <a:lnTo>
                        <a:pt x="13" y="63"/>
                      </a:lnTo>
                      <a:lnTo>
                        <a:pt x="12" y="63"/>
                      </a:lnTo>
                      <a:lnTo>
                        <a:pt x="12" y="63"/>
                      </a:lnTo>
                      <a:lnTo>
                        <a:pt x="12" y="63"/>
                      </a:lnTo>
                      <a:lnTo>
                        <a:pt x="12" y="63"/>
                      </a:lnTo>
                      <a:lnTo>
                        <a:pt x="11" y="63"/>
                      </a:lnTo>
                      <a:lnTo>
                        <a:pt x="11" y="62"/>
                      </a:lnTo>
                      <a:lnTo>
                        <a:pt x="11" y="59"/>
                      </a:lnTo>
                      <a:lnTo>
                        <a:pt x="11" y="59"/>
                      </a:lnTo>
                      <a:lnTo>
                        <a:pt x="11" y="57"/>
                      </a:lnTo>
                      <a:lnTo>
                        <a:pt x="12" y="57"/>
                      </a:lnTo>
                      <a:lnTo>
                        <a:pt x="12" y="56"/>
                      </a:lnTo>
                      <a:lnTo>
                        <a:pt x="11" y="56"/>
                      </a:lnTo>
                      <a:lnTo>
                        <a:pt x="11" y="56"/>
                      </a:lnTo>
                      <a:lnTo>
                        <a:pt x="9" y="56"/>
                      </a:lnTo>
                      <a:lnTo>
                        <a:pt x="9" y="56"/>
                      </a:lnTo>
                      <a:lnTo>
                        <a:pt x="9" y="56"/>
                      </a:lnTo>
                      <a:lnTo>
                        <a:pt x="8" y="55"/>
                      </a:lnTo>
                      <a:lnTo>
                        <a:pt x="8" y="55"/>
                      </a:lnTo>
                      <a:lnTo>
                        <a:pt x="8" y="53"/>
                      </a:lnTo>
                      <a:lnTo>
                        <a:pt x="8" y="52"/>
                      </a:lnTo>
                      <a:lnTo>
                        <a:pt x="6" y="51"/>
                      </a:lnTo>
                      <a:lnTo>
                        <a:pt x="6" y="50"/>
                      </a:lnTo>
                      <a:lnTo>
                        <a:pt x="5" y="49"/>
                      </a:lnTo>
                      <a:lnTo>
                        <a:pt x="2" y="42"/>
                      </a:lnTo>
                      <a:lnTo>
                        <a:pt x="2" y="42"/>
                      </a:lnTo>
                      <a:lnTo>
                        <a:pt x="2" y="42"/>
                      </a:lnTo>
                      <a:lnTo>
                        <a:pt x="2" y="42"/>
                      </a:lnTo>
                      <a:lnTo>
                        <a:pt x="1" y="41"/>
                      </a:lnTo>
                      <a:lnTo>
                        <a:pt x="0" y="39"/>
                      </a:lnTo>
                      <a:lnTo>
                        <a:pt x="0" y="39"/>
                      </a:lnTo>
                      <a:lnTo>
                        <a:pt x="0" y="39"/>
                      </a:lnTo>
                      <a:lnTo>
                        <a:pt x="0" y="39"/>
                      </a:lnTo>
                      <a:lnTo>
                        <a:pt x="0" y="38"/>
                      </a:lnTo>
                      <a:lnTo>
                        <a:pt x="0" y="37"/>
                      </a:lnTo>
                      <a:lnTo>
                        <a:pt x="0" y="37"/>
                      </a:lnTo>
                      <a:lnTo>
                        <a:pt x="0" y="37"/>
                      </a:lnTo>
                      <a:lnTo>
                        <a:pt x="1" y="38"/>
                      </a:lnTo>
                      <a:lnTo>
                        <a:pt x="1" y="37"/>
                      </a:lnTo>
                      <a:lnTo>
                        <a:pt x="1" y="37"/>
                      </a:lnTo>
                      <a:lnTo>
                        <a:pt x="1" y="37"/>
                      </a:lnTo>
                      <a:lnTo>
                        <a:pt x="1" y="37"/>
                      </a:lnTo>
                      <a:lnTo>
                        <a:pt x="1" y="37"/>
                      </a:lnTo>
                      <a:lnTo>
                        <a:pt x="2" y="37"/>
                      </a:lnTo>
                      <a:lnTo>
                        <a:pt x="2" y="37"/>
                      </a:lnTo>
                      <a:lnTo>
                        <a:pt x="2" y="37"/>
                      </a:lnTo>
                      <a:lnTo>
                        <a:pt x="4" y="36"/>
                      </a:lnTo>
                      <a:lnTo>
                        <a:pt x="4" y="36"/>
                      </a:lnTo>
                      <a:lnTo>
                        <a:pt x="5" y="36"/>
                      </a:lnTo>
                      <a:lnTo>
                        <a:pt x="5" y="36"/>
                      </a:lnTo>
                      <a:lnTo>
                        <a:pt x="6" y="36"/>
                      </a:lnTo>
                      <a:lnTo>
                        <a:pt x="6" y="35"/>
                      </a:lnTo>
                      <a:lnTo>
                        <a:pt x="7" y="35"/>
                      </a:lnTo>
                      <a:lnTo>
                        <a:pt x="8" y="35"/>
                      </a:lnTo>
                      <a:lnTo>
                        <a:pt x="8" y="34"/>
                      </a:lnTo>
                      <a:lnTo>
                        <a:pt x="9" y="34"/>
                      </a:lnTo>
                      <a:lnTo>
                        <a:pt x="9" y="34"/>
                      </a:lnTo>
                      <a:lnTo>
                        <a:pt x="9" y="34"/>
                      </a:lnTo>
                      <a:lnTo>
                        <a:pt x="9" y="34"/>
                      </a:lnTo>
                      <a:lnTo>
                        <a:pt x="9" y="32"/>
                      </a:lnTo>
                      <a:lnTo>
                        <a:pt x="9" y="32"/>
                      </a:lnTo>
                      <a:lnTo>
                        <a:pt x="11" y="32"/>
                      </a:lnTo>
                      <a:lnTo>
                        <a:pt x="11" y="32"/>
                      </a:lnTo>
                      <a:lnTo>
                        <a:pt x="11" y="31"/>
                      </a:lnTo>
                      <a:lnTo>
                        <a:pt x="11" y="31"/>
                      </a:lnTo>
                      <a:lnTo>
                        <a:pt x="12" y="30"/>
                      </a:lnTo>
                      <a:lnTo>
                        <a:pt x="13" y="30"/>
                      </a:lnTo>
                      <a:lnTo>
                        <a:pt x="13" y="29"/>
                      </a:lnTo>
                      <a:lnTo>
                        <a:pt x="13" y="29"/>
                      </a:lnTo>
                      <a:lnTo>
                        <a:pt x="13" y="29"/>
                      </a:lnTo>
                      <a:lnTo>
                        <a:pt x="12" y="29"/>
                      </a:lnTo>
                      <a:lnTo>
                        <a:pt x="12" y="28"/>
                      </a:lnTo>
                      <a:lnTo>
                        <a:pt x="12" y="28"/>
                      </a:lnTo>
                      <a:lnTo>
                        <a:pt x="13" y="28"/>
                      </a:lnTo>
                      <a:lnTo>
                        <a:pt x="13" y="28"/>
                      </a:lnTo>
                      <a:lnTo>
                        <a:pt x="13" y="28"/>
                      </a:lnTo>
                      <a:lnTo>
                        <a:pt x="13" y="27"/>
                      </a:lnTo>
                      <a:lnTo>
                        <a:pt x="13" y="27"/>
                      </a:lnTo>
                      <a:lnTo>
                        <a:pt x="14" y="25"/>
                      </a:lnTo>
                      <a:lnTo>
                        <a:pt x="14" y="25"/>
                      </a:lnTo>
                      <a:lnTo>
                        <a:pt x="14" y="25"/>
                      </a:lnTo>
                      <a:lnTo>
                        <a:pt x="15" y="25"/>
                      </a:lnTo>
                      <a:lnTo>
                        <a:pt x="15" y="24"/>
                      </a:lnTo>
                      <a:lnTo>
                        <a:pt x="16" y="24"/>
                      </a:lnTo>
                      <a:lnTo>
                        <a:pt x="16" y="24"/>
                      </a:lnTo>
                      <a:lnTo>
                        <a:pt x="15" y="23"/>
                      </a:lnTo>
                      <a:lnTo>
                        <a:pt x="15" y="23"/>
                      </a:lnTo>
                      <a:lnTo>
                        <a:pt x="16" y="23"/>
                      </a:lnTo>
                      <a:lnTo>
                        <a:pt x="16" y="22"/>
                      </a:lnTo>
                      <a:lnTo>
                        <a:pt x="16" y="22"/>
                      </a:lnTo>
                      <a:lnTo>
                        <a:pt x="16" y="22"/>
                      </a:lnTo>
                      <a:lnTo>
                        <a:pt x="19" y="20"/>
                      </a:lnTo>
                      <a:lnTo>
                        <a:pt x="20" y="18"/>
                      </a:lnTo>
                      <a:lnTo>
                        <a:pt x="19" y="18"/>
                      </a:lnTo>
                      <a:lnTo>
                        <a:pt x="19" y="18"/>
                      </a:lnTo>
                      <a:lnTo>
                        <a:pt x="20" y="17"/>
                      </a:lnTo>
                      <a:lnTo>
                        <a:pt x="20" y="18"/>
                      </a:lnTo>
                      <a:lnTo>
                        <a:pt x="20" y="17"/>
                      </a:lnTo>
                      <a:lnTo>
                        <a:pt x="20" y="17"/>
                      </a:lnTo>
                      <a:lnTo>
                        <a:pt x="20" y="17"/>
                      </a:lnTo>
                      <a:lnTo>
                        <a:pt x="20" y="17"/>
                      </a:lnTo>
                      <a:lnTo>
                        <a:pt x="20" y="17"/>
                      </a:lnTo>
                      <a:lnTo>
                        <a:pt x="20" y="16"/>
                      </a:lnTo>
                      <a:lnTo>
                        <a:pt x="20" y="16"/>
                      </a:lnTo>
                      <a:lnTo>
                        <a:pt x="20" y="16"/>
                      </a:lnTo>
                      <a:lnTo>
                        <a:pt x="21" y="16"/>
                      </a:lnTo>
                      <a:lnTo>
                        <a:pt x="21" y="15"/>
                      </a:lnTo>
                      <a:lnTo>
                        <a:pt x="21" y="15"/>
                      </a:lnTo>
                      <a:lnTo>
                        <a:pt x="21" y="15"/>
                      </a:lnTo>
                      <a:lnTo>
                        <a:pt x="22" y="15"/>
                      </a:lnTo>
                      <a:lnTo>
                        <a:pt x="22" y="15"/>
                      </a:lnTo>
                      <a:lnTo>
                        <a:pt x="22" y="15"/>
                      </a:lnTo>
                      <a:lnTo>
                        <a:pt x="22" y="15"/>
                      </a:lnTo>
                      <a:lnTo>
                        <a:pt x="22" y="14"/>
                      </a:lnTo>
                      <a:lnTo>
                        <a:pt x="22" y="14"/>
                      </a:lnTo>
                      <a:lnTo>
                        <a:pt x="22" y="14"/>
                      </a:lnTo>
                      <a:lnTo>
                        <a:pt x="22" y="14"/>
                      </a:lnTo>
                      <a:lnTo>
                        <a:pt x="22" y="13"/>
                      </a:lnTo>
                      <a:lnTo>
                        <a:pt x="22" y="13"/>
                      </a:lnTo>
                      <a:lnTo>
                        <a:pt x="23" y="13"/>
                      </a:lnTo>
                      <a:lnTo>
                        <a:pt x="23" y="13"/>
                      </a:lnTo>
                      <a:lnTo>
                        <a:pt x="27" y="13"/>
                      </a:lnTo>
                      <a:lnTo>
                        <a:pt x="27" y="11"/>
                      </a:lnTo>
                      <a:lnTo>
                        <a:pt x="28" y="11"/>
                      </a:lnTo>
                      <a:lnTo>
                        <a:pt x="28" y="10"/>
                      </a:lnTo>
                      <a:lnTo>
                        <a:pt x="28" y="10"/>
                      </a:lnTo>
                      <a:lnTo>
                        <a:pt x="28" y="10"/>
                      </a:lnTo>
                      <a:lnTo>
                        <a:pt x="29" y="10"/>
                      </a:lnTo>
                      <a:lnTo>
                        <a:pt x="29" y="10"/>
                      </a:lnTo>
                      <a:lnTo>
                        <a:pt x="29" y="11"/>
                      </a:lnTo>
                      <a:lnTo>
                        <a:pt x="30" y="11"/>
                      </a:lnTo>
                      <a:lnTo>
                        <a:pt x="30" y="11"/>
                      </a:lnTo>
                      <a:lnTo>
                        <a:pt x="32" y="11"/>
                      </a:lnTo>
                      <a:lnTo>
                        <a:pt x="32" y="10"/>
                      </a:lnTo>
                      <a:lnTo>
                        <a:pt x="32" y="10"/>
                      </a:lnTo>
                      <a:lnTo>
                        <a:pt x="32" y="10"/>
                      </a:lnTo>
                      <a:lnTo>
                        <a:pt x="33" y="9"/>
                      </a:lnTo>
                      <a:lnTo>
                        <a:pt x="34" y="7"/>
                      </a:lnTo>
                      <a:lnTo>
                        <a:pt x="34" y="7"/>
                      </a:lnTo>
                      <a:lnTo>
                        <a:pt x="35" y="6"/>
                      </a:lnTo>
                      <a:lnTo>
                        <a:pt x="35" y="6"/>
                      </a:lnTo>
                      <a:lnTo>
                        <a:pt x="35" y="4"/>
                      </a:lnTo>
                      <a:lnTo>
                        <a:pt x="36" y="4"/>
                      </a:lnTo>
                      <a:lnTo>
                        <a:pt x="37" y="4"/>
                      </a:lnTo>
                      <a:lnTo>
                        <a:pt x="37" y="4"/>
                      </a:lnTo>
                      <a:lnTo>
                        <a:pt x="39" y="4"/>
                      </a:lnTo>
                      <a:lnTo>
                        <a:pt x="40" y="4"/>
                      </a:lnTo>
                      <a:lnTo>
                        <a:pt x="40" y="4"/>
                      </a:lnTo>
                      <a:lnTo>
                        <a:pt x="41" y="4"/>
                      </a:lnTo>
                      <a:lnTo>
                        <a:pt x="41" y="4"/>
                      </a:lnTo>
                      <a:lnTo>
                        <a:pt x="42" y="2"/>
                      </a:lnTo>
                      <a:lnTo>
                        <a:pt x="43" y="2"/>
                      </a:lnTo>
                      <a:lnTo>
                        <a:pt x="43" y="2"/>
                      </a:lnTo>
                      <a:lnTo>
                        <a:pt x="48" y="1"/>
                      </a:lnTo>
                      <a:lnTo>
                        <a:pt x="48" y="1"/>
                      </a:lnTo>
                      <a:lnTo>
                        <a:pt x="50" y="0"/>
                      </a:lnTo>
                      <a:lnTo>
                        <a:pt x="50" y="0"/>
                      </a:lnTo>
                      <a:lnTo>
                        <a:pt x="51" y="1"/>
                      </a:lnTo>
                      <a:lnTo>
                        <a:pt x="51" y="1"/>
                      </a:lnTo>
                      <a:lnTo>
                        <a:pt x="51" y="2"/>
                      </a:lnTo>
                      <a:lnTo>
                        <a:pt x="52" y="2"/>
                      </a:lnTo>
                      <a:lnTo>
                        <a:pt x="52" y="3"/>
                      </a:lnTo>
                      <a:lnTo>
                        <a:pt x="52" y="4"/>
                      </a:lnTo>
                      <a:lnTo>
                        <a:pt x="54" y="4"/>
                      </a:lnTo>
                      <a:lnTo>
                        <a:pt x="55" y="4"/>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29" name="Freeform 101">
                  <a:extLst>
                    <a:ext uri="{FF2B5EF4-FFF2-40B4-BE49-F238E27FC236}">
                      <a16:creationId xmlns:a16="http://schemas.microsoft.com/office/drawing/2014/main" id="{097CD6E6-B9C3-BAC5-81E8-7FC5A5E6FDE0}"/>
                    </a:ext>
                  </a:extLst>
                </p:cNvPr>
                <p:cNvSpPr>
                  <a:spLocks/>
                </p:cNvSpPr>
                <p:nvPr/>
              </p:nvSpPr>
              <p:spPr bwMode="auto">
                <a:xfrm>
                  <a:off x="5800733" y="2918086"/>
                  <a:ext cx="567910" cy="538702"/>
                </a:xfrm>
                <a:custGeom>
                  <a:avLst/>
                  <a:gdLst>
                    <a:gd name="T0" fmla="*/ 525 w 525"/>
                    <a:gd name="T1" fmla="*/ 265 h 498"/>
                    <a:gd name="T2" fmla="*/ 518 w 525"/>
                    <a:gd name="T3" fmla="*/ 304 h 498"/>
                    <a:gd name="T4" fmla="*/ 489 w 525"/>
                    <a:gd name="T5" fmla="*/ 323 h 498"/>
                    <a:gd name="T6" fmla="*/ 445 w 525"/>
                    <a:gd name="T7" fmla="*/ 328 h 498"/>
                    <a:gd name="T8" fmla="*/ 406 w 525"/>
                    <a:gd name="T9" fmla="*/ 339 h 498"/>
                    <a:gd name="T10" fmla="*/ 367 w 525"/>
                    <a:gd name="T11" fmla="*/ 336 h 498"/>
                    <a:gd name="T12" fmla="*/ 324 w 525"/>
                    <a:gd name="T13" fmla="*/ 367 h 498"/>
                    <a:gd name="T14" fmla="*/ 296 w 525"/>
                    <a:gd name="T15" fmla="*/ 384 h 498"/>
                    <a:gd name="T16" fmla="*/ 282 w 525"/>
                    <a:gd name="T17" fmla="*/ 397 h 498"/>
                    <a:gd name="T18" fmla="*/ 267 w 525"/>
                    <a:gd name="T19" fmla="*/ 391 h 498"/>
                    <a:gd name="T20" fmla="*/ 256 w 525"/>
                    <a:gd name="T21" fmla="*/ 397 h 498"/>
                    <a:gd name="T22" fmla="*/ 255 w 525"/>
                    <a:gd name="T23" fmla="*/ 414 h 498"/>
                    <a:gd name="T24" fmla="*/ 250 w 525"/>
                    <a:gd name="T25" fmla="*/ 427 h 498"/>
                    <a:gd name="T26" fmla="*/ 235 w 525"/>
                    <a:gd name="T27" fmla="*/ 438 h 498"/>
                    <a:gd name="T28" fmla="*/ 224 w 525"/>
                    <a:gd name="T29" fmla="*/ 445 h 498"/>
                    <a:gd name="T30" fmla="*/ 224 w 525"/>
                    <a:gd name="T31" fmla="*/ 466 h 498"/>
                    <a:gd name="T32" fmla="*/ 218 w 525"/>
                    <a:gd name="T33" fmla="*/ 489 h 498"/>
                    <a:gd name="T34" fmla="*/ 196 w 525"/>
                    <a:gd name="T35" fmla="*/ 495 h 498"/>
                    <a:gd name="T36" fmla="*/ 196 w 525"/>
                    <a:gd name="T37" fmla="*/ 482 h 498"/>
                    <a:gd name="T38" fmla="*/ 183 w 525"/>
                    <a:gd name="T39" fmla="*/ 484 h 498"/>
                    <a:gd name="T40" fmla="*/ 179 w 525"/>
                    <a:gd name="T41" fmla="*/ 493 h 498"/>
                    <a:gd name="T42" fmla="*/ 163 w 525"/>
                    <a:gd name="T43" fmla="*/ 496 h 498"/>
                    <a:gd name="T44" fmla="*/ 148 w 525"/>
                    <a:gd name="T45" fmla="*/ 491 h 498"/>
                    <a:gd name="T46" fmla="*/ 139 w 525"/>
                    <a:gd name="T47" fmla="*/ 495 h 498"/>
                    <a:gd name="T48" fmla="*/ 128 w 525"/>
                    <a:gd name="T49" fmla="*/ 477 h 498"/>
                    <a:gd name="T50" fmla="*/ 118 w 525"/>
                    <a:gd name="T51" fmla="*/ 469 h 498"/>
                    <a:gd name="T52" fmla="*/ 125 w 525"/>
                    <a:gd name="T53" fmla="*/ 460 h 498"/>
                    <a:gd name="T54" fmla="*/ 112 w 525"/>
                    <a:gd name="T55" fmla="*/ 442 h 498"/>
                    <a:gd name="T56" fmla="*/ 106 w 525"/>
                    <a:gd name="T57" fmla="*/ 428 h 498"/>
                    <a:gd name="T58" fmla="*/ 96 w 525"/>
                    <a:gd name="T59" fmla="*/ 430 h 498"/>
                    <a:gd name="T60" fmla="*/ 76 w 525"/>
                    <a:gd name="T61" fmla="*/ 438 h 498"/>
                    <a:gd name="T62" fmla="*/ 62 w 525"/>
                    <a:gd name="T63" fmla="*/ 434 h 498"/>
                    <a:gd name="T64" fmla="*/ 49 w 525"/>
                    <a:gd name="T65" fmla="*/ 441 h 498"/>
                    <a:gd name="T66" fmla="*/ 33 w 525"/>
                    <a:gd name="T67" fmla="*/ 441 h 498"/>
                    <a:gd name="T68" fmla="*/ 29 w 525"/>
                    <a:gd name="T69" fmla="*/ 426 h 498"/>
                    <a:gd name="T70" fmla="*/ 28 w 525"/>
                    <a:gd name="T71" fmla="*/ 411 h 498"/>
                    <a:gd name="T72" fmla="*/ 22 w 525"/>
                    <a:gd name="T73" fmla="*/ 399 h 498"/>
                    <a:gd name="T74" fmla="*/ 11 w 525"/>
                    <a:gd name="T75" fmla="*/ 392 h 498"/>
                    <a:gd name="T76" fmla="*/ 8 w 525"/>
                    <a:gd name="T77" fmla="*/ 368 h 498"/>
                    <a:gd name="T78" fmla="*/ 1 w 525"/>
                    <a:gd name="T79" fmla="*/ 353 h 498"/>
                    <a:gd name="T80" fmla="*/ 14 w 525"/>
                    <a:gd name="T81" fmla="*/ 347 h 498"/>
                    <a:gd name="T82" fmla="*/ 19 w 525"/>
                    <a:gd name="T83" fmla="*/ 326 h 498"/>
                    <a:gd name="T84" fmla="*/ 46 w 525"/>
                    <a:gd name="T85" fmla="*/ 334 h 498"/>
                    <a:gd name="T86" fmla="*/ 68 w 525"/>
                    <a:gd name="T87" fmla="*/ 330 h 498"/>
                    <a:gd name="T88" fmla="*/ 92 w 525"/>
                    <a:gd name="T89" fmla="*/ 326 h 498"/>
                    <a:gd name="T90" fmla="*/ 168 w 525"/>
                    <a:gd name="T91" fmla="*/ 325 h 498"/>
                    <a:gd name="T92" fmla="*/ 218 w 525"/>
                    <a:gd name="T93" fmla="*/ 311 h 498"/>
                    <a:gd name="T94" fmla="*/ 210 w 525"/>
                    <a:gd name="T95" fmla="*/ 279 h 498"/>
                    <a:gd name="T96" fmla="*/ 203 w 525"/>
                    <a:gd name="T97" fmla="*/ 226 h 498"/>
                    <a:gd name="T98" fmla="*/ 196 w 525"/>
                    <a:gd name="T99" fmla="*/ 166 h 498"/>
                    <a:gd name="T100" fmla="*/ 188 w 525"/>
                    <a:gd name="T101" fmla="*/ 95 h 498"/>
                    <a:gd name="T102" fmla="*/ 179 w 525"/>
                    <a:gd name="T103" fmla="*/ 27 h 498"/>
                    <a:gd name="T104" fmla="*/ 235 w 525"/>
                    <a:gd name="T105" fmla="*/ 3 h 498"/>
                    <a:gd name="T106" fmla="*/ 282 w 525"/>
                    <a:gd name="T107" fmla="*/ 35 h 498"/>
                    <a:gd name="T108" fmla="*/ 332 w 525"/>
                    <a:gd name="T109" fmla="*/ 69 h 498"/>
                    <a:gd name="T110" fmla="*/ 382 w 525"/>
                    <a:gd name="T111" fmla="*/ 104 h 498"/>
                    <a:gd name="T112" fmla="*/ 426 w 525"/>
                    <a:gd name="T113" fmla="*/ 136 h 498"/>
                    <a:gd name="T114" fmla="*/ 441 w 525"/>
                    <a:gd name="T115" fmla="*/ 152 h 498"/>
                    <a:gd name="T116" fmla="*/ 459 w 525"/>
                    <a:gd name="T117" fmla="*/ 161 h 498"/>
                    <a:gd name="T118" fmla="*/ 491 w 525"/>
                    <a:gd name="T119" fmla="*/ 184 h 498"/>
                    <a:gd name="T120" fmla="*/ 490 w 525"/>
                    <a:gd name="T121" fmla="*/ 201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5" h="498">
                      <a:moveTo>
                        <a:pt x="525" y="199"/>
                      </a:moveTo>
                      <a:lnTo>
                        <a:pt x="525" y="203"/>
                      </a:lnTo>
                      <a:lnTo>
                        <a:pt x="525" y="207"/>
                      </a:lnTo>
                      <a:lnTo>
                        <a:pt x="525" y="212"/>
                      </a:lnTo>
                      <a:lnTo>
                        <a:pt x="525" y="215"/>
                      </a:lnTo>
                      <a:lnTo>
                        <a:pt x="525" y="220"/>
                      </a:lnTo>
                      <a:lnTo>
                        <a:pt x="525" y="223"/>
                      </a:lnTo>
                      <a:lnTo>
                        <a:pt x="525" y="228"/>
                      </a:lnTo>
                      <a:lnTo>
                        <a:pt x="525" y="233"/>
                      </a:lnTo>
                      <a:lnTo>
                        <a:pt x="525" y="236"/>
                      </a:lnTo>
                      <a:lnTo>
                        <a:pt x="525" y="238"/>
                      </a:lnTo>
                      <a:lnTo>
                        <a:pt x="525" y="241"/>
                      </a:lnTo>
                      <a:lnTo>
                        <a:pt x="525" y="244"/>
                      </a:lnTo>
                      <a:lnTo>
                        <a:pt x="525" y="249"/>
                      </a:lnTo>
                      <a:lnTo>
                        <a:pt x="525" y="252"/>
                      </a:lnTo>
                      <a:lnTo>
                        <a:pt x="525" y="257"/>
                      </a:lnTo>
                      <a:lnTo>
                        <a:pt x="525" y="260"/>
                      </a:lnTo>
                      <a:lnTo>
                        <a:pt x="525" y="265"/>
                      </a:lnTo>
                      <a:lnTo>
                        <a:pt x="525" y="267"/>
                      </a:lnTo>
                      <a:lnTo>
                        <a:pt x="525" y="271"/>
                      </a:lnTo>
                      <a:lnTo>
                        <a:pt x="524" y="271"/>
                      </a:lnTo>
                      <a:lnTo>
                        <a:pt x="524" y="272"/>
                      </a:lnTo>
                      <a:lnTo>
                        <a:pt x="524" y="276"/>
                      </a:lnTo>
                      <a:lnTo>
                        <a:pt x="524" y="277"/>
                      </a:lnTo>
                      <a:lnTo>
                        <a:pt x="524" y="279"/>
                      </a:lnTo>
                      <a:lnTo>
                        <a:pt x="524" y="284"/>
                      </a:lnTo>
                      <a:lnTo>
                        <a:pt x="524" y="286"/>
                      </a:lnTo>
                      <a:lnTo>
                        <a:pt x="524" y="290"/>
                      </a:lnTo>
                      <a:lnTo>
                        <a:pt x="524" y="291"/>
                      </a:lnTo>
                      <a:lnTo>
                        <a:pt x="523" y="291"/>
                      </a:lnTo>
                      <a:lnTo>
                        <a:pt x="522" y="292"/>
                      </a:lnTo>
                      <a:lnTo>
                        <a:pt x="520" y="293"/>
                      </a:lnTo>
                      <a:lnTo>
                        <a:pt x="520" y="294"/>
                      </a:lnTo>
                      <a:lnTo>
                        <a:pt x="517" y="301"/>
                      </a:lnTo>
                      <a:lnTo>
                        <a:pt x="517" y="302"/>
                      </a:lnTo>
                      <a:lnTo>
                        <a:pt x="518" y="304"/>
                      </a:lnTo>
                      <a:lnTo>
                        <a:pt x="518" y="305"/>
                      </a:lnTo>
                      <a:lnTo>
                        <a:pt x="516" y="306"/>
                      </a:lnTo>
                      <a:lnTo>
                        <a:pt x="516" y="307"/>
                      </a:lnTo>
                      <a:lnTo>
                        <a:pt x="515" y="311"/>
                      </a:lnTo>
                      <a:lnTo>
                        <a:pt x="515" y="312"/>
                      </a:lnTo>
                      <a:lnTo>
                        <a:pt x="515" y="313"/>
                      </a:lnTo>
                      <a:lnTo>
                        <a:pt x="513" y="314"/>
                      </a:lnTo>
                      <a:lnTo>
                        <a:pt x="512" y="315"/>
                      </a:lnTo>
                      <a:lnTo>
                        <a:pt x="510" y="315"/>
                      </a:lnTo>
                      <a:lnTo>
                        <a:pt x="509" y="316"/>
                      </a:lnTo>
                      <a:lnTo>
                        <a:pt x="506" y="319"/>
                      </a:lnTo>
                      <a:lnTo>
                        <a:pt x="503" y="320"/>
                      </a:lnTo>
                      <a:lnTo>
                        <a:pt x="503" y="321"/>
                      </a:lnTo>
                      <a:lnTo>
                        <a:pt x="503" y="325"/>
                      </a:lnTo>
                      <a:lnTo>
                        <a:pt x="502" y="325"/>
                      </a:lnTo>
                      <a:lnTo>
                        <a:pt x="498" y="325"/>
                      </a:lnTo>
                      <a:lnTo>
                        <a:pt x="492" y="323"/>
                      </a:lnTo>
                      <a:lnTo>
                        <a:pt x="489" y="323"/>
                      </a:lnTo>
                      <a:lnTo>
                        <a:pt x="488" y="323"/>
                      </a:lnTo>
                      <a:lnTo>
                        <a:pt x="487" y="323"/>
                      </a:lnTo>
                      <a:lnTo>
                        <a:pt x="487" y="325"/>
                      </a:lnTo>
                      <a:lnTo>
                        <a:pt x="487" y="326"/>
                      </a:lnTo>
                      <a:lnTo>
                        <a:pt x="485" y="326"/>
                      </a:lnTo>
                      <a:lnTo>
                        <a:pt x="482" y="326"/>
                      </a:lnTo>
                      <a:lnTo>
                        <a:pt x="478" y="326"/>
                      </a:lnTo>
                      <a:lnTo>
                        <a:pt x="476" y="326"/>
                      </a:lnTo>
                      <a:lnTo>
                        <a:pt x="473" y="327"/>
                      </a:lnTo>
                      <a:lnTo>
                        <a:pt x="469" y="327"/>
                      </a:lnTo>
                      <a:lnTo>
                        <a:pt x="467" y="327"/>
                      </a:lnTo>
                      <a:lnTo>
                        <a:pt x="463" y="327"/>
                      </a:lnTo>
                      <a:lnTo>
                        <a:pt x="460" y="327"/>
                      </a:lnTo>
                      <a:lnTo>
                        <a:pt x="458" y="327"/>
                      </a:lnTo>
                      <a:lnTo>
                        <a:pt x="454" y="327"/>
                      </a:lnTo>
                      <a:lnTo>
                        <a:pt x="451" y="327"/>
                      </a:lnTo>
                      <a:lnTo>
                        <a:pt x="448" y="328"/>
                      </a:lnTo>
                      <a:lnTo>
                        <a:pt x="445" y="328"/>
                      </a:lnTo>
                      <a:lnTo>
                        <a:pt x="442" y="328"/>
                      </a:lnTo>
                      <a:lnTo>
                        <a:pt x="439" y="328"/>
                      </a:lnTo>
                      <a:lnTo>
                        <a:pt x="435" y="328"/>
                      </a:lnTo>
                      <a:lnTo>
                        <a:pt x="433" y="328"/>
                      </a:lnTo>
                      <a:lnTo>
                        <a:pt x="432" y="328"/>
                      </a:lnTo>
                      <a:lnTo>
                        <a:pt x="432" y="329"/>
                      </a:lnTo>
                      <a:lnTo>
                        <a:pt x="430" y="332"/>
                      </a:lnTo>
                      <a:lnTo>
                        <a:pt x="427" y="334"/>
                      </a:lnTo>
                      <a:lnTo>
                        <a:pt x="425" y="335"/>
                      </a:lnTo>
                      <a:lnTo>
                        <a:pt x="423" y="337"/>
                      </a:lnTo>
                      <a:lnTo>
                        <a:pt x="421" y="339"/>
                      </a:lnTo>
                      <a:lnTo>
                        <a:pt x="420" y="339"/>
                      </a:lnTo>
                      <a:lnTo>
                        <a:pt x="416" y="339"/>
                      </a:lnTo>
                      <a:lnTo>
                        <a:pt x="414" y="339"/>
                      </a:lnTo>
                      <a:lnTo>
                        <a:pt x="413" y="340"/>
                      </a:lnTo>
                      <a:lnTo>
                        <a:pt x="412" y="340"/>
                      </a:lnTo>
                      <a:lnTo>
                        <a:pt x="407" y="339"/>
                      </a:lnTo>
                      <a:lnTo>
                        <a:pt x="406" y="339"/>
                      </a:lnTo>
                      <a:lnTo>
                        <a:pt x="404" y="339"/>
                      </a:lnTo>
                      <a:lnTo>
                        <a:pt x="403" y="339"/>
                      </a:lnTo>
                      <a:lnTo>
                        <a:pt x="398" y="339"/>
                      </a:lnTo>
                      <a:lnTo>
                        <a:pt x="398" y="340"/>
                      </a:lnTo>
                      <a:lnTo>
                        <a:pt x="398" y="341"/>
                      </a:lnTo>
                      <a:lnTo>
                        <a:pt x="390" y="339"/>
                      </a:lnTo>
                      <a:lnTo>
                        <a:pt x="385" y="336"/>
                      </a:lnTo>
                      <a:lnTo>
                        <a:pt x="383" y="336"/>
                      </a:lnTo>
                      <a:lnTo>
                        <a:pt x="382" y="336"/>
                      </a:lnTo>
                      <a:lnTo>
                        <a:pt x="380" y="337"/>
                      </a:lnTo>
                      <a:lnTo>
                        <a:pt x="378" y="339"/>
                      </a:lnTo>
                      <a:lnTo>
                        <a:pt x="377" y="339"/>
                      </a:lnTo>
                      <a:lnTo>
                        <a:pt x="377" y="337"/>
                      </a:lnTo>
                      <a:lnTo>
                        <a:pt x="376" y="336"/>
                      </a:lnTo>
                      <a:lnTo>
                        <a:pt x="376" y="335"/>
                      </a:lnTo>
                      <a:lnTo>
                        <a:pt x="375" y="335"/>
                      </a:lnTo>
                      <a:lnTo>
                        <a:pt x="368" y="336"/>
                      </a:lnTo>
                      <a:lnTo>
                        <a:pt x="367" y="336"/>
                      </a:lnTo>
                      <a:lnTo>
                        <a:pt x="366" y="336"/>
                      </a:lnTo>
                      <a:lnTo>
                        <a:pt x="364" y="339"/>
                      </a:lnTo>
                      <a:lnTo>
                        <a:pt x="357" y="344"/>
                      </a:lnTo>
                      <a:lnTo>
                        <a:pt x="356" y="346"/>
                      </a:lnTo>
                      <a:lnTo>
                        <a:pt x="355" y="346"/>
                      </a:lnTo>
                      <a:lnTo>
                        <a:pt x="349" y="347"/>
                      </a:lnTo>
                      <a:lnTo>
                        <a:pt x="348" y="348"/>
                      </a:lnTo>
                      <a:lnTo>
                        <a:pt x="338" y="355"/>
                      </a:lnTo>
                      <a:lnTo>
                        <a:pt x="335" y="356"/>
                      </a:lnTo>
                      <a:lnTo>
                        <a:pt x="333" y="356"/>
                      </a:lnTo>
                      <a:lnTo>
                        <a:pt x="330" y="356"/>
                      </a:lnTo>
                      <a:lnTo>
                        <a:pt x="328" y="356"/>
                      </a:lnTo>
                      <a:lnTo>
                        <a:pt x="327" y="356"/>
                      </a:lnTo>
                      <a:lnTo>
                        <a:pt x="327" y="357"/>
                      </a:lnTo>
                      <a:lnTo>
                        <a:pt x="327" y="365"/>
                      </a:lnTo>
                      <a:lnTo>
                        <a:pt x="326" y="365"/>
                      </a:lnTo>
                      <a:lnTo>
                        <a:pt x="325" y="367"/>
                      </a:lnTo>
                      <a:lnTo>
                        <a:pt x="324" y="367"/>
                      </a:lnTo>
                      <a:lnTo>
                        <a:pt x="323" y="367"/>
                      </a:lnTo>
                      <a:lnTo>
                        <a:pt x="316" y="363"/>
                      </a:lnTo>
                      <a:lnTo>
                        <a:pt x="313" y="363"/>
                      </a:lnTo>
                      <a:lnTo>
                        <a:pt x="311" y="363"/>
                      </a:lnTo>
                      <a:lnTo>
                        <a:pt x="309" y="364"/>
                      </a:lnTo>
                      <a:lnTo>
                        <a:pt x="307" y="365"/>
                      </a:lnTo>
                      <a:lnTo>
                        <a:pt x="306" y="368"/>
                      </a:lnTo>
                      <a:lnTo>
                        <a:pt x="305" y="368"/>
                      </a:lnTo>
                      <a:lnTo>
                        <a:pt x="300" y="370"/>
                      </a:lnTo>
                      <a:lnTo>
                        <a:pt x="300" y="372"/>
                      </a:lnTo>
                      <a:lnTo>
                        <a:pt x="299" y="376"/>
                      </a:lnTo>
                      <a:lnTo>
                        <a:pt x="298" y="377"/>
                      </a:lnTo>
                      <a:lnTo>
                        <a:pt x="298" y="378"/>
                      </a:lnTo>
                      <a:lnTo>
                        <a:pt x="298" y="381"/>
                      </a:lnTo>
                      <a:lnTo>
                        <a:pt x="299" y="383"/>
                      </a:lnTo>
                      <a:lnTo>
                        <a:pt x="298" y="384"/>
                      </a:lnTo>
                      <a:lnTo>
                        <a:pt x="297" y="384"/>
                      </a:lnTo>
                      <a:lnTo>
                        <a:pt x="296" y="384"/>
                      </a:lnTo>
                      <a:lnTo>
                        <a:pt x="295" y="384"/>
                      </a:lnTo>
                      <a:lnTo>
                        <a:pt x="295" y="385"/>
                      </a:lnTo>
                      <a:lnTo>
                        <a:pt x="293" y="385"/>
                      </a:lnTo>
                      <a:lnTo>
                        <a:pt x="293" y="384"/>
                      </a:lnTo>
                      <a:lnTo>
                        <a:pt x="292" y="383"/>
                      </a:lnTo>
                      <a:lnTo>
                        <a:pt x="291" y="383"/>
                      </a:lnTo>
                      <a:lnTo>
                        <a:pt x="290" y="383"/>
                      </a:lnTo>
                      <a:lnTo>
                        <a:pt x="289" y="382"/>
                      </a:lnTo>
                      <a:lnTo>
                        <a:pt x="288" y="382"/>
                      </a:lnTo>
                      <a:lnTo>
                        <a:pt x="286" y="382"/>
                      </a:lnTo>
                      <a:lnTo>
                        <a:pt x="288" y="383"/>
                      </a:lnTo>
                      <a:lnTo>
                        <a:pt x="288" y="385"/>
                      </a:lnTo>
                      <a:lnTo>
                        <a:pt x="288" y="386"/>
                      </a:lnTo>
                      <a:lnTo>
                        <a:pt x="286" y="388"/>
                      </a:lnTo>
                      <a:lnTo>
                        <a:pt x="288" y="396"/>
                      </a:lnTo>
                      <a:lnTo>
                        <a:pt x="283" y="396"/>
                      </a:lnTo>
                      <a:lnTo>
                        <a:pt x="282" y="396"/>
                      </a:lnTo>
                      <a:lnTo>
                        <a:pt x="282" y="397"/>
                      </a:lnTo>
                      <a:lnTo>
                        <a:pt x="282" y="398"/>
                      </a:lnTo>
                      <a:lnTo>
                        <a:pt x="282" y="399"/>
                      </a:lnTo>
                      <a:lnTo>
                        <a:pt x="281" y="399"/>
                      </a:lnTo>
                      <a:lnTo>
                        <a:pt x="279" y="399"/>
                      </a:lnTo>
                      <a:lnTo>
                        <a:pt x="278" y="399"/>
                      </a:lnTo>
                      <a:lnTo>
                        <a:pt x="278" y="398"/>
                      </a:lnTo>
                      <a:lnTo>
                        <a:pt x="277" y="398"/>
                      </a:lnTo>
                      <a:lnTo>
                        <a:pt x="275" y="397"/>
                      </a:lnTo>
                      <a:lnTo>
                        <a:pt x="272" y="396"/>
                      </a:lnTo>
                      <a:lnTo>
                        <a:pt x="270" y="393"/>
                      </a:lnTo>
                      <a:lnTo>
                        <a:pt x="269" y="393"/>
                      </a:lnTo>
                      <a:lnTo>
                        <a:pt x="268" y="392"/>
                      </a:lnTo>
                      <a:lnTo>
                        <a:pt x="267" y="392"/>
                      </a:lnTo>
                      <a:lnTo>
                        <a:pt x="266" y="392"/>
                      </a:lnTo>
                      <a:lnTo>
                        <a:pt x="264" y="392"/>
                      </a:lnTo>
                      <a:lnTo>
                        <a:pt x="266" y="392"/>
                      </a:lnTo>
                      <a:lnTo>
                        <a:pt x="266" y="391"/>
                      </a:lnTo>
                      <a:lnTo>
                        <a:pt x="267" y="391"/>
                      </a:lnTo>
                      <a:lnTo>
                        <a:pt x="267" y="390"/>
                      </a:lnTo>
                      <a:lnTo>
                        <a:pt x="266" y="390"/>
                      </a:lnTo>
                      <a:lnTo>
                        <a:pt x="266" y="389"/>
                      </a:lnTo>
                      <a:lnTo>
                        <a:pt x="264" y="389"/>
                      </a:lnTo>
                      <a:lnTo>
                        <a:pt x="264" y="390"/>
                      </a:lnTo>
                      <a:lnTo>
                        <a:pt x="266" y="390"/>
                      </a:lnTo>
                      <a:lnTo>
                        <a:pt x="264" y="390"/>
                      </a:lnTo>
                      <a:lnTo>
                        <a:pt x="264" y="391"/>
                      </a:lnTo>
                      <a:lnTo>
                        <a:pt x="263" y="391"/>
                      </a:lnTo>
                      <a:lnTo>
                        <a:pt x="262" y="392"/>
                      </a:lnTo>
                      <a:lnTo>
                        <a:pt x="261" y="392"/>
                      </a:lnTo>
                      <a:lnTo>
                        <a:pt x="261" y="393"/>
                      </a:lnTo>
                      <a:lnTo>
                        <a:pt x="260" y="395"/>
                      </a:lnTo>
                      <a:lnTo>
                        <a:pt x="260" y="396"/>
                      </a:lnTo>
                      <a:lnTo>
                        <a:pt x="259" y="396"/>
                      </a:lnTo>
                      <a:lnTo>
                        <a:pt x="257" y="396"/>
                      </a:lnTo>
                      <a:lnTo>
                        <a:pt x="257" y="397"/>
                      </a:lnTo>
                      <a:lnTo>
                        <a:pt x="256" y="397"/>
                      </a:lnTo>
                      <a:lnTo>
                        <a:pt x="256" y="398"/>
                      </a:lnTo>
                      <a:lnTo>
                        <a:pt x="257" y="399"/>
                      </a:lnTo>
                      <a:lnTo>
                        <a:pt x="256" y="399"/>
                      </a:lnTo>
                      <a:lnTo>
                        <a:pt x="254" y="399"/>
                      </a:lnTo>
                      <a:lnTo>
                        <a:pt x="254" y="400"/>
                      </a:lnTo>
                      <a:lnTo>
                        <a:pt x="254" y="402"/>
                      </a:lnTo>
                      <a:lnTo>
                        <a:pt x="253" y="402"/>
                      </a:lnTo>
                      <a:lnTo>
                        <a:pt x="254" y="402"/>
                      </a:lnTo>
                      <a:lnTo>
                        <a:pt x="254" y="403"/>
                      </a:lnTo>
                      <a:lnTo>
                        <a:pt x="255" y="405"/>
                      </a:lnTo>
                      <a:lnTo>
                        <a:pt x="256" y="406"/>
                      </a:lnTo>
                      <a:lnTo>
                        <a:pt x="257" y="406"/>
                      </a:lnTo>
                      <a:lnTo>
                        <a:pt x="257" y="407"/>
                      </a:lnTo>
                      <a:lnTo>
                        <a:pt x="257" y="410"/>
                      </a:lnTo>
                      <a:lnTo>
                        <a:pt x="257" y="411"/>
                      </a:lnTo>
                      <a:lnTo>
                        <a:pt x="257" y="413"/>
                      </a:lnTo>
                      <a:lnTo>
                        <a:pt x="256" y="414"/>
                      </a:lnTo>
                      <a:lnTo>
                        <a:pt x="255" y="414"/>
                      </a:lnTo>
                      <a:lnTo>
                        <a:pt x="254" y="414"/>
                      </a:lnTo>
                      <a:lnTo>
                        <a:pt x="253" y="413"/>
                      </a:lnTo>
                      <a:lnTo>
                        <a:pt x="252" y="413"/>
                      </a:lnTo>
                      <a:lnTo>
                        <a:pt x="250" y="414"/>
                      </a:lnTo>
                      <a:lnTo>
                        <a:pt x="249" y="414"/>
                      </a:lnTo>
                      <a:lnTo>
                        <a:pt x="249" y="417"/>
                      </a:lnTo>
                      <a:lnTo>
                        <a:pt x="250" y="418"/>
                      </a:lnTo>
                      <a:lnTo>
                        <a:pt x="252" y="418"/>
                      </a:lnTo>
                      <a:lnTo>
                        <a:pt x="252" y="420"/>
                      </a:lnTo>
                      <a:lnTo>
                        <a:pt x="253" y="420"/>
                      </a:lnTo>
                      <a:lnTo>
                        <a:pt x="252" y="421"/>
                      </a:lnTo>
                      <a:lnTo>
                        <a:pt x="252" y="423"/>
                      </a:lnTo>
                      <a:lnTo>
                        <a:pt x="250" y="423"/>
                      </a:lnTo>
                      <a:lnTo>
                        <a:pt x="250" y="424"/>
                      </a:lnTo>
                      <a:lnTo>
                        <a:pt x="252" y="426"/>
                      </a:lnTo>
                      <a:lnTo>
                        <a:pt x="252" y="427"/>
                      </a:lnTo>
                      <a:lnTo>
                        <a:pt x="250" y="428"/>
                      </a:lnTo>
                      <a:lnTo>
                        <a:pt x="250" y="427"/>
                      </a:lnTo>
                      <a:lnTo>
                        <a:pt x="249" y="427"/>
                      </a:lnTo>
                      <a:lnTo>
                        <a:pt x="249" y="428"/>
                      </a:lnTo>
                      <a:lnTo>
                        <a:pt x="249" y="430"/>
                      </a:lnTo>
                      <a:lnTo>
                        <a:pt x="246" y="432"/>
                      </a:lnTo>
                      <a:lnTo>
                        <a:pt x="247" y="433"/>
                      </a:lnTo>
                      <a:lnTo>
                        <a:pt x="246" y="433"/>
                      </a:lnTo>
                      <a:lnTo>
                        <a:pt x="245" y="434"/>
                      </a:lnTo>
                      <a:lnTo>
                        <a:pt x="245" y="435"/>
                      </a:lnTo>
                      <a:lnTo>
                        <a:pt x="243" y="435"/>
                      </a:lnTo>
                      <a:lnTo>
                        <a:pt x="242" y="435"/>
                      </a:lnTo>
                      <a:lnTo>
                        <a:pt x="242" y="437"/>
                      </a:lnTo>
                      <a:lnTo>
                        <a:pt x="241" y="437"/>
                      </a:lnTo>
                      <a:lnTo>
                        <a:pt x="241" y="438"/>
                      </a:lnTo>
                      <a:lnTo>
                        <a:pt x="240" y="438"/>
                      </a:lnTo>
                      <a:lnTo>
                        <a:pt x="239" y="438"/>
                      </a:lnTo>
                      <a:lnTo>
                        <a:pt x="238" y="438"/>
                      </a:lnTo>
                      <a:lnTo>
                        <a:pt x="236" y="438"/>
                      </a:lnTo>
                      <a:lnTo>
                        <a:pt x="235" y="438"/>
                      </a:lnTo>
                      <a:lnTo>
                        <a:pt x="234" y="438"/>
                      </a:lnTo>
                      <a:lnTo>
                        <a:pt x="233" y="439"/>
                      </a:lnTo>
                      <a:lnTo>
                        <a:pt x="232" y="439"/>
                      </a:lnTo>
                      <a:lnTo>
                        <a:pt x="231" y="439"/>
                      </a:lnTo>
                      <a:lnTo>
                        <a:pt x="229" y="439"/>
                      </a:lnTo>
                      <a:lnTo>
                        <a:pt x="228" y="440"/>
                      </a:lnTo>
                      <a:lnTo>
                        <a:pt x="227" y="440"/>
                      </a:lnTo>
                      <a:lnTo>
                        <a:pt x="226" y="441"/>
                      </a:lnTo>
                      <a:lnTo>
                        <a:pt x="225" y="442"/>
                      </a:lnTo>
                      <a:lnTo>
                        <a:pt x="225" y="444"/>
                      </a:lnTo>
                      <a:lnTo>
                        <a:pt x="224" y="444"/>
                      </a:lnTo>
                      <a:lnTo>
                        <a:pt x="222" y="444"/>
                      </a:lnTo>
                      <a:lnTo>
                        <a:pt x="221" y="444"/>
                      </a:lnTo>
                      <a:lnTo>
                        <a:pt x="220" y="444"/>
                      </a:lnTo>
                      <a:lnTo>
                        <a:pt x="220" y="445"/>
                      </a:lnTo>
                      <a:lnTo>
                        <a:pt x="221" y="445"/>
                      </a:lnTo>
                      <a:lnTo>
                        <a:pt x="222" y="445"/>
                      </a:lnTo>
                      <a:lnTo>
                        <a:pt x="224" y="445"/>
                      </a:lnTo>
                      <a:lnTo>
                        <a:pt x="224" y="446"/>
                      </a:lnTo>
                      <a:lnTo>
                        <a:pt x="224" y="447"/>
                      </a:lnTo>
                      <a:lnTo>
                        <a:pt x="225" y="447"/>
                      </a:lnTo>
                      <a:lnTo>
                        <a:pt x="224" y="448"/>
                      </a:lnTo>
                      <a:lnTo>
                        <a:pt x="224" y="449"/>
                      </a:lnTo>
                      <a:lnTo>
                        <a:pt x="224" y="451"/>
                      </a:lnTo>
                      <a:lnTo>
                        <a:pt x="225" y="451"/>
                      </a:lnTo>
                      <a:lnTo>
                        <a:pt x="226" y="452"/>
                      </a:lnTo>
                      <a:lnTo>
                        <a:pt x="226" y="453"/>
                      </a:lnTo>
                      <a:lnTo>
                        <a:pt x="226" y="455"/>
                      </a:lnTo>
                      <a:lnTo>
                        <a:pt x="226" y="456"/>
                      </a:lnTo>
                      <a:lnTo>
                        <a:pt x="226" y="458"/>
                      </a:lnTo>
                      <a:lnTo>
                        <a:pt x="225" y="458"/>
                      </a:lnTo>
                      <a:lnTo>
                        <a:pt x="225" y="459"/>
                      </a:lnTo>
                      <a:lnTo>
                        <a:pt x="225" y="462"/>
                      </a:lnTo>
                      <a:lnTo>
                        <a:pt x="225" y="463"/>
                      </a:lnTo>
                      <a:lnTo>
                        <a:pt x="224" y="465"/>
                      </a:lnTo>
                      <a:lnTo>
                        <a:pt x="224" y="466"/>
                      </a:lnTo>
                      <a:lnTo>
                        <a:pt x="222" y="467"/>
                      </a:lnTo>
                      <a:lnTo>
                        <a:pt x="221" y="467"/>
                      </a:lnTo>
                      <a:lnTo>
                        <a:pt x="218" y="468"/>
                      </a:lnTo>
                      <a:lnTo>
                        <a:pt x="218" y="469"/>
                      </a:lnTo>
                      <a:lnTo>
                        <a:pt x="218" y="470"/>
                      </a:lnTo>
                      <a:lnTo>
                        <a:pt x="218" y="472"/>
                      </a:lnTo>
                      <a:lnTo>
                        <a:pt x="219" y="473"/>
                      </a:lnTo>
                      <a:lnTo>
                        <a:pt x="219" y="474"/>
                      </a:lnTo>
                      <a:lnTo>
                        <a:pt x="220" y="475"/>
                      </a:lnTo>
                      <a:lnTo>
                        <a:pt x="219" y="477"/>
                      </a:lnTo>
                      <a:lnTo>
                        <a:pt x="219" y="479"/>
                      </a:lnTo>
                      <a:lnTo>
                        <a:pt x="218" y="481"/>
                      </a:lnTo>
                      <a:lnTo>
                        <a:pt x="219" y="482"/>
                      </a:lnTo>
                      <a:lnTo>
                        <a:pt x="219" y="483"/>
                      </a:lnTo>
                      <a:lnTo>
                        <a:pt x="219" y="484"/>
                      </a:lnTo>
                      <a:lnTo>
                        <a:pt x="218" y="486"/>
                      </a:lnTo>
                      <a:lnTo>
                        <a:pt x="218" y="487"/>
                      </a:lnTo>
                      <a:lnTo>
                        <a:pt x="218" y="489"/>
                      </a:lnTo>
                      <a:lnTo>
                        <a:pt x="217" y="489"/>
                      </a:lnTo>
                      <a:lnTo>
                        <a:pt x="215" y="488"/>
                      </a:lnTo>
                      <a:lnTo>
                        <a:pt x="214" y="488"/>
                      </a:lnTo>
                      <a:lnTo>
                        <a:pt x="212" y="489"/>
                      </a:lnTo>
                      <a:lnTo>
                        <a:pt x="208" y="489"/>
                      </a:lnTo>
                      <a:lnTo>
                        <a:pt x="206" y="491"/>
                      </a:lnTo>
                      <a:lnTo>
                        <a:pt x="205" y="491"/>
                      </a:lnTo>
                      <a:lnTo>
                        <a:pt x="205" y="493"/>
                      </a:lnTo>
                      <a:lnTo>
                        <a:pt x="205" y="494"/>
                      </a:lnTo>
                      <a:lnTo>
                        <a:pt x="205" y="495"/>
                      </a:lnTo>
                      <a:lnTo>
                        <a:pt x="203" y="494"/>
                      </a:lnTo>
                      <a:lnTo>
                        <a:pt x="203" y="495"/>
                      </a:lnTo>
                      <a:lnTo>
                        <a:pt x="203" y="496"/>
                      </a:lnTo>
                      <a:lnTo>
                        <a:pt x="202" y="496"/>
                      </a:lnTo>
                      <a:lnTo>
                        <a:pt x="202" y="497"/>
                      </a:lnTo>
                      <a:lnTo>
                        <a:pt x="199" y="497"/>
                      </a:lnTo>
                      <a:lnTo>
                        <a:pt x="196" y="496"/>
                      </a:lnTo>
                      <a:lnTo>
                        <a:pt x="196" y="495"/>
                      </a:lnTo>
                      <a:lnTo>
                        <a:pt x="195" y="495"/>
                      </a:lnTo>
                      <a:lnTo>
                        <a:pt x="195" y="494"/>
                      </a:lnTo>
                      <a:lnTo>
                        <a:pt x="195" y="493"/>
                      </a:lnTo>
                      <a:lnTo>
                        <a:pt x="196" y="494"/>
                      </a:lnTo>
                      <a:lnTo>
                        <a:pt x="196" y="493"/>
                      </a:lnTo>
                      <a:lnTo>
                        <a:pt x="196" y="491"/>
                      </a:lnTo>
                      <a:lnTo>
                        <a:pt x="196" y="490"/>
                      </a:lnTo>
                      <a:lnTo>
                        <a:pt x="196" y="489"/>
                      </a:lnTo>
                      <a:lnTo>
                        <a:pt x="196" y="488"/>
                      </a:lnTo>
                      <a:lnTo>
                        <a:pt x="196" y="487"/>
                      </a:lnTo>
                      <a:lnTo>
                        <a:pt x="195" y="487"/>
                      </a:lnTo>
                      <a:lnTo>
                        <a:pt x="193" y="487"/>
                      </a:lnTo>
                      <a:lnTo>
                        <a:pt x="193" y="486"/>
                      </a:lnTo>
                      <a:lnTo>
                        <a:pt x="195" y="486"/>
                      </a:lnTo>
                      <a:lnTo>
                        <a:pt x="195" y="484"/>
                      </a:lnTo>
                      <a:lnTo>
                        <a:pt x="195" y="483"/>
                      </a:lnTo>
                      <a:lnTo>
                        <a:pt x="196" y="483"/>
                      </a:lnTo>
                      <a:lnTo>
                        <a:pt x="196" y="482"/>
                      </a:lnTo>
                      <a:lnTo>
                        <a:pt x="195" y="482"/>
                      </a:lnTo>
                      <a:lnTo>
                        <a:pt x="193" y="482"/>
                      </a:lnTo>
                      <a:lnTo>
                        <a:pt x="195" y="481"/>
                      </a:lnTo>
                      <a:lnTo>
                        <a:pt x="193" y="480"/>
                      </a:lnTo>
                      <a:lnTo>
                        <a:pt x="192" y="480"/>
                      </a:lnTo>
                      <a:lnTo>
                        <a:pt x="191" y="481"/>
                      </a:lnTo>
                      <a:lnTo>
                        <a:pt x="190" y="481"/>
                      </a:lnTo>
                      <a:lnTo>
                        <a:pt x="189" y="481"/>
                      </a:lnTo>
                      <a:lnTo>
                        <a:pt x="188" y="482"/>
                      </a:lnTo>
                      <a:lnTo>
                        <a:pt x="188" y="483"/>
                      </a:lnTo>
                      <a:lnTo>
                        <a:pt x="189" y="483"/>
                      </a:lnTo>
                      <a:lnTo>
                        <a:pt x="189" y="484"/>
                      </a:lnTo>
                      <a:lnTo>
                        <a:pt x="189" y="486"/>
                      </a:lnTo>
                      <a:lnTo>
                        <a:pt x="188" y="486"/>
                      </a:lnTo>
                      <a:lnTo>
                        <a:pt x="186" y="486"/>
                      </a:lnTo>
                      <a:lnTo>
                        <a:pt x="185" y="486"/>
                      </a:lnTo>
                      <a:lnTo>
                        <a:pt x="185" y="484"/>
                      </a:lnTo>
                      <a:lnTo>
                        <a:pt x="183" y="484"/>
                      </a:lnTo>
                      <a:lnTo>
                        <a:pt x="183" y="483"/>
                      </a:lnTo>
                      <a:lnTo>
                        <a:pt x="182" y="483"/>
                      </a:lnTo>
                      <a:lnTo>
                        <a:pt x="182" y="482"/>
                      </a:lnTo>
                      <a:lnTo>
                        <a:pt x="181" y="482"/>
                      </a:lnTo>
                      <a:lnTo>
                        <a:pt x="181" y="483"/>
                      </a:lnTo>
                      <a:lnTo>
                        <a:pt x="179" y="483"/>
                      </a:lnTo>
                      <a:lnTo>
                        <a:pt x="179" y="484"/>
                      </a:lnTo>
                      <a:lnTo>
                        <a:pt x="181" y="484"/>
                      </a:lnTo>
                      <a:lnTo>
                        <a:pt x="181" y="486"/>
                      </a:lnTo>
                      <a:lnTo>
                        <a:pt x="179" y="487"/>
                      </a:lnTo>
                      <a:lnTo>
                        <a:pt x="179" y="488"/>
                      </a:lnTo>
                      <a:lnTo>
                        <a:pt x="181" y="489"/>
                      </a:lnTo>
                      <a:lnTo>
                        <a:pt x="182" y="489"/>
                      </a:lnTo>
                      <a:lnTo>
                        <a:pt x="182" y="490"/>
                      </a:lnTo>
                      <a:lnTo>
                        <a:pt x="181" y="490"/>
                      </a:lnTo>
                      <a:lnTo>
                        <a:pt x="181" y="491"/>
                      </a:lnTo>
                      <a:lnTo>
                        <a:pt x="181" y="493"/>
                      </a:lnTo>
                      <a:lnTo>
                        <a:pt x="179" y="493"/>
                      </a:lnTo>
                      <a:lnTo>
                        <a:pt x="178" y="491"/>
                      </a:lnTo>
                      <a:lnTo>
                        <a:pt x="177" y="491"/>
                      </a:lnTo>
                      <a:lnTo>
                        <a:pt x="176" y="491"/>
                      </a:lnTo>
                      <a:lnTo>
                        <a:pt x="175" y="493"/>
                      </a:lnTo>
                      <a:lnTo>
                        <a:pt x="174" y="493"/>
                      </a:lnTo>
                      <a:lnTo>
                        <a:pt x="172" y="493"/>
                      </a:lnTo>
                      <a:lnTo>
                        <a:pt x="171" y="493"/>
                      </a:lnTo>
                      <a:lnTo>
                        <a:pt x="170" y="495"/>
                      </a:lnTo>
                      <a:lnTo>
                        <a:pt x="170" y="496"/>
                      </a:lnTo>
                      <a:lnTo>
                        <a:pt x="171" y="496"/>
                      </a:lnTo>
                      <a:lnTo>
                        <a:pt x="171" y="497"/>
                      </a:lnTo>
                      <a:lnTo>
                        <a:pt x="171" y="498"/>
                      </a:lnTo>
                      <a:lnTo>
                        <a:pt x="170" y="498"/>
                      </a:lnTo>
                      <a:lnTo>
                        <a:pt x="169" y="498"/>
                      </a:lnTo>
                      <a:lnTo>
                        <a:pt x="168" y="498"/>
                      </a:lnTo>
                      <a:lnTo>
                        <a:pt x="168" y="497"/>
                      </a:lnTo>
                      <a:lnTo>
                        <a:pt x="167" y="497"/>
                      </a:lnTo>
                      <a:lnTo>
                        <a:pt x="163" y="496"/>
                      </a:lnTo>
                      <a:lnTo>
                        <a:pt x="161" y="496"/>
                      </a:lnTo>
                      <a:lnTo>
                        <a:pt x="160" y="496"/>
                      </a:lnTo>
                      <a:lnTo>
                        <a:pt x="158" y="496"/>
                      </a:lnTo>
                      <a:lnTo>
                        <a:pt x="158" y="495"/>
                      </a:lnTo>
                      <a:lnTo>
                        <a:pt x="158" y="493"/>
                      </a:lnTo>
                      <a:lnTo>
                        <a:pt x="157" y="493"/>
                      </a:lnTo>
                      <a:lnTo>
                        <a:pt x="156" y="493"/>
                      </a:lnTo>
                      <a:lnTo>
                        <a:pt x="155" y="491"/>
                      </a:lnTo>
                      <a:lnTo>
                        <a:pt x="155" y="490"/>
                      </a:lnTo>
                      <a:lnTo>
                        <a:pt x="155" y="489"/>
                      </a:lnTo>
                      <a:lnTo>
                        <a:pt x="154" y="489"/>
                      </a:lnTo>
                      <a:lnTo>
                        <a:pt x="153" y="490"/>
                      </a:lnTo>
                      <a:lnTo>
                        <a:pt x="151" y="490"/>
                      </a:lnTo>
                      <a:lnTo>
                        <a:pt x="150" y="490"/>
                      </a:lnTo>
                      <a:lnTo>
                        <a:pt x="149" y="489"/>
                      </a:lnTo>
                      <a:lnTo>
                        <a:pt x="149" y="490"/>
                      </a:lnTo>
                      <a:lnTo>
                        <a:pt x="148" y="490"/>
                      </a:lnTo>
                      <a:lnTo>
                        <a:pt x="148" y="491"/>
                      </a:lnTo>
                      <a:lnTo>
                        <a:pt x="148" y="490"/>
                      </a:lnTo>
                      <a:lnTo>
                        <a:pt x="148" y="491"/>
                      </a:lnTo>
                      <a:lnTo>
                        <a:pt x="147" y="491"/>
                      </a:lnTo>
                      <a:lnTo>
                        <a:pt x="147" y="493"/>
                      </a:lnTo>
                      <a:lnTo>
                        <a:pt x="146" y="493"/>
                      </a:lnTo>
                      <a:lnTo>
                        <a:pt x="146" y="494"/>
                      </a:lnTo>
                      <a:lnTo>
                        <a:pt x="146" y="495"/>
                      </a:lnTo>
                      <a:lnTo>
                        <a:pt x="144" y="495"/>
                      </a:lnTo>
                      <a:lnTo>
                        <a:pt x="144" y="496"/>
                      </a:lnTo>
                      <a:lnTo>
                        <a:pt x="143" y="497"/>
                      </a:lnTo>
                      <a:lnTo>
                        <a:pt x="142" y="497"/>
                      </a:lnTo>
                      <a:lnTo>
                        <a:pt x="142" y="498"/>
                      </a:lnTo>
                      <a:lnTo>
                        <a:pt x="141" y="498"/>
                      </a:lnTo>
                      <a:lnTo>
                        <a:pt x="140" y="498"/>
                      </a:lnTo>
                      <a:lnTo>
                        <a:pt x="139" y="498"/>
                      </a:lnTo>
                      <a:lnTo>
                        <a:pt x="140" y="497"/>
                      </a:lnTo>
                      <a:lnTo>
                        <a:pt x="140" y="496"/>
                      </a:lnTo>
                      <a:lnTo>
                        <a:pt x="139" y="495"/>
                      </a:lnTo>
                      <a:lnTo>
                        <a:pt x="139" y="494"/>
                      </a:lnTo>
                      <a:lnTo>
                        <a:pt x="138" y="493"/>
                      </a:lnTo>
                      <a:lnTo>
                        <a:pt x="136" y="493"/>
                      </a:lnTo>
                      <a:lnTo>
                        <a:pt x="135" y="493"/>
                      </a:lnTo>
                      <a:lnTo>
                        <a:pt x="134" y="493"/>
                      </a:lnTo>
                      <a:lnTo>
                        <a:pt x="134" y="491"/>
                      </a:lnTo>
                      <a:lnTo>
                        <a:pt x="134" y="490"/>
                      </a:lnTo>
                      <a:lnTo>
                        <a:pt x="133" y="490"/>
                      </a:lnTo>
                      <a:lnTo>
                        <a:pt x="132" y="490"/>
                      </a:lnTo>
                      <a:lnTo>
                        <a:pt x="131" y="490"/>
                      </a:lnTo>
                      <a:lnTo>
                        <a:pt x="131" y="489"/>
                      </a:lnTo>
                      <a:lnTo>
                        <a:pt x="129" y="488"/>
                      </a:lnTo>
                      <a:lnTo>
                        <a:pt x="129" y="487"/>
                      </a:lnTo>
                      <a:lnTo>
                        <a:pt x="128" y="481"/>
                      </a:lnTo>
                      <a:lnTo>
                        <a:pt x="128" y="480"/>
                      </a:lnTo>
                      <a:lnTo>
                        <a:pt x="127" y="480"/>
                      </a:lnTo>
                      <a:lnTo>
                        <a:pt x="127" y="479"/>
                      </a:lnTo>
                      <a:lnTo>
                        <a:pt x="128" y="477"/>
                      </a:lnTo>
                      <a:lnTo>
                        <a:pt x="128" y="476"/>
                      </a:lnTo>
                      <a:lnTo>
                        <a:pt x="128" y="473"/>
                      </a:lnTo>
                      <a:lnTo>
                        <a:pt x="128" y="472"/>
                      </a:lnTo>
                      <a:lnTo>
                        <a:pt x="127" y="472"/>
                      </a:lnTo>
                      <a:lnTo>
                        <a:pt x="127" y="470"/>
                      </a:lnTo>
                      <a:lnTo>
                        <a:pt x="126" y="470"/>
                      </a:lnTo>
                      <a:lnTo>
                        <a:pt x="125" y="470"/>
                      </a:lnTo>
                      <a:lnTo>
                        <a:pt x="124" y="470"/>
                      </a:lnTo>
                      <a:lnTo>
                        <a:pt x="122" y="470"/>
                      </a:lnTo>
                      <a:lnTo>
                        <a:pt x="121" y="472"/>
                      </a:lnTo>
                      <a:lnTo>
                        <a:pt x="121" y="473"/>
                      </a:lnTo>
                      <a:lnTo>
                        <a:pt x="120" y="473"/>
                      </a:lnTo>
                      <a:lnTo>
                        <a:pt x="119" y="473"/>
                      </a:lnTo>
                      <a:lnTo>
                        <a:pt x="118" y="473"/>
                      </a:lnTo>
                      <a:lnTo>
                        <a:pt x="117" y="474"/>
                      </a:lnTo>
                      <a:lnTo>
                        <a:pt x="115" y="473"/>
                      </a:lnTo>
                      <a:lnTo>
                        <a:pt x="117" y="472"/>
                      </a:lnTo>
                      <a:lnTo>
                        <a:pt x="118" y="469"/>
                      </a:lnTo>
                      <a:lnTo>
                        <a:pt x="118" y="468"/>
                      </a:lnTo>
                      <a:lnTo>
                        <a:pt x="119" y="468"/>
                      </a:lnTo>
                      <a:lnTo>
                        <a:pt x="120" y="467"/>
                      </a:lnTo>
                      <a:lnTo>
                        <a:pt x="120" y="466"/>
                      </a:lnTo>
                      <a:lnTo>
                        <a:pt x="120" y="465"/>
                      </a:lnTo>
                      <a:lnTo>
                        <a:pt x="121" y="465"/>
                      </a:lnTo>
                      <a:lnTo>
                        <a:pt x="122" y="465"/>
                      </a:lnTo>
                      <a:lnTo>
                        <a:pt x="122" y="463"/>
                      </a:lnTo>
                      <a:lnTo>
                        <a:pt x="122" y="462"/>
                      </a:lnTo>
                      <a:lnTo>
                        <a:pt x="124" y="463"/>
                      </a:lnTo>
                      <a:lnTo>
                        <a:pt x="125" y="463"/>
                      </a:lnTo>
                      <a:lnTo>
                        <a:pt x="126" y="463"/>
                      </a:lnTo>
                      <a:lnTo>
                        <a:pt x="126" y="462"/>
                      </a:lnTo>
                      <a:lnTo>
                        <a:pt x="126" y="461"/>
                      </a:lnTo>
                      <a:lnTo>
                        <a:pt x="125" y="461"/>
                      </a:lnTo>
                      <a:lnTo>
                        <a:pt x="125" y="460"/>
                      </a:lnTo>
                      <a:lnTo>
                        <a:pt x="126" y="460"/>
                      </a:lnTo>
                      <a:lnTo>
                        <a:pt x="125" y="460"/>
                      </a:lnTo>
                      <a:lnTo>
                        <a:pt x="125" y="459"/>
                      </a:lnTo>
                      <a:lnTo>
                        <a:pt x="122" y="459"/>
                      </a:lnTo>
                      <a:lnTo>
                        <a:pt x="121" y="459"/>
                      </a:lnTo>
                      <a:lnTo>
                        <a:pt x="121" y="458"/>
                      </a:lnTo>
                      <a:lnTo>
                        <a:pt x="120" y="458"/>
                      </a:lnTo>
                      <a:lnTo>
                        <a:pt x="120" y="456"/>
                      </a:lnTo>
                      <a:lnTo>
                        <a:pt x="119" y="456"/>
                      </a:lnTo>
                      <a:lnTo>
                        <a:pt x="117" y="456"/>
                      </a:lnTo>
                      <a:lnTo>
                        <a:pt x="117" y="455"/>
                      </a:lnTo>
                      <a:lnTo>
                        <a:pt x="115" y="454"/>
                      </a:lnTo>
                      <a:lnTo>
                        <a:pt x="115" y="452"/>
                      </a:lnTo>
                      <a:lnTo>
                        <a:pt x="114" y="451"/>
                      </a:lnTo>
                      <a:lnTo>
                        <a:pt x="114" y="452"/>
                      </a:lnTo>
                      <a:lnTo>
                        <a:pt x="113" y="452"/>
                      </a:lnTo>
                      <a:lnTo>
                        <a:pt x="112" y="452"/>
                      </a:lnTo>
                      <a:lnTo>
                        <a:pt x="112" y="451"/>
                      </a:lnTo>
                      <a:lnTo>
                        <a:pt x="111" y="451"/>
                      </a:lnTo>
                      <a:lnTo>
                        <a:pt x="112" y="442"/>
                      </a:lnTo>
                      <a:lnTo>
                        <a:pt x="112" y="441"/>
                      </a:lnTo>
                      <a:lnTo>
                        <a:pt x="112" y="440"/>
                      </a:lnTo>
                      <a:lnTo>
                        <a:pt x="112" y="439"/>
                      </a:lnTo>
                      <a:lnTo>
                        <a:pt x="111" y="439"/>
                      </a:lnTo>
                      <a:lnTo>
                        <a:pt x="110" y="439"/>
                      </a:lnTo>
                      <a:lnTo>
                        <a:pt x="108" y="439"/>
                      </a:lnTo>
                      <a:lnTo>
                        <a:pt x="108" y="438"/>
                      </a:lnTo>
                      <a:lnTo>
                        <a:pt x="108" y="437"/>
                      </a:lnTo>
                      <a:lnTo>
                        <a:pt x="108" y="435"/>
                      </a:lnTo>
                      <a:lnTo>
                        <a:pt x="108" y="434"/>
                      </a:lnTo>
                      <a:lnTo>
                        <a:pt x="107" y="433"/>
                      </a:lnTo>
                      <a:lnTo>
                        <a:pt x="107" y="434"/>
                      </a:lnTo>
                      <a:lnTo>
                        <a:pt x="106" y="434"/>
                      </a:lnTo>
                      <a:lnTo>
                        <a:pt x="106" y="433"/>
                      </a:lnTo>
                      <a:lnTo>
                        <a:pt x="106" y="432"/>
                      </a:lnTo>
                      <a:lnTo>
                        <a:pt x="106" y="431"/>
                      </a:lnTo>
                      <a:lnTo>
                        <a:pt x="106" y="430"/>
                      </a:lnTo>
                      <a:lnTo>
                        <a:pt x="106" y="428"/>
                      </a:lnTo>
                      <a:lnTo>
                        <a:pt x="106" y="427"/>
                      </a:lnTo>
                      <a:lnTo>
                        <a:pt x="105" y="427"/>
                      </a:lnTo>
                      <a:lnTo>
                        <a:pt x="100" y="425"/>
                      </a:lnTo>
                      <a:lnTo>
                        <a:pt x="99" y="425"/>
                      </a:lnTo>
                      <a:lnTo>
                        <a:pt x="97" y="424"/>
                      </a:lnTo>
                      <a:lnTo>
                        <a:pt x="96" y="425"/>
                      </a:lnTo>
                      <a:lnTo>
                        <a:pt x="96" y="424"/>
                      </a:lnTo>
                      <a:lnTo>
                        <a:pt x="94" y="424"/>
                      </a:lnTo>
                      <a:lnTo>
                        <a:pt x="94" y="425"/>
                      </a:lnTo>
                      <a:lnTo>
                        <a:pt x="93" y="425"/>
                      </a:lnTo>
                      <a:lnTo>
                        <a:pt x="92" y="425"/>
                      </a:lnTo>
                      <a:lnTo>
                        <a:pt x="92" y="426"/>
                      </a:lnTo>
                      <a:lnTo>
                        <a:pt x="93" y="426"/>
                      </a:lnTo>
                      <a:lnTo>
                        <a:pt x="93" y="427"/>
                      </a:lnTo>
                      <a:lnTo>
                        <a:pt x="94" y="427"/>
                      </a:lnTo>
                      <a:lnTo>
                        <a:pt x="94" y="428"/>
                      </a:lnTo>
                      <a:lnTo>
                        <a:pt x="96" y="428"/>
                      </a:lnTo>
                      <a:lnTo>
                        <a:pt x="96" y="430"/>
                      </a:lnTo>
                      <a:lnTo>
                        <a:pt x="94" y="430"/>
                      </a:lnTo>
                      <a:lnTo>
                        <a:pt x="94" y="431"/>
                      </a:lnTo>
                      <a:lnTo>
                        <a:pt x="94" y="432"/>
                      </a:lnTo>
                      <a:lnTo>
                        <a:pt x="92" y="432"/>
                      </a:lnTo>
                      <a:lnTo>
                        <a:pt x="91" y="432"/>
                      </a:lnTo>
                      <a:lnTo>
                        <a:pt x="90" y="432"/>
                      </a:lnTo>
                      <a:lnTo>
                        <a:pt x="90" y="433"/>
                      </a:lnTo>
                      <a:lnTo>
                        <a:pt x="89" y="433"/>
                      </a:lnTo>
                      <a:lnTo>
                        <a:pt x="85" y="434"/>
                      </a:lnTo>
                      <a:lnTo>
                        <a:pt x="84" y="435"/>
                      </a:lnTo>
                      <a:lnTo>
                        <a:pt x="84" y="437"/>
                      </a:lnTo>
                      <a:lnTo>
                        <a:pt x="84" y="438"/>
                      </a:lnTo>
                      <a:lnTo>
                        <a:pt x="83" y="439"/>
                      </a:lnTo>
                      <a:lnTo>
                        <a:pt x="80" y="439"/>
                      </a:lnTo>
                      <a:lnTo>
                        <a:pt x="79" y="439"/>
                      </a:lnTo>
                      <a:lnTo>
                        <a:pt x="78" y="439"/>
                      </a:lnTo>
                      <a:lnTo>
                        <a:pt x="77" y="439"/>
                      </a:lnTo>
                      <a:lnTo>
                        <a:pt x="76" y="438"/>
                      </a:lnTo>
                      <a:lnTo>
                        <a:pt x="75" y="438"/>
                      </a:lnTo>
                      <a:lnTo>
                        <a:pt x="74" y="437"/>
                      </a:lnTo>
                      <a:lnTo>
                        <a:pt x="72" y="437"/>
                      </a:lnTo>
                      <a:lnTo>
                        <a:pt x="72" y="435"/>
                      </a:lnTo>
                      <a:lnTo>
                        <a:pt x="71" y="435"/>
                      </a:lnTo>
                      <a:lnTo>
                        <a:pt x="70" y="435"/>
                      </a:lnTo>
                      <a:lnTo>
                        <a:pt x="70" y="434"/>
                      </a:lnTo>
                      <a:lnTo>
                        <a:pt x="69" y="434"/>
                      </a:lnTo>
                      <a:lnTo>
                        <a:pt x="68" y="434"/>
                      </a:lnTo>
                      <a:lnTo>
                        <a:pt x="67" y="434"/>
                      </a:lnTo>
                      <a:lnTo>
                        <a:pt x="65" y="434"/>
                      </a:lnTo>
                      <a:lnTo>
                        <a:pt x="65" y="433"/>
                      </a:lnTo>
                      <a:lnTo>
                        <a:pt x="64" y="434"/>
                      </a:lnTo>
                      <a:lnTo>
                        <a:pt x="63" y="434"/>
                      </a:lnTo>
                      <a:lnTo>
                        <a:pt x="62" y="434"/>
                      </a:lnTo>
                      <a:lnTo>
                        <a:pt x="63" y="435"/>
                      </a:lnTo>
                      <a:lnTo>
                        <a:pt x="62" y="435"/>
                      </a:lnTo>
                      <a:lnTo>
                        <a:pt x="62" y="434"/>
                      </a:lnTo>
                      <a:lnTo>
                        <a:pt x="61" y="435"/>
                      </a:lnTo>
                      <a:lnTo>
                        <a:pt x="60" y="435"/>
                      </a:lnTo>
                      <a:lnTo>
                        <a:pt x="60" y="437"/>
                      </a:lnTo>
                      <a:lnTo>
                        <a:pt x="58" y="437"/>
                      </a:lnTo>
                      <a:lnTo>
                        <a:pt x="57" y="437"/>
                      </a:lnTo>
                      <a:lnTo>
                        <a:pt x="57" y="438"/>
                      </a:lnTo>
                      <a:lnTo>
                        <a:pt x="57" y="439"/>
                      </a:lnTo>
                      <a:lnTo>
                        <a:pt x="56" y="440"/>
                      </a:lnTo>
                      <a:lnTo>
                        <a:pt x="56" y="441"/>
                      </a:lnTo>
                      <a:lnTo>
                        <a:pt x="55" y="441"/>
                      </a:lnTo>
                      <a:lnTo>
                        <a:pt x="54" y="441"/>
                      </a:lnTo>
                      <a:lnTo>
                        <a:pt x="54" y="442"/>
                      </a:lnTo>
                      <a:lnTo>
                        <a:pt x="54" y="444"/>
                      </a:lnTo>
                      <a:lnTo>
                        <a:pt x="53" y="444"/>
                      </a:lnTo>
                      <a:lnTo>
                        <a:pt x="53" y="445"/>
                      </a:lnTo>
                      <a:lnTo>
                        <a:pt x="51" y="445"/>
                      </a:lnTo>
                      <a:lnTo>
                        <a:pt x="50" y="444"/>
                      </a:lnTo>
                      <a:lnTo>
                        <a:pt x="49" y="441"/>
                      </a:lnTo>
                      <a:lnTo>
                        <a:pt x="48" y="440"/>
                      </a:lnTo>
                      <a:lnTo>
                        <a:pt x="48" y="439"/>
                      </a:lnTo>
                      <a:lnTo>
                        <a:pt x="48" y="438"/>
                      </a:lnTo>
                      <a:lnTo>
                        <a:pt x="47" y="437"/>
                      </a:lnTo>
                      <a:lnTo>
                        <a:pt x="46" y="437"/>
                      </a:lnTo>
                      <a:lnTo>
                        <a:pt x="44" y="434"/>
                      </a:lnTo>
                      <a:lnTo>
                        <a:pt x="43" y="434"/>
                      </a:lnTo>
                      <a:lnTo>
                        <a:pt x="41" y="434"/>
                      </a:lnTo>
                      <a:lnTo>
                        <a:pt x="40" y="434"/>
                      </a:lnTo>
                      <a:lnTo>
                        <a:pt x="40" y="437"/>
                      </a:lnTo>
                      <a:lnTo>
                        <a:pt x="39" y="438"/>
                      </a:lnTo>
                      <a:lnTo>
                        <a:pt x="37" y="438"/>
                      </a:lnTo>
                      <a:lnTo>
                        <a:pt x="37" y="439"/>
                      </a:lnTo>
                      <a:lnTo>
                        <a:pt x="36" y="439"/>
                      </a:lnTo>
                      <a:lnTo>
                        <a:pt x="36" y="440"/>
                      </a:lnTo>
                      <a:lnTo>
                        <a:pt x="35" y="441"/>
                      </a:lnTo>
                      <a:lnTo>
                        <a:pt x="34" y="441"/>
                      </a:lnTo>
                      <a:lnTo>
                        <a:pt x="33" y="441"/>
                      </a:lnTo>
                      <a:lnTo>
                        <a:pt x="32" y="441"/>
                      </a:lnTo>
                      <a:lnTo>
                        <a:pt x="32" y="440"/>
                      </a:lnTo>
                      <a:lnTo>
                        <a:pt x="30" y="440"/>
                      </a:lnTo>
                      <a:lnTo>
                        <a:pt x="29" y="438"/>
                      </a:lnTo>
                      <a:lnTo>
                        <a:pt x="27" y="437"/>
                      </a:lnTo>
                      <a:lnTo>
                        <a:pt x="26" y="437"/>
                      </a:lnTo>
                      <a:lnTo>
                        <a:pt x="26" y="435"/>
                      </a:lnTo>
                      <a:lnTo>
                        <a:pt x="26" y="434"/>
                      </a:lnTo>
                      <a:lnTo>
                        <a:pt x="27" y="433"/>
                      </a:lnTo>
                      <a:lnTo>
                        <a:pt x="28" y="432"/>
                      </a:lnTo>
                      <a:lnTo>
                        <a:pt x="28" y="431"/>
                      </a:lnTo>
                      <a:lnTo>
                        <a:pt x="27" y="430"/>
                      </a:lnTo>
                      <a:lnTo>
                        <a:pt x="28" y="428"/>
                      </a:lnTo>
                      <a:lnTo>
                        <a:pt x="29" y="428"/>
                      </a:lnTo>
                      <a:lnTo>
                        <a:pt x="29" y="427"/>
                      </a:lnTo>
                      <a:lnTo>
                        <a:pt x="29" y="426"/>
                      </a:lnTo>
                      <a:lnTo>
                        <a:pt x="29" y="425"/>
                      </a:lnTo>
                      <a:lnTo>
                        <a:pt x="29" y="426"/>
                      </a:lnTo>
                      <a:lnTo>
                        <a:pt x="29" y="425"/>
                      </a:lnTo>
                      <a:lnTo>
                        <a:pt x="28" y="425"/>
                      </a:lnTo>
                      <a:lnTo>
                        <a:pt x="28" y="424"/>
                      </a:lnTo>
                      <a:lnTo>
                        <a:pt x="28" y="425"/>
                      </a:lnTo>
                      <a:lnTo>
                        <a:pt x="27" y="424"/>
                      </a:lnTo>
                      <a:lnTo>
                        <a:pt x="28" y="423"/>
                      </a:lnTo>
                      <a:lnTo>
                        <a:pt x="28" y="421"/>
                      </a:lnTo>
                      <a:lnTo>
                        <a:pt x="28" y="420"/>
                      </a:lnTo>
                      <a:lnTo>
                        <a:pt x="27" y="420"/>
                      </a:lnTo>
                      <a:lnTo>
                        <a:pt x="27" y="419"/>
                      </a:lnTo>
                      <a:lnTo>
                        <a:pt x="28" y="418"/>
                      </a:lnTo>
                      <a:lnTo>
                        <a:pt x="29" y="418"/>
                      </a:lnTo>
                      <a:lnTo>
                        <a:pt x="28" y="417"/>
                      </a:lnTo>
                      <a:lnTo>
                        <a:pt x="28" y="416"/>
                      </a:lnTo>
                      <a:lnTo>
                        <a:pt x="28" y="414"/>
                      </a:lnTo>
                      <a:lnTo>
                        <a:pt x="28" y="413"/>
                      </a:lnTo>
                      <a:lnTo>
                        <a:pt x="28" y="412"/>
                      </a:lnTo>
                      <a:lnTo>
                        <a:pt x="28" y="411"/>
                      </a:lnTo>
                      <a:lnTo>
                        <a:pt x="29" y="411"/>
                      </a:lnTo>
                      <a:lnTo>
                        <a:pt x="29" y="410"/>
                      </a:lnTo>
                      <a:lnTo>
                        <a:pt x="28" y="409"/>
                      </a:lnTo>
                      <a:lnTo>
                        <a:pt x="28" y="410"/>
                      </a:lnTo>
                      <a:lnTo>
                        <a:pt x="27" y="410"/>
                      </a:lnTo>
                      <a:lnTo>
                        <a:pt x="28" y="410"/>
                      </a:lnTo>
                      <a:lnTo>
                        <a:pt x="28" y="409"/>
                      </a:lnTo>
                      <a:lnTo>
                        <a:pt x="27" y="409"/>
                      </a:lnTo>
                      <a:lnTo>
                        <a:pt x="27" y="407"/>
                      </a:lnTo>
                      <a:lnTo>
                        <a:pt x="27" y="406"/>
                      </a:lnTo>
                      <a:lnTo>
                        <a:pt x="26" y="406"/>
                      </a:lnTo>
                      <a:lnTo>
                        <a:pt x="26" y="405"/>
                      </a:lnTo>
                      <a:lnTo>
                        <a:pt x="25" y="405"/>
                      </a:lnTo>
                      <a:lnTo>
                        <a:pt x="25" y="404"/>
                      </a:lnTo>
                      <a:lnTo>
                        <a:pt x="23" y="403"/>
                      </a:lnTo>
                      <a:lnTo>
                        <a:pt x="23" y="402"/>
                      </a:lnTo>
                      <a:lnTo>
                        <a:pt x="23" y="400"/>
                      </a:lnTo>
                      <a:lnTo>
                        <a:pt x="22" y="399"/>
                      </a:lnTo>
                      <a:lnTo>
                        <a:pt x="22" y="398"/>
                      </a:lnTo>
                      <a:lnTo>
                        <a:pt x="21" y="398"/>
                      </a:lnTo>
                      <a:lnTo>
                        <a:pt x="21" y="397"/>
                      </a:lnTo>
                      <a:lnTo>
                        <a:pt x="20" y="396"/>
                      </a:lnTo>
                      <a:lnTo>
                        <a:pt x="19" y="397"/>
                      </a:lnTo>
                      <a:lnTo>
                        <a:pt x="19" y="396"/>
                      </a:lnTo>
                      <a:lnTo>
                        <a:pt x="18" y="396"/>
                      </a:lnTo>
                      <a:lnTo>
                        <a:pt x="16" y="397"/>
                      </a:lnTo>
                      <a:lnTo>
                        <a:pt x="16" y="398"/>
                      </a:lnTo>
                      <a:lnTo>
                        <a:pt x="15" y="399"/>
                      </a:lnTo>
                      <a:lnTo>
                        <a:pt x="14" y="398"/>
                      </a:lnTo>
                      <a:lnTo>
                        <a:pt x="14" y="397"/>
                      </a:lnTo>
                      <a:lnTo>
                        <a:pt x="13" y="397"/>
                      </a:lnTo>
                      <a:lnTo>
                        <a:pt x="13" y="395"/>
                      </a:lnTo>
                      <a:lnTo>
                        <a:pt x="13" y="393"/>
                      </a:lnTo>
                      <a:lnTo>
                        <a:pt x="12" y="393"/>
                      </a:lnTo>
                      <a:lnTo>
                        <a:pt x="12" y="392"/>
                      </a:lnTo>
                      <a:lnTo>
                        <a:pt x="11" y="392"/>
                      </a:lnTo>
                      <a:lnTo>
                        <a:pt x="10" y="391"/>
                      </a:lnTo>
                      <a:lnTo>
                        <a:pt x="8" y="391"/>
                      </a:lnTo>
                      <a:lnTo>
                        <a:pt x="8" y="390"/>
                      </a:lnTo>
                      <a:lnTo>
                        <a:pt x="7" y="389"/>
                      </a:lnTo>
                      <a:lnTo>
                        <a:pt x="7" y="388"/>
                      </a:lnTo>
                      <a:lnTo>
                        <a:pt x="6" y="386"/>
                      </a:lnTo>
                      <a:lnTo>
                        <a:pt x="8" y="384"/>
                      </a:lnTo>
                      <a:lnTo>
                        <a:pt x="10" y="383"/>
                      </a:lnTo>
                      <a:lnTo>
                        <a:pt x="11" y="382"/>
                      </a:lnTo>
                      <a:lnTo>
                        <a:pt x="11" y="381"/>
                      </a:lnTo>
                      <a:lnTo>
                        <a:pt x="11" y="379"/>
                      </a:lnTo>
                      <a:lnTo>
                        <a:pt x="10" y="378"/>
                      </a:lnTo>
                      <a:lnTo>
                        <a:pt x="8" y="378"/>
                      </a:lnTo>
                      <a:lnTo>
                        <a:pt x="8" y="377"/>
                      </a:lnTo>
                      <a:lnTo>
                        <a:pt x="8" y="376"/>
                      </a:lnTo>
                      <a:lnTo>
                        <a:pt x="8" y="372"/>
                      </a:lnTo>
                      <a:lnTo>
                        <a:pt x="10" y="371"/>
                      </a:lnTo>
                      <a:lnTo>
                        <a:pt x="8" y="368"/>
                      </a:lnTo>
                      <a:lnTo>
                        <a:pt x="7" y="368"/>
                      </a:lnTo>
                      <a:lnTo>
                        <a:pt x="6" y="367"/>
                      </a:lnTo>
                      <a:lnTo>
                        <a:pt x="5" y="367"/>
                      </a:lnTo>
                      <a:lnTo>
                        <a:pt x="5" y="365"/>
                      </a:lnTo>
                      <a:lnTo>
                        <a:pt x="5" y="364"/>
                      </a:lnTo>
                      <a:lnTo>
                        <a:pt x="3" y="364"/>
                      </a:lnTo>
                      <a:lnTo>
                        <a:pt x="1" y="364"/>
                      </a:lnTo>
                      <a:lnTo>
                        <a:pt x="1" y="362"/>
                      </a:lnTo>
                      <a:lnTo>
                        <a:pt x="1" y="360"/>
                      </a:lnTo>
                      <a:lnTo>
                        <a:pt x="1" y="358"/>
                      </a:lnTo>
                      <a:lnTo>
                        <a:pt x="3" y="358"/>
                      </a:lnTo>
                      <a:lnTo>
                        <a:pt x="3" y="357"/>
                      </a:lnTo>
                      <a:lnTo>
                        <a:pt x="4" y="356"/>
                      </a:lnTo>
                      <a:lnTo>
                        <a:pt x="4" y="355"/>
                      </a:lnTo>
                      <a:lnTo>
                        <a:pt x="3" y="355"/>
                      </a:lnTo>
                      <a:lnTo>
                        <a:pt x="3" y="354"/>
                      </a:lnTo>
                      <a:lnTo>
                        <a:pt x="1" y="354"/>
                      </a:lnTo>
                      <a:lnTo>
                        <a:pt x="1" y="353"/>
                      </a:lnTo>
                      <a:lnTo>
                        <a:pt x="0" y="353"/>
                      </a:lnTo>
                      <a:lnTo>
                        <a:pt x="0" y="351"/>
                      </a:lnTo>
                      <a:lnTo>
                        <a:pt x="1" y="351"/>
                      </a:lnTo>
                      <a:lnTo>
                        <a:pt x="3" y="351"/>
                      </a:lnTo>
                      <a:lnTo>
                        <a:pt x="4" y="351"/>
                      </a:lnTo>
                      <a:lnTo>
                        <a:pt x="4" y="350"/>
                      </a:lnTo>
                      <a:lnTo>
                        <a:pt x="5" y="351"/>
                      </a:lnTo>
                      <a:lnTo>
                        <a:pt x="6" y="353"/>
                      </a:lnTo>
                      <a:lnTo>
                        <a:pt x="7" y="351"/>
                      </a:lnTo>
                      <a:lnTo>
                        <a:pt x="8" y="351"/>
                      </a:lnTo>
                      <a:lnTo>
                        <a:pt x="10" y="350"/>
                      </a:lnTo>
                      <a:lnTo>
                        <a:pt x="11" y="350"/>
                      </a:lnTo>
                      <a:lnTo>
                        <a:pt x="11" y="349"/>
                      </a:lnTo>
                      <a:lnTo>
                        <a:pt x="12" y="349"/>
                      </a:lnTo>
                      <a:lnTo>
                        <a:pt x="13" y="349"/>
                      </a:lnTo>
                      <a:lnTo>
                        <a:pt x="13" y="348"/>
                      </a:lnTo>
                      <a:lnTo>
                        <a:pt x="13" y="347"/>
                      </a:lnTo>
                      <a:lnTo>
                        <a:pt x="14" y="347"/>
                      </a:lnTo>
                      <a:lnTo>
                        <a:pt x="14" y="346"/>
                      </a:lnTo>
                      <a:lnTo>
                        <a:pt x="14" y="344"/>
                      </a:lnTo>
                      <a:lnTo>
                        <a:pt x="14" y="343"/>
                      </a:lnTo>
                      <a:lnTo>
                        <a:pt x="14" y="342"/>
                      </a:lnTo>
                      <a:lnTo>
                        <a:pt x="13" y="342"/>
                      </a:lnTo>
                      <a:lnTo>
                        <a:pt x="13" y="341"/>
                      </a:lnTo>
                      <a:lnTo>
                        <a:pt x="13" y="340"/>
                      </a:lnTo>
                      <a:lnTo>
                        <a:pt x="13" y="339"/>
                      </a:lnTo>
                      <a:lnTo>
                        <a:pt x="13" y="337"/>
                      </a:lnTo>
                      <a:lnTo>
                        <a:pt x="14" y="336"/>
                      </a:lnTo>
                      <a:lnTo>
                        <a:pt x="14" y="334"/>
                      </a:lnTo>
                      <a:lnTo>
                        <a:pt x="15" y="332"/>
                      </a:lnTo>
                      <a:lnTo>
                        <a:pt x="15" y="329"/>
                      </a:lnTo>
                      <a:lnTo>
                        <a:pt x="16" y="328"/>
                      </a:lnTo>
                      <a:lnTo>
                        <a:pt x="16" y="327"/>
                      </a:lnTo>
                      <a:lnTo>
                        <a:pt x="16" y="326"/>
                      </a:lnTo>
                      <a:lnTo>
                        <a:pt x="18" y="326"/>
                      </a:lnTo>
                      <a:lnTo>
                        <a:pt x="19" y="326"/>
                      </a:lnTo>
                      <a:lnTo>
                        <a:pt x="20" y="326"/>
                      </a:lnTo>
                      <a:lnTo>
                        <a:pt x="21" y="325"/>
                      </a:lnTo>
                      <a:lnTo>
                        <a:pt x="22" y="323"/>
                      </a:lnTo>
                      <a:lnTo>
                        <a:pt x="23" y="323"/>
                      </a:lnTo>
                      <a:lnTo>
                        <a:pt x="23" y="322"/>
                      </a:lnTo>
                      <a:lnTo>
                        <a:pt x="26" y="322"/>
                      </a:lnTo>
                      <a:lnTo>
                        <a:pt x="27" y="323"/>
                      </a:lnTo>
                      <a:lnTo>
                        <a:pt x="30" y="328"/>
                      </a:lnTo>
                      <a:lnTo>
                        <a:pt x="39" y="334"/>
                      </a:lnTo>
                      <a:lnTo>
                        <a:pt x="40" y="335"/>
                      </a:lnTo>
                      <a:lnTo>
                        <a:pt x="41" y="337"/>
                      </a:lnTo>
                      <a:lnTo>
                        <a:pt x="42" y="337"/>
                      </a:lnTo>
                      <a:lnTo>
                        <a:pt x="43" y="340"/>
                      </a:lnTo>
                      <a:lnTo>
                        <a:pt x="43" y="339"/>
                      </a:lnTo>
                      <a:lnTo>
                        <a:pt x="43" y="337"/>
                      </a:lnTo>
                      <a:lnTo>
                        <a:pt x="44" y="336"/>
                      </a:lnTo>
                      <a:lnTo>
                        <a:pt x="46" y="335"/>
                      </a:lnTo>
                      <a:lnTo>
                        <a:pt x="46" y="334"/>
                      </a:lnTo>
                      <a:lnTo>
                        <a:pt x="47" y="333"/>
                      </a:lnTo>
                      <a:lnTo>
                        <a:pt x="48" y="333"/>
                      </a:lnTo>
                      <a:lnTo>
                        <a:pt x="48" y="332"/>
                      </a:lnTo>
                      <a:lnTo>
                        <a:pt x="48" y="330"/>
                      </a:lnTo>
                      <a:lnTo>
                        <a:pt x="48" y="329"/>
                      </a:lnTo>
                      <a:lnTo>
                        <a:pt x="49" y="329"/>
                      </a:lnTo>
                      <a:lnTo>
                        <a:pt x="49" y="328"/>
                      </a:lnTo>
                      <a:lnTo>
                        <a:pt x="51" y="329"/>
                      </a:lnTo>
                      <a:lnTo>
                        <a:pt x="53" y="329"/>
                      </a:lnTo>
                      <a:lnTo>
                        <a:pt x="54" y="329"/>
                      </a:lnTo>
                      <a:lnTo>
                        <a:pt x="55" y="328"/>
                      </a:lnTo>
                      <a:lnTo>
                        <a:pt x="56" y="328"/>
                      </a:lnTo>
                      <a:lnTo>
                        <a:pt x="60" y="328"/>
                      </a:lnTo>
                      <a:lnTo>
                        <a:pt x="61" y="328"/>
                      </a:lnTo>
                      <a:lnTo>
                        <a:pt x="62" y="328"/>
                      </a:lnTo>
                      <a:lnTo>
                        <a:pt x="65" y="329"/>
                      </a:lnTo>
                      <a:lnTo>
                        <a:pt x="67" y="329"/>
                      </a:lnTo>
                      <a:lnTo>
                        <a:pt x="68" y="330"/>
                      </a:lnTo>
                      <a:lnTo>
                        <a:pt x="69" y="330"/>
                      </a:lnTo>
                      <a:lnTo>
                        <a:pt x="70" y="330"/>
                      </a:lnTo>
                      <a:lnTo>
                        <a:pt x="74" y="330"/>
                      </a:lnTo>
                      <a:lnTo>
                        <a:pt x="77" y="330"/>
                      </a:lnTo>
                      <a:lnTo>
                        <a:pt x="78" y="330"/>
                      </a:lnTo>
                      <a:lnTo>
                        <a:pt x="80" y="329"/>
                      </a:lnTo>
                      <a:lnTo>
                        <a:pt x="80" y="328"/>
                      </a:lnTo>
                      <a:lnTo>
                        <a:pt x="83" y="328"/>
                      </a:lnTo>
                      <a:lnTo>
                        <a:pt x="90" y="328"/>
                      </a:lnTo>
                      <a:lnTo>
                        <a:pt x="90" y="326"/>
                      </a:lnTo>
                      <a:lnTo>
                        <a:pt x="90" y="323"/>
                      </a:lnTo>
                      <a:lnTo>
                        <a:pt x="90" y="322"/>
                      </a:lnTo>
                      <a:lnTo>
                        <a:pt x="92" y="320"/>
                      </a:lnTo>
                      <a:lnTo>
                        <a:pt x="92" y="319"/>
                      </a:lnTo>
                      <a:lnTo>
                        <a:pt x="93" y="320"/>
                      </a:lnTo>
                      <a:lnTo>
                        <a:pt x="93" y="321"/>
                      </a:lnTo>
                      <a:lnTo>
                        <a:pt x="93" y="322"/>
                      </a:lnTo>
                      <a:lnTo>
                        <a:pt x="92" y="326"/>
                      </a:lnTo>
                      <a:lnTo>
                        <a:pt x="98" y="326"/>
                      </a:lnTo>
                      <a:lnTo>
                        <a:pt x="99" y="326"/>
                      </a:lnTo>
                      <a:lnTo>
                        <a:pt x="104" y="326"/>
                      </a:lnTo>
                      <a:lnTo>
                        <a:pt x="106" y="326"/>
                      </a:lnTo>
                      <a:lnTo>
                        <a:pt x="108" y="326"/>
                      </a:lnTo>
                      <a:lnTo>
                        <a:pt x="111" y="326"/>
                      </a:lnTo>
                      <a:lnTo>
                        <a:pt x="114" y="326"/>
                      </a:lnTo>
                      <a:lnTo>
                        <a:pt x="117" y="326"/>
                      </a:lnTo>
                      <a:lnTo>
                        <a:pt x="121" y="326"/>
                      </a:lnTo>
                      <a:lnTo>
                        <a:pt x="125" y="326"/>
                      </a:lnTo>
                      <a:lnTo>
                        <a:pt x="131" y="326"/>
                      </a:lnTo>
                      <a:lnTo>
                        <a:pt x="135" y="326"/>
                      </a:lnTo>
                      <a:lnTo>
                        <a:pt x="140" y="325"/>
                      </a:lnTo>
                      <a:lnTo>
                        <a:pt x="146" y="325"/>
                      </a:lnTo>
                      <a:lnTo>
                        <a:pt x="151" y="325"/>
                      </a:lnTo>
                      <a:lnTo>
                        <a:pt x="156" y="325"/>
                      </a:lnTo>
                      <a:lnTo>
                        <a:pt x="162" y="325"/>
                      </a:lnTo>
                      <a:lnTo>
                        <a:pt x="168" y="325"/>
                      </a:lnTo>
                      <a:lnTo>
                        <a:pt x="172" y="325"/>
                      </a:lnTo>
                      <a:lnTo>
                        <a:pt x="178" y="325"/>
                      </a:lnTo>
                      <a:lnTo>
                        <a:pt x="183" y="325"/>
                      </a:lnTo>
                      <a:lnTo>
                        <a:pt x="188" y="325"/>
                      </a:lnTo>
                      <a:lnTo>
                        <a:pt x="189" y="325"/>
                      </a:lnTo>
                      <a:lnTo>
                        <a:pt x="192" y="325"/>
                      </a:lnTo>
                      <a:lnTo>
                        <a:pt x="197" y="325"/>
                      </a:lnTo>
                      <a:lnTo>
                        <a:pt x="199" y="325"/>
                      </a:lnTo>
                      <a:lnTo>
                        <a:pt x="202" y="325"/>
                      </a:lnTo>
                      <a:lnTo>
                        <a:pt x="204" y="325"/>
                      </a:lnTo>
                      <a:lnTo>
                        <a:pt x="206" y="325"/>
                      </a:lnTo>
                      <a:lnTo>
                        <a:pt x="210" y="325"/>
                      </a:lnTo>
                      <a:lnTo>
                        <a:pt x="215" y="325"/>
                      </a:lnTo>
                      <a:lnTo>
                        <a:pt x="215" y="323"/>
                      </a:lnTo>
                      <a:lnTo>
                        <a:pt x="215" y="320"/>
                      </a:lnTo>
                      <a:lnTo>
                        <a:pt x="217" y="316"/>
                      </a:lnTo>
                      <a:lnTo>
                        <a:pt x="217" y="314"/>
                      </a:lnTo>
                      <a:lnTo>
                        <a:pt x="218" y="311"/>
                      </a:lnTo>
                      <a:lnTo>
                        <a:pt x="218" y="307"/>
                      </a:lnTo>
                      <a:lnTo>
                        <a:pt x="219" y="305"/>
                      </a:lnTo>
                      <a:lnTo>
                        <a:pt x="219" y="301"/>
                      </a:lnTo>
                      <a:lnTo>
                        <a:pt x="220" y="298"/>
                      </a:lnTo>
                      <a:lnTo>
                        <a:pt x="220" y="297"/>
                      </a:lnTo>
                      <a:lnTo>
                        <a:pt x="219" y="297"/>
                      </a:lnTo>
                      <a:lnTo>
                        <a:pt x="218" y="295"/>
                      </a:lnTo>
                      <a:lnTo>
                        <a:pt x="217" y="294"/>
                      </a:lnTo>
                      <a:lnTo>
                        <a:pt x="215" y="293"/>
                      </a:lnTo>
                      <a:lnTo>
                        <a:pt x="214" y="293"/>
                      </a:lnTo>
                      <a:lnTo>
                        <a:pt x="213" y="292"/>
                      </a:lnTo>
                      <a:lnTo>
                        <a:pt x="212" y="291"/>
                      </a:lnTo>
                      <a:lnTo>
                        <a:pt x="211" y="291"/>
                      </a:lnTo>
                      <a:lnTo>
                        <a:pt x="211" y="290"/>
                      </a:lnTo>
                      <a:lnTo>
                        <a:pt x="211" y="288"/>
                      </a:lnTo>
                      <a:lnTo>
                        <a:pt x="211" y="286"/>
                      </a:lnTo>
                      <a:lnTo>
                        <a:pt x="210" y="283"/>
                      </a:lnTo>
                      <a:lnTo>
                        <a:pt x="210" y="279"/>
                      </a:lnTo>
                      <a:lnTo>
                        <a:pt x="210" y="277"/>
                      </a:lnTo>
                      <a:lnTo>
                        <a:pt x="208" y="273"/>
                      </a:lnTo>
                      <a:lnTo>
                        <a:pt x="208" y="271"/>
                      </a:lnTo>
                      <a:lnTo>
                        <a:pt x="208" y="267"/>
                      </a:lnTo>
                      <a:lnTo>
                        <a:pt x="208" y="265"/>
                      </a:lnTo>
                      <a:lnTo>
                        <a:pt x="207" y="262"/>
                      </a:lnTo>
                      <a:lnTo>
                        <a:pt x="207" y="258"/>
                      </a:lnTo>
                      <a:lnTo>
                        <a:pt x="207" y="256"/>
                      </a:lnTo>
                      <a:lnTo>
                        <a:pt x="206" y="252"/>
                      </a:lnTo>
                      <a:lnTo>
                        <a:pt x="206" y="250"/>
                      </a:lnTo>
                      <a:lnTo>
                        <a:pt x="206" y="247"/>
                      </a:lnTo>
                      <a:lnTo>
                        <a:pt x="205" y="244"/>
                      </a:lnTo>
                      <a:lnTo>
                        <a:pt x="205" y="241"/>
                      </a:lnTo>
                      <a:lnTo>
                        <a:pt x="205" y="237"/>
                      </a:lnTo>
                      <a:lnTo>
                        <a:pt x="204" y="235"/>
                      </a:lnTo>
                      <a:lnTo>
                        <a:pt x="204" y="231"/>
                      </a:lnTo>
                      <a:lnTo>
                        <a:pt x="204" y="228"/>
                      </a:lnTo>
                      <a:lnTo>
                        <a:pt x="203" y="226"/>
                      </a:lnTo>
                      <a:lnTo>
                        <a:pt x="203" y="222"/>
                      </a:lnTo>
                      <a:lnTo>
                        <a:pt x="203" y="219"/>
                      </a:lnTo>
                      <a:lnTo>
                        <a:pt x="203" y="216"/>
                      </a:lnTo>
                      <a:lnTo>
                        <a:pt x="202" y="213"/>
                      </a:lnTo>
                      <a:lnTo>
                        <a:pt x="202" y="209"/>
                      </a:lnTo>
                      <a:lnTo>
                        <a:pt x="202" y="207"/>
                      </a:lnTo>
                      <a:lnTo>
                        <a:pt x="200" y="203"/>
                      </a:lnTo>
                      <a:lnTo>
                        <a:pt x="200" y="201"/>
                      </a:lnTo>
                      <a:lnTo>
                        <a:pt x="200" y="200"/>
                      </a:lnTo>
                      <a:lnTo>
                        <a:pt x="200" y="198"/>
                      </a:lnTo>
                      <a:lnTo>
                        <a:pt x="199" y="195"/>
                      </a:lnTo>
                      <a:lnTo>
                        <a:pt x="199" y="191"/>
                      </a:lnTo>
                      <a:lnTo>
                        <a:pt x="199" y="187"/>
                      </a:lnTo>
                      <a:lnTo>
                        <a:pt x="198" y="182"/>
                      </a:lnTo>
                      <a:lnTo>
                        <a:pt x="198" y="178"/>
                      </a:lnTo>
                      <a:lnTo>
                        <a:pt x="197" y="174"/>
                      </a:lnTo>
                      <a:lnTo>
                        <a:pt x="197" y="170"/>
                      </a:lnTo>
                      <a:lnTo>
                        <a:pt x="196" y="166"/>
                      </a:lnTo>
                      <a:lnTo>
                        <a:pt x="196" y="161"/>
                      </a:lnTo>
                      <a:lnTo>
                        <a:pt x="195" y="157"/>
                      </a:lnTo>
                      <a:lnTo>
                        <a:pt x="195" y="153"/>
                      </a:lnTo>
                      <a:lnTo>
                        <a:pt x="195" y="151"/>
                      </a:lnTo>
                      <a:lnTo>
                        <a:pt x="193" y="147"/>
                      </a:lnTo>
                      <a:lnTo>
                        <a:pt x="193" y="143"/>
                      </a:lnTo>
                      <a:lnTo>
                        <a:pt x="193" y="140"/>
                      </a:lnTo>
                      <a:lnTo>
                        <a:pt x="192" y="137"/>
                      </a:lnTo>
                      <a:lnTo>
                        <a:pt x="192" y="132"/>
                      </a:lnTo>
                      <a:lnTo>
                        <a:pt x="191" y="129"/>
                      </a:lnTo>
                      <a:lnTo>
                        <a:pt x="191" y="124"/>
                      </a:lnTo>
                      <a:lnTo>
                        <a:pt x="190" y="121"/>
                      </a:lnTo>
                      <a:lnTo>
                        <a:pt x="190" y="116"/>
                      </a:lnTo>
                      <a:lnTo>
                        <a:pt x="190" y="111"/>
                      </a:lnTo>
                      <a:lnTo>
                        <a:pt x="189" y="108"/>
                      </a:lnTo>
                      <a:lnTo>
                        <a:pt x="189" y="103"/>
                      </a:lnTo>
                      <a:lnTo>
                        <a:pt x="188" y="100"/>
                      </a:lnTo>
                      <a:lnTo>
                        <a:pt x="188" y="95"/>
                      </a:lnTo>
                      <a:lnTo>
                        <a:pt x="186" y="91"/>
                      </a:lnTo>
                      <a:lnTo>
                        <a:pt x="186" y="87"/>
                      </a:lnTo>
                      <a:lnTo>
                        <a:pt x="186" y="83"/>
                      </a:lnTo>
                      <a:lnTo>
                        <a:pt x="185" y="79"/>
                      </a:lnTo>
                      <a:lnTo>
                        <a:pt x="185" y="74"/>
                      </a:lnTo>
                      <a:lnTo>
                        <a:pt x="184" y="70"/>
                      </a:lnTo>
                      <a:lnTo>
                        <a:pt x="184" y="67"/>
                      </a:lnTo>
                      <a:lnTo>
                        <a:pt x="184" y="66"/>
                      </a:lnTo>
                      <a:lnTo>
                        <a:pt x="183" y="62"/>
                      </a:lnTo>
                      <a:lnTo>
                        <a:pt x="183" y="58"/>
                      </a:lnTo>
                      <a:lnTo>
                        <a:pt x="182" y="53"/>
                      </a:lnTo>
                      <a:lnTo>
                        <a:pt x="182" y="49"/>
                      </a:lnTo>
                      <a:lnTo>
                        <a:pt x="182" y="45"/>
                      </a:lnTo>
                      <a:lnTo>
                        <a:pt x="181" y="41"/>
                      </a:lnTo>
                      <a:lnTo>
                        <a:pt x="181" y="39"/>
                      </a:lnTo>
                      <a:lnTo>
                        <a:pt x="179" y="34"/>
                      </a:lnTo>
                      <a:lnTo>
                        <a:pt x="179" y="30"/>
                      </a:lnTo>
                      <a:lnTo>
                        <a:pt x="179" y="27"/>
                      </a:lnTo>
                      <a:lnTo>
                        <a:pt x="178" y="24"/>
                      </a:lnTo>
                      <a:lnTo>
                        <a:pt x="178" y="21"/>
                      </a:lnTo>
                      <a:lnTo>
                        <a:pt x="178" y="18"/>
                      </a:lnTo>
                      <a:lnTo>
                        <a:pt x="177" y="16"/>
                      </a:lnTo>
                      <a:lnTo>
                        <a:pt x="177" y="13"/>
                      </a:lnTo>
                      <a:lnTo>
                        <a:pt x="177" y="10"/>
                      </a:lnTo>
                      <a:lnTo>
                        <a:pt x="177" y="7"/>
                      </a:lnTo>
                      <a:lnTo>
                        <a:pt x="176" y="4"/>
                      </a:lnTo>
                      <a:lnTo>
                        <a:pt x="176" y="2"/>
                      </a:lnTo>
                      <a:lnTo>
                        <a:pt x="183" y="2"/>
                      </a:lnTo>
                      <a:lnTo>
                        <a:pt x="190" y="2"/>
                      </a:lnTo>
                      <a:lnTo>
                        <a:pt x="197" y="2"/>
                      </a:lnTo>
                      <a:lnTo>
                        <a:pt x="204" y="2"/>
                      </a:lnTo>
                      <a:lnTo>
                        <a:pt x="211" y="2"/>
                      </a:lnTo>
                      <a:lnTo>
                        <a:pt x="218" y="0"/>
                      </a:lnTo>
                      <a:lnTo>
                        <a:pt x="226" y="0"/>
                      </a:lnTo>
                      <a:lnTo>
                        <a:pt x="233" y="0"/>
                      </a:lnTo>
                      <a:lnTo>
                        <a:pt x="235" y="3"/>
                      </a:lnTo>
                      <a:lnTo>
                        <a:pt x="238" y="4"/>
                      </a:lnTo>
                      <a:lnTo>
                        <a:pt x="240" y="6"/>
                      </a:lnTo>
                      <a:lnTo>
                        <a:pt x="242" y="7"/>
                      </a:lnTo>
                      <a:lnTo>
                        <a:pt x="246" y="10"/>
                      </a:lnTo>
                      <a:lnTo>
                        <a:pt x="248" y="12"/>
                      </a:lnTo>
                      <a:lnTo>
                        <a:pt x="252" y="13"/>
                      </a:lnTo>
                      <a:lnTo>
                        <a:pt x="254" y="16"/>
                      </a:lnTo>
                      <a:lnTo>
                        <a:pt x="256" y="17"/>
                      </a:lnTo>
                      <a:lnTo>
                        <a:pt x="259" y="19"/>
                      </a:lnTo>
                      <a:lnTo>
                        <a:pt x="262" y="20"/>
                      </a:lnTo>
                      <a:lnTo>
                        <a:pt x="264" y="23"/>
                      </a:lnTo>
                      <a:lnTo>
                        <a:pt x="267" y="24"/>
                      </a:lnTo>
                      <a:lnTo>
                        <a:pt x="269" y="26"/>
                      </a:lnTo>
                      <a:lnTo>
                        <a:pt x="271" y="27"/>
                      </a:lnTo>
                      <a:lnTo>
                        <a:pt x="275" y="30"/>
                      </a:lnTo>
                      <a:lnTo>
                        <a:pt x="277" y="32"/>
                      </a:lnTo>
                      <a:lnTo>
                        <a:pt x="279" y="33"/>
                      </a:lnTo>
                      <a:lnTo>
                        <a:pt x="282" y="35"/>
                      </a:lnTo>
                      <a:lnTo>
                        <a:pt x="284" y="37"/>
                      </a:lnTo>
                      <a:lnTo>
                        <a:pt x="288" y="39"/>
                      </a:lnTo>
                      <a:lnTo>
                        <a:pt x="290" y="40"/>
                      </a:lnTo>
                      <a:lnTo>
                        <a:pt x="293" y="42"/>
                      </a:lnTo>
                      <a:lnTo>
                        <a:pt x="296" y="45"/>
                      </a:lnTo>
                      <a:lnTo>
                        <a:pt x="298" y="46"/>
                      </a:lnTo>
                      <a:lnTo>
                        <a:pt x="302" y="48"/>
                      </a:lnTo>
                      <a:lnTo>
                        <a:pt x="304" y="51"/>
                      </a:lnTo>
                      <a:lnTo>
                        <a:pt x="307" y="52"/>
                      </a:lnTo>
                      <a:lnTo>
                        <a:pt x="310" y="54"/>
                      </a:lnTo>
                      <a:lnTo>
                        <a:pt x="312" y="56"/>
                      </a:lnTo>
                      <a:lnTo>
                        <a:pt x="316" y="58"/>
                      </a:lnTo>
                      <a:lnTo>
                        <a:pt x="318" y="60"/>
                      </a:lnTo>
                      <a:lnTo>
                        <a:pt x="321" y="62"/>
                      </a:lnTo>
                      <a:lnTo>
                        <a:pt x="324" y="63"/>
                      </a:lnTo>
                      <a:lnTo>
                        <a:pt x="326" y="66"/>
                      </a:lnTo>
                      <a:lnTo>
                        <a:pt x="330" y="68"/>
                      </a:lnTo>
                      <a:lnTo>
                        <a:pt x="332" y="69"/>
                      </a:lnTo>
                      <a:lnTo>
                        <a:pt x="335" y="72"/>
                      </a:lnTo>
                      <a:lnTo>
                        <a:pt x="338" y="74"/>
                      </a:lnTo>
                      <a:lnTo>
                        <a:pt x="340" y="75"/>
                      </a:lnTo>
                      <a:lnTo>
                        <a:pt x="343" y="77"/>
                      </a:lnTo>
                      <a:lnTo>
                        <a:pt x="346" y="79"/>
                      </a:lnTo>
                      <a:lnTo>
                        <a:pt x="349" y="81"/>
                      </a:lnTo>
                      <a:lnTo>
                        <a:pt x="352" y="83"/>
                      </a:lnTo>
                      <a:lnTo>
                        <a:pt x="354" y="84"/>
                      </a:lnTo>
                      <a:lnTo>
                        <a:pt x="357" y="87"/>
                      </a:lnTo>
                      <a:lnTo>
                        <a:pt x="360" y="89"/>
                      </a:lnTo>
                      <a:lnTo>
                        <a:pt x="363" y="90"/>
                      </a:lnTo>
                      <a:lnTo>
                        <a:pt x="366" y="93"/>
                      </a:lnTo>
                      <a:lnTo>
                        <a:pt x="368" y="95"/>
                      </a:lnTo>
                      <a:lnTo>
                        <a:pt x="371" y="96"/>
                      </a:lnTo>
                      <a:lnTo>
                        <a:pt x="374" y="98"/>
                      </a:lnTo>
                      <a:lnTo>
                        <a:pt x="377" y="101"/>
                      </a:lnTo>
                      <a:lnTo>
                        <a:pt x="380" y="102"/>
                      </a:lnTo>
                      <a:lnTo>
                        <a:pt x="382" y="104"/>
                      </a:lnTo>
                      <a:lnTo>
                        <a:pt x="385" y="107"/>
                      </a:lnTo>
                      <a:lnTo>
                        <a:pt x="388" y="108"/>
                      </a:lnTo>
                      <a:lnTo>
                        <a:pt x="389" y="108"/>
                      </a:lnTo>
                      <a:lnTo>
                        <a:pt x="391" y="110"/>
                      </a:lnTo>
                      <a:lnTo>
                        <a:pt x="394" y="111"/>
                      </a:lnTo>
                      <a:lnTo>
                        <a:pt x="396" y="114"/>
                      </a:lnTo>
                      <a:lnTo>
                        <a:pt x="399" y="116"/>
                      </a:lnTo>
                      <a:lnTo>
                        <a:pt x="402" y="117"/>
                      </a:lnTo>
                      <a:lnTo>
                        <a:pt x="405" y="119"/>
                      </a:lnTo>
                      <a:lnTo>
                        <a:pt x="407" y="122"/>
                      </a:lnTo>
                      <a:lnTo>
                        <a:pt x="410" y="123"/>
                      </a:lnTo>
                      <a:lnTo>
                        <a:pt x="413" y="125"/>
                      </a:lnTo>
                      <a:lnTo>
                        <a:pt x="416" y="128"/>
                      </a:lnTo>
                      <a:lnTo>
                        <a:pt x="419" y="129"/>
                      </a:lnTo>
                      <a:lnTo>
                        <a:pt x="421" y="131"/>
                      </a:lnTo>
                      <a:lnTo>
                        <a:pt x="425" y="133"/>
                      </a:lnTo>
                      <a:lnTo>
                        <a:pt x="426" y="135"/>
                      </a:lnTo>
                      <a:lnTo>
                        <a:pt x="426" y="136"/>
                      </a:lnTo>
                      <a:lnTo>
                        <a:pt x="426" y="137"/>
                      </a:lnTo>
                      <a:lnTo>
                        <a:pt x="426" y="140"/>
                      </a:lnTo>
                      <a:lnTo>
                        <a:pt x="425" y="144"/>
                      </a:lnTo>
                      <a:lnTo>
                        <a:pt x="425" y="145"/>
                      </a:lnTo>
                      <a:lnTo>
                        <a:pt x="426" y="146"/>
                      </a:lnTo>
                      <a:lnTo>
                        <a:pt x="427" y="146"/>
                      </a:lnTo>
                      <a:lnTo>
                        <a:pt x="428" y="146"/>
                      </a:lnTo>
                      <a:lnTo>
                        <a:pt x="430" y="146"/>
                      </a:lnTo>
                      <a:lnTo>
                        <a:pt x="431" y="146"/>
                      </a:lnTo>
                      <a:lnTo>
                        <a:pt x="432" y="147"/>
                      </a:lnTo>
                      <a:lnTo>
                        <a:pt x="432" y="149"/>
                      </a:lnTo>
                      <a:lnTo>
                        <a:pt x="434" y="149"/>
                      </a:lnTo>
                      <a:lnTo>
                        <a:pt x="435" y="149"/>
                      </a:lnTo>
                      <a:lnTo>
                        <a:pt x="435" y="150"/>
                      </a:lnTo>
                      <a:lnTo>
                        <a:pt x="437" y="150"/>
                      </a:lnTo>
                      <a:lnTo>
                        <a:pt x="438" y="150"/>
                      </a:lnTo>
                      <a:lnTo>
                        <a:pt x="439" y="151"/>
                      </a:lnTo>
                      <a:lnTo>
                        <a:pt x="441" y="152"/>
                      </a:lnTo>
                      <a:lnTo>
                        <a:pt x="441" y="153"/>
                      </a:lnTo>
                      <a:lnTo>
                        <a:pt x="441" y="154"/>
                      </a:lnTo>
                      <a:lnTo>
                        <a:pt x="441" y="157"/>
                      </a:lnTo>
                      <a:lnTo>
                        <a:pt x="442" y="157"/>
                      </a:lnTo>
                      <a:lnTo>
                        <a:pt x="446" y="160"/>
                      </a:lnTo>
                      <a:lnTo>
                        <a:pt x="447" y="160"/>
                      </a:lnTo>
                      <a:lnTo>
                        <a:pt x="448" y="160"/>
                      </a:lnTo>
                      <a:lnTo>
                        <a:pt x="448" y="161"/>
                      </a:lnTo>
                      <a:lnTo>
                        <a:pt x="449" y="161"/>
                      </a:lnTo>
                      <a:lnTo>
                        <a:pt x="449" y="163"/>
                      </a:lnTo>
                      <a:lnTo>
                        <a:pt x="451" y="163"/>
                      </a:lnTo>
                      <a:lnTo>
                        <a:pt x="452" y="161"/>
                      </a:lnTo>
                      <a:lnTo>
                        <a:pt x="452" y="163"/>
                      </a:lnTo>
                      <a:lnTo>
                        <a:pt x="453" y="163"/>
                      </a:lnTo>
                      <a:lnTo>
                        <a:pt x="455" y="164"/>
                      </a:lnTo>
                      <a:lnTo>
                        <a:pt x="456" y="163"/>
                      </a:lnTo>
                      <a:lnTo>
                        <a:pt x="458" y="161"/>
                      </a:lnTo>
                      <a:lnTo>
                        <a:pt x="459" y="161"/>
                      </a:lnTo>
                      <a:lnTo>
                        <a:pt x="460" y="161"/>
                      </a:lnTo>
                      <a:lnTo>
                        <a:pt x="462" y="163"/>
                      </a:lnTo>
                      <a:lnTo>
                        <a:pt x="463" y="165"/>
                      </a:lnTo>
                      <a:lnTo>
                        <a:pt x="464" y="166"/>
                      </a:lnTo>
                      <a:lnTo>
                        <a:pt x="466" y="168"/>
                      </a:lnTo>
                      <a:lnTo>
                        <a:pt x="467" y="168"/>
                      </a:lnTo>
                      <a:lnTo>
                        <a:pt x="468" y="170"/>
                      </a:lnTo>
                      <a:lnTo>
                        <a:pt x="469" y="170"/>
                      </a:lnTo>
                      <a:lnTo>
                        <a:pt x="470" y="170"/>
                      </a:lnTo>
                      <a:lnTo>
                        <a:pt x="473" y="171"/>
                      </a:lnTo>
                      <a:lnTo>
                        <a:pt x="475" y="171"/>
                      </a:lnTo>
                      <a:lnTo>
                        <a:pt x="483" y="172"/>
                      </a:lnTo>
                      <a:lnTo>
                        <a:pt x="488" y="174"/>
                      </a:lnTo>
                      <a:lnTo>
                        <a:pt x="489" y="175"/>
                      </a:lnTo>
                      <a:lnTo>
                        <a:pt x="490" y="175"/>
                      </a:lnTo>
                      <a:lnTo>
                        <a:pt x="491" y="177"/>
                      </a:lnTo>
                      <a:lnTo>
                        <a:pt x="492" y="178"/>
                      </a:lnTo>
                      <a:lnTo>
                        <a:pt x="491" y="184"/>
                      </a:lnTo>
                      <a:lnTo>
                        <a:pt x="491" y="185"/>
                      </a:lnTo>
                      <a:lnTo>
                        <a:pt x="492" y="187"/>
                      </a:lnTo>
                      <a:lnTo>
                        <a:pt x="492" y="188"/>
                      </a:lnTo>
                      <a:lnTo>
                        <a:pt x="492" y="189"/>
                      </a:lnTo>
                      <a:lnTo>
                        <a:pt x="494" y="189"/>
                      </a:lnTo>
                      <a:lnTo>
                        <a:pt x="494" y="191"/>
                      </a:lnTo>
                      <a:lnTo>
                        <a:pt x="494" y="192"/>
                      </a:lnTo>
                      <a:lnTo>
                        <a:pt x="492" y="192"/>
                      </a:lnTo>
                      <a:lnTo>
                        <a:pt x="492" y="193"/>
                      </a:lnTo>
                      <a:lnTo>
                        <a:pt x="491" y="193"/>
                      </a:lnTo>
                      <a:lnTo>
                        <a:pt x="491" y="194"/>
                      </a:lnTo>
                      <a:lnTo>
                        <a:pt x="491" y="195"/>
                      </a:lnTo>
                      <a:lnTo>
                        <a:pt x="490" y="196"/>
                      </a:lnTo>
                      <a:lnTo>
                        <a:pt x="489" y="196"/>
                      </a:lnTo>
                      <a:lnTo>
                        <a:pt x="489" y="198"/>
                      </a:lnTo>
                      <a:lnTo>
                        <a:pt x="489" y="199"/>
                      </a:lnTo>
                      <a:lnTo>
                        <a:pt x="489" y="200"/>
                      </a:lnTo>
                      <a:lnTo>
                        <a:pt x="490" y="201"/>
                      </a:lnTo>
                      <a:lnTo>
                        <a:pt x="491" y="201"/>
                      </a:lnTo>
                      <a:lnTo>
                        <a:pt x="492" y="202"/>
                      </a:lnTo>
                      <a:lnTo>
                        <a:pt x="495" y="205"/>
                      </a:lnTo>
                      <a:lnTo>
                        <a:pt x="496" y="205"/>
                      </a:lnTo>
                      <a:lnTo>
                        <a:pt x="497" y="205"/>
                      </a:lnTo>
                      <a:lnTo>
                        <a:pt x="499" y="205"/>
                      </a:lnTo>
                      <a:lnTo>
                        <a:pt x="503" y="203"/>
                      </a:lnTo>
                      <a:lnTo>
                        <a:pt x="508" y="202"/>
                      </a:lnTo>
                      <a:lnTo>
                        <a:pt x="511" y="202"/>
                      </a:lnTo>
                      <a:lnTo>
                        <a:pt x="513" y="201"/>
                      </a:lnTo>
                      <a:lnTo>
                        <a:pt x="519" y="200"/>
                      </a:lnTo>
                      <a:lnTo>
                        <a:pt x="525" y="199"/>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0" name="Freeform 103">
                  <a:extLst>
                    <a:ext uri="{FF2B5EF4-FFF2-40B4-BE49-F238E27FC236}">
                      <a16:creationId xmlns:a16="http://schemas.microsoft.com/office/drawing/2014/main" id="{5CE30428-BC6B-0772-A0D3-8A201026D0F0}"/>
                    </a:ext>
                  </a:extLst>
                </p:cNvPr>
                <p:cNvSpPr>
                  <a:spLocks noEditPoints="1"/>
                </p:cNvSpPr>
                <p:nvPr/>
              </p:nvSpPr>
              <p:spPr bwMode="auto">
                <a:xfrm>
                  <a:off x="5630902" y="2832630"/>
                  <a:ext cx="421875" cy="467307"/>
                </a:xfrm>
                <a:custGeom>
                  <a:avLst/>
                  <a:gdLst>
                    <a:gd name="T0" fmla="*/ 20 w 390"/>
                    <a:gd name="T1" fmla="*/ 267 h 432"/>
                    <a:gd name="T2" fmla="*/ 21 w 390"/>
                    <a:gd name="T3" fmla="*/ 266 h 432"/>
                    <a:gd name="T4" fmla="*/ 350 w 390"/>
                    <a:gd name="T5" fmla="*/ 219 h 432"/>
                    <a:gd name="T6" fmla="*/ 356 w 390"/>
                    <a:gd name="T7" fmla="*/ 266 h 432"/>
                    <a:gd name="T8" fmla="*/ 360 w 390"/>
                    <a:gd name="T9" fmla="*/ 301 h 432"/>
                    <a:gd name="T10" fmla="*/ 364 w 390"/>
                    <a:gd name="T11" fmla="*/ 337 h 432"/>
                    <a:gd name="T12" fmla="*/ 368 w 390"/>
                    <a:gd name="T13" fmla="*/ 370 h 432"/>
                    <a:gd name="T14" fmla="*/ 375 w 390"/>
                    <a:gd name="T15" fmla="*/ 386 h 432"/>
                    <a:gd name="T16" fmla="*/ 354 w 390"/>
                    <a:gd name="T17" fmla="*/ 404 h 432"/>
                    <a:gd name="T18" fmla="*/ 297 w 390"/>
                    <a:gd name="T19" fmla="*/ 404 h 432"/>
                    <a:gd name="T20" fmla="*/ 255 w 390"/>
                    <a:gd name="T21" fmla="*/ 405 h 432"/>
                    <a:gd name="T22" fmla="*/ 237 w 390"/>
                    <a:gd name="T23" fmla="*/ 407 h 432"/>
                    <a:gd name="T24" fmla="*/ 217 w 390"/>
                    <a:gd name="T25" fmla="*/ 407 h 432"/>
                    <a:gd name="T26" fmla="*/ 204 w 390"/>
                    <a:gd name="T27" fmla="*/ 412 h 432"/>
                    <a:gd name="T28" fmla="*/ 184 w 390"/>
                    <a:gd name="T29" fmla="*/ 402 h 432"/>
                    <a:gd name="T30" fmla="*/ 172 w 390"/>
                    <a:gd name="T31" fmla="*/ 408 h 432"/>
                    <a:gd name="T32" fmla="*/ 171 w 390"/>
                    <a:gd name="T33" fmla="*/ 425 h 432"/>
                    <a:gd name="T34" fmla="*/ 162 w 390"/>
                    <a:gd name="T35" fmla="*/ 430 h 432"/>
                    <a:gd name="T36" fmla="*/ 149 w 390"/>
                    <a:gd name="T37" fmla="*/ 422 h 432"/>
                    <a:gd name="T38" fmla="*/ 140 w 390"/>
                    <a:gd name="T39" fmla="*/ 415 h 432"/>
                    <a:gd name="T40" fmla="*/ 135 w 390"/>
                    <a:gd name="T41" fmla="*/ 407 h 432"/>
                    <a:gd name="T42" fmla="*/ 127 w 390"/>
                    <a:gd name="T43" fmla="*/ 402 h 432"/>
                    <a:gd name="T44" fmla="*/ 122 w 390"/>
                    <a:gd name="T45" fmla="*/ 392 h 432"/>
                    <a:gd name="T46" fmla="*/ 116 w 390"/>
                    <a:gd name="T47" fmla="*/ 386 h 432"/>
                    <a:gd name="T48" fmla="*/ 109 w 390"/>
                    <a:gd name="T49" fmla="*/ 385 h 432"/>
                    <a:gd name="T50" fmla="*/ 103 w 390"/>
                    <a:gd name="T51" fmla="*/ 383 h 432"/>
                    <a:gd name="T52" fmla="*/ 93 w 390"/>
                    <a:gd name="T53" fmla="*/ 373 h 432"/>
                    <a:gd name="T54" fmla="*/ 82 w 390"/>
                    <a:gd name="T55" fmla="*/ 370 h 432"/>
                    <a:gd name="T56" fmla="*/ 65 w 390"/>
                    <a:gd name="T57" fmla="*/ 370 h 432"/>
                    <a:gd name="T58" fmla="*/ 55 w 390"/>
                    <a:gd name="T59" fmla="*/ 372 h 432"/>
                    <a:gd name="T60" fmla="*/ 42 w 390"/>
                    <a:gd name="T61" fmla="*/ 374 h 432"/>
                    <a:gd name="T62" fmla="*/ 28 w 390"/>
                    <a:gd name="T63" fmla="*/ 374 h 432"/>
                    <a:gd name="T64" fmla="*/ 21 w 390"/>
                    <a:gd name="T65" fmla="*/ 395 h 432"/>
                    <a:gd name="T66" fmla="*/ 22 w 390"/>
                    <a:gd name="T67" fmla="*/ 372 h 432"/>
                    <a:gd name="T68" fmla="*/ 35 w 390"/>
                    <a:gd name="T69" fmla="*/ 327 h 432"/>
                    <a:gd name="T70" fmla="*/ 25 w 390"/>
                    <a:gd name="T71" fmla="*/ 286 h 432"/>
                    <a:gd name="T72" fmla="*/ 25 w 390"/>
                    <a:gd name="T73" fmla="*/ 277 h 432"/>
                    <a:gd name="T74" fmla="*/ 20 w 390"/>
                    <a:gd name="T75" fmla="*/ 277 h 432"/>
                    <a:gd name="T76" fmla="*/ 27 w 390"/>
                    <a:gd name="T77" fmla="*/ 263 h 432"/>
                    <a:gd name="T78" fmla="*/ 28 w 390"/>
                    <a:gd name="T79" fmla="*/ 252 h 432"/>
                    <a:gd name="T80" fmla="*/ 21 w 390"/>
                    <a:gd name="T81" fmla="*/ 239 h 432"/>
                    <a:gd name="T82" fmla="*/ 18 w 390"/>
                    <a:gd name="T83" fmla="*/ 238 h 432"/>
                    <a:gd name="T84" fmla="*/ 11 w 390"/>
                    <a:gd name="T85" fmla="*/ 231 h 432"/>
                    <a:gd name="T86" fmla="*/ 6 w 390"/>
                    <a:gd name="T87" fmla="*/ 221 h 432"/>
                    <a:gd name="T88" fmla="*/ 0 w 390"/>
                    <a:gd name="T89" fmla="*/ 229 h 432"/>
                    <a:gd name="T90" fmla="*/ 7 w 390"/>
                    <a:gd name="T91" fmla="*/ 214 h 432"/>
                    <a:gd name="T92" fmla="*/ 98 w 390"/>
                    <a:gd name="T93" fmla="*/ 211 h 432"/>
                    <a:gd name="T94" fmla="*/ 126 w 390"/>
                    <a:gd name="T95" fmla="*/ 169 h 432"/>
                    <a:gd name="T96" fmla="*/ 148 w 390"/>
                    <a:gd name="T97" fmla="*/ 142 h 432"/>
                    <a:gd name="T98" fmla="*/ 160 w 390"/>
                    <a:gd name="T99" fmla="*/ 117 h 432"/>
                    <a:gd name="T100" fmla="*/ 160 w 390"/>
                    <a:gd name="T101" fmla="*/ 85 h 432"/>
                    <a:gd name="T102" fmla="*/ 158 w 390"/>
                    <a:gd name="T103" fmla="*/ 54 h 432"/>
                    <a:gd name="T104" fmla="*/ 191 w 390"/>
                    <a:gd name="T105" fmla="*/ 48 h 432"/>
                    <a:gd name="T106" fmla="*/ 229 w 390"/>
                    <a:gd name="T107" fmla="*/ 47 h 432"/>
                    <a:gd name="T108" fmla="*/ 265 w 390"/>
                    <a:gd name="T109" fmla="*/ 46 h 432"/>
                    <a:gd name="T110" fmla="*/ 264 w 390"/>
                    <a:gd name="T111" fmla="*/ 11 h 432"/>
                    <a:gd name="T112" fmla="*/ 315 w 390"/>
                    <a:gd name="T113" fmla="*/ 33 h 432"/>
                    <a:gd name="T114" fmla="*/ 378 w 390"/>
                    <a:gd name="T115" fmla="*/ 72 h 432"/>
                    <a:gd name="T116" fmla="*/ 334 w 390"/>
                    <a:gd name="T117" fmla="*/ 86 h 432"/>
                    <a:gd name="T118" fmla="*/ 339 w 390"/>
                    <a:gd name="T119" fmla="*/ 124 h 432"/>
                    <a:gd name="T120" fmla="*/ 343 w 390"/>
                    <a:gd name="T121" fmla="*/ 17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432">
                      <a:moveTo>
                        <a:pt x="22" y="272"/>
                      </a:moveTo>
                      <a:lnTo>
                        <a:pt x="23" y="270"/>
                      </a:lnTo>
                      <a:lnTo>
                        <a:pt x="25" y="267"/>
                      </a:lnTo>
                      <a:lnTo>
                        <a:pt x="26" y="268"/>
                      </a:lnTo>
                      <a:lnTo>
                        <a:pt x="25" y="268"/>
                      </a:lnTo>
                      <a:lnTo>
                        <a:pt x="25" y="270"/>
                      </a:lnTo>
                      <a:lnTo>
                        <a:pt x="23" y="271"/>
                      </a:lnTo>
                      <a:lnTo>
                        <a:pt x="22" y="272"/>
                      </a:lnTo>
                      <a:close/>
                      <a:moveTo>
                        <a:pt x="20" y="270"/>
                      </a:moveTo>
                      <a:lnTo>
                        <a:pt x="19" y="270"/>
                      </a:lnTo>
                      <a:lnTo>
                        <a:pt x="19" y="268"/>
                      </a:lnTo>
                      <a:lnTo>
                        <a:pt x="20" y="267"/>
                      </a:lnTo>
                      <a:lnTo>
                        <a:pt x="20" y="268"/>
                      </a:lnTo>
                      <a:lnTo>
                        <a:pt x="20" y="270"/>
                      </a:lnTo>
                      <a:close/>
                      <a:moveTo>
                        <a:pt x="25" y="264"/>
                      </a:moveTo>
                      <a:lnTo>
                        <a:pt x="23" y="268"/>
                      </a:lnTo>
                      <a:lnTo>
                        <a:pt x="22" y="270"/>
                      </a:lnTo>
                      <a:lnTo>
                        <a:pt x="21" y="272"/>
                      </a:lnTo>
                      <a:lnTo>
                        <a:pt x="21" y="271"/>
                      </a:lnTo>
                      <a:lnTo>
                        <a:pt x="21" y="270"/>
                      </a:lnTo>
                      <a:lnTo>
                        <a:pt x="20" y="270"/>
                      </a:lnTo>
                      <a:lnTo>
                        <a:pt x="20" y="268"/>
                      </a:lnTo>
                      <a:lnTo>
                        <a:pt x="21" y="267"/>
                      </a:lnTo>
                      <a:lnTo>
                        <a:pt x="21" y="266"/>
                      </a:lnTo>
                      <a:lnTo>
                        <a:pt x="21" y="265"/>
                      </a:lnTo>
                      <a:lnTo>
                        <a:pt x="22" y="265"/>
                      </a:lnTo>
                      <a:lnTo>
                        <a:pt x="23" y="264"/>
                      </a:lnTo>
                      <a:lnTo>
                        <a:pt x="23" y="263"/>
                      </a:lnTo>
                      <a:lnTo>
                        <a:pt x="25" y="264"/>
                      </a:lnTo>
                      <a:close/>
                      <a:moveTo>
                        <a:pt x="20" y="239"/>
                      </a:moveTo>
                      <a:lnTo>
                        <a:pt x="19" y="238"/>
                      </a:lnTo>
                      <a:lnTo>
                        <a:pt x="20" y="238"/>
                      </a:lnTo>
                      <a:lnTo>
                        <a:pt x="20" y="239"/>
                      </a:lnTo>
                      <a:close/>
                      <a:moveTo>
                        <a:pt x="349" y="211"/>
                      </a:moveTo>
                      <a:lnTo>
                        <a:pt x="349" y="216"/>
                      </a:lnTo>
                      <a:lnTo>
                        <a:pt x="350" y="219"/>
                      </a:lnTo>
                      <a:lnTo>
                        <a:pt x="350" y="222"/>
                      </a:lnTo>
                      <a:lnTo>
                        <a:pt x="350" y="226"/>
                      </a:lnTo>
                      <a:lnTo>
                        <a:pt x="352" y="230"/>
                      </a:lnTo>
                      <a:lnTo>
                        <a:pt x="352" y="232"/>
                      </a:lnTo>
                      <a:lnTo>
                        <a:pt x="352" y="236"/>
                      </a:lnTo>
                      <a:lnTo>
                        <a:pt x="353" y="240"/>
                      </a:lnTo>
                      <a:lnTo>
                        <a:pt x="353" y="245"/>
                      </a:lnTo>
                      <a:lnTo>
                        <a:pt x="354" y="249"/>
                      </a:lnTo>
                      <a:lnTo>
                        <a:pt x="354" y="253"/>
                      </a:lnTo>
                      <a:lnTo>
                        <a:pt x="355" y="257"/>
                      </a:lnTo>
                      <a:lnTo>
                        <a:pt x="355" y="261"/>
                      </a:lnTo>
                      <a:lnTo>
                        <a:pt x="356" y="266"/>
                      </a:lnTo>
                      <a:lnTo>
                        <a:pt x="356" y="270"/>
                      </a:lnTo>
                      <a:lnTo>
                        <a:pt x="356" y="274"/>
                      </a:lnTo>
                      <a:lnTo>
                        <a:pt x="357" y="277"/>
                      </a:lnTo>
                      <a:lnTo>
                        <a:pt x="357" y="279"/>
                      </a:lnTo>
                      <a:lnTo>
                        <a:pt x="357" y="280"/>
                      </a:lnTo>
                      <a:lnTo>
                        <a:pt x="357" y="282"/>
                      </a:lnTo>
                      <a:lnTo>
                        <a:pt x="359" y="286"/>
                      </a:lnTo>
                      <a:lnTo>
                        <a:pt x="359" y="288"/>
                      </a:lnTo>
                      <a:lnTo>
                        <a:pt x="359" y="292"/>
                      </a:lnTo>
                      <a:lnTo>
                        <a:pt x="360" y="295"/>
                      </a:lnTo>
                      <a:lnTo>
                        <a:pt x="360" y="298"/>
                      </a:lnTo>
                      <a:lnTo>
                        <a:pt x="360" y="301"/>
                      </a:lnTo>
                      <a:lnTo>
                        <a:pt x="360" y="305"/>
                      </a:lnTo>
                      <a:lnTo>
                        <a:pt x="361" y="307"/>
                      </a:lnTo>
                      <a:lnTo>
                        <a:pt x="361" y="310"/>
                      </a:lnTo>
                      <a:lnTo>
                        <a:pt x="361" y="314"/>
                      </a:lnTo>
                      <a:lnTo>
                        <a:pt x="362" y="316"/>
                      </a:lnTo>
                      <a:lnTo>
                        <a:pt x="362" y="320"/>
                      </a:lnTo>
                      <a:lnTo>
                        <a:pt x="362" y="323"/>
                      </a:lnTo>
                      <a:lnTo>
                        <a:pt x="363" y="326"/>
                      </a:lnTo>
                      <a:lnTo>
                        <a:pt x="363" y="329"/>
                      </a:lnTo>
                      <a:lnTo>
                        <a:pt x="363" y="331"/>
                      </a:lnTo>
                      <a:lnTo>
                        <a:pt x="364" y="335"/>
                      </a:lnTo>
                      <a:lnTo>
                        <a:pt x="364" y="337"/>
                      </a:lnTo>
                      <a:lnTo>
                        <a:pt x="364" y="341"/>
                      </a:lnTo>
                      <a:lnTo>
                        <a:pt x="365" y="344"/>
                      </a:lnTo>
                      <a:lnTo>
                        <a:pt x="365" y="346"/>
                      </a:lnTo>
                      <a:lnTo>
                        <a:pt x="365" y="350"/>
                      </a:lnTo>
                      <a:lnTo>
                        <a:pt x="365" y="352"/>
                      </a:lnTo>
                      <a:lnTo>
                        <a:pt x="367" y="356"/>
                      </a:lnTo>
                      <a:lnTo>
                        <a:pt x="367" y="358"/>
                      </a:lnTo>
                      <a:lnTo>
                        <a:pt x="367" y="362"/>
                      </a:lnTo>
                      <a:lnTo>
                        <a:pt x="368" y="365"/>
                      </a:lnTo>
                      <a:lnTo>
                        <a:pt x="368" y="367"/>
                      </a:lnTo>
                      <a:lnTo>
                        <a:pt x="368" y="369"/>
                      </a:lnTo>
                      <a:lnTo>
                        <a:pt x="368" y="370"/>
                      </a:lnTo>
                      <a:lnTo>
                        <a:pt x="369" y="370"/>
                      </a:lnTo>
                      <a:lnTo>
                        <a:pt x="370" y="371"/>
                      </a:lnTo>
                      <a:lnTo>
                        <a:pt x="371" y="372"/>
                      </a:lnTo>
                      <a:lnTo>
                        <a:pt x="372" y="372"/>
                      </a:lnTo>
                      <a:lnTo>
                        <a:pt x="374" y="373"/>
                      </a:lnTo>
                      <a:lnTo>
                        <a:pt x="375" y="374"/>
                      </a:lnTo>
                      <a:lnTo>
                        <a:pt x="376" y="376"/>
                      </a:lnTo>
                      <a:lnTo>
                        <a:pt x="377" y="376"/>
                      </a:lnTo>
                      <a:lnTo>
                        <a:pt x="377" y="377"/>
                      </a:lnTo>
                      <a:lnTo>
                        <a:pt x="376" y="380"/>
                      </a:lnTo>
                      <a:lnTo>
                        <a:pt x="376" y="384"/>
                      </a:lnTo>
                      <a:lnTo>
                        <a:pt x="375" y="386"/>
                      </a:lnTo>
                      <a:lnTo>
                        <a:pt x="375" y="390"/>
                      </a:lnTo>
                      <a:lnTo>
                        <a:pt x="374" y="393"/>
                      </a:lnTo>
                      <a:lnTo>
                        <a:pt x="374" y="395"/>
                      </a:lnTo>
                      <a:lnTo>
                        <a:pt x="372" y="399"/>
                      </a:lnTo>
                      <a:lnTo>
                        <a:pt x="372" y="402"/>
                      </a:lnTo>
                      <a:lnTo>
                        <a:pt x="372" y="404"/>
                      </a:lnTo>
                      <a:lnTo>
                        <a:pt x="367" y="404"/>
                      </a:lnTo>
                      <a:lnTo>
                        <a:pt x="363" y="404"/>
                      </a:lnTo>
                      <a:lnTo>
                        <a:pt x="361" y="404"/>
                      </a:lnTo>
                      <a:lnTo>
                        <a:pt x="359" y="404"/>
                      </a:lnTo>
                      <a:lnTo>
                        <a:pt x="356" y="404"/>
                      </a:lnTo>
                      <a:lnTo>
                        <a:pt x="354" y="404"/>
                      </a:lnTo>
                      <a:lnTo>
                        <a:pt x="349" y="404"/>
                      </a:lnTo>
                      <a:lnTo>
                        <a:pt x="346" y="404"/>
                      </a:lnTo>
                      <a:lnTo>
                        <a:pt x="345" y="404"/>
                      </a:lnTo>
                      <a:lnTo>
                        <a:pt x="340" y="404"/>
                      </a:lnTo>
                      <a:lnTo>
                        <a:pt x="335" y="404"/>
                      </a:lnTo>
                      <a:lnTo>
                        <a:pt x="329" y="404"/>
                      </a:lnTo>
                      <a:lnTo>
                        <a:pt x="325" y="404"/>
                      </a:lnTo>
                      <a:lnTo>
                        <a:pt x="319" y="404"/>
                      </a:lnTo>
                      <a:lnTo>
                        <a:pt x="313" y="404"/>
                      </a:lnTo>
                      <a:lnTo>
                        <a:pt x="308" y="404"/>
                      </a:lnTo>
                      <a:lnTo>
                        <a:pt x="303" y="404"/>
                      </a:lnTo>
                      <a:lnTo>
                        <a:pt x="297" y="404"/>
                      </a:lnTo>
                      <a:lnTo>
                        <a:pt x="292" y="405"/>
                      </a:lnTo>
                      <a:lnTo>
                        <a:pt x="288" y="405"/>
                      </a:lnTo>
                      <a:lnTo>
                        <a:pt x="282" y="405"/>
                      </a:lnTo>
                      <a:lnTo>
                        <a:pt x="278" y="405"/>
                      </a:lnTo>
                      <a:lnTo>
                        <a:pt x="274" y="405"/>
                      </a:lnTo>
                      <a:lnTo>
                        <a:pt x="271" y="405"/>
                      </a:lnTo>
                      <a:lnTo>
                        <a:pt x="268" y="405"/>
                      </a:lnTo>
                      <a:lnTo>
                        <a:pt x="265" y="405"/>
                      </a:lnTo>
                      <a:lnTo>
                        <a:pt x="263" y="405"/>
                      </a:lnTo>
                      <a:lnTo>
                        <a:pt x="261" y="405"/>
                      </a:lnTo>
                      <a:lnTo>
                        <a:pt x="256" y="405"/>
                      </a:lnTo>
                      <a:lnTo>
                        <a:pt x="255" y="405"/>
                      </a:lnTo>
                      <a:lnTo>
                        <a:pt x="249" y="405"/>
                      </a:lnTo>
                      <a:lnTo>
                        <a:pt x="250" y="401"/>
                      </a:lnTo>
                      <a:lnTo>
                        <a:pt x="250" y="400"/>
                      </a:lnTo>
                      <a:lnTo>
                        <a:pt x="250" y="399"/>
                      </a:lnTo>
                      <a:lnTo>
                        <a:pt x="249" y="398"/>
                      </a:lnTo>
                      <a:lnTo>
                        <a:pt x="249" y="399"/>
                      </a:lnTo>
                      <a:lnTo>
                        <a:pt x="247" y="401"/>
                      </a:lnTo>
                      <a:lnTo>
                        <a:pt x="247" y="402"/>
                      </a:lnTo>
                      <a:lnTo>
                        <a:pt x="247" y="405"/>
                      </a:lnTo>
                      <a:lnTo>
                        <a:pt x="247" y="407"/>
                      </a:lnTo>
                      <a:lnTo>
                        <a:pt x="240" y="407"/>
                      </a:lnTo>
                      <a:lnTo>
                        <a:pt x="237" y="407"/>
                      </a:lnTo>
                      <a:lnTo>
                        <a:pt x="237" y="408"/>
                      </a:lnTo>
                      <a:lnTo>
                        <a:pt x="235" y="409"/>
                      </a:lnTo>
                      <a:lnTo>
                        <a:pt x="234" y="409"/>
                      </a:lnTo>
                      <a:lnTo>
                        <a:pt x="231" y="409"/>
                      </a:lnTo>
                      <a:lnTo>
                        <a:pt x="227" y="409"/>
                      </a:lnTo>
                      <a:lnTo>
                        <a:pt x="226" y="409"/>
                      </a:lnTo>
                      <a:lnTo>
                        <a:pt x="225" y="409"/>
                      </a:lnTo>
                      <a:lnTo>
                        <a:pt x="224" y="408"/>
                      </a:lnTo>
                      <a:lnTo>
                        <a:pt x="222" y="408"/>
                      </a:lnTo>
                      <a:lnTo>
                        <a:pt x="219" y="407"/>
                      </a:lnTo>
                      <a:lnTo>
                        <a:pt x="218" y="407"/>
                      </a:lnTo>
                      <a:lnTo>
                        <a:pt x="217" y="407"/>
                      </a:lnTo>
                      <a:lnTo>
                        <a:pt x="213" y="407"/>
                      </a:lnTo>
                      <a:lnTo>
                        <a:pt x="212" y="407"/>
                      </a:lnTo>
                      <a:lnTo>
                        <a:pt x="211" y="408"/>
                      </a:lnTo>
                      <a:lnTo>
                        <a:pt x="210" y="408"/>
                      </a:lnTo>
                      <a:lnTo>
                        <a:pt x="208" y="408"/>
                      </a:lnTo>
                      <a:lnTo>
                        <a:pt x="206" y="407"/>
                      </a:lnTo>
                      <a:lnTo>
                        <a:pt x="206" y="408"/>
                      </a:lnTo>
                      <a:lnTo>
                        <a:pt x="205" y="408"/>
                      </a:lnTo>
                      <a:lnTo>
                        <a:pt x="205" y="409"/>
                      </a:lnTo>
                      <a:lnTo>
                        <a:pt x="205" y="411"/>
                      </a:lnTo>
                      <a:lnTo>
                        <a:pt x="205" y="412"/>
                      </a:lnTo>
                      <a:lnTo>
                        <a:pt x="204" y="412"/>
                      </a:lnTo>
                      <a:lnTo>
                        <a:pt x="203" y="413"/>
                      </a:lnTo>
                      <a:lnTo>
                        <a:pt x="203" y="414"/>
                      </a:lnTo>
                      <a:lnTo>
                        <a:pt x="201" y="415"/>
                      </a:lnTo>
                      <a:lnTo>
                        <a:pt x="200" y="416"/>
                      </a:lnTo>
                      <a:lnTo>
                        <a:pt x="200" y="418"/>
                      </a:lnTo>
                      <a:lnTo>
                        <a:pt x="200" y="419"/>
                      </a:lnTo>
                      <a:lnTo>
                        <a:pt x="199" y="416"/>
                      </a:lnTo>
                      <a:lnTo>
                        <a:pt x="198" y="416"/>
                      </a:lnTo>
                      <a:lnTo>
                        <a:pt x="197" y="414"/>
                      </a:lnTo>
                      <a:lnTo>
                        <a:pt x="196" y="413"/>
                      </a:lnTo>
                      <a:lnTo>
                        <a:pt x="187" y="407"/>
                      </a:lnTo>
                      <a:lnTo>
                        <a:pt x="184" y="402"/>
                      </a:lnTo>
                      <a:lnTo>
                        <a:pt x="183" y="401"/>
                      </a:lnTo>
                      <a:lnTo>
                        <a:pt x="180" y="401"/>
                      </a:lnTo>
                      <a:lnTo>
                        <a:pt x="180" y="402"/>
                      </a:lnTo>
                      <a:lnTo>
                        <a:pt x="179" y="402"/>
                      </a:lnTo>
                      <a:lnTo>
                        <a:pt x="178" y="404"/>
                      </a:lnTo>
                      <a:lnTo>
                        <a:pt x="177" y="405"/>
                      </a:lnTo>
                      <a:lnTo>
                        <a:pt x="176" y="405"/>
                      </a:lnTo>
                      <a:lnTo>
                        <a:pt x="175" y="405"/>
                      </a:lnTo>
                      <a:lnTo>
                        <a:pt x="173" y="405"/>
                      </a:lnTo>
                      <a:lnTo>
                        <a:pt x="173" y="406"/>
                      </a:lnTo>
                      <a:lnTo>
                        <a:pt x="173" y="407"/>
                      </a:lnTo>
                      <a:lnTo>
                        <a:pt x="172" y="408"/>
                      </a:lnTo>
                      <a:lnTo>
                        <a:pt x="172" y="411"/>
                      </a:lnTo>
                      <a:lnTo>
                        <a:pt x="171" y="413"/>
                      </a:lnTo>
                      <a:lnTo>
                        <a:pt x="171" y="415"/>
                      </a:lnTo>
                      <a:lnTo>
                        <a:pt x="170" y="416"/>
                      </a:lnTo>
                      <a:lnTo>
                        <a:pt x="170" y="418"/>
                      </a:lnTo>
                      <a:lnTo>
                        <a:pt x="170" y="419"/>
                      </a:lnTo>
                      <a:lnTo>
                        <a:pt x="170" y="420"/>
                      </a:lnTo>
                      <a:lnTo>
                        <a:pt x="170" y="421"/>
                      </a:lnTo>
                      <a:lnTo>
                        <a:pt x="171" y="421"/>
                      </a:lnTo>
                      <a:lnTo>
                        <a:pt x="171" y="422"/>
                      </a:lnTo>
                      <a:lnTo>
                        <a:pt x="171" y="423"/>
                      </a:lnTo>
                      <a:lnTo>
                        <a:pt x="171" y="425"/>
                      </a:lnTo>
                      <a:lnTo>
                        <a:pt x="171" y="426"/>
                      </a:lnTo>
                      <a:lnTo>
                        <a:pt x="170" y="426"/>
                      </a:lnTo>
                      <a:lnTo>
                        <a:pt x="170" y="427"/>
                      </a:lnTo>
                      <a:lnTo>
                        <a:pt x="170" y="428"/>
                      </a:lnTo>
                      <a:lnTo>
                        <a:pt x="169" y="428"/>
                      </a:lnTo>
                      <a:lnTo>
                        <a:pt x="168" y="428"/>
                      </a:lnTo>
                      <a:lnTo>
                        <a:pt x="168" y="429"/>
                      </a:lnTo>
                      <a:lnTo>
                        <a:pt x="167" y="429"/>
                      </a:lnTo>
                      <a:lnTo>
                        <a:pt x="165" y="430"/>
                      </a:lnTo>
                      <a:lnTo>
                        <a:pt x="164" y="430"/>
                      </a:lnTo>
                      <a:lnTo>
                        <a:pt x="163" y="432"/>
                      </a:lnTo>
                      <a:lnTo>
                        <a:pt x="162" y="430"/>
                      </a:lnTo>
                      <a:lnTo>
                        <a:pt x="161" y="429"/>
                      </a:lnTo>
                      <a:lnTo>
                        <a:pt x="161" y="430"/>
                      </a:lnTo>
                      <a:lnTo>
                        <a:pt x="160" y="430"/>
                      </a:lnTo>
                      <a:lnTo>
                        <a:pt x="158" y="430"/>
                      </a:lnTo>
                      <a:lnTo>
                        <a:pt x="157" y="430"/>
                      </a:lnTo>
                      <a:lnTo>
                        <a:pt x="155" y="429"/>
                      </a:lnTo>
                      <a:lnTo>
                        <a:pt x="154" y="428"/>
                      </a:lnTo>
                      <a:lnTo>
                        <a:pt x="153" y="427"/>
                      </a:lnTo>
                      <a:lnTo>
                        <a:pt x="151" y="426"/>
                      </a:lnTo>
                      <a:lnTo>
                        <a:pt x="150" y="423"/>
                      </a:lnTo>
                      <a:lnTo>
                        <a:pt x="150" y="422"/>
                      </a:lnTo>
                      <a:lnTo>
                        <a:pt x="149" y="422"/>
                      </a:lnTo>
                      <a:lnTo>
                        <a:pt x="148" y="421"/>
                      </a:lnTo>
                      <a:lnTo>
                        <a:pt x="147" y="420"/>
                      </a:lnTo>
                      <a:lnTo>
                        <a:pt x="146" y="420"/>
                      </a:lnTo>
                      <a:lnTo>
                        <a:pt x="144" y="420"/>
                      </a:lnTo>
                      <a:lnTo>
                        <a:pt x="143" y="420"/>
                      </a:lnTo>
                      <a:lnTo>
                        <a:pt x="142" y="420"/>
                      </a:lnTo>
                      <a:lnTo>
                        <a:pt x="142" y="419"/>
                      </a:lnTo>
                      <a:lnTo>
                        <a:pt x="141" y="419"/>
                      </a:lnTo>
                      <a:lnTo>
                        <a:pt x="141" y="418"/>
                      </a:lnTo>
                      <a:lnTo>
                        <a:pt x="141" y="416"/>
                      </a:lnTo>
                      <a:lnTo>
                        <a:pt x="140" y="416"/>
                      </a:lnTo>
                      <a:lnTo>
                        <a:pt x="140" y="415"/>
                      </a:lnTo>
                      <a:lnTo>
                        <a:pt x="139" y="415"/>
                      </a:lnTo>
                      <a:lnTo>
                        <a:pt x="137" y="415"/>
                      </a:lnTo>
                      <a:lnTo>
                        <a:pt x="136" y="414"/>
                      </a:lnTo>
                      <a:lnTo>
                        <a:pt x="137" y="414"/>
                      </a:lnTo>
                      <a:lnTo>
                        <a:pt x="139" y="414"/>
                      </a:lnTo>
                      <a:lnTo>
                        <a:pt x="139" y="413"/>
                      </a:lnTo>
                      <a:lnTo>
                        <a:pt x="136" y="412"/>
                      </a:lnTo>
                      <a:lnTo>
                        <a:pt x="136" y="411"/>
                      </a:lnTo>
                      <a:lnTo>
                        <a:pt x="135" y="411"/>
                      </a:lnTo>
                      <a:lnTo>
                        <a:pt x="135" y="409"/>
                      </a:lnTo>
                      <a:lnTo>
                        <a:pt x="135" y="408"/>
                      </a:lnTo>
                      <a:lnTo>
                        <a:pt x="135" y="407"/>
                      </a:lnTo>
                      <a:lnTo>
                        <a:pt x="134" y="406"/>
                      </a:lnTo>
                      <a:lnTo>
                        <a:pt x="133" y="406"/>
                      </a:lnTo>
                      <a:lnTo>
                        <a:pt x="133" y="407"/>
                      </a:lnTo>
                      <a:lnTo>
                        <a:pt x="132" y="407"/>
                      </a:lnTo>
                      <a:lnTo>
                        <a:pt x="130" y="407"/>
                      </a:lnTo>
                      <a:lnTo>
                        <a:pt x="130" y="406"/>
                      </a:lnTo>
                      <a:lnTo>
                        <a:pt x="130" y="405"/>
                      </a:lnTo>
                      <a:lnTo>
                        <a:pt x="130" y="404"/>
                      </a:lnTo>
                      <a:lnTo>
                        <a:pt x="129" y="404"/>
                      </a:lnTo>
                      <a:lnTo>
                        <a:pt x="128" y="404"/>
                      </a:lnTo>
                      <a:lnTo>
                        <a:pt x="128" y="402"/>
                      </a:lnTo>
                      <a:lnTo>
                        <a:pt x="127" y="402"/>
                      </a:lnTo>
                      <a:lnTo>
                        <a:pt x="126" y="402"/>
                      </a:lnTo>
                      <a:lnTo>
                        <a:pt x="126" y="401"/>
                      </a:lnTo>
                      <a:lnTo>
                        <a:pt x="126" y="400"/>
                      </a:lnTo>
                      <a:lnTo>
                        <a:pt x="126" y="399"/>
                      </a:lnTo>
                      <a:lnTo>
                        <a:pt x="125" y="399"/>
                      </a:lnTo>
                      <a:lnTo>
                        <a:pt x="125" y="398"/>
                      </a:lnTo>
                      <a:lnTo>
                        <a:pt x="123" y="398"/>
                      </a:lnTo>
                      <a:lnTo>
                        <a:pt x="125" y="397"/>
                      </a:lnTo>
                      <a:lnTo>
                        <a:pt x="123" y="395"/>
                      </a:lnTo>
                      <a:lnTo>
                        <a:pt x="123" y="394"/>
                      </a:lnTo>
                      <a:lnTo>
                        <a:pt x="123" y="393"/>
                      </a:lnTo>
                      <a:lnTo>
                        <a:pt x="122" y="392"/>
                      </a:lnTo>
                      <a:lnTo>
                        <a:pt x="121" y="392"/>
                      </a:lnTo>
                      <a:lnTo>
                        <a:pt x="121" y="391"/>
                      </a:lnTo>
                      <a:lnTo>
                        <a:pt x="121" y="390"/>
                      </a:lnTo>
                      <a:lnTo>
                        <a:pt x="121" y="388"/>
                      </a:lnTo>
                      <a:lnTo>
                        <a:pt x="120" y="388"/>
                      </a:lnTo>
                      <a:lnTo>
                        <a:pt x="119" y="387"/>
                      </a:lnTo>
                      <a:lnTo>
                        <a:pt x="118" y="387"/>
                      </a:lnTo>
                      <a:lnTo>
                        <a:pt x="116" y="387"/>
                      </a:lnTo>
                      <a:lnTo>
                        <a:pt x="118" y="386"/>
                      </a:lnTo>
                      <a:lnTo>
                        <a:pt x="118" y="385"/>
                      </a:lnTo>
                      <a:lnTo>
                        <a:pt x="116" y="385"/>
                      </a:lnTo>
                      <a:lnTo>
                        <a:pt x="116" y="386"/>
                      </a:lnTo>
                      <a:lnTo>
                        <a:pt x="115" y="386"/>
                      </a:lnTo>
                      <a:lnTo>
                        <a:pt x="114" y="386"/>
                      </a:lnTo>
                      <a:lnTo>
                        <a:pt x="113" y="386"/>
                      </a:lnTo>
                      <a:lnTo>
                        <a:pt x="112" y="387"/>
                      </a:lnTo>
                      <a:lnTo>
                        <a:pt x="111" y="387"/>
                      </a:lnTo>
                      <a:lnTo>
                        <a:pt x="111" y="386"/>
                      </a:lnTo>
                      <a:lnTo>
                        <a:pt x="109" y="386"/>
                      </a:lnTo>
                      <a:lnTo>
                        <a:pt x="109" y="385"/>
                      </a:lnTo>
                      <a:lnTo>
                        <a:pt x="111" y="385"/>
                      </a:lnTo>
                      <a:lnTo>
                        <a:pt x="111" y="384"/>
                      </a:lnTo>
                      <a:lnTo>
                        <a:pt x="109" y="384"/>
                      </a:lnTo>
                      <a:lnTo>
                        <a:pt x="109" y="385"/>
                      </a:lnTo>
                      <a:lnTo>
                        <a:pt x="108" y="385"/>
                      </a:lnTo>
                      <a:lnTo>
                        <a:pt x="108" y="386"/>
                      </a:lnTo>
                      <a:lnTo>
                        <a:pt x="107" y="386"/>
                      </a:lnTo>
                      <a:lnTo>
                        <a:pt x="107" y="387"/>
                      </a:lnTo>
                      <a:lnTo>
                        <a:pt x="106" y="387"/>
                      </a:lnTo>
                      <a:lnTo>
                        <a:pt x="106" y="386"/>
                      </a:lnTo>
                      <a:lnTo>
                        <a:pt x="105" y="386"/>
                      </a:lnTo>
                      <a:lnTo>
                        <a:pt x="105" y="385"/>
                      </a:lnTo>
                      <a:lnTo>
                        <a:pt x="105" y="384"/>
                      </a:lnTo>
                      <a:lnTo>
                        <a:pt x="104" y="384"/>
                      </a:lnTo>
                      <a:lnTo>
                        <a:pt x="103" y="384"/>
                      </a:lnTo>
                      <a:lnTo>
                        <a:pt x="103" y="383"/>
                      </a:lnTo>
                      <a:lnTo>
                        <a:pt x="103" y="381"/>
                      </a:lnTo>
                      <a:lnTo>
                        <a:pt x="101" y="381"/>
                      </a:lnTo>
                      <a:lnTo>
                        <a:pt x="101" y="380"/>
                      </a:lnTo>
                      <a:lnTo>
                        <a:pt x="101" y="379"/>
                      </a:lnTo>
                      <a:lnTo>
                        <a:pt x="100" y="379"/>
                      </a:lnTo>
                      <a:lnTo>
                        <a:pt x="100" y="378"/>
                      </a:lnTo>
                      <a:lnTo>
                        <a:pt x="99" y="378"/>
                      </a:lnTo>
                      <a:lnTo>
                        <a:pt x="97" y="376"/>
                      </a:lnTo>
                      <a:lnTo>
                        <a:pt x="96" y="374"/>
                      </a:lnTo>
                      <a:lnTo>
                        <a:pt x="94" y="374"/>
                      </a:lnTo>
                      <a:lnTo>
                        <a:pt x="94" y="373"/>
                      </a:lnTo>
                      <a:lnTo>
                        <a:pt x="93" y="373"/>
                      </a:lnTo>
                      <a:lnTo>
                        <a:pt x="92" y="373"/>
                      </a:lnTo>
                      <a:lnTo>
                        <a:pt x="92" y="372"/>
                      </a:lnTo>
                      <a:lnTo>
                        <a:pt x="91" y="372"/>
                      </a:lnTo>
                      <a:lnTo>
                        <a:pt x="90" y="372"/>
                      </a:lnTo>
                      <a:lnTo>
                        <a:pt x="90" y="371"/>
                      </a:lnTo>
                      <a:lnTo>
                        <a:pt x="90" y="370"/>
                      </a:lnTo>
                      <a:lnTo>
                        <a:pt x="87" y="369"/>
                      </a:lnTo>
                      <a:lnTo>
                        <a:pt x="86" y="370"/>
                      </a:lnTo>
                      <a:lnTo>
                        <a:pt x="85" y="370"/>
                      </a:lnTo>
                      <a:lnTo>
                        <a:pt x="84" y="370"/>
                      </a:lnTo>
                      <a:lnTo>
                        <a:pt x="83" y="370"/>
                      </a:lnTo>
                      <a:lnTo>
                        <a:pt x="82" y="370"/>
                      </a:lnTo>
                      <a:lnTo>
                        <a:pt x="80" y="370"/>
                      </a:lnTo>
                      <a:lnTo>
                        <a:pt x="79" y="370"/>
                      </a:lnTo>
                      <a:lnTo>
                        <a:pt x="78" y="370"/>
                      </a:lnTo>
                      <a:lnTo>
                        <a:pt x="72" y="370"/>
                      </a:lnTo>
                      <a:lnTo>
                        <a:pt x="71" y="370"/>
                      </a:lnTo>
                      <a:lnTo>
                        <a:pt x="70" y="369"/>
                      </a:lnTo>
                      <a:lnTo>
                        <a:pt x="69" y="369"/>
                      </a:lnTo>
                      <a:lnTo>
                        <a:pt x="69" y="370"/>
                      </a:lnTo>
                      <a:lnTo>
                        <a:pt x="68" y="370"/>
                      </a:lnTo>
                      <a:lnTo>
                        <a:pt x="68" y="371"/>
                      </a:lnTo>
                      <a:lnTo>
                        <a:pt x="66" y="370"/>
                      </a:lnTo>
                      <a:lnTo>
                        <a:pt x="65" y="370"/>
                      </a:lnTo>
                      <a:lnTo>
                        <a:pt x="65" y="371"/>
                      </a:lnTo>
                      <a:lnTo>
                        <a:pt x="66" y="371"/>
                      </a:lnTo>
                      <a:lnTo>
                        <a:pt x="65" y="372"/>
                      </a:lnTo>
                      <a:lnTo>
                        <a:pt x="62" y="373"/>
                      </a:lnTo>
                      <a:lnTo>
                        <a:pt x="61" y="373"/>
                      </a:lnTo>
                      <a:lnTo>
                        <a:pt x="59" y="372"/>
                      </a:lnTo>
                      <a:lnTo>
                        <a:pt x="58" y="372"/>
                      </a:lnTo>
                      <a:lnTo>
                        <a:pt x="58" y="373"/>
                      </a:lnTo>
                      <a:lnTo>
                        <a:pt x="57" y="373"/>
                      </a:lnTo>
                      <a:lnTo>
                        <a:pt x="56" y="373"/>
                      </a:lnTo>
                      <a:lnTo>
                        <a:pt x="55" y="373"/>
                      </a:lnTo>
                      <a:lnTo>
                        <a:pt x="55" y="372"/>
                      </a:lnTo>
                      <a:lnTo>
                        <a:pt x="54" y="372"/>
                      </a:lnTo>
                      <a:lnTo>
                        <a:pt x="54" y="373"/>
                      </a:lnTo>
                      <a:lnTo>
                        <a:pt x="52" y="374"/>
                      </a:lnTo>
                      <a:lnTo>
                        <a:pt x="51" y="374"/>
                      </a:lnTo>
                      <a:lnTo>
                        <a:pt x="50" y="374"/>
                      </a:lnTo>
                      <a:lnTo>
                        <a:pt x="49" y="374"/>
                      </a:lnTo>
                      <a:lnTo>
                        <a:pt x="48" y="376"/>
                      </a:lnTo>
                      <a:lnTo>
                        <a:pt x="47" y="376"/>
                      </a:lnTo>
                      <a:lnTo>
                        <a:pt x="45" y="376"/>
                      </a:lnTo>
                      <a:lnTo>
                        <a:pt x="44" y="376"/>
                      </a:lnTo>
                      <a:lnTo>
                        <a:pt x="43" y="374"/>
                      </a:lnTo>
                      <a:lnTo>
                        <a:pt x="42" y="374"/>
                      </a:lnTo>
                      <a:lnTo>
                        <a:pt x="41" y="374"/>
                      </a:lnTo>
                      <a:lnTo>
                        <a:pt x="40" y="374"/>
                      </a:lnTo>
                      <a:lnTo>
                        <a:pt x="39" y="376"/>
                      </a:lnTo>
                      <a:lnTo>
                        <a:pt x="37" y="376"/>
                      </a:lnTo>
                      <a:lnTo>
                        <a:pt x="36" y="376"/>
                      </a:lnTo>
                      <a:lnTo>
                        <a:pt x="35" y="376"/>
                      </a:lnTo>
                      <a:lnTo>
                        <a:pt x="34" y="374"/>
                      </a:lnTo>
                      <a:lnTo>
                        <a:pt x="33" y="373"/>
                      </a:lnTo>
                      <a:lnTo>
                        <a:pt x="32" y="374"/>
                      </a:lnTo>
                      <a:lnTo>
                        <a:pt x="30" y="374"/>
                      </a:lnTo>
                      <a:lnTo>
                        <a:pt x="29" y="374"/>
                      </a:lnTo>
                      <a:lnTo>
                        <a:pt x="28" y="374"/>
                      </a:lnTo>
                      <a:lnTo>
                        <a:pt x="28" y="376"/>
                      </a:lnTo>
                      <a:lnTo>
                        <a:pt x="27" y="376"/>
                      </a:lnTo>
                      <a:lnTo>
                        <a:pt x="27" y="377"/>
                      </a:lnTo>
                      <a:lnTo>
                        <a:pt x="26" y="378"/>
                      </a:lnTo>
                      <a:lnTo>
                        <a:pt x="25" y="384"/>
                      </a:lnTo>
                      <a:lnTo>
                        <a:pt x="25" y="385"/>
                      </a:lnTo>
                      <a:lnTo>
                        <a:pt x="23" y="385"/>
                      </a:lnTo>
                      <a:lnTo>
                        <a:pt x="22" y="386"/>
                      </a:lnTo>
                      <a:lnTo>
                        <a:pt x="22" y="388"/>
                      </a:lnTo>
                      <a:lnTo>
                        <a:pt x="22" y="390"/>
                      </a:lnTo>
                      <a:lnTo>
                        <a:pt x="21" y="392"/>
                      </a:lnTo>
                      <a:lnTo>
                        <a:pt x="21" y="395"/>
                      </a:lnTo>
                      <a:lnTo>
                        <a:pt x="21" y="398"/>
                      </a:lnTo>
                      <a:lnTo>
                        <a:pt x="20" y="399"/>
                      </a:lnTo>
                      <a:lnTo>
                        <a:pt x="21" y="393"/>
                      </a:lnTo>
                      <a:lnTo>
                        <a:pt x="20" y="390"/>
                      </a:lnTo>
                      <a:lnTo>
                        <a:pt x="20" y="384"/>
                      </a:lnTo>
                      <a:lnTo>
                        <a:pt x="20" y="381"/>
                      </a:lnTo>
                      <a:lnTo>
                        <a:pt x="20" y="380"/>
                      </a:lnTo>
                      <a:lnTo>
                        <a:pt x="21" y="379"/>
                      </a:lnTo>
                      <a:lnTo>
                        <a:pt x="21" y="377"/>
                      </a:lnTo>
                      <a:lnTo>
                        <a:pt x="22" y="377"/>
                      </a:lnTo>
                      <a:lnTo>
                        <a:pt x="22" y="376"/>
                      </a:lnTo>
                      <a:lnTo>
                        <a:pt x="22" y="372"/>
                      </a:lnTo>
                      <a:lnTo>
                        <a:pt x="22" y="371"/>
                      </a:lnTo>
                      <a:lnTo>
                        <a:pt x="25" y="364"/>
                      </a:lnTo>
                      <a:lnTo>
                        <a:pt x="26" y="363"/>
                      </a:lnTo>
                      <a:lnTo>
                        <a:pt x="26" y="360"/>
                      </a:lnTo>
                      <a:lnTo>
                        <a:pt x="26" y="359"/>
                      </a:lnTo>
                      <a:lnTo>
                        <a:pt x="28" y="358"/>
                      </a:lnTo>
                      <a:lnTo>
                        <a:pt x="30" y="351"/>
                      </a:lnTo>
                      <a:lnTo>
                        <a:pt x="32" y="350"/>
                      </a:lnTo>
                      <a:lnTo>
                        <a:pt x="34" y="341"/>
                      </a:lnTo>
                      <a:lnTo>
                        <a:pt x="35" y="337"/>
                      </a:lnTo>
                      <a:lnTo>
                        <a:pt x="35" y="333"/>
                      </a:lnTo>
                      <a:lnTo>
                        <a:pt x="35" y="327"/>
                      </a:lnTo>
                      <a:lnTo>
                        <a:pt x="35" y="321"/>
                      </a:lnTo>
                      <a:lnTo>
                        <a:pt x="34" y="309"/>
                      </a:lnTo>
                      <a:lnTo>
                        <a:pt x="33" y="308"/>
                      </a:lnTo>
                      <a:lnTo>
                        <a:pt x="32" y="305"/>
                      </a:lnTo>
                      <a:lnTo>
                        <a:pt x="30" y="300"/>
                      </a:lnTo>
                      <a:lnTo>
                        <a:pt x="30" y="299"/>
                      </a:lnTo>
                      <a:lnTo>
                        <a:pt x="30" y="298"/>
                      </a:lnTo>
                      <a:lnTo>
                        <a:pt x="29" y="293"/>
                      </a:lnTo>
                      <a:lnTo>
                        <a:pt x="29" y="292"/>
                      </a:lnTo>
                      <a:lnTo>
                        <a:pt x="28" y="291"/>
                      </a:lnTo>
                      <a:lnTo>
                        <a:pt x="26" y="288"/>
                      </a:lnTo>
                      <a:lnTo>
                        <a:pt x="25" y="286"/>
                      </a:lnTo>
                      <a:lnTo>
                        <a:pt x="23" y="285"/>
                      </a:lnTo>
                      <a:lnTo>
                        <a:pt x="22" y="285"/>
                      </a:lnTo>
                      <a:lnTo>
                        <a:pt x="21" y="284"/>
                      </a:lnTo>
                      <a:lnTo>
                        <a:pt x="20" y="284"/>
                      </a:lnTo>
                      <a:lnTo>
                        <a:pt x="20" y="281"/>
                      </a:lnTo>
                      <a:lnTo>
                        <a:pt x="19" y="280"/>
                      </a:lnTo>
                      <a:lnTo>
                        <a:pt x="18" y="280"/>
                      </a:lnTo>
                      <a:lnTo>
                        <a:pt x="19" y="279"/>
                      </a:lnTo>
                      <a:lnTo>
                        <a:pt x="20" y="279"/>
                      </a:lnTo>
                      <a:lnTo>
                        <a:pt x="22" y="279"/>
                      </a:lnTo>
                      <a:lnTo>
                        <a:pt x="23" y="278"/>
                      </a:lnTo>
                      <a:lnTo>
                        <a:pt x="25" y="277"/>
                      </a:lnTo>
                      <a:lnTo>
                        <a:pt x="26" y="275"/>
                      </a:lnTo>
                      <a:lnTo>
                        <a:pt x="26" y="274"/>
                      </a:lnTo>
                      <a:lnTo>
                        <a:pt x="23" y="275"/>
                      </a:lnTo>
                      <a:lnTo>
                        <a:pt x="22" y="277"/>
                      </a:lnTo>
                      <a:lnTo>
                        <a:pt x="23" y="274"/>
                      </a:lnTo>
                      <a:lnTo>
                        <a:pt x="22" y="275"/>
                      </a:lnTo>
                      <a:lnTo>
                        <a:pt x="21" y="277"/>
                      </a:lnTo>
                      <a:lnTo>
                        <a:pt x="21" y="278"/>
                      </a:lnTo>
                      <a:lnTo>
                        <a:pt x="21" y="279"/>
                      </a:lnTo>
                      <a:lnTo>
                        <a:pt x="20" y="279"/>
                      </a:lnTo>
                      <a:lnTo>
                        <a:pt x="20" y="278"/>
                      </a:lnTo>
                      <a:lnTo>
                        <a:pt x="20" y="277"/>
                      </a:lnTo>
                      <a:lnTo>
                        <a:pt x="21" y="275"/>
                      </a:lnTo>
                      <a:lnTo>
                        <a:pt x="21" y="274"/>
                      </a:lnTo>
                      <a:lnTo>
                        <a:pt x="22" y="273"/>
                      </a:lnTo>
                      <a:lnTo>
                        <a:pt x="26" y="268"/>
                      </a:lnTo>
                      <a:lnTo>
                        <a:pt x="26" y="267"/>
                      </a:lnTo>
                      <a:lnTo>
                        <a:pt x="27" y="267"/>
                      </a:lnTo>
                      <a:lnTo>
                        <a:pt x="27" y="266"/>
                      </a:lnTo>
                      <a:lnTo>
                        <a:pt x="27" y="265"/>
                      </a:lnTo>
                      <a:lnTo>
                        <a:pt x="27" y="264"/>
                      </a:lnTo>
                      <a:lnTo>
                        <a:pt x="27" y="263"/>
                      </a:lnTo>
                      <a:lnTo>
                        <a:pt x="27" y="264"/>
                      </a:lnTo>
                      <a:lnTo>
                        <a:pt x="27" y="263"/>
                      </a:lnTo>
                      <a:lnTo>
                        <a:pt x="27" y="261"/>
                      </a:lnTo>
                      <a:lnTo>
                        <a:pt x="26" y="261"/>
                      </a:lnTo>
                      <a:lnTo>
                        <a:pt x="26" y="263"/>
                      </a:lnTo>
                      <a:lnTo>
                        <a:pt x="25" y="263"/>
                      </a:lnTo>
                      <a:lnTo>
                        <a:pt x="25" y="261"/>
                      </a:lnTo>
                      <a:lnTo>
                        <a:pt x="26" y="261"/>
                      </a:lnTo>
                      <a:lnTo>
                        <a:pt x="27" y="259"/>
                      </a:lnTo>
                      <a:lnTo>
                        <a:pt x="28" y="258"/>
                      </a:lnTo>
                      <a:lnTo>
                        <a:pt x="28" y="257"/>
                      </a:lnTo>
                      <a:lnTo>
                        <a:pt x="27" y="254"/>
                      </a:lnTo>
                      <a:lnTo>
                        <a:pt x="27" y="253"/>
                      </a:lnTo>
                      <a:lnTo>
                        <a:pt x="28" y="252"/>
                      </a:lnTo>
                      <a:lnTo>
                        <a:pt x="28" y="251"/>
                      </a:lnTo>
                      <a:lnTo>
                        <a:pt x="28" y="250"/>
                      </a:lnTo>
                      <a:lnTo>
                        <a:pt x="27" y="249"/>
                      </a:lnTo>
                      <a:lnTo>
                        <a:pt x="26" y="249"/>
                      </a:lnTo>
                      <a:lnTo>
                        <a:pt x="26" y="247"/>
                      </a:lnTo>
                      <a:lnTo>
                        <a:pt x="25" y="247"/>
                      </a:lnTo>
                      <a:lnTo>
                        <a:pt x="25" y="245"/>
                      </a:lnTo>
                      <a:lnTo>
                        <a:pt x="23" y="245"/>
                      </a:lnTo>
                      <a:lnTo>
                        <a:pt x="23" y="244"/>
                      </a:lnTo>
                      <a:lnTo>
                        <a:pt x="23" y="243"/>
                      </a:lnTo>
                      <a:lnTo>
                        <a:pt x="22" y="239"/>
                      </a:lnTo>
                      <a:lnTo>
                        <a:pt x="21" y="239"/>
                      </a:lnTo>
                      <a:lnTo>
                        <a:pt x="21" y="238"/>
                      </a:lnTo>
                      <a:lnTo>
                        <a:pt x="21" y="237"/>
                      </a:lnTo>
                      <a:lnTo>
                        <a:pt x="20" y="237"/>
                      </a:lnTo>
                      <a:lnTo>
                        <a:pt x="20" y="236"/>
                      </a:lnTo>
                      <a:lnTo>
                        <a:pt x="21" y="236"/>
                      </a:lnTo>
                      <a:lnTo>
                        <a:pt x="20" y="236"/>
                      </a:lnTo>
                      <a:lnTo>
                        <a:pt x="19" y="236"/>
                      </a:lnTo>
                      <a:lnTo>
                        <a:pt x="19" y="235"/>
                      </a:lnTo>
                      <a:lnTo>
                        <a:pt x="19" y="233"/>
                      </a:lnTo>
                      <a:lnTo>
                        <a:pt x="18" y="233"/>
                      </a:lnTo>
                      <a:lnTo>
                        <a:pt x="18" y="235"/>
                      </a:lnTo>
                      <a:lnTo>
                        <a:pt x="18" y="238"/>
                      </a:lnTo>
                      <a:lnTo>
                        <a:pt x="18" y="239"/>
                      </a:lnTo>
                      <a:lnTo>
                        <a:pt x="16" y="239"/>
                      </a:lnTo>
                      <a:lnTo>
                        <a:pt x="16" y="238"/>
                      </a:lnTo>
                      <a:lnTo>
                        <a:pt x="15" y="238"/>
                      </a:lnTo>
                      <a:lnTo>
                        <a:pt x="15" y="237"/>
                      </a:lnTo>
                      <a:lnTo>
                        <a:pt x="14" y="237"/>
                      </a:lnTo>
                      <a:lnTo>
                        <a:pt x="13" y="236"/>
                      </a:lnTo>
                      <a:lnTo>
                        <a:pt x="13" y="235"/>
                      </a:lnTo>
                      <a:lnTo>
                        <a:pt x="13" y="233"/>
                      </a:lnTo>
                      <a:lnTo>
                        <a:pt x="12" y="232"/>
                      </a:lnTo>
                      <a:lnTo>
                        <a:pt x="12" y="231"/>
                      </a:lnTo>
                      <a:lnTo>
                        <a:pt x="11" y="231"/>
                      </a:lnTo>
                      <a:lnTo>
                        <a:pt x="11" y="229"/>
                      </a:lnTo>
                      <a:lnTo>
                        <a:pt x="9" y="229"/>
                      </a:lnTo>
                      <a:lnTo>
                        <a:pt x="9" y="228"/>
                      </a:lnTo>
                      <a:lnTo>
                        <a:pt x="9" y="226"/>
                      </a:lnTo>
                      <a:lnTo>
                        <a:pt x="9" y="228"/>
                      </a:lnTo>
                      <a:lnTo>
                        <a:pt x="8" y="226"/>
                      </a:lnTo>
                      <a:lnTo>
                        <a:pt x="8" y="225"/>
                      </a:lnTo>
                      <a:lnTo>
                        <a:pt x="7" y="225"/>
                      </a:lnTo>
                      <a:lnTo>
                        <a:pt x="7" y="224"/>
                      </a:lnTo>
                      <a:lnTo>
                        <a:pt x="6" y="223"/>
                      </a:lnTo>
                      <a:lnTo>
                        <a:pt x="6" y="222"/>
                      </a:lnTo>
                      <a:lnTo>
                        <a:pt x="6" y="221"/>
                      </a:lnTo>
                      <a:lnTo>
                        <a:pt x="5" y="221"/>
                      </a:lnTo>
                      <a:lnTo>
                        <a:pt x="5" y="219"/>
                      </a:lnTo>
                      <a:lnTo>
                        <a:pt x="4" y="222"/>
                      </a:lnTo>
                      <a:lnTo>
                        <a:pt x="2" y="223"/>
                      </a:lnTo>
                      <a:lnTo>
                        <a:pt x="1" y="223"/>
                      </a:lnTo>
                      <a:lnTo>
                        <a:pt x="1" y="224"/>
                      </a:lnTo>
                      <a:lnTo>
                        <a:pt x="2" y="224"/>
                      </a:lnTo>
                      <a:lnTo>
                        <a:pt x="2" y="225"/>
                      </a:lnTo>
                      <a:lnTo>
                        <a:pt x="2" y="226"/>
                      </a:lnTo>
                      <a:lnTo>
                        <a:pt x="2" y="228"/>
                      </a:lnTo>
                      <a:lnTo>
                        <a:pt x="1" y="228"/>
                      </a:lnTo>
                      <a:lnTo>
                        <a:pt x="0" y="229"/>
                      </a:lnTo>
                      <a:lnTo>
                        <a:pt x="1" y="229"/>
                      </a:lnTo>
                      <a:lnTo>
                        <a:pt x="1" y="230"/>
                      </a:lnTo>
                      <a:lnTo>
                        <a:pt x="1" y="232"/>
                      </a:lnTo>
                      <a:lnTo>
                        <a:pt x="0" y="233"/>
                      </a:lnTo>
                      <a:lnTo>
                        <a:pt x="0" y="229"/>
                      </a:lnTo>
                      <a:lnTo>
                        <a:pt x="0" y="225"/>
                      </a:lnTo>
                      <a:lnTo>
                        <a:pt x="0" y="224"/>
                      </a:lnTo>
                      <a:lnTo>
                        <a:pt x="2" y="221"/>
                      </a:lnTo>
                      <a:lnTo>
                        <a:pt x="2" y="217"/>
                      </a:lnTo>
                      <a:lnTo>
                        <a:pt x="2" y="214"/>
                      </a:lnTo>
                      <a:lnTo>
                        <a:pt x="4" y="214"/>
                      </a:lnTo>
                      <a:lnTo>
                        <a:pt x="7" y="214"/>
                      </a:lnTo>
                      <a:lnTo>
                        <a:pt x="8" y="214"/>
                      </a:lnTo>
                      <a:lnTo>
                        <a:pt x="12" y="214"/>
                      </a:lnTo>
                      <a:lnTo>
                        <a:pt x="18" y="214"/>
                      </a:lnTo>
                      <a:lnTo>
                        <a:pt x="26" y="214"/>
                      </a:lnTo>
                      <a:lnTo>
                        <a:pt x="34" y="212"/>
                      </a:lnTo>
                      <a:lnTo>
                        <a:pt x="44" y="212"/>
                      </a:lnTo>
                      <a:lnTo>
                        <a:pt x="55" y="212"/>
                      </a:lnTo>
                      <a:lnTo>
                        <a:pt x="65" y="212"/>
                      </a:lnTo>
                      <a:lnTo>
                        <a:pt x="77" y="212"/>
                      </a:lnTo>
                      <a:lnTo>
                        <a:pt x="87" y="212"/>
                      </a:lnTo>
                      <a:lnTo>
                        <a:pt x="89" y="211"/>
                      </a:lnTo>
                      <a:lnTo>
                        <a:pt x="98" y="211"/>
                      </a:lnTo>
                      <a:lnTo>
                        <a:pt x="106" y="211"/>
                      </a:lnTo>
                      <a:lnTo>
                        <a:pt x="114" y="211"/>
                      </a:lnTo>
                      <a:lnTo>
                        <a:pt x="120" y="211"/>
                      </a:lnTo>
                      <a:lnTo>
                        <a:pt x="123" y="211"/>
                      </a:lnTo>
                      <a:lnTo>
                        <a:pt x="125" y="211"/>
                      </a:lnTo>
                      <a:lnTo>
                        <a:pt x="129" y="211"/>
                      </a:lnTo>
                      <a:lnTo>
                        <a:pt x="129" y="205"/>
                      </a:lnTo>
                      <a:lnTo>
                        <a:pt x="128" y="203"/>
                      </a:lnTo>
                      <a:lnTo>
                        <a:pt x="127" y="188"/>
                      </a:lnTo>
                      <a:lnTo>
                        <a:pt x="127" y="180"/>
                      </a:lnTo>
                      <a:lnTo>
                        <a:pt x="126" y="172"/>
                      </a:lnTo>
                      <a:lnTo>
                        <a:pt x="126" y="169"/>
                      </a:lnTo>
                      <a:lnTo>
                        <a:pt x="123" y="165"/>
                      </a:lnTo>
                      <a:lnTo>
                        <a:pt x="123" y="162"/>
                      </a:lnTo>
                      <a:lnTo>
                        <a:pt x="123" y="160"/>
                      </a:lnTo>
                      <a:lnTo>
                        <a:pt x="125" y="158"/>
                      </a:lnTo>
                      <a:lnTo>
                        <a:pt x="128" y="154"/>
                      </a:lnTo>
                      <a:lnTo>
                        <a:pt x="128" y="153"/>
                      </a:lnTo>
                      <a:lnTo>
                        <a:pt x="132" y="151"/>
                      </a:lnTo>
                      <a:lnTo>
                        <a:pt x="135" y="148"/>
                      </a:lnTo>
                      <a:lnTo>
                        <a:pt x="139" y="146"/>
                      </a:lnTo>
                      <a:lnTo>
                        <a:pt x="141" y="144"/>
                      </a:lnTo>
                      <a:lnTo>
                        <a:pt x="143" y="144"/>
                      </a:lnTo>
                      <a:lnTo>
                        <a:pt x="148" y="142"/>
                      </a:lnTo>
                      <a:lnTo>
                        <a:pt x="149" y="142"/>
                      </a:lnTo>
                      <a:lnTo>
                        <a:pt x="156" y="139"/>
                      </a:lnTo>
                      <a:lnTo>
                        <a:pt x="160" y="138"/>
                      </a:lnTo>
                      <a:lnTo>
                        <a:pt x="160" y="137"/>
                      </a:lnTo>
                      <a:lnTo>
                        <a:pt x="160" y="135"/>
                      </a:lnTo>
                      <a:lnTo>
                        <a:pt x="160" y="133"/>
                      </a:lnTo>
                      <a:lnTo>
                        <a:pt x="160" y="131"/>
                      </a:lnTo>
                      <a:lnTo>
                        <a:pt x="160" y="128"/>
                      </a:lnTo>
                      <a:lnTo>
                        <a:pt x="160" y="125"/>
                      </a:lnTo>
                      <a:lnTo>
                        <a:pt x="160" y="123"/>
                      </a:lnTo>
                      <a:lnTo>
                        <a:pt x="160" y="120"/>
                      </a:lnTo>
                      <a:lnTo>
                        <a:pt x="160" y="117"/>
                      </a:lnTo>
                      <a:lnTo>
                        <a:pt x="160" y="114"/>
                      </a:lnTo>
                      <a:lnTo>
                        <a:pt x="160" y="112"/>
                      </a:lnTo>
                      <a:lnTo>
                        <a:pt x="160" y="110"/>
                      </a:lnTo>
                      <a:lnTo>
                        <a:pt x="160" y="106"/>
                      </a:lnTo>
                      <a:lnTo>
                        <a:pt x="160" y="104"/>
                      </a:lnTo>
                      <a:lnTo>
                        <a:pt x="160" y="102"/>
                      </a:lnTo>
                      <a:lnTo>
                        <a:pt x="160" y="99"/>
                      </a:lnTo>
                      <a:lnTo>
                        <a:pt x="160" y="96"/>
                      </a:lnTo>
                      <a:lnTo>
                        <a:pt x="160" y="93"/>
                      </a:lnTo>
                      <a:lnTo>
                        <a:pt x="160" y="91"/>
                      </a:lnTo>
                      <a:lnTo>
                        <a:pt x="160" y="88"/>
                      </a:lnTo>
                      <a:lnTo>
                        <a:pt x="160" y="85"/>
                      </a:lnTo>
                      <a:lnTo>
                        <a:pt x="160" y="83"/>
                      </a:lnTo>
                      <a:lnTo>
                        <a:pt x="160" y="81"/>
                      </a:lnTo>
                      <a:lnTo>
                        <a:pt x="160" y="77"/>
                      </a:lnTo>
                      <a:lnTo>
                        <a:pt x="158" y="75"/>
                      </a:lnTo>
                      <a:lnTo>
                        <a:pt x="158" y="72"/>
                      </a:lnTo>
                      <a:lnTo>
                        <a:pt x="158" y="69"/>
                      </a:lnTo>
                      <a:lnTo>
                        <a:pt x="158" y="67"/>
                      </a:lnTo>
                      <a:lnTo>
                        <a:pt x="158" y="64"/>
                      </a:lnTo>
                      <a:lnTo>
                        <a:pt x="158" y="62"/>
                      </a:lnTo>
                      <a:lnTo>
                        <a:pt x="158" y="58"/>
                      </a:lnTo>
                      <a:lnTo>
                        <a:pt x="158" y="56"/>
                      </a:lnTo>
                      <a:lnTo>
                        <a:pt x="158" y="54"/>
                      </a:lnTo>
                      <a:lnTo>
                        <a:pt x="158" y="50"/>
                      </a:lnTo>
                      <a:lnTo>
                        <a:pt x="158" y="48"/>
                      </a:lnTo>
                      <a:lnTo>
                        <a:pt x="162" y="48"/>
                      </a:lnTo>
                      <a:lnTo>
                        <a:pt x="165" y="48"/>
                      </a:lnTo>
                      <a:lnTo>
                        <a:pt x="168" y="48"/>
                      </a:lnTo>
                      <a:lnTo>
                        <a:pt x="171" y="48"/>
                      </a:lnTo>
                      <a:lnTo>
                        <a:pt x="175" y="48"/>
                      </a:lnTo>
                      <a:lnTo>
                        <a:pt x="178" y="48"/>
                      </a:lnTo>
                      <a:lnTo>
                        <a:pt x="182" y="48"/>
                      </a:lnTo>
                      <a:lnTo>
                        <a:pt x="184" y="48"/>
                      </a:lnTo>
                      <a:lnTo>
                        <a:pt x="187" y="48"/>
                      </a:lnTo>
                      <a:lnTo>
                        <a:pt x="191" y="48"/>
                      </a:lnTo>
                      <a:lnTo>
                        <a:pt x="194" y="48"/>
                      </a:lnTo>
                      <a:lnTo>
                        <a:pt x="197" y="48"/>
                      </a:lnTo>
                      <a:lnTo>
                        <a:pt x="200" y="47"/>
                      </a:lnTo>
                      <a:lnTo>
                        <a:pt x="204" y="47"/>
                      </a:lnTo>
                      <a:lnTo>
                        <a:pt x="207" y="47"/>
                      </a:lnTo>
                      <a:lnTo>
                        <a:pt x="210" y="47"/>
                      </a:lnTo>
                      <a:lnTo>
                        <a:pt x="213" y="47"/>
                      </a:lnTo>
                      <a:lnTo>
                        <a:pt x="217" y="47"/>
                      </a:lnTo>
                      <a:lnTo>
                        <a:pt x="220" y="47"/>
                      </a:lnTo>
                      <a:lnTo>
                        <a:pt x="224" y="47"/>
                      </a:lnTo>
                      <a:lnTo>
                        <a:pt x="226" y="47"/>
                      </a:lnTo>
                      <a:lnTo>
                        <a:pt x="229" y="47"/>
                      </a:lnTo>
                      <a:lnTo>
                        <a:pt x="233" y="47"/>
                      </a:lnTo>
                      <a:lnTo>
                        <a:pt x="236" y="47"/>
                      </a:lnTo>
                      <a:lnTo>
                        <a:pt x="239" y="47"/>
                      </a:lnTo>
                      <a:lnTo>
                        <a:pt x="242" y="47"/>
                      </a:lnTo>
                      <a:lnTo>
                        <a:pt x="246" y="47"/>
                      </a:lnTo>
                      <a:lnTo>
                        <a:pt x="249" y="47"/>
                      </a:lnTo>
                      <a:lnTo>
                        <a:pt x="253" y="47"/>
                      </a:lnTo>
                      <a:lnTo>
                        <a:pt x="255" y="47"/>
                      </a:lnTo>
                      <a:lnTo>
                        <a:pt x="258" y="47"/>
                      </a:lnTo>
                      <a:lnTo>
                        <a:pt x="262" y="47"/>
                      </a:lnTo>
                      <a:lnTo>
                        <a:pt x="264" y="47"/>
                      </a:lnTo>
                      <a:lnTo>
                        <a:pt x="265" y="46"/>
                      </a:lnTo>
                      <a:lnTo>
                        <a:pt x="265" y="44"/>
                      </a:lnTo>
                      <a:lnTo>
                        <a:pt x="265" y="43"/>
                      </a:lnTo>
                      <a:lnTo>
                        <a:pt x="265" y="42"/>
                      </a:lnTo>
                      <a:lnTo>
                        <a:pt x="265" y="40"/>
                      </a:lnTo>
                      <a:lnTo>
                        <a:pt x="265" y="37"/>
                      </a:lnTo>
                      <a:lnTo>
                        <a:pt x="265" y="34"/>
                      </a:lnTo>
                      <a:lnTo>
                        <a:pt x="265" y="30"/>
                      </a:lnTo>
                      <a:lnTo>
                        <a:pt x="265" y="26"/>
                      </a:lnTo>
                      <a:lnTo>
                        <a:pt x="265" y="22"/>
                      </a:lnTo>
                      <a:lnTo>
                        <a:pt x="265" y="18"/>
                      </a:lnTo>
                      <a:lnTo>
                        <a:pt x="264" y="14"/>
                      </a:lnTo>
                      <a:lnTo>
                        <a:pt x="264" y="11"/>
                      </a:lnTo>
                      <a:lnTo>
                        <a:pt x="264" y="7"/>
                      </a:lnTo>
                      <a:lnTo>
                        <a:pt x="264" y="4"/>
                      </a:lnTo>
                      <a:lnTo>
                        <a:pt x="264" y="2"/>
                      </a:lnTo>
                      <a:lnTo>
                        <a:pt x="264" y="0"/>
                      </a:lnTo>
                      <a:lnTo>
                        <a:pt x="271" y="4"/>
                      </a:lnTo>
                      <a:lnTo>
                        <a:pt x="277" y="8"/>
                      </a:lnTo>
                      <a:lnTo>
                        <a:pt x="284" y="12"/>
                      </a:lnTo>
                      <a:lnTo>
                        <a:pt x="290" y="16"/>
                      </a:lnTo>
                      <a:lnTo>
                        <a:pt x="297" y="20"/>
                      </a:lnTo>
                      <a:lnTo>
                        <a:pt x="303" y="25"/>
                      </a:lnTo>
                      <a:lnTo>
                        <a:pt x="310" y="28"/>
                      </a:lnTo>
                      <a:lnTo>
                        <a:pt x="315" y="33"/>
                      </a:lnTo>
                      <a:lnTo>
                        <a:pt x="322" y="36"/>
                      </a:lnTo>
                      <a:lnTo>
                        <a:pt x="328" y="41"/>
                      </a:lnTo>
                      <a:lnTo>
                        <a:pt x="335" y="44"/>
                      </a:lnTo>
                      <a:lnTo>
                        <a:pt x="341" y="49"/>
                      </a:lnTo>
                      <a:lnTo>
                        <a:pt x="347" y="53"/>
                      </a:lnTo>
                      <a:lnTo>
                        <a:pt x="353" y="56"/>
                      </a:lnTo>
                      <a:lnTo>
                        <a:pt x="357" y="60"/>
                      </a:lnTo>
                      <a:lnTo>
                        <a:pt x="362" y="62"/>
                      </a:lnTo>
                      <a:lnTo>
                        <a:pt x="363" y="63"/>
                      </a:lnTo>
                      <a:lnTo>
                        <a:pt x="367" y="65"/>
                      </a:lnTo>
                      <a:lnTo>
                        <a:pt x="372" y="69"/>
                      </a:lnTo>
                      <a:lnTo>
                        <a:pt x="378" y="72"/>
                      </a:lnTo>
                      <a:lnTo>
                        <a:pt x="384" y="76"/>
                      </a:lnTo>
                      <a:lnTo>
                        <a:pt x="390" y="79"/>
                      </a:lnTo>
                      <a:lnTo>
                        <a:pt x="383" y="79"/>
                      </a:lnTo>
                      <a:lnTo>
                        <a:pt x="375" y="79"/>
                      </a:lnTo>
                      <a:lnTo>
                        <a:pt x="368" y="81"/>
                      </a:lnTo>
                      <a:lnTo>
                        <a:pt x="361" y="81"/>
                      </a:lnTo>
                      <a:lnTo>
                        <a:pt x="354" y="81"/>
                      </a:lnTo>
                      <a:lnTo>
                        <a:pt x="347" y="81"/>
                      </a:lnTo>
                      <a:lnTo>
                        <a:pt x="340" y="81"/>
                      </a:lnTo>
                      <a:lnTo>
                        <a:pt x="333" y="81"/>
                      </a:lnTo>
                      <a:lnTo>
                        <a:pt x="333" y="83"/>
                      </a:lnTo>
                      <a:lnTo>
                        <a:pt x="334" y="86"/>
                      </a:lnTo>
                      <a:lnTo>
                        <a:pt x="334" y="89"/>
                      </a:lnTo>
                      <a:lnTo>
                        <a:pt x="334" y="92"/>
                      </a:lnTo>
                      <a:lnTo>
                        <a:pt x="334" y="95"/>
                      </a:lnTo>
                      <a:lnTo>
                        <a:pt x="335" y="97"/>
                      </a:lnTo>
                      <a:lnTo>
                        <a:pt x="335" y="100"/>
                      </a:lnTo>
                      <a:lnTo>
                        <a:pt x="335" y="103"/>
                      </a:lnTo>
                      <a:lnTo>
                        <a:pt x="336" y="106"/>
                      </a:lnTo>
                      <a:lnTo>
                        <a:pt x="336" y="109"/>
                      </a:lnTo>
                      <a:lnTo>
                        <a:pt x="336" y="113"/>
                      </a:lnTo>
                      <a:lnTo>
                        <a:pt x="338" y="118"/>
                      </a:lnTo>
                      <a:lnTo>
                        <a:pt x="338" y="120"/>
                      </a:lnTo>
                      <a:lnTo>
                        <a:pt x="339" y="124"/>
                      </a:lnTo>
                      <a:lnTo>
                        <a:pt x="339" y="128"/>
                      </a:lnTo>
                      <a:lnTo>
                        <a:pt x="339" y="132"/>
                      </a:lnTo>
                      <a:lnTo>
                        <a:pt x="340" y="137"/>
                      </a:lnTo>
                      <a:lnTo>
                        <a:pt x="340" y="141"/>
                      </a:lnTo>
                      <a:lnTo>
                        <a:pt x="341" y="145"/>
                      </a:lnTo>
                      <a:lnTo>
                        <a:pt x="341" y="146"/>
                      </a:lnTo>
                      <a:lnTo>
                        <a:pt x="341" y="149"/>
                      </a:lnTo>
                      <a:lnTo>
                        <a:pt x="342" y="153"/>
                      </a:lnTo>
                      <a:lnTo>
                        <a:pt x="342" y="158"/>
                      </a:lnTo>
                      <a:lnTo>
                        <a:pt x="343" y="162"/>
                      </a:lnTo>
                      <a:lnTo>
                        <a:pt x="343" y="166"/>
                      </a:lnTo>
                      <a:lnTo>
                        <a:pt x="343" y="170"/>
                      </a:lnTo>
                      <a:lnTo>
                        <a:pt x="345" y="174"/>
                      </a:lnTo>
                      <a:lnTo>
                        <a:pt x="345" y="179"/>
                      </a:lnTo>
                      <a:lnTo>
                        <a:pt x="346" y="182"/>
                      </a:lnTo>
                      <a:lnTo>
                        <a:pt x="346" y="187"/>
                      </a:lnTo>
                      <a:lnTo>
                        <a:pt x="347" y="190"/>
                      </a:lnTo>
                      <a:lnTo>
                        <a:pt x="347" y="195"/>
                      </a:lnTo>
                      <a:lnTo>
                        <a:pt x="347" y="200"/>
                      </a:lnTo>
                      <a:lnTo>
                        <a:pt x="348" y="203"/>
                      </a:lnTo>
                      <a:lnTo>
                        <a:pt x="348" y="208"/>
                      </a:lnTo>
                      <a:lnTo>
                        <a:pt x="349" y="21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1" name="Freeform 105">
                  <a:extLst>
                    <a:ext uri="{FF2B5EF4-FFF2-40B4-BE49-F238E27FC236}">
                      <a16:creationId xmlns:a16="http://schemas.microsoft.com/office/drawing/2014/main" id="{36C4CD36-0A04-3DBD-DBBD-618ABFFEA58F}"/>
                    </a:ext>
                  </a:extLst>
                </p:cNvPr>
                <p:cNvSpPr>
                  <a:spLocks/>
                </p:cNvSpPr>
                <p:nvPr/>
              </p:nvSpPr>
              <p:spPr bwMode="auto">
                <a:xfrm>
                  <a:off x="6634749" y="4383831"/>
                  <a:ext cx="459737" cy="440265"/>
                </a:xfrm>
                <a:custGeom>
                  <a:avLst/>
                  <a:gdLst>
                    <a:gd name="T0" fmla="*/ 381 w 425"/>
                    <a:gd name="T1" fmla="*/ 18 h 407"/>
                    <a:gd name="T2" fmla="*/ 398 w 425"/>
                    <a:gd name="T3" fmla="*/ 16 h 407"/>
                    <a:gd name="T4" fmla="*/ 410 w 425"/>
                    <a:gd name="T5" fmla="*/ 17 h 407"/>
                    <a:gd name="T6" fmla="*/ 422 w 425"/>
                    <a:gd name="T7" fmla="*/ 23 h 407"/>
                    <a:gd name="T8" fmla="*/ 417 w 425"/>
                    <a:gd name="T9" fmla="*/ 26 h 407"/>
                    <a:gd name="T10" fmla="*/ 404 w 425"/>
                    <a:gd name="T11" fmla="*/ 33 h 407"/>
                    <a:gd name="T12" fmla="*/ 394 w 425"/>
                    <a:gd name="T13" fmla="*/ 33 h 407"/>
                    <a:gd name="T14" fmla="*/ 381 w 425"/>
                    <a:gd name="T15" fmla="*/ 42 h 407"/>
                    <a:gd name="T16" fmla="*/ 372 w 425"/>
                    <a:gd name="T17" fmla="*/ 44 h 407"/>
                    <a:gd name="T18" fmla="*/ 364 w 425"/>
                    <a:gd name="T19" fmla="*/ 33 h 407"/>
                    <a:gd name="T20" fmla="*/ 330 w 425"/>
                    <a:gd name="T21" fmla="*/ 38 h 407"/>
                    <a:gd name="T22" fmla="*/ 302 w 425"/>
                    <a:gd name="T23" fmla="*/ 43 h 407"/>
                    <a:gd name="T24" fmla="*/ 290 w 425"/>
                    <a:gd name="T25" fmla="*/ 50 h 407"/>
                    <a:gd name="T26" fmla="*/ 290 w 425"/>
                    <a:gd name="T27" fmla="*/ 71 h 407"/>
                    <a:gd name="T28" fmla="*/ 292 w 425"/>
                    <a:gd name="T29" fmla="*/ 120 h 407"/>
                    <a:gd name="T30" fmla="*/ 292 w 425"/>
                    <a:gd name="T31" fmla="*/ 152 h 407"/>
                    <a:gd name="T32" fmla="*/ 260 w 425"/>
                    <a:gd name="T33" fmla="*/ 166 h 407"/>
                    <a:gd name="T34" fmla="*/ 260 w 425"/>
                    <a:gd name="T35" fmla="*/ 229 h 407"/>
                    <a:gd name="T36" fmla="*/ 260 w 425"/>
                    <a:gd name="T37" fmla="*/ 271 h 407"/>
                    <a:gd name="T38" fmla="*/ 260 w 425"/>
                    <a:gd name="T39" fmla="*/ 295 h 407"/>
                    <a:gd name="T40" fmla="*/ 260 w 425"/>
                    <a:gd name="T41" fmla="*/ 320 h 407"/>
                    <a:gd name="T42" fmla="*/ 260 w 425"/>
                    <a:gd name="T43" fmla="*/ 346 h 407"/>
                    <a:gd name="T44" fmla="*/ 260 w 425"/>
                    <a:gd name="T45" fmla="*/ 372 h 407"/>
                    <a:gd name="T46" fmla="*/ 256 w 425"/>
                    <a:gd name="T47" fmla="*/ 389 h 407"/>
                    <a:gd name="T48" fmla="*/ 240 w 425"/>
                    <a:gd name="T49" fmla="*/ 399 h 407"/>
                    <a:gd name="T50" fmla="*/ 232 w 425"/>
                    <a:gd name="T51" fmla="*/ 407 h 407"/>
                    <a:gd name="T52" fmla="*/ 209 w 425"/>
                    <a:gd name="T53" fmla="*/ 404 h 407"/>
                    <a:gd name="T54" fmla="*/ 188 w 425"/>
                    <a:gd name="T55" fmla="*/ 401 h 407"/>
                    <a:gd name="T56" fmla="*/ 179 w 425"/>
                    <a:gd name="T57" fmla="*/ 393 h 407"/>
                    <a:gd name="T58" fmla="*/ 178 w 425"/>
                    <a:gd name="T59" fmla="*/ 381 h 407"/>
                    <a:gd name="T60" fmla="*/ 167 w 425"/>
                    <a:gd name="T61" fmla="*/ 375 h 407"/>
                    <a:gd name="T62" fmla="*/ 161 w 425"/>
                    <a:gd name="T63" fmla="*/ 382 h 407"/>
                    <a:gd name="T64" fmla="*/ 154 w 425"/>
                    <a:gd name="T65" fmla="*/ 392 h 407"/>
                    <a:gd name="T66" fmla="*/ 139 w 425"/>
                    <a:gd name="T67" fmla="*/ 385 h 407"/>
                    <a:gd name="T68" fmla="*/ 122 w 425"/>
                    <a:gd name="T69" fmla="*/ 365 h 407"/>
                    <a:gd name="T70" fmla="*/ 112 w 425"/>
                    <a:gd name="T71" fmla="*/ 341 h 407"/>
                    <a:gd name="T72" fmla="*/ 107 w 425"/>
                    <a:gd name="T73" fmla="*/ 327 h 407"/>
                    <a:gd name="T74" fmla="*/ 105 w 425"/>
                    <a:gd name="T75" fmla="*/ 316 h 407"/>
                    <a:gd name="T76" fmla="*/ 100 w 425"/>
                    <a:gd name="T77" fmla="*/ 296 h 407"/>
                    <a:gd name="T78" fmla="*/ 98 w 425"/>
                    <a:gd name="T79" fmla="*/ 275 h 407"/>
                    <a:gd name="T80" fmla="*/ 91 w 425"/>
                    <a:gd name="T81" fmla="*/ 254 h 407"/>
                    <a:gd name="T82" fmla="*/ 87 w 425"/>
                    <a:gd name="T83" fmla="*/ 236 h 407"/>
                    <a:gd name="T84" fmla="*/ 87 w 425"/>
                    <a:gd name="T85" fmla="*/ 215 h 407"/>
                    <a:gd name="T86" fmla="*/ 86 w 425"/>
                    <a:gd name="T87" fmla="*/ 198 h 407"/>
                    <a:gd name="T88" fmla="*/ 88 w 425"/>
                    <a:gd name="T89" fmla="*/ 185 h 407"/>
                    <a:gd name="T90" fmla="*/ 72 w 425"/>
                    <a:gd name="T91" fmla="*/ 159 h 407"/>
                    <a:gd name="T92" fmla="*/ 55 w 425"/>
                    <a:gd name="T93" fmla="*/ 130 h 407"/>
                    <a:gd name="T94" fmla="*/ 43 w 425"/>
                    <a:gd name="T95" fmla="*/ 105 h 407"/>
                    <a:gd name="T96" fmla="*/ 30 w 425"/>
                    <a:gd name="T97" fmla="*/ 77 h 407"/>
                    <a:gd name="T98" fmla="*/ 12 w 425"/>
                    <a:gd name="T99" fmla="*/ 52 h 407"/>
                    <a:gd name="T100" fmla="*/ 3 w 425"/>
                    <a:gd name="T101" fmla="*/ 33 h 407"/>
                    <a:gd name="T102" fmla="*/ 7 w 425"/>
                    <a:gd name="T103" fmla="*/ 8 h 407"/>
                    <a:gd name="T104" fmla="*/ 22 w 425"/>
                    <a:gd name="T105" fmla="*/ 9 h 407"/>
                    <a:gd name="T106" fmla="*/ 36 w 425"/>
                    <a:gd name="T107" fmla="*/ 3 h 407"/>
                    <a:gd name="T108" fmla="*/ 52 w 425"/>
                    <a:gd name="T109" fmla="*/ 0 h 407"/>
                    <a:gd name="T110" fmla="*/ 71 w 425"/>
                    <a:gd name="T111" fmla="*/ 15 h 407"/>
                    <a:gd name="T112" fmla="*/ 121 w 425"/>
                    <a:gd name="T113" fmla="*/ 14 h 407"/>
                    <a:gd name="T114" fmla="*/ 210 w 425"/>
                    <a:gd name="T115" fmla="*/ 14 h 407"/>
                    <a:gd name="T116" fmla="*/ 225 w 425"/>
                    <a:gd name="T117" fmla="*/ 26 h 407"/>
                    <a:gd name="T118" fmla="*/ 253 w 425"/>
                    <a:gd name="T119" fmla="*/ 30 h 407"/>
                    <a:gd name="T120" fmla="*/ 270 w 425"/>
                    <a:gd name="T121" fmla="*/ 29 h 407"/>
                    <a:gd name="T122" fmla="*/ 283 w 425"/>
                    <a:gd name="T123" fmla="*/ 33 h 407"/>
                    <a:gd name="T124" fmla="*/ 302 w 425"/>
                    <a:gd name="T125" fmla="*/ 3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5" h="407">
                      <a:moveTo>
                        <a:pt x="366" y="22"/>
                      </a:moveTo>
                      <a:lnTo>
                        <a:pt x="367" y="21"/>
                      </a:lnTo>
                      <a:lnTo>
                        <a:pt x="368" y="21"/>
                      </a:lnTo>
                      <a:lnTo>
                        <a:pt x="370" y="21"/>
                      </a:lnTo>
                      <a:lnTo>
                        <a:pt x="371" y="21"/>
                      </a:lnTo>
                      <a:lnTo>
                        <a:pt x="372" y="21"/>
                      </a:lnTo>
                      <a:lnTo>
                        <a:pt x="373" y="21"/>
                      </a:lnTo>
                      <a:lnTo>
                        <a:pt x="374" y="19"/>
                      </a:lnTo>
                      <a:lnTo>
                        <a:pt x="375" y="19"/>
                      </a:lnTo>
                      <a:lnTo>
                        <a:pt x="377" y="19"/>
                      </a:lnTo>
                      <a:lnTo>
                        <a:pt x="378" y="19"/>
                      </a:lnTo>
                      <a:lnTo>
                        <a:pt x="380" y="18"/>
                      </a:lnTo>
                      <a:lnTo>
                        <a:pt x="381" y="18"/>
                      </a:lnTo>
                      <a:lnTo>
                        <a:pt x="382" y="18"/>
                      </a:lnTo>
                      <a:lnTo>
                        <a:pt x="384" y="18"/>
                      </a:lnTo>
                      <a:lnTo>
                        <a:pt x="385" y="17"/>
                      </a:lnTo>
                      <a:lnTo>
                        <a:pt x="386" y="17"/>
                      </a:lnTo>
                      <a:lnTo>
                        <a:pt x="388" y="17"/>
                      </a:lnTo>
                      <a:lnTo>
                        <a:pt x="389" y="17"/>
                      </a:lnTo>
                      <a:lnTo>
                        <a:pt x="391" y="16"/>
                      </a:lnTo>
                      <a:lnTo>
                        <a:pt x="392" y="16"/>
                      </a:lnTo>
                      <a:lnTo>
                        <a:pt x="393" y="16"/>
                      </a:lnTo>
                      <a:lnTo>
                        <a:pt x="394" y="16"/>
                      </a:lnTo>
                      <a:lnTo>
                        <a:pt x="395" y="16"/>
                      </a:lnTo>
                      <a:lnTo>
                        <a:pt x="396" y="16"/>
                      </a:lnTo>
                      <a:lnTo>
                        <a:pt x="398" y="16"/>
                      </a:lnTo>
                      <a:lnTo>
                        <a:pt x="399" y="16"/>
                      </a:lnTo>
                      <a:lnTo>
                        <a:pt x="400" y="16"/>
                      </a:lnTo>
                      <a:lnTo>
                        <a:pt x="401" y="16"/>
                      </a:lnTo>
                      <a:lnTo>
                        <a:pt x="401" y="17"/>
                      </a:lnTo>
                      <a:lnTo>
                        <a:pt x="402" y="17"/>
                      </a:lnTo>
                      <a:lnTo>
                        <a:pt x="403" y="17"/>
                      </a:lnTo>
                      <a:lnTo>
                        <a:pt x="403" y="18"/>
                      </a:lnTo>
                      <a:lnTo>
                        <a:pt x="404" y="18"/>
                      </a:lnTo>
                      <a:lnTo>
                        <a:pt x="404" y="17"/>
                      </a:lnTo>
                      <a:lnTo>
                        <a:pt x="406" y="17"/>
                      </a:lnTo>
                      <a:lnTo>
                        <a:pt x="406" y="16"/>
                      </a:lnTo>
                      <a:lnTo>
                        <a:pt x="407" y="16"/>
                      </a:lnTo>
                      <a:lnTo>
                        <a:pt x="410" y="17"/>
                      </a:lnTo>
                      <a:lnTo>
                        <a:pt x="411" y="17"/>
                      </a:lnTo>
                      <a:lnTo>
                        <a:pt x="414" y="18"/>
                      </a:lnTo>
                      <a:lnTo>
                        <a:pt x="415" y="18"/>
                      </a:lnTo>
                      <a:lnTo>
                        <a:pt x="416" y="18"/>
                      </a:lnTo>
                      <a:lnTo>
                        <a:pt x="416" y="19"/>
                      </a:lnTo>
                      <a:lnTo>
                        <a:pt x="417" y="19"/>
                      </a:lnTo>
                      <a:lnTo>
                        <a:pt x="418" y="19"/>
                      </a:lnTo>
                      <a:lnTo>
                        <a:pt x="418" y="21"/>
                      </a:lnTo>
                      <a:lnTo>
                        <a:pt x="420" y="21"/>
                      </a:lnTo>
                      <a:lnTo>
                        <a:pt x="420" y="22"/>
                      </a:lnTo>
                      <a:lnTo>
                        <a:pt x="420" y="23"/>
                      </a:lnTo>
                      <a:lnTo>
                        <a:pt x="421" y="23"/>
                      </a:lnTo>
                      <a:lnTo>
                        <a:pt x="422" y="23"/>
                      </a:lnTo>
                      <a:lnTo>
                        <a:pt x="422" y="24"/>
                      </a:lnTo>
                      <a:lnTo>
                        <a:pt x="423" y="24"/>
                      </a:lnTo>
                      <a:lnTo>
                        <a:pt x="423" y="25"/>
                      </a:lnTo>
                      <a:lnTo>
                        <a:pt x="424" y="25"/>
                      </a:lnTo>
                      <a:lnTo>
                        <a:pt x="425" y="26"/>
                      </a:lnTo>
                      <a:lnTo>
                        <a:pt x="423" y="26"/>
                      </a:lnTo>
                      <a:lnTo>
                        <a:pt x="422" y="26"/>
                      </a:lnTo>
                      <a:lnTo>
                        <a:pt x="421" y="26"/>
                      </a:lnTo>
                      <a:lnTo>
                        <a:pt x="420" y="28"/>
                      </a:lnTo>
                      <a:lnTo>
                        <a:pt x="418" y="28"/>
                      </a:lnTo>
                      <a:lnTo>
                        <a:pt x="418" y="26"/>
                      </a:lnTo>
                      <a:lnTo>
                        <a:pt x="417" y="28"/>
                      </a:lnTo>
                      <a:lnTo>
                        <a:pt x="417" y="26"/>
                      </a:lnTo>
                      <a:lnTo>
                        <a:pt x="416" y="28"/>
                      </a:lnTo>
                      <a:lnTo>
                        <a:pt x="416" y="26"/>
                      </a:lnTo>
                      <a:lnTo>
                        <a:pt x="415" y="26"/>
                      </a:lnTo>
                      <a:lnTo>
                        <a:pt x="413" y="28"/>
                      </a:lnTo>
                      <a:lnTo>
                        <a:pt x="411" y="28"/>
                      </a:lnTo>
                      <a:lnTo>
                        <a:pt x="410" y="29"/>
                      </a:lnTo>
                      <a:lnTo>
                        <a:pt x="409" y="29"/>
                      </a:lnTo>
                      <a:lnTo>
                        <a:pt x="409" y="30"/>
                      </a:lnTo>
                      <a:lnTo>
                        <a:pt x="408" y="30"/>
                      </a:lnTo>
                      <a:lnTo>
                        <a:pt x="408" y="31"/>
                      </a:lnTo>
                      <a:lnTo>
                        <a:pt x="407" y="31"/>
                      </a:lnTo>
                      <a:lnTo>
                        <a:pt x="406" y="32"/>
                      </a:lnTo>
                      <a:lnTo>
                        <a:pt x="404" y="33"/>
                      </a:lnTo>
                      <a:lnTo>
                        <a:pt x="404" y="35"/>
                      </a:lnTo>
                      <a:lnTo>
                        <a:pt x="403" y="35"/>
                      </a:lnTo>
                      <a:lnTo>
                        <a:pt x="402" y="35"/>
                      </a:lnTo>
                      <a:lnTo>
                        <a:pt x="401" y="35"/>
                      </a:lnTo>
                      <a:lnTo>
                        <a:pt x="401" y="33"/>
                      </a:lnTo>
                      <a:lnTo>
                        <a:pt x="400" y="33"/>
                      </a:lnTo>
                      <a:lnTo>
                        <a:pt x="400" y="32"/>
                      </a:lnTo>
                      <a:lnTo>
                        <a:pt x="399" y="31"/>
                      </a:lnTo>
                      <a:lnTo>
                        <a:pt x="398" y="31"/>
                      </a:lnTo>
                      <a:lnTo>
                        <a:pt x="396" y="31"/>
                      </a:lnTo>
                      <a:lnTo>
                        <a:pt x="396" y="32"/>
                      </a:lnTo>
                      <a:lnTo>
                        <a:pt x="395" y="33"/>
                      </a:lnTo>
                      <a:lnTo>
                        <a:pt x="394" y="33"/>
                      </a:lnTo>
                      <a:lnTo>
                        <a:pt x="393" y="33"/>
                      </a:lnTo>
                      <a:lnTo>
                        <a:pt x="392" y="35"/>
                      </a:lnTo>
                      <a:lnTo>
                        <a:pt x="389" y="36"/>
                      </a:lnTo>
                      <a:lnTo>
                        <a:pt x="389" y="37"/>
                      </a:lnTo>
                      <a:lnTo>
                        <a:pt x="388" y="37"/>
                      </a:lnTo>
                      <a:lnTo>
                        <a:pt x="387" y="37"/>
                      </a:lnTo>
                      <a:lnTo>
                        <a:pt x="387" y="38"/>
                      </a:lnTo>
                      <a:lnTo>
                        <a:pt x="386" y="38"/>
                      </a:lnTo>
                      <a:lnTo>
                        <a:pt x="385" y="39"/>
                      </a:lnTo>
                      <a:lnTo>
                        <a:pt x="384" y="39"/>
                      </a:lnTo>
                      <a:lnTo>
                        <a:pt x="382" y="40"/>
                      </a:lnTo>
                      <a:lnTo>
                        <a:pt x="382" y="42"/>
                      </a:lnTo>
                      <a:lnTo>
                        <a:pt x="381" y="42"/>
                      </a:lnTo>
                      <a:lnTo>
                        <a:pt x="381" y="43"/>
                      </a:lnTo>
                      <a:lnTo>
                        <a:pt x="380" y="43"/>
                      </a:lnTo>
                      <a:lnTo>
                        <a:pt x="380" y="44"/>
                      </a:lnTo>
                      <a:lnTo>
                        <a:pt x="377" y="47"/>
                      </a:lnTo>
                      <a:lnTo>
                        <a:pt x="375" y="47"/>
                      </a:lnTo>
                      <a:lnTo>
                        <a:pt x="375" y="49"/>
                      </a:lnTo>
                      <a:lnTo>
                        <a:pt x="374" y="49"/>
                      </a:lnTo>
                      <a:lnTo>
                        <a:pt x="373" y="49"/>
                      </a:lnTo>
                      <a:lnTo>
                        <a:pt x="372" y="49"/>
                      </a:lnTo>
                      <a:lnTo>
                        <a:pt x="372" y="47"/>
                      </a:lnTo>
                      <a:lnTo>
                        <a:pt x="372" y="46"/>
                      </a:lnTo>
                      <a:lnTo>
                        <a:pt x="372" y="45"/>
                      </a:lnTo>
                      <a:lnTo>
                        <a:pt x="372" y="44"/>
                      </a:lnTo>
                      <a:lnTo>
                        <a:pt x="371" y="43"/>
                      </a:lnTo>
                      <a:lnTo>
                        <a:pt x="371" y="42"/>
                      </a:lnTo>
                      <a:lnTo>
                        <a:pt x="370" y="40"/>
                      </a:lnTo>
                      <a:lnTo>
                        <a:pt x="368" y="40"/>
                      </a:lnTo>
                      <a:lnTo>
                        <a:pt x="368" y="39"/>
                      </a:lnTo>
                      <a:lnTo>
                        <a:pt x="367" y="39"/>
                      </a:lnTo>
                      <a:lnTo>
                        <a:pt x="367" y="38"/>
                      </a:lnTo>
                      <a:lnTo>
                        <a:pt x="366" y="38"/>
                      </a:lnTo>
                      <a:lnTo>
                        <a:pt x="366" y="37"/>
                      </a:lnTo>
                      <a:lnTo>
                        <a:pt x="365" y="36"/>
                      </a:lnTo>
                      <a:lnTo>
                        <a:pt x="365" y="35"/>
                      </a:lnTo>
                      <a:lnTo>
                        <a:pt x="364" y="35"/>
                      </a:lnTo>
                      <a:lnTo>
                        <a:pt x="364" y="33"/>
                      </a:lnTo>
                      <a:lnTo>
                        <a:pt x="363" y="33"/>
                      </a:lnTo>
                      <a:lnTo>
                        <a:pt x="360" y="33"/>
                      </a:lnTo>
                      <a:lnTo>
                        <a:pt x="358" y="33"/>
                      </a:lnTo>
                      <a:lnTo>
                        <a:pt x="353" y="33"/>
                      </a:lnTo>
                      <a:lnTo>
                        <a:pt x="351" y="35"/>
                      </a:lnTo>
                      <a:lnTo>
                        <a:pt x="349" y="35"/>
                      </a:lnTo>
                      <a:lnTo>
                        <a:pt x="345" y="36"/>
                      </a:lnTo>
                      <a:lnTo>
                        <a:pt x="343" y="36"/>
                      </a:lnTo>
                      <a:lnTo>
                        <a:pt x="340" y="37"/>
                      </a:lnTo>
                      <a:lnTo>
                        <a:pt x="338" y="37"/>
                      </a:lnTo>
                      <a:lnTo>
                        <a:pt x="335" y="37"/>
                      </a:lnTo>
                      <a:lnTo>
                        <a:pt x="332" y="38"/>
                      </a:lnTo>
                      <a:lnTo>
                        <a:pt x="330" y="38"/>
                      </a:lnTo>
                      <a:lnTo>
                        <a:pt x="328" y="39"/>
                      </a:lnTo>
                      <a:lnTo>
                        <a:pt x="324" y="39"/>
                      </a:lnTo>
                      <a:lnTo>
                        <a:pt x="322" y="40"/>
                      </a:lnTo>
                      <a:lnTo>
                        <a:pt x="320" y="40"/>
                      </a:lnTo>
                      <a:lnTo>
                        <a:pt x="316" y="42"/>
                      </a:lnTo>
                      <a:lnTo>
                        <a:pt x="314" y="42"/>
                      </a:lnTo>
                      <a:lnTo>
                        <a:pt x="311" y="42"/>
                      </a:lnTo>
                      <a:lnTo>
                        <a:pt x="309" y="43"/>
                      </a:lnTo>
                      <a:lnTo>
                        <a:pt x="308" y="43"/>
                      </a:lnTo>
                      <a:lnTo>
                        <a:pt x="307" y="43"/>
                      </a:lnTo>
                      <a:lnTo>
                        <a:pt x="306" y="43"/>
                      </a:lnTo>
                      <a:lnTo>
                        <a:pt x="303" y="43"/>
                      </a:lnTo>
                      <a:lnTo>
                        <a:pt x="302" y="43"/>
                      </a:lnTo>
                      <a:lnTo>
                        <a:pt x="301" y="43"/>
                      </a:lnTo>
                      <a:lnTo>
                        <a:pt x="300" y="44"/>
                      </a:lnTo>
                      <a:lnTo>
                        <a:pt x="297" y="44"/>
                      </a:lnTo>
                      <a:lnTo>
                        <a:pt x="296" y="44"/>
                      </a:lnTo>
                      <a:lnTo>
                        <a:pt x="294" y="44"/>
                      </a:lnTo>
                      <a:lnTo>
                        <a:pt x="293" y="44"/>
                      </a:lnTo>
                      <a:lnTo>
                        <a:pt x="292" y="44"/>
                      </a:lnTo>
                      <a:lnTo>
                        <a:pt x="290" y="44"/>
                      </a:lnTo>
                      <a:lnTo>
                        <a:pt x="290" y="45"/>
                      </a:lnTo>
                      <a:lnTo>
                        <a:pt x="290" y="46"/>
                      </a:lnTo>
                      <a:lnTo>
                        <a:pt x="290" y="47"/>
                      </a:lnTo>
                      <a:lnTo>
                        <a:pt x="290" y="49"/>
                      </a:lnTo>
                      <a:lnTo>
                        <a:pt x="290" y="50"/>
                      </a:lnTo>
                      <a:lnTo>
                        <a:pt x="290" y="51"/>
                      </a:lnTo>
                      <a:lnTo>
                        <a:pt x="290" y="53"/>
                      </a:lnTo>
                      <a:lnTo>
                        <a:pt x="290" y="54"/>
                      </a:lnTo>
                      <a:lnTo>
                        <a:pt x="290" y="56"/>
                      </a:lnTo>
                      <a:lnTo>
                        <a:pt x="290" y="57"/>
                      </a:lnTo>
                      <a:lnTo>
                        <a:pt x="290" y="58"/>
                      </a:lnTo>
                      <a:lnTo>
                        <a:pt x="290" y="59"/>
                      </a:lnTo>
                      <a:lnTo>
                        <a:pt x="290" y="60"/>
                      </a:lnTo>
                      <a:lnTo>
                        <a:pt x="290" y="63"/>
                      </a:lnTo>
                      <a:lnTo>
                        <a:pt x="290" y="64"/>
                      </a:lnTo>
                      <a:lnTo>
                        <a:pt x="290" y="65"/>
                      </a:lnTo>
                      <a:lnTo>
                        <a:pt x="290" y="66"/>
                      </a:lnTo>
                      <a:lnTo>
                        <a:pt x="290" y="71"/>
                      </a:lnTo>
                      <a:lnTo>
                        <a:pt x="290" y="72"/>
                      </a:lnTo>
                      <a:lnTo>
                        <a:pt x="290" y="74"/>
                      </a:lnTo>
                      <a:lnTo>
                        <a:pt x="290" y="79"/>
                      </a:lnTo>
                      <a:lnTo>
                        <a:pt x="290" y="82"/>
                      </a:lnTo>
                      <a:lnTo>
                        <a:pt x="290" y="87"/>
                      </a:lnTo>
                      <a:lnTo>
                        <a:pt x="290" y="91"/>
                      </a:lnTo>
                      <a:lnTo>
                        <a:pt x="290" y="95"/>
                      </a:lnTo>
                      <a:lnTo>
                        <a:pt x="290" y="100"/>
                      </a:lnTo>
                      <a:lnTo>
                        <a:pt x="290" y="103"/>
                      </a:lnTo>
                      <a:lnTo>
                        <a:pt x="290" y="108"/>
                      </a:lnTo>
                      <a:lnTo>
                        <a:pt x="290" y="112"/>
                      </a:lnTo>
                      <a:lnTo>
                        <a:pt x="292" y="116"/>
                      </a:lnTo>
                      <a:lnTo>
                        <a:pt x="292" y="120"/>
                      </a:lnTo>
                      <a:lnTo>
                        <a:pt x="292" y="124"/>
                      </a:lnTo>
                      <a:lnTo>
                        <a:pt x="292" y="129"/>
                      </a:lnTo>
                      <a:lnTo>
                        <a:pt x="292" y="133"/>
                      </a:lnTo>
                      <a:lnTo>
                        <a:pt x="292" y="135"/>
                      </a:lnTo>
                      <a:lnTo>
                        <a:pt x="292" y="136"/>
                      </a:lnTo>
                      <a:lnTo>
                        <a:pt x="292" y="138"/>
                      </a:lnTo>
                      <a:lnTo>
                        <a:pt x="292" y="141"/>
                      </a:lnTo>
                      <a:lnTo>
                        <a:pt x="292" y="142"/>
                      </a:lnTo>
                      <a:lnTo>
                        <a:pt x="292" y="144"/>
                      </a:lnTo>
                      <a:lnTo>
                        <a:pt x="292" y="147"/>
                      </a:lnTo>
                      <a:lnTo>
                        <a:pt x="292" y="148"/>
                      </a:lnTo>
                      <a:lnTo>
                        <a:pt x="292" y="150"/>
                      </a:lnTo>
                      <a:lnTo>
                        <a:pt x="292" y="152"/>
                      </a:lnTo>
                      <a:lnTo>
                        <a:pt x="292" y="154"/>
                      </a:lnTo>
                      <a:lnTo>
                        <a:pt x="292" y="156"/>
                      </a:lnTo>
                      <a:lnTo>
                        <a:pt x="292" y="158"/>
                      </a:lnTo>
                      <a:lnTo>
                        <a:pt x="292" y="159"/>
                      </a:lnTo>
                      <a:lnTo>
                        <a:pt x="292" y="162"/>
                      </a:lnTo>
                      <a:lnTo>
                        <a:pt x="292" y="164"/>
                      </a:lnTo>
                      <a:lnTo>
                        <a:pt x="292" y="165"/>
                      </a:lnTo>
                      <a:lnTo>
                        <a:pt x="290" y="166"/>
                      </a:lnTo>
                      <a:lnTo>
                        <a:pt x="289" y="166"/>
                      </a:lnTo>
                      <a:lnTo>
                        <a:pt x="282" y="166"/>
                      </a:lnTo>
                      <a:lnTo>
                        <a:pt x="274" y="166"/>
                      </a:lnTo>
                      <a:lnTo>
                        <a:pt x="267" y="166"/>
                      </a:lnTo>
                      <a:lnTo>
                        <a:pt x="260" y="166"/>
                      </a:lnTo>
                      <a:lnTo>
                        <a:pt x="260" y="169"/>
                      </a:lnTo>
                      <a:lnTo>
                        <a:pt x="260" y="175"/>
                      </a:lnTo>
                      <a:lnTo>
                        <a:pt x="260" y="179"/>
                      </a:lnTo>
                      <a:lnTo>
                        <a:pt x="260" y="185"/>
                      </a:lnTo>
                      <a:lnTo>
                        <a:pt x="260" y="190"/>
                      </a:lnTo>
                      <a:lnTo>
                        <a:pt x="260" y="196"/>
                      </a:lnTo>
                      <a:lnTo>
                        <a:pt x="260" y="201"/>
                      </a:lnTo>
                      <a:lnTo>
                        <a:pt x="260" y="207"/>
                      </a:lnTo>
                      <a:lnTo>
                        <a:pt x="260" y="211"/>
                      </a:lnTo>
                      <a:lnTo>
                        <a:pt x="260" y="213"/>
                      </a:lnTo>
                      <a:lnTo>
                        <a:pt x="260" y="219"/>
                      </a:lnTo>
                      <a:lnTo>
                        <a:pt x="260" y="225"/>
                      </a:lnTo>
                      <a:lnTo>
                        <a:pt x="260" y="229"/>
                      </a:lnTo>
                      <a:lnTo>
                        <a:pt x="260" y="231"/>
                      </a:lnTo>
                      <a:lnTo>
                        <a:pt x="260" y="236"/>
                      </a:lnTo>
                      <a:lnTo>
                        <a:pt x="260" y="242"/>
                      </a:lnTo>
                      <a:lnTo>
                        <a:pt x="260" y="248"/>
                      </a:lnTo>
                      <a:lnTo>
                        <a:pt x="260" y="254"/>
                      </a:lnTo>
                      <a:lnTo>
                        <a:pt x="260" y="260"/>
                      </a:lnTo>
                      <a:lnTo>
                        <a:pt x="260" y="261"/>
                      </a:lnTo>
                      <a:lnTo>
                        <a:pt x="260" y="262"/>
                      </a:lnTo>
                      <a:lnTo>
                        <a:pt x="260" y="264"/>
                      </a:lnTo>
                      <a:lnTo>
                        <a:pt x="260" y="266"/>
                      </a:lnTo>
                      <a:lnTo>
                        <a:pt x="260" y="268"/>
                      </a:lnTo>
                      <a:lnTo>
                        <a:pt x="260" y="270"/>
                      </a:lnTo>
                      <a:lnTo>
                        <a:pt x="260" y="271"/>
                      </a:lnTo>
                      <a:lnTo>
                        <a:pt x="260" y="274"/>
                      </a:lnTo>
                      <a:lnTo>
                        <a:pt x="260" y="276"/>
                      </a:lnTo>
                      <a:lnTo>
                        <a:pt x="260" y="277"/>
                      </a:lnTo>
                      <a:lnTo>
                        <a:pt x="260" y="280"/>
                      </a:lnTo>
                      <a:lnTo>
                        <a:pt x="260" y="282"/>
                      </a:lnTo>
                      <a:lnTo>
                        <a:pt x="260" y="283"/>
                      </a:lnTo>
                      <a:lnTo>
                        <a:pt x="260" y="285"/>
                      </a:lnTo>
                      <a:lnTo>
                        <a:pt x="260" y="288"/>
                      </a:lnTo>
                      <a:lnTo>
                        <a:pt x="260" y="289"/>
                      </a:lnTo>
                      <a:lnTo>
                        <a:pt x="260" y="290"/>
                      </a:lnTo>
                      <a:lnTo>
                        <a:pt x="260" y="291"/>
                      </a:lnTo>
                      <a:lnTo>
                        <a:pt x="260" y="294"/>
                      </a:lnTo>
                      <a:lnTo>
                        <a:pt x="260" y="295"/>
                      </a:lnTo>
                      <a:lnTo>
                        <a:pt x="260" y="297"/>
                      </a:lnTo>
                      <a:lnTo>
                        <a:pt x="260" y="299"/>
                      </a:lnTo>
                      <a:lnTo>
                        <a:pt x="260" y="301"/>
                      </a:lnTo>
                      <a:lnTo>
                        <a:pt x="260" y="303"/>
                      </a:lnTo>
                      <a:lnTo>
                        <a:pt x="260" y="305"/>
                      </a:lnTo>
                      <a:lnTo>
                        <a:pt x="260" y="306"/>
                      </a:lnTo>
                      <a:lnTo>
                        <a:pt x="260" y="309"/>
                      </a:lnTo>
                      <a:lnTo>
                        <a:pt x="260" y="311"/>
                      </a:lnTo>
                      <a:lnTo>
                        <a:pt x="260" y="312"/>
                      </a:lnTo>
                      <a:lnTo>
                        <a:pt x="260" y="315"/>
                      </a:lnTo>
                      <a:lnTo>
                        <a:pt x="260" y="317"/>
                      </a:lnTo>
                      <a:lnTo>
                        <a:pt x="260" y="318"/>
                      </a:lnTo>
                      <a:lnTo>
                        <a:pt x="260" y="320"/>
                      </a:lnTo>
                      <a:lnTo>
                        <a:pt x="260" y="323"/>
                      </a:lnTo>
                      <a:lnTo>
                        <a:pt x="260" y="324"/>
                      </a:lnTo>
                      <a:lnTo>
                        <a:pt x="260" y="326"/>
                      </a:lnTo>
                      <a:lnTo>
                        <a:pt x="260" y="329"/>
                      </a:lnTo>
                      <a:lnTo>
                        <a:pt x="260" y="330"/>
                      </a:lnTo>
                      <a:lnTo>
                        <a:pt x="260" y="332"/>
                      </a:lnTo>
                      <a:lnTo>
                        <a:pt x="260" y="334"/>
                      </a:lnTo>
                      <a:lnTo>
                        <a:pt x="260" y="336"/>
                      </a:lnTo>
                      <a:lnTo>
                        <a:pt x="260" y="338"/>
                      </a:lnTo>
                      <a:lnTo>
                        <a:pt x="260" y="340"/>
                      </a:lnTo>
                      <a:lnTo>
                        <a:pt x="260" y="343"/>
                      </a:lnTo>
                      <a:lnTo>
                        <a:pt x="260" y="344"/>
                      </a:lnTo>
                      <a:lnTo>
                        <a:pt x="260" y="346"/>
                      </a:lnTo>
                      <a:lnTo>
                        <a:pt x="260" y="348"/>
                      </a:lnTo>
                      <a:lnTo>
                        <a:pt x="260" y="350"/>
                      </a:lnTo>
                      <a:lnTo>
                        <a:pt x="260" y="352"/>
                      </a:lnTo>
                      <a:lnTo>
                        <a:pt x="260" y="354"/>
                      </a:lnTo>
                      <a:lnTo>
                        <a:pt x="260" y="355"/>
                      </a:lnTo>
                      <a:lnTo>
                        <a:pt x="260" y="358"/>
                      </a:lnTo>
                      <a:lnTo>
                        <a:pt x="260" y="360"/>
                      </a:lnTo>
                      <a:lnTo>
                        <a:pt x="260" y="361"/>
                      </a:lnTo>
                      <a:lnTo>
                        <a:pt x="260" y="364"/>
                      </a:lnTo>
                      <a:lnTo>
                        <a:pt x="260" y="366"/>
                      </a:lnTo>
                      <a:lnTo>
                        <a:pt x="260" y="367"/>
                      </a:lnTo>
                      <a:lnTo>
                        <a:pt x="260" y="369"/>
                      </a:lnTo>
                      <a:lnTo>
                        <a:pt x="260" y="372"/>
                      </a:lnTo>
                      <a:lnTo>
                        <a:pt x="260" y="374"/>
                      </a:lnTo>
                      <a:lnTo>
                        <a:pt x="260" y="375"/>
                      </a:lnTo>
                      <a:lnTo>
                        <a:pt x="260" y="378"/>
                      </a:lnTo>
                      <a:lnTo>
                        <a:pt x="260" y="380"/>
                      </a:lnTo>
                      <a:lnTo>
                        <a:pt x="260" y="381"/>
                      </a:lnTo>
                      <a:lnTo>
                        <a:pt x="260" y="383"/>
                      </a:lnTo>
                      <a:lnTo>
                        <a:pt x="260" y="386"/>
                      </a:lnTo>
                      <a:lnTo>
                        <a:pt x="260" y="387"/>
                      </a:lnTo>
                      <a:lnTo>
                        <a:pt x="260" y="388"/>
                      </a:lnTo>
                      <a:lnTo>
                        <a:pt x="259" y="388"/>
                      </a:lnTo>
                      <a:lnTo>
                        <a:pt x="258" y="388"/>
                      </a:lnTo>
                      <a:lnTo>
                        <a:pt x="257" y="388"/>
                      </a:lnTo>
                      <a:lnTo>
                        <a:pt x="256" y="389"/>
                      </a:lnTo>
                      <a:lnTo>
                        <a:pt x="254" y="390"/>
                      </a:lnTo>
                      <a:lnTo>
                        <a:pt x="253" y="390"/>
                      </a:lnTo>
                      <a:lnTo>
                        <a:pt x="252" y="390"/>
                      </a:lnTo>
                      <a:lnTo>
                        <a:pt x="251" y="392"/>
                      </a:lnTo>
                      <a:lnTo>
                        <a:pt x="249" y="392"/>
                      </a:lnTo>
                      <a:lnTo>
                        <a:pt x="247" y="392"/>
                      </a:lnTo>
                      <a:lnTo>
                        <a:pt x="247" y="393"/>
                      </a:lnTo>
                      <a:lnTo>
                        <a:pt x="246" y="393"/>
                      </a:lnTo>
                      <a:lnTo>
                        <a:pt x="246" y="394"/>
                      </a:lnTo>
                      <a:lnTo>
                        <a:pt x="245" y="397"/>
                      </a:lnTo>
                      <a:lnTo>
                        <a:pt x="244" y="397"/>
                      </a:lnTo>
                      <a:lnTo>
                        <a:pt x="244" y="399"/>
                      </a:lnTo>
                      <a:lnTo>
                        <a:pt x="240" y="399"/>
                      </a:lnTo>
                      <a:lnTo>
                        <a:pt x="239" y="399"/>
                      </a:lnTo>
                      <a:lnTo>
                        <a:pt x="238" y="399"/>
                      </a:lnTo>
                      <a:lnTo>
                        <a:pt x="238" y="400"/>
                      </a:lnTo>
                      <a:lnTo>
                        <a:pt x="238" y="401"/>
                      </a:lnTo>
                      <a:lnTo>
                        <a:pt x="237" y="401"/>
                      </a:lnTo>
                      <a:lnTo>
                        <a:pt x="238" y="402"/>
                      </a:lnTo>
                      <a:lnTo>
                        <a:pt x="239" y="404"/>
                      </a:lnTo>
                      <a:lnTo>
                        <a:pt x="238" y="404"/>
                      </a:lnTo>
                      <a:lnTo>
                        <a:pt x="237" y="404"/>
                      </a:lnTo>
                      <a:lnTo>
                        <a:pt x="237" y="406"/>
                      </a:lnTo>
                      <a:lnTo>
                        <a:pt x="235" y="407"/>
                      </a:lnTo>
                      <a:lnTo>
                        <a:pt x="233" y="407"/>
                      </a:lnTo>
                      <a:lnTo>
                        <a:pt x="232" y="407"/>
                      </a:lnTo>
                      <a:lnTo>
                        <a:pt x="231" y="407"/>
                      </a:lnTo>
                      <a:lnTo>
                        <a:pt x="231" y="406"/>
                      </a:lnTo>
                      <a:lnTo>
                        <a:pt x="230" y="406"/>
                      </a:lnTo>
                      <a:lnTo>
                        <a:pt x="229" y="404"/>
                      </a:lnTo>
                      <a:lnTo>
                        <a:pt x="229" y="403"/>
                      </a:lnTo>
                      <a:lnTo>
                        <a:pt x="222" y="403"/>
                      </a:lnTo>
                      <a:lnTo>
                        <a:pt x="216" y="403"/>
                      </a:lnTo>
                      <a:lnTo>
                        <a:pt x="215" y="404"/>
                      </a:lnTo>
                      <a:lnTo>
                        <a:pt x="214" y="404"/>
                      </a:lnTo>
                      <a:lnTo>
                        <a:pt x="212" y="404"/>
                      </a:lnTo>
                      <a:lnTo>
                        <a:pt x="211" y="404"/>
                      </a:lnTo>
                      <a:lnTo>
                        <a:pt x="210" y="404"/>
                      </a:lnTo>
                      <a:lnTo>
                        <a:pt x="209" y="404"/>
                      </a:lnTo>
                      <a:lnTo>
                        <a:pt x="208" y="404"/>
                      </a:lnTo>
                      <a:lnTo>
                        <a:pt x="206" y="404"/>
                      </a:lnTo>
                      <a:lnTo>
                        <a:pt x="204" y="406"/>
                      </a:lnTo>
                      <a:lnTo>
                        <a:pt x="203" y="406"/>
                      </a:lnTo>
                      <a:lnTo>
                        <a:pt x="201" y="404"/>
                      </a:lnTo>
                      <a:lnTo>
                        <a:pt x="200" y="403"/>
                      </a:lnTo>
                      <a:lnTo>
                        <a:pt x="199" y="402"/>
                      </a:lnTo>
                      <a:lnTo>
                        <a:pt x="197" y="401"/>
                      </a:lnTo>
                      <a:lnTo>
                        <a:pt x="196" y="401"/>
                      </a:lnTo>
                      <a:lnTo>
                        <a:pt x="190" y="400"/>
                      </a:lnTo>
                      <a:lnTo>
                        <a:pt x="189" y="400"/>
                      </a:lnTo>
                      <a:lnTo>
                        <a:pt x="189" y="401"/>
                      </a:lnTo>
                      <a:lnTo>
                        <a:pt x="188" y="401"/>
                      </a:lnTo>
                      <a:lnTo>
                        <a:pt x="187" y="400"/>
                      </a:lnTo>
                      <a:lnTo>
                        <a:pt x="186" y="400"/>
                      </a:lnTo>
                      <a:lnTo>
                        <a:pt x="186" y="399"/>
                      </a:lnTo>
                      <a:lnTo>
                        <a:pt x="186" y="397"/>
                      </a:lnTo>
                      <a:lnTo>
                        <a:pt x="185" y="397"/>
                      </a:lnTo>
                      <a:lnTo>
                        <a:pt x="183" y="397"/>
                      </a:lnTo>
                      <a:lnTo>
                        <a:pt x="182" y="397"/>
                      </a:lnTo>
                      <a:lnTo>
                        <a:pt x="181" y="399"/>
                      </a:lnTo>
                      <a:lnTo>
                        <a:pt x="180" y="399"/>
                      </a:lnTo>
                      <a:lnTo>
                        <a:pt x="180" y="397"/>
                      </a:lnTo>
                      <a:lnTo>
                        <a:pt x="180" y="395"/>
                      </a:lnTo>
                      <a:lnTo>
                        <a:pt x="180" y="394"/>
                      </a:lnTo>
                      <a:lnTo>
                        <a:pt x="179" y="393"/>
                      </a:lnTo>
                      <a:lnTo>
                        <a:pt x="179" y="392"/>
                      </a:lnTo>
                      <a:lnTo>
                        <a:pt x="178" y="390"/>
                      </a:lnTo>
                      <a:lnTo>
                        <a:pt x="178" y="389"/>
                      </a:lnTo>
                      <a:lnTo>
                        <a:pt x="179" y="388"/>
                      </a:lnTo>
                      <a:lnTo>
                        <a:pt x="180" y="388"/>
                      </a:lnTo>
                      <a:lnTo>
                        <a:pt x="180" y="387"/>
                      </a:lnTo>
                      <a:lnTo>
                        <a:pt x="180" y="386"/>
                      </a:lnTo>
                      <a:lnTo>
                        <a:pt x="180" y="385"/>
                      </a:lnTo>
                      <a:lnTo>
                        <a:pt x="179" y="385"/>
                      </a:lnTo>
                      <a:lnTo>
                        <a:pt x="179" y="383"/>
                      </a:lnTo>
                      <a:lnTo>
                        <a:pt x="179" y="382"/>
                      </a:lnTo>
                      <a:lnTo>
                        <a:pt x="179" y="381"/>
                      </a:lnTo>
                      <a:lnTo>
                        <a:pt x="178" y="381"/>
                      </a:lnTo>
                      <a:lnTo>
                        <a:pt x="176" y="381"/>
                      </a:lnTo>
                      <a:lnTo>
                        <a:pt x="175" y="381"/>
                      </a:lnTo>
                      <a:lnTo>
                        <a:pt x="174" y="381"/>
                      </a:lnTo>
                      <a:lnTo>
                        <a:pt x="173" y="381"/>
                      </a:lnTo>
                      <a:lnTo>
                        <a:pt x="173" y="379"/>
                      </a:lnTo>
                      <a:lnTo>
                        <a:pt x="173" y="378"/>
                      </a:lnTo>
                      <a:lnTo>
                        <a:pt x="173" y="376"/>
                      </a:lnTo>
                      <a:lnTo>
                        <a:pt x="172" y="376"/>
                      </a:lnTo>
                      <a:lnTo>
                        <a:pt x="171" y="375"/>
                      </a:lnTo>
                      <a:lnTo>
                        <a:pt x="171" y="374"/>
                      </a:lnTo>
                      <a:lnTo>
                        <a:pt x="169" y="374"/>
                      </a:lnTo>
                      <a:lnTo>
                        <a:pt x="168" y="374"/>
                      </a:lnTo>
                      <a:lnTo>
                        <a:pt x="167" y="375"/>
                      </a:lnTo>
                      <a:lnTo>
                        <a:pt x="166" y="375"/>
                      </a:lnTo>
                      <a:lnTo>
                        <a:pt x="165" y="375"/>
                      </a:lnTo>
                      <a:lnTo>
                        <a:pt x="164" y="376"/>
                      </a:lnTo>
                      <a:lnTo>
                        <a:pt x="164" y="379"/>
                      </a:lnTo>
                      <a:lnTo>
                        <a:pt x="164" y="380"/>
                      </a:lnTo>
                      <a:lnTo>
                        <a:pt x="164" y="379"/>
                      </a:lnTo>
                      <a:lnTo>
                        <a:pt x="162" y="379"/>
                      </a:lnTo>
                      <a:lnTo>
                        <a:pt x="162" y="380"/>
                      </a:lnTo>
                      <a:lnTo>
                        <a:pt x="162" y="381"/>
                      </a:lnTo>
                      <a:lnTo>
                        <a:pt x="161" y="381"/>
                      </a:lnTo>
                      <a:lnTo>
                        <a:pt x="161" y="382"/>
                      </a:lnTo>
                      <a:lnTo>
                        <a:pt x="161" y="383"/>
                      </a:lnTo>
                      <a:lnTo>
                        <a:pt x="161" y="382"/>
                      </a:lnTo>
                      <a:lnTo>
                        <a:pt x="160" y="382"/>
                      </a:lnTo>
                      <a:lnTo>
                        <a:pt x="160" y="383"/>
                      </a:lnTo>
                      <a:lnTo>
                        <a:pt x="160" y="385"/>
                      </a:lnTo>
                      <a:lnTo>
                        <a:pt x="161" y="386"/>
                      </a:lnTo>
                      <a:lnTo>
                        <a:pt x="161" y="387"/>
                      </a:lnTo>
                      <a:lnTo>
                        <a:pt x="160" y="387"/>
                      </a:lnTo>
                      <a:lnTo>
                        <a:pt x="160" y="388"/>
                      </a:lnTo>
                      <a:lnTo>
                        <a:pt x="160" y="389"/>
                      </a:lnTo>
                      <a:lnTo>
                        <a:pt x="159" y="390"/>
                      </a:lnTo>
                      <a:lnTo>
                        <a:pt x="158" y="390"/>
                      </a:lnTo>
                      <a:lnTo>
                        <a:pt x="158" y="389"/>
                      </a:lnTo>
                      <a:lnTo>
                        <a:pt x="157" y="389"/>
                      </a:lnTo>
                      <a:lnTo>
                        <a:pt x="154" y="392"/>
                      </a:lnTo>
                      <a:lnTo>
                        <a:pt x="153" y="393"/>
                      </a:lnTo>
                      <a:lnTo>
                        <a:pt x="152" y="393"/>
                      </a:lnTo>
                      <a:lnTo>
                        <a:pt x="151" y="394"/>
                      </a:lnTo>
                      <a:lnTo>
                        <a:pt x="151" y="395"/>
                      </a:lnTo>
                      <a:lnTo>
                        <a:pt x="150" y="395"/>
                      </a:lnTo>
                      <a:lnTo>
                        <a:pt x="148" y="395"/>
                      </a:lnTo>
                      <a:lnTo>
                        <a:pt x="147" y="393"/>
                      </a:lnTo>
                      <a:lnTo>
                        <a:pt x="146" y="392"/>
                      </a:lnTo>
                      <a:lnTo>
                        <a:pt x="145" y="392"/>
                      </a:lnTo>
                      <a:lnTo>
                        <a:pt x="143" y="388"/>
                      </a:lnTo>
                      <a:lnTo>
                        <a:pt x="142" y="388"/>
                      </a:lnTo>
                      <a:lnTo>
                        <a:pt x="142" y="387"/>
                      </a:lnTo>
                      <a:lnTo>
                        <a:pt x="139" y="385"/>
                      </a:lnTo>
                      <a:lnTo>
                        <a:pt x="137" y="382"/>
                      </a:lnTo>
                      <a:lnTo>
                        <a:pt x="133" y="380"/>
                      </a:lnTo>
                      <a:lnTo>
                        <a:pt x="132" y="379"/>
                      </a:lnTo>
                      <a:lnTo>
                        <a:pt x="131" y="376"/>
                      </a:lnTo>
                      <a:lnTo>
                        <a:pt x="129" y="375"/>
                      </a:lnTo>
                      <a:lnTo>
                        <a:pt x="128" y="374"/>
                      </a:lnTo>
                      <a:lnTo>
                        <a:pt x="128" y="373"/>
                      </a:lnTo>
                      <a:lnTo>
                        <a:pt x="126" y="372"/>
                      </a:lnTo>
                      <a:lnTo>
                        <a:pt x="126" y="371"/>
                      </a:lnTo>
                      <a:lnTo>
                        <a:pt x="126" y="369"/>
                      </a:lnTo>
                      <a:lnTo>
                        <a:pt x="125" y="368"/>
                      </a:lnTo>
                      <a:lnTo>
                        <a:pt x="125" y="367"/>
                      </a:lnTo>
                      <a:lnTo>
                        <a:pt x="122" y="365"/>
                      </a:lnTo>
                      <a:lnTo>
                        <a:pt x="122" y="364"/>
                      </a:lnTo>
                      <a:lnTo>
                        <a:pt x="122" y="361"/>
                      </a:lnTo>
                      <a:lnTo>
                        <a:pt x="121" y="360"/>
                      </a:lnTo>
                      <a:lnTo>
                        <a:pt x="118" y="355"/>
                      </a:lnTo>
                      <a:lnTo>
                        <a:pt x="117" y="354"/>
                      </a:lnTo>
                      <a:lnTo>
                        <a:pt x="116" y="353"/>
                      </a:lnTo>
                      <a:lnTo>
                        <a:pt x="116" y="352"/>
                      </a:lnTo>
                      <a:lnTo>
                        <a:pt x="114" y="350"/>
                      </a:lnTo>
                      <a:lnTo>
                        <a:pt x="114" y="347"/>
                      </a:lnTo>
                      <a:lnTo>
                        <a:pt x="114" y="346"/>
                      </a:lnTo>
                      <a:lnTo>
                        <a:pt x="112" y="346"/>
                      </a:lnTo>
                      <a:lnTo>
                        <a:pt x="114" y="344"/>
                      </a:lnTo>
                      <a:lnTo>
                        <a:pt x="112" y="341"/>
                      </a:lnTo>
                      <a:lnTo>
                        <a:pt x="112" y="340"/>
                      </a:lnTo>
                      <a:lnTo>
                        <a:pt x="112" y="339"/>
                      </a:lnTo>
                      <a:lnTo>
                        <a:pt x="112" y="337"/>
                      </a:lnTo>
                      <a:lnTo>
                        <a:pt x="111" y="337"/>
                      </a:lnTo>
                      <a:lnTo>
                        <a:pt x="111" y="336"/>
                      </a:lnTo>
                      <a:lnTo>
                        <a:pt x="110" y="336"/>
                      </a:lnTo>
                      <a:lnTo>
                        <a:pt x="110" y="334"/>
                      </a:lnTo>
                      <a:lnTo>
                        <a:pt x="109" y="334"/>
                      </a:lnTo>
                      <a:lnTo>
                        <a:pt x="109" y="333"/>
                      </a:lnTo>
                      <a:lnTo>
                        <a:pt x="108" y="331"/>
                      </a:lnTo>
                      <a:lnTo>
                        <a:pt x="108" y="330"/>
                      </a:lnTo>
                      <a:lnTo>
                        <a:pt x="108" y="329"/>
                      </a:lnTo>
                      <a:lnTo>
                        <a:pt x="107" y="327"/>
                      </a:lnTo>
                      <a:lnTo>
                        <a:pt x="107" y="326"/>
                      </a:lnTo>
                      <a:lnTo>
                        <a:pt x="108" y="326"/>
                      </a:lnTo>
                      <a:lnTo>
                        <a:pt x="108" y="325"/>
                      </a:lnTo>
                      <a:lnTo>
                        <a:pt x="109" y="325"/>
                      </a:lnTo>
                      <a:lnTo>
                        <a:pt x="109" y="326"/>
                      </a:lnTo>
                      <a:lnTo>
                        <a:pt x="109" y="327"/>
                      </a:lnTo>
                      <a:lnTo>
                        <a:pt x="109" y="326"/>
                      </a:lnTo>
                      <a:lnTo>
                        <a:pt x="110" y="324"/>
                      </a:lnTo>
                      <a:lnTo>
                        <a:pt x="109" y="322"/>
                      </a:lnTo>
                      <a:lnTo>
                        <a:pt x="109" y="319"/>
                      </a:lnTo>
                      <a:lnTo>
                        <a:pt x="108" y="318"/>
                      </a:lnTo>
                      <a:lnTo>
                        <a:pt x="107" y="317"/>
                      </a:lnTo>
                      <a:lnTo>
                        <a:pt x="105" y="316"/>
                      </a:lnTo>
                      <a:lnTo>
                        <a:pt x="104" y="316"/>
                      </a:lnTo>
                      <a:lnTo>
                        <a:pt x="103" y="316"/>
                      </a:lnTo>
                      <a:lnTo>
                        <a:pt x="103" y="312"/>
                      </a:lnTo>
                      <a:lnTo>
                        <a:pt x="103" y="310"/>
                      </a:lnTo>
                      <a:lnTo>
                        <a:pt x="103" y="309"/>
                      </a:lnTo>
                      <a:lnTo>
                        <a:pt x="104" y="308"/>
                      </a:lnTo>
                      <a:lnTo>
                        <a:pt x="104" y="305"/>
                      </a:lnTo>
                      <a:lnTo>
                        <a:pt x="103" y="304"/>
                      </a:lnTo>
                      <a:lnTo>
                        <a:pt x="103" y="303"/>
                      </a:lnTo>
                      <a:lnTo>
                        <a:pt x="102" y="301"/>
                      </a:lnTo>
                      <a:lnTo>
                        <a:pt x="101" y="299"/>
                      </a:lnTo>
                      <a:lnTo>
                        <a:pt x="102" y="298"/>
                      </a:lnTo>
                      <a:lnTo>
                        <a:pt x="100" y="296"/>
                      </a:lnTo>
                      <a:lnTo>
                        <a:pt x="100" y="295"/>
                      </a:lnTo>
                      <a:lnTo>
                        <a:pt x="100" y="291"/>
                      </a:lnTo>
                      <a:lnTo>
                        <a:pt x="101" y="289"/>
                      </a:lnTo>
                      <a:lnTo>
                        <a:pt x="101" y="288"/>
                      </a:lnTo>
                      <a:lnTo>
                        <a:pt x="101" y="287"/>
                      </a:lnTo>
                      <a:lnTo>
                        <a:pt x="100" y="287"/>
                      </a:lnTo>
                      <a:lnTo>
                        <a:pt x="100" y="285"/>
                      </a:lnTo>
                      <a:lnTo>
                        <a:pt x="100" y="284"/>
                      </a:lnTo>
                      <a:lnTo>
                        <a:pt x="98" y="282"/>
                      </a:lnTo>
                      <a:lnTo>
                        <a:pt x="98" y="280"/>
                      </a:lnTo>
                      <a:lnTo>
                        <a:pt x="98" y="278"/>
                      </a:lnTo>
                      <a:lnTo>
                        <a:pt x="100" y="276"/>
                      </a:lnTo>
                      <a:lnTo>
                        <a:pt x="98" y="275"/>
                      </a:lnTo>
                      <a:lnTo>
                        <a:pt x="100" y="273"/>
                      </a:lnTo>
                      <a:lnTo>
                        <a:pt x="100" y="271"/>
                      </a:lnTo>
                      <a:lnTo>
                        <a:pt x="100" y="270"/>
                      </a:lnTo>
                      <a:lnTo>
                        <a:pt x="98" y="269"/>
                      </a:lnTo>
                      <a:lnTo>
                        <a:pt x="98" y="268"/>
                      </a:lnTo>
                      <a:lnTo>
                        <a:pt x="98" y="267"/>
                      </a:lnTo>
                      <a:lnTo>
                        <a:pt x="97" y="263"/>
                      </a:lnTo>
                      <a:lnTo>
                        <a:pt x="97" y="262"/>
                      </a:lnTo>
                      <a:lnTo>
                        <a:pt x="96" y="259"/>
                      </a:lnTo>
                      <a:lnTo>
                        <a:pt x="95" y="257"/>
                      </a:lnTo>
                      <a:lnTo>
                        <a:pt x="94" y="256"/>
                      </a:lnTo>
                      <a:lnTo>
                        <a:pt x="93" y="255"/>
                      </a:lnTo>
                      <a:lnTo>
                        <a:pt x="91" y="254"/>
                      </a:lnTo>
                      <a:lnTo>
                        <a:pt x="91" y="253"/>
                      </a:lnTo>
                      <a:lnTo>
                        <a:pt x="93" y="253"/>
                      </a:lnTo>
                      <a:lnTo>
                        <a:pt x="93" y="252"/>
                      </a:lnTo>
                      <a:lnTo>
                        <a:pt x="93" y="250"/>
                      </a:lnTo>
                      <a:lnTo>
                        <a:pt x="91" y="249"/>
                      </a:lnTo>
                      <a:lnTo>
                        <a:pt x="90" y="247"/>
                      </a:lnTo>
                      <a:lnTo>
                        <a:pt x="89" y="243"/>
                      </a:lnTo>
                      <a:lnTo>
                        <a:pt x="88" y="241"/>
                      </a:lnTo>
                      <a:lnTo>
                        <a:pt x="88" y="240"/>
                      </a:lnTo>
                      <a:lnTo>
                        <a:pt x="88" y="239"/>
                      </a:lnTo>
                      <a:lnTo>
                        <a:pt x="87" y="239"/>
                      </a:lnTo>
                      <a:lnTo>
                        <a:pt x="87" y="238"/>
                      </a:lnTo>
                      <a:lnTo>
                        <a:pt x="87" y="236"/>
                      </a:lnTo>
                      <a:lnTo>
                        <a:pt x="87" y="235"/>
                      </a:lnTo>
                      <a:lnTo>
                        <a:pt x="87" y="234"/>
                      </a:lnTo>
                      <a:lnTo>
                        <a:pt x="87" y="233"/>
                      </a:lnTo>
                      <a:lnTo>
                        <a:pt x="88" y="233"/>
                      </a:lnTo>
                      <a:lnTo>
                        <a:pt x="88" y="232"/>
                      </a:lnTo>
                      <a:lnTo>
                        <a:pt x="89" y="231"/>
                      </a:lnTo>
                      <a:lnTo>
                        <a:pt x="89" y="228"/>
                      </a:lnTo>
                      <a:lnTo>
                        <a:pt x="88" y="227"/>
                      </a:lnTo>
                      <a:lnTo>
                        <a:pt x="88" y="221"/>
                      </a:lnTo>
                      <a:lnTo>
                        <a:pt x="88" y="220"/>
                      </a:lnTo>
                      <a:lnTo>
                        <a:pt x="88" y="219"/>
                      </a:lnTo>
                      <a:lnTo>
                        <a:pt x="87" y="217"/>
                      </a:lnTo>
                      <a:lnTo>
                        <a:pt x="87" y="215"/>
                      </a:lnTo>
                      <a:lnTo>
                        <a:pt x="87" y="214"/>
                      </a:lnTo>
                      <a:lnTo>
                        <a:pt x="87" y="213"/>
                      </a:lnTo>
                      <a:lnTo>
                        <a:pt x="88" y="212"/>
                      </a:lnTo>
                      <a:lnTo>
                        <a:pt x="88" y="213"/>
                      </a:lnTo>
                      <a:lnTo>
                        <a:pt x="88" y="211"/>
                      </a:lnTo>
                      <a:lnTo>
                        <a:pt x="88" y="207"/>
                      </a:lnTo>
                      <a:lnTo>
                        <a:pt x="87" y="206"/>
                      </a:lnTo>
                      <a:lnTo>
                        <a:pt x="87" y="205"/>
                      </a:lnTo>
                      <a:lnTo>
                        <a:pt x="86" y="204"/>
                      </a:lnTo>
                      <a:lnTo>
                        <a:pt x="86" y="203"/>
                      </a:lnTo>
                      <a:lnTo>
                        <a:pt x="86" y="200"/>
                      </a:lnTo>
                      <a:lnTo>
                        <a:pt x="86" y="199"/>
                      </a:lnTo>
                      <a:lnTo>
                        <a:pt x="86" y="198"/>
                      </a:lnTo>
                      <a:lnTo>
                        <a:pt x="86" y="197"/>
                      </a:lnTo>
                      <a:lnTo>
                        <a:pt x="87" y="197"/>
                      </a:lnTo>
                      <a:lnTo>
                        <a:pt x="87" y="198"/>
                      </a:lnTo>
                      <a:lnTo>
                        <a:pt x="87" y="199"/>
                      </a:lnTo>
                      <a:lnTo>
                        <a:pt x="88" y="199"/>
                      </a:lnTo>
                      <a:lnTo>
                        <a:pt x="87" y="200"/>
                      </a:lnTo>
                      <a:lnTo>
                        <a:pt x="88" y="200"/>
                      </a:lnTo>
                      <a:lnTo>
                        <a:pt x="88" y="199"/>
                      </a:lnTo>
                      <a:lnTo>
                        <a:pt x="89" y="199"/>
                      </a:lnTo>
                      <a:lnTo>
                        <a:pt x="89" y="198"/>
                      </a:lnTo>
                      <a:lnTo>
                        <a:pt x="89" y="196"/>
                      </a:lnTo>
                      <a:lnTo>
                        <a:pt x="89" y="190"/>
                      </a:lnTo>
                      <a:lnTo>
                        <a:pt x="88" y="185"/>
                      </a:lnTo>
                      <a:lnTo>
                        <a:pt x="88" y="184"/>
                      </a:lnTo>
                      <a:lnTo>
                        <a:pt x="88" y="183"/>
                      </a:lnTo>
                      <a:lnTo>
                        <a:pt x="87" y="180"/>
                      </a:lnTo>
                      <a:lnTo>
                        <a:pt x="86" y="178"/>
                      </a:lnTo>
                      <a:lnTo>
                        <a:pt x="84" y="176"/>
                      </a:lnTo>
                      <a:lnTo>
                        <a:pt x="82" y="173"/>
                      </a:lnTo>
                      <a:lnTo>
                        <a:pt x="82" y="172"/>
                      </a:lnTo>
                      <a:lnTo>
                        <a:pt x="82" y="171"/>
                      </a:lnTo>
                      <a:lnTo>
                        <a:pt x="76" y="165"/>
                      </a:lnTo>
                      <a:lnTo>
                        <a:pt x="74" y="163"/>
                      </a:lnTo>
                      <a:lnTo>
                        <a:pt x="72" y="161"/>
                      </a:lnTo>
                      <a:lnTo>
                        <a:pt x="71" y="159"/>
                      </a:lnTo>
                      <a:lnTo>
                        <a:pt x="72" y="159"/>
                      </a:lnTo>
                      <a:lnTo>
                        <a:pt x="72" y="158"/>
                      </a:lnTo>
                      <a:lnTo>
                        <a:pt x="72" y="157"/>
                      </a:lnTo>
                      <a:lnTo>
                        <a:pt x="68" y="154"/>
                      </a:lnTo>
                      <a:lnTo>
                        <a:pt x="68" y="151"/>
                      </a:lnTo>
                      <a:lnTo>
                        <a:pt x="67" y="149"/>
                      </a:lnTo>
                      <a:lnTo>
                        <a:pt x="64" y="144"/>
                      </a:lnTo>
                      <a:lnTo>
                        <a:pt x="62" y="141"/>
                      </a:lnTo>
                      <a:lnTo>
                        <a:pt x="61" y="140"/>
                      </a:lnTo>
                      <a:lnTo>
                        <a:pt x="60" y="138"/>
                      </a:lnTo>
                      <a:lnTo>
                        <a:pt x="57" y="134"/>
                      </a:lnTo>
                      <a:lnTo>
                        <a:pt x="55" y="133"/>
                      </a:lnTo>
                      <a:lnTo>
                        <a:pt x="55" y="131"/>
                      </a:lnTo>
                      <a:lnTo>
                        <a:pt x="55" y="130"/>
                      </a:lnTo>
                      <a:lnTo>
                        <a:pt x="54" y="130"/>
                      </a:lnTo>
                      <a:lnTo>
                        <a:pt x="53" y="129"/>
                      </a:lnTo>
                      <a:lnTo>
                        <a:pt x="53" y="128"/>
                      </a:lnTo>
                      <a:lnTo>
                        <a:pt x="53" y="124"/>
                      </a:lnTo>
                      <a:lnTo>
                        <a:pt x="52" y="122"/>
                      </a:lnTo>
                      <a:lnTo>
                        <a:pt x="50" y="116"/>
                      </a:lnTo>
                      <a:lnTo>
                        <a:pt x="48" y="114"/>
                      </a:lnTo>
                      <a:lnTo>
                        <a:pt x="48" y="112"/>
                      </a:lnTo>
                      <a:lnTo>
                        <a:pt x="47" y="109"/>
                      </a:lnTo>
                      <a:lnTo>
                        <a:pt x="46" y="107"/>
                      </a:lnTo>
                      <a:lnTo>
                        <a:pt x="46" y="106"/>
                      </a:lnTo>
                      <a:lnTo>
                        <a:pt x="45" y="105"/>
                      </a:lnTo>
                      <a:lnTo>
                        <a:pt x="43" y="105"/>
                      </a:lnTo>
                      <a:lnTo>
                        <a:pt x="41" y="102"/>
                      </a:lnTo>
                      <a:lnTo>
                        <a:pt x="41" y="98"/>
                      </a:lnTo>
                      <a:lnTo>
                        <a:pt x="38" y="93"/>
                      </a:lnTo>
                      <a:lnTo>
                        <a:pt x="37" y="91"/>
                      </a:lnTo>
                      <a:lnTo>
                        <a:pt x="34" y="87"/>
                      </a:lnTo>
                      <a:lnTo>
                        <a:pt x="34" y="86"/>
                      </a:lnTo>
                      <a:lnTo>
                        <a:pt x="34" y="85"/>
                      </a:lnTo>
                      <a:lnTo>
                        <a:pt x="33" y="84"/>
                      </a:lnTo>
                      <a:lnTo>
                        <a:pt x="31" y="81"/>
                      </a:lnTo>
                      <a:lnTo>
                        <a:pt x="31" y="80"/>
                      </a:lnTo>
                      <a:lnTo>
                        <a:pt x="31" y="79"/>
                      </a:lnTo>
                      <a:lnTo>
                        <a:pt x="31" y="78"/>
                      </a:lnTo>
                      <a:lnTo>
                        <a:pt x="30" y="77"/>
                      </a:lnTo>
                      <a:lnTo>
                        <a:pt x="30" y="75"/>
                      </a:lnTo>
                      <a:lnTo>
                        <a:pt x="29" y="74"/>
                      </a:lnTo>
                      <a:lnTo>
                        <a:pt x="27" y="71"/>
                      </a:lnTo>
                      <a:lnTo>
                        <a:pt x="26" y="70"/>
                      </a:lnTo>
                      <a:lnTo>
                        <a:pt x="25" y="68"/>
                      </a:lnTo>
                      <a:lnTo>
                        <a:pt x="24" y="67"/>
                      </a:lnTo>
                      <a:lnTo>
                        <a:pt x="24" y="65"/>
                      </a:lnTo>
                      <a:lnTo>
                        <a:pt x="23" y="64"/>
                      </a:lnTo>
                      <a:lnTo>
                        <a:pt x="18" y="57"/>
                      </a:lnTo>
                      <a:lnTo>
                        <a:pt x="15" y="54"/>
                      </a:lnTo>
                      <a:lnTo>
                        <a:pt x="14" y="53"/>
                      </a:lnTo>
                      <a:lnTo>
                        <a:pt x="12" y="53"/>
                      </a:lnTo>
                      <a:lnTo>
                        <a:pt x="12" y="52"/>
                      </a:lnTo>
                      <a:lnTo>
                        <a:pt x="11" y="52"/>
                      </a:lnTo>
                      <a:lnTo>
                        <a:pt x="10" y="51"/>
                      </a:lnTo>
                      <a:lnTo>
                        <a:pt x="10" y="50"/>
                      </a:lnTo>
                      <a:lnTo>
                        <a:pt x="10" y="49"/>
                      </a:lnTo>
                      <a:lnTo>
                        <a:pt x="9" y="47"/>
                      </a:lnTo>
                      <a:lnTo>
                        <a:pt x="9" y="46"/>
                      </a:lnTo>
                      <a:lnTo>
                        <a:pt x="9" y="45"/>
                      </a:lnTo>
                      <a:lnTo>
                        <a:pt x="7" y="42"/>
                      </a:lnTo>
                      <a:lnTo>
                        <a:pt x="4" y="39"/>
                      </a:lnTo>
                      <a:lnTo>
                        <a:pt x="4" y="38"/>
                      </a:lnTo>
                      <a:lnTo>
                        <a:pt x="3" y="36"/>
                      </a:lnTo>
                      <a:lnTo>
                        <a:pt x="3" y="35"/>
                      </a:lnTo>
                      <a:lnTo>
                        <a:pt x="3" y="33"/>
                      </a:lnTo>
                      <a:lnTo>
                        <a:pt x="2" y="30"/>
                      </a:lnTo>
                      <a:lnTo>
                        <a:pt x="2" y="28"/>
                      </a:lnTo>
                      <a:lnTo>
                        <a:pt x="1" y="24"/>
                      </a:lnTo>
                      <a:lnTo>
                        <a:pt x="1" y="22"/>
                      </a:lnTo>
                      <a:lnTo>
                        <a:pt x="0" y="19"/>
                      </a:lnTo>
                      <a:lnTo>
                        <a:pt x="1" y="17"/>
                      </a:lnTo>
                      <a:lnTo>
                        <a:pt x="1" y="10"/>
                      </a:lnTo>
                      <a:lnTo>
                        <a:pt x="2" y="10"/>
                      </a:lnTo>
                      <a:lnTo>
                        <a:pt x="3" y="10"/>
                      </a:lnTo>
                      <a:lnTo>
                        <a:pt x="4" y="10"/>
                      </a:lnTo>
                      <a:lnTo>
                        <a:pt x="4" y="9"/>
                      </a:lnTo>
                      <a:lnTo>
                        <a:pt x="5" y="9"/>
                      </a:lnTo>
                      <a:lnTo>
                        <a:pt x="7" y="8"/>
                      </a:lnTo>
                      <a:lnTo>
                        <a:pt x="9" y="7"/>
                      </a:lnTo>
                      <a:lnTo>
                        <a:pt x="10" y="7"/>
                      </a:lnTo>
                      <a:lnTo>
                        <a:pt x="11" y="7"/>
                      </a:lnTo>
                      <a:lnTo>
                        <a:pt x="12" y="7"/>
                      </a:lnTo>
                      <a:lnTo>
                        <a:pt x="14" y="7"/>
                      </a:lnTo>
                      <a:lnTo>
                        <a:pt x="15" y="7"/>
                      </a:lnTo>
                      <a:lnTo>
                        <a:pt x="15" y="8"/>
                      </a:lnTo>
                      <a:lnTo>
                        <a:pt x="16" y="8"/>
                      </a:lnTo>
                      <a:lnTo>
                        <a:pt x="16" y="9"/>
                      </a:lnTo>
                      <a:lnTo>
                        <a:pt x="17" y="9"/>
                      </a:lnTo>
                      <a:lnTo>
                        <a:pt x="18" y="9"/>
                      </a:lnTo>
                      <a:lnTo>
                        <a:pt x="20" y="9"/>
                      </a:lnTo>
                      <a:lnTo>
                        <a:pt x="22" y="9"/>
                      </a:lnTo>
                      <a:lnTo>
                        <a:pt x="22" y="8"/>
                      </a:lnTo>
                      <a:lnTo>
                        <a:pt x="23" y="9"/>
                      </a:lnTo>
                      <a:lnTo>
                        <a:pt x="25" y="9"/>
                      </a:lnTo>
                      <a:lnTo>
                        <a:pt x="26" y="9"/>
                      </a:lnTo>
                      <a:lnTo>
                        <a:pt x="27" y="9"/>
                      </a:lnTo>
                      <a:lnTo>
                        <a:pt x="29" y="8"/>
                      </a:lnTo>
                      <a:lnTo>
                        <a:pt x="30" y="8"/>
                      </a:lnTo>
                      <a:lnTo>
                        <a:pt x="31" y="7"/>
                      </a:lnTo>
                      <a:lnTo>
                        <a:pt x="32" y="5"/>
                      </a:lnTo>
                      <a:lnTo>
                        <a:pt x="33" y="5"/>
                      </a:lnTo>
                      <a:lnTo>
                        <a:pt x="34" y="4"/>
                      </a:lnTo>
                      <a:lnTo>
                        <a:pt x="36" y="4"/>
                      </a:lnTo>
                      <a:lnTo>
                        <a:pt x="36" y="3"/>
                      </a:lnTo>
                      <a:lnTo>
                        <a:pt x="37" y="3"/>
                      </a:lnTo>
                      <a:lnTo>
                        <a:pt x="37" y="2"/>
                      </a:lnTo>
                      <a:lnTo>
                        <a:pt x="38" y="2"/>
                      </a:lnTo>
                      <a:lnTo>
                        <a:pt x="39" y="2"/>
                      </a:lnTo>
                      <a:lnTo>
                        <a:pt x="40" y="1"/>
                      </a:lnTo>
                      <a:lnTo>
                        <a:pt x="44" y="0"/>
                      </a:lnTo>
                      <a:lnTo>
                        <a:pt x="45" y="0"/>
                      </a:lnTo>
                      <a:lnTo>
                        <a:pt x="46" y="0"/>
                      </a:lnTo>
                      <a:lnTo>
                        <a:pt x="47" y="1"/>
                      </a:lnTo>
                      <a:lnTo>
                        <a:pt x="48" y="1"/>
                      </a:lnTo>
                      <a:lnTo>
                        <a:pt x="50" y="1"/>
                      </a:lnTo>
                      <a:lnTo>
                        <a:pt x="51" y="1"/>
                      </a:lnTo>
                      <a:lnTo>
                        <a:pt x="52" y="0"/>
                      </a:lnTo>
                      <a:lnTo>
                        <a:pt x="52" y="1"/>
                      </a:lnTo>
                      <a:lnTo>
                        <a:pt x="53" y="1"/>
                      </a:lnTo>
                      <a:lnTo>
                        <a:pt x="54" y="1"/>
                      </a:lnTo>
                      <a:lnTo>
                        <a:pt x="55" y="2"/>
                      </a:lnTo>
                      <a:lnTo>
                        <a:pt x="57" y="3"/>
                      </a:lnTo>
                      <a:lnTo>
                        <a:pt x="57" y="4"/>
                      </a:lnTo>
                      <a:lnTo>
                        <a:pt x="57" y="5"/>
                      </a:lnTo>
                      <a:lnTo>
                        <a:pt x="59" y="7"/>
                      </a:lnTo>
                      <a:lnTo>
                        <a:pt x="62" y="9"/>
                      </a:lnTo>
                      <a:lnTo>
                        <a:pt x="65" y="10"/>
                      </a:lnTo>
                      <a:lnTo>
                        <a:pt x="68" y="12"/>
                      </a:lnTo>
                      <a:lnTo>
                        <a:pt x="69" y="15"/>
                      </a:lnTo>
                      <a:lnTo>
                        <a:pt x="71" y="15"/>
                      </a:lnTo>
                      <a:lnTo>
                        <a:pt x="72" y="15"/>
                      </a:lnTo>
                      <a:lnTo>
                        <a:pt x="73" y="15"/>
                      </a:lnTo>
                      <a:lnTo>
                        <a:pt x="74" y="15"/>
                      </a:lnTo>
                      <a:lnTo>
                        <a:pt x="75" y="15"/>
                      </a:lnTo>
                      <a:lnTo>
                        <a:pt x="76" y="15"/>
                      </a:lnTo>
                      <a:lnTo>
                        <a:pt x="78" y="15"/>
                      </a:lnTo>
                      <a:lnTo>
                        <a:pt x="79" y="14"/>
                      </a:lnTo>
                      <a:lnTo>
                        <a:pt x="81" y="14"/>
                      </a:lnTo>
                      <a:lnTo>
                        <a:pt x="89" y="14"/>
                      </a:lnTo>
                      <a:lnTo>
                        <a:pt x="97" y="14"/>
                      </a:lnTo>
                      <a:lnTo>
                        <a:pt x="105" y="14"/>
                      </a:lnTo>
                      <a:lnTo>
                        <a:pt x="112" y="14"/>
                      </a:lnTo>
                      <a:lnTo>
                        <a:pt x="121" y="14"/>
                      </a:lnTo>
                      <a:lnTo>
                        <a:pt x="129" y="14"/>
                      </a:lnTo>
                      <a:lnTo>
                        <a:pt x="137" y="14"/>
                      </a:lnTo>
                      <a:lnTo>
                        <a:pt x="145" y="14"/>
                      </a:lnTo>
                      <a:lnTo>
                        <a:pt x="153" y="14"/>
                      </a:lnTo>
                      <a:lnTo>
                        <a:pt x="161" y="14"/>
                      </a:lnTo>
                      <a:lnTo>
                        <a:pt x="169" y="14"/>
                      </a:lnTo>
                      <a:lnTo>
                        <a:pt x="174" y="14"/>
                      </a:lnTo>
                      <a:lnTo>
                        <a:pt x="178" y="14"/>
                      </a:lnTo>
                      <a:lnTo>
                        <a:pt x="186" y="14"/>
                      </a:lnTo>
                      <a:lnTo>
                        <a:pt x="194" y="14"/>
                      </a:lnTo>
                      <a:lnTo>
                        <a:pt x="197" y="14"/>
                      </a:lnTo>
                      <a:lnTo>
                        <a:pt x="202" y="14"/>
                      </a:lnTo>
                      <a:lnTo>
                        <a:pt x="210" y="14"/>
                      </a:lnTo>
                      <a:lnTo>
                        <a:pt x="211" y="14"/>
                      </a:lnTo>
                      <a:lnTo>
                        <a:pt x="212" y="15"/>
                      </a:lnTo>
                      <a:lnTo>
                        <a:pt x="212" y="16"/>
                      </a:lnTo>
                      <a:lnTo>
                        <a:pt x="214" y="16"/>
                      </a:lnTo>
                      <a:lnTo>
                        <a:pt x="215" y="18"/>
                      </a:lnTo>
                      <a:lnTo>
                        <a:pt x="217" y="21"/>
                      </a:lnTo>
                      <a:lnTo>
                        <a:pt x="217" y="22"/>
                      </a:lnTo>
                      <a:lnTo>
                        <a:pt x="218" y="22"/>
                      </a:lnTo>
                      <a:lnTo>
                        <a:pt x="221" y="24"/>
                      </a:lnTo>
                      <a:lnTo>
                        <a:pt x="221" y="25"/>
                      </a:lnTo>
                      <a:lnTo>
                        <a:pt x="222" y="25"/>
                      </a:lnTo>
                      <a:lnTo>
                        <a:pt x="223" y="25"/>
                      </a:lnTo>
                      <a:lnTo>
                        <a:pt x="225" y="26"/>
                      </a:lnTo>
                      <a:lnTo>
                        <a:pt x="230" y="28"/>
                      </a:lnTo>
                      <a:lnTo>
                        <a:pt x="232" y="28"/>
                      </a:lnTo>
                      <a:lnTo>
                        <a:pt x="233" y="26"/>
                      </a:lnTo>
                      <a:lnTo>
                        <a:pt x="235" y="26"/>
                      </a:lnTo>
                      <a:lnTo>
                        <a:pt x="237" y="26"/>
                      </a:lnTo>
                      <a:lnTo>
                        <a:pt x="237" y="28"/>
                      </a:lnTo>
                      <a:lnTo>
                        <a:pt x="242" y="29"/>
                      </a:lnTo>
                      <a:lnTo>
                        <a:pt x="247" y="29"/>
                      </a:lnTo>
                      <a:lnTo>
                        <a:pt x="249" y="29"/>
                      </a:lnTo>
                      <a:lnTo>
                        <a:pt x="250" y="28"/>
                      </a:lnTo>
                      <a:lnTo>
                        <a:pt x="251" y="29"/>
                      </a:lnTo>
                      <a:lnTo>
                        <a:pt x="252" y="30"/>
                      </a:lnTo>
                      <a:lnTo>
                        <a:pt x="253" y="30"/>
                      </a:lnTo>
                      <a:lnTo>
                        <a:pt x="253" y="29"/>
                      </a:lnTo>
                      <a:lnTo>
                        <a:pt x="259" y="29"/>
                      </a:lnTo>
                      <a:lnTo>
                        <a:pt x="260" y="30"/>
                      </a:lnTo>
                      <a:lnTo>
                        <a:pt x="261" y="30"/>
                      </a:lnTo>
                      <a:lnTo>
                        <a:pt x="263" y="30"/>
                      </a:lnTo>
                      <a:lnTo>
                        <a:pt x="264" y="30"/>
                      </a:lnTo>
                      <a:lnTo>
                        <a:pt x="265" y="30"/>
                      </a:lnTo>
                      <a:lnTo>
                        <a:pt x="265" y="29"/>
                      </a:lnTo>
                      <a:lnTo>
                        <a:pt x="266" y="29"/>
                      </a:lnTo>
                      <a:lnTo>
                        <a:pt x="267" y="29"/>
                      </a:lnTo>
                      <a:lnTo>
                        <a:pt x="267" y="30"/>
                      </a:lnTo>
                      <a:lnTo>
                        <a:pt x="268" y="29"/>
                      </a:lnTo>
                      <a:lnTo>
                        <a:pt x="270" y="29"/>
                      </a:lnTo>
                      <a:lnTo>
                        <a:pt x="271" y="29"/>
                      </a:lnTo>
                      <a:lnTo>
                        <a:pt x="272" y="30"/>
                      </a:lnTo>
                      <a:lnTo>
                        <a:pt x="273" y="30"/>
                      </a:lnTo>
                      <a:lnTo>
                        <a:pt x="274" y="30"/>
                      </a:lnTo>
                      <a:lnTo>
                        <a:pt x="275" y="31"/>
                      </a:lnTo>
                      <a:lnTo>
                        <a:pt x="276" y="32"/>
                      </a:lnTo>
                      <a:lnTo>
                        <a:pt x="278" y="32"/>
                      </a:lnTo>
                      <a:lnTo>
                        <a:pt x="279" y="32"/>
                      </a:lnTo>
                      <a:lnTo>
                        <a:pt x="280" y="32"/>
                      </a:lnTo>
                      <a:lnTo>
                        <a:pt x="281" y="32"/>
                      </a:lnTo>
                      <a:lnTo>
                        <a:pt x="281" y="33"/>
                      </a:lnTo>
                      <a:lnTo>
                        <a:pt x="282" y="33"/>
                      </a:lnTo>
                      <a:lnTo>
                        <a:pt x="283" y="33"/>
                      </a:lnTo>
                      <a:lnTo>
                        <a:pt x="285" y="33"/>
                      </a:lnTo>
                      <a:lnTo>
                        <a:pt x="286" y="35"/>
                      </a:lnTo>
                      <a:lnTo>
                        <a:pt x="287" y="33"/>
                      </a:lnTo>
                      <a:lnTo>
                        <a:pt x="288" y="33"/>
                      </a:lnTo>
                      <a:lnTo>
                        <a:pt x="288" y="32"/>
                      </a:lnTo>
                      <a:lnTo>
                        <a:pt x="292" y="32"/>
                      </a:lnTo>
                      <a:lnTo>
                        <a:pt x="294" y="31"/>
                      </a:lnTo>
                      <a:lnTo>
                        <a:pt x="295" y="31"/>
                      </a:lnTo>
                      <a:lnTo>
                        <a:pt x="296" y="31"/>
                      </a:lnTo>
                      <a:lnTo>
                        <a:pt x="297" y="31"/>
                      </a:lnTo>
                      <a:lnTo>
                        <a:pt x="299" y="31"/>
                      </a:lnTo>
                      <a:lnTo>
                        <a:pt x="300" y="32"/>
                      </a:lnTo>
                      <a:lnTo>
                        <a:pt x="302" y="32"/>
                      </a:lnTo>
                      <a:lnTo>
                        <a:pt x="303" y="33"/>
                      </a:lnTo>
                      <a:lnTo>
                        <a:pt x="304" y="33"/>
                      </a:lnTo>
                      <a:lnTo>
                        <a:pt x="307" y="33"/>
                      </a:lnTo>
                      <a:lnTo>
                        <a:pt x="315" y="31"/>
                      </a:lnTo>
                      <a:lnTo>
                        <a:pt x="322" y="30"/>
                      </a:lnTo>
                      <a:lnTo>
                        <a:pt x="330" y="29"/>
                      </a:lnTo>
                      <a:lnTo>
                        <a:pt x="338" y="26"/>
                      </a:lnTo>
                      <a:lnTo>
                        <a:pt x="344" y="25"/>
                      </a:lnTo>
                      <a:lnTo>
                        <a:pt x="351" y="24"/>
                      </a:lnTo>
                      <a:lnTo>
                        <a:pt x="357" y="23"/>
                      </a:lnTo>
                      <a:lnTo>
                        <a:pt x="364" y="22"/>
                      </a:lnTo>
                      <a:lnTo>
                        <a:pt x="366" y="2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2" name="Freeform 106">
                  <a:extLst>
                    <a:ext uri="{FF2B5EF4-FFF2-40B4-BE49-F238E27FC236}">
                      <a16:creationId xmlns:a16="http://schemas.microsoft.com/office/drawing/2014/main" id="{BAF9A06B-7CC2-D523-4093-D1047D18C7C6}"/>
                    </a:ext>
                  </a:extLst>
                </p:cNvPr>
                <p:cNvSpPr>
                  <a:spLocks/>
                </p:cNvSpPr>
                <p:nvPr/>
              </p:nvSpPr>
              <p:spPr bwMode="auto">
                <a:xfrm>
                  <a:off x="6229099" y="2968928"/>
                  <a:ext cx="545193" cy="430529"/>
                </a:xfrm>
                <a:custGeom>
                  <a:avLst/>
                  <a:gdLst>
                    <a:gd name="T0" fmla="*/ 476 w 504"/>
                    <a:gd name="T1" fmla="*/ 43 h 398"/>
                    <a:gd name="T2" fmla="*/ 478 w 504"/>
                    <a:gd name="T3" fmla="*/ 70 h 398"/>
                    <a:gd name="T4" fmla="*/ 489 w 504"/>
                    <a:gd name="T5" fmla="*/ 83 h 398"/>
                    <a:gd name="T6" fmla="*/ 491 w 504"/>
                    <a:gd name="T7" fmla="*/ 96 h 398"/>
                    <a:gd name="T8" fmla="*/ 499 w 504"/>
                    <a:gd name="T9" fmla="*/ 118 h 398"/>
                    <a:gd name="T10" fmla="*/ 494 w 504"/>
                    <a:gd name="T11" fmla="*/ 139 h 398"/>
                    <a:gd name="T12" fmla="*/ 493 w 504"/>
                    <a:gd name="T13" fmla="*/ 159 h 398"/>
                    <a:gd name="T14" fmla="*/ 492 w 504"/>
                    <a:gd name="T15" fmla="*/ 179 h 398"/>
                    <a:gd name="T16" fmla="*/ 490 w 504"/>
                    <a:gd name="T17" fmla="*/ 198 h 398"/>
                    <a:gd name="T18" fmla="*/ 489 w 504"/>
                    <a:gd name="T19" fmla="*/ 218 h 398"/>
                    <a:gd name="T20" fmla="*/ 476 w 504"/>
                    <a:gd name="T21" fmla="*/ 238 h 398"/>
                    <a:gd name="T22" fmla="*/ 453 w 504"/>
                    <a:gd name="T23" fmla="*/ 262 h 398"/>
                    <a:gd name="T24" fmla="*/ 441 w 504"/>
                    <a:gd name="T25" fmla="*/ 280 h 398"/>
                    <a:gd name="T26" fmla="*/ 433 w 504"/>
                    <a:gd name="T27" fmla="*/ 296 h 398"/>
                    <a:gd name="T28" fmla="*/ 423 w 504"/>
                    <a:gd name="T29" fmla="*/ 308 h 398"/>
                    <a:gd name="T30" fmla="*/ 428 w 504"/>
                    <a:gd name="T31" fmla="*/ 324 h 398"/>
                    <a:gd name="T32" fmla="*/ 415 w 504"/>
                    <a:gd name="T33" fmla="*/ 336 h 398"/>
                    <a:gd name="T34" fmla="*/ 406 w 504"/>
                    <a:gd name="T35" fmla="*/ 337 h 398"/>
                    <a:gd name="T36" fmla="*/ 399 w 504"/>
                    <a:gd name="T37" fmla="*/ 343 h 398"/>
                    <a:gd name="T38" fmla="*/ 389 w 504"/>
                    <a:gd name="T39" fmla="*/ 350 h 398"/>
                    <a:gd name="T40" fmla="*/ 338 w 504"/>
                    <a:gd name="T41" fmla="*/ 341 h 398"/>
                    <a:gd name="T42" fmla="*/ 301 w 504"/>
                    <a:gd name="T43" fmla="*/ 360 h 398"/>
                    <a:gd name="T44" fmla="*/ 265 w 504"/>
                    <a:gd name="T45" fmla="*/ 351 h 398"/>
                    <a:gd name="T46" fmla="*/ 243 w 504"/>
                    <a:gd name="T47" fmla="*/ 343 h 398"/>
                    <a:gd name="T48" fmla="*/ 214 w 504"/>
                    <a:gd name="T49" fmla="*/ 352 h 398"/>
                    <a:gd name="T50" fmla="*/ 172 w 504"/>
                    <a:gd name="T51" fmla="*/ 327 h 398"/>
                    <a:gd name="T52" fmla="*/ 151 w 504"/>
                    <a:gd name="T53" fmla="*/ 330 h 398"/>
                    <a:gd name="T54" fmla="*/ 121 w 504"/>
                    <a:gd name="T55" fmla="*/ 363 h 398"/>
                    <a:gd name="T56" fmla="*/ 113 w 504"/>
                    <a:gd name="T57" fmla="*/ 395 h 398"/>
                    <a:gd name="T58" fmla="*/ 102 w 504"/>
                    <a:gd name="T59" fmla="*/ 392 h 398"/>
                    <a:gd name="T60" fmla="*/ 89 w 504"/>
                    <a:gd name="T61" fmla="*/ 377 h 398"/>
                    <a:gd name="T62" fmla="*/ 79 w 504"/>
                    <a:gd name="T63" fmla="*/ 379 h 398"/>
                    <a:gd name="T64" fmla="*/ 73 w 504"/>
                    <a:gd name="T65" fmla="*/ 386 h 398"/>
                    <a:gd name="T66" fmla="*/ 62 w 504"/>
                    <a:gd name="T67" fmla="*/ 378 h 398"/>
                    <a:gd name="T68" fmla="*/ 66 w 504"/>
                    <a:gd name="T69" fmla="*/ 369 h 398"/>
                    <a:gd name="T70" fmla="*/ 55 w 504"/>
                    <a:gd name="T71" fmla="*/ 369 h 398"/>
                    <a:gd name="T72" fmla="*/ 27 w 504"/>
                    <a:gd name="T73" fmla="*/ 355 h 398"/>
                    <a:gd name="T74" fmla="*/ 35 w 504"/>
                    <a:gd name="T75" fmla="*/ 345 h 398"/>
                    <a:gd name="T76" fmla="*/ 22 w 504"/>
                    <a:gd name="T77" fmla="*/ 336 h 398"/>
                    <a:gd name="T78" fmla="*/ 9 w 504"/>
                    <a:gd name="T79" fmla="*/ 327 h 398"/>
                    <a:gd name="T80" fmla="*/ 7 w 504"/>
                    <a:gd name="T81" fmla="*/ 317 h 398"/>
                    <a:gd name="T82" fmla="*/ 1 w 504"/>
                    <a:gd name="T83" fmla="*/ 295 h 398"/>
                    <a:gd name="T84" fmla="*/ 24 w 504"/>
                    <a:gd name="T85" fmla="*/ 292 h 398"/>
                    <a:gd name="T86" fmla="*/ 52 w 504"/>
                    <a:gd name="T87" fmla="*/ 281 h 398"/>
                    <a:gd name="T88" fmla="*/ 91 w 504"/>
                    <a:gd name="T89" fmla="*/ 279 h 398"/>
                    <a:gd name="T90" fmla="*/ 114 w 504"/>
                    <a:gd name="T91" fmla="*/ 268 h 398"/>
                    <a:gd name="T92" fmla="*/ 124 w 504"/>
                    <a:gd name="T93" fmla="*/ 246 h 398"/>
                    <a:gd name="T94" fmla="*/ 129 w 504"/>
                    <a:gd name="T95" fmla="*/ 220 h 398"/>
                    <a:gd name="T96" fmla="*/ 129 w 504"/>
                    <a:gd name="T97" fmla="*/ 173 h 398"/>
                    <a:gd name="T98" fmla="*/ 173 w 504"/>
                    <a:gd name="T99" fmla="*/ 142 h 398"/>
                    <a:gd name="T100" fmla="*/ 200 w 504"/>
                    <a:gd name="T101" fmla="*/ 121 h 398"/>
                    <a:gd name="T102" fmla="*/ 227 w 504"/>
                    <a:gd name="T103" fmla="*/ 97 h 398"/>
                    <a:gd name="T104" fmla="*/ 258 w 504"/>
                    <a:gd name="T105" fmla="*/ 76 h 398"/>
                    <a:gd name="T106" fmla="*/ 286 w 504"/>
                    <a:gd name="T107" fmla="*/ 57 h 398"/>
                    <a:gd name="T108" fmla="*/ 314 w 504"/>
                    <a:gd name="T109" fmla="*/ 40 h 398"/>
                    <a:gd name="T110" fmla="*/ 342 w 504"/>
                    <a:gd name="T111" fmla="*/ 21 h 398"/>
                    <a:gd name="T112" fmla="*/ 371 w 504"/>
                    <a:gd name="T113" fmla="*/ 2 h 398"/>
                    <a:gd name="T114" fmla="*/ 406 w 504"/>
                    <a:gd name="T115" fmla="*/ 7 h 398"/>
                    <a:gd name="T116" fmla="*/ 447 w 504"/>
                    <a:gd name="T117" fmla="*/ 3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4" h="398">
                      <a:moveTo>
                        <a:pt x="471" y="18"/>
                      </a:moveTo>
                      <a:lnTo>
                        <a:pt x="472" y="20"/>
                      </a:lnTo>
                      <a:lnTo>
                        <a:pt x="472" y="22"/>
                      </a:lnTo>
                      <a:lnTo>
                        <a:pt x="472" y="25"/>
                      </a:lnTo>
                      <a:lnTo>
                        <a:pt x="473" y="27"/>
                      </a:lnTo>
                      <a:lnTo>
                        <a:pt x="473" y="28"/>
                      </a:lnTo>
                      <a:lnTo>
                        <a:pt x="473" y="30"/>
                      </a:lnTo>
                      <a:lnTo>
                        <a:pt x="475" y="33"/>
                      </a:lnTo>
                      <a:lnTo>
                        <a:pt x="475" y="35"/>
                      </a:lnTo>
                      <a:lnTo>
                        <a:pt x="475" y="37"/>
                      </a:lnTo>
                      <a:lnTo>
                        <a:pt x="476" y="40"/>
                      </a:lnTo>
                      <a:lnTo>
                        <a:pt x="476" y="42"/>
                      </a:lnTo>
                      <a:lnTo>
                        <a:pt x="476" y="43"/>
                      </a:lnTo>
                      <a:lnTo>
                        <a:pt x="477" y="46"/>
                      </a:lnTo>
                      <a:lnTo>
                        <a:pt x="477" y="48"/>
                      </a:lnTo>
                      <a:lnTo>
                        <a:pt x="477" y="49"/>
                      </a:lnTo>
                      <a:lnTo>
                        <a:pt x="477" y="51"/>
                      </a:lnTo>
                      <a:lnTo>
                        <a:pt x="478" y="53"/>
                      </a:lnTo>
                      <a:lnTo>
                        <a:pt x="478" y="55"/>
                      </a:lnTo>
                      <a:lnTo>
                        <a:pt x="478" y="57"/>
                      </a:lnTo>
                      <a:lnTo>
                        <a:pt x="478" y="61"/>
                      </a:lnTo>
                      <a:lnTo>
                        <a:pt x="478" y="63"/>
                      </a:lnTo>
                      <a:lnTo>
                        <a:pt x="478" y="65"/>
                      </a:lnTo>
                      <a:lnTo>
                        <a:pt x="478" y="68"/>
                      </a:lnTo>
                      <a:lnTo>
                        <a:pt x="478" y="69"/>
                      </a:lnTo>
                      <a:lnTo>
                        <a:pt x="478" y="70"/>
                      </a:lnTo>
                      <a:lnTo>
                        <a:pt x="480" y="71"/>
                      </a:lnTo>
                      <a:lnTo>
                        <a:pt x="482" y="72"/>
                      </a:lnTo>
                      <a:lnTo>
                        <a:pt x="483" y="74"/>
                      </a:lnTo>
                      <a:lnTo>
                        <a:pt x="483" y="75"/>
                      </a:lnTo>
                      <a:lnTo>
                        <a:pt x="484" y="76"/>
                      </a:lnTo>
                      <a:lnTo>
                        <a:pt x="485" y="77"/>
                      </a:lnTo>
                      <a:lnTo>
                        <a:pt x="485" y="78"/>
                      </a:lnTo>
                      <a:lnTo>
                        <a:pt x="486" y="78"/>
                      </a:lnTo>
                      <a:lnTo>
                        <a:pt x="486" y="79"/>
                      </a:lnTo>
                      <a:lnTo>
                        <a:pt x="487" y="81"/>
                      </a:lnTo>
                      <a:lnTo>
                        <a:pt x="487" y="82"/>
                      </a:lnTo>
                      <a:lnTo>
                        <a:pt x="489" y="82"/>
                      </a:lnTo>
                      <a:lnTo>
                        <a:pt x="489" y="83"/>
                      </a:lnTo>
                      <a:lnTo>
                        <a:pt x="489" y="84"/>
                      </a:lnTo>
                      <a:lnTo>
                        <a:pt x="490" y="84"/>
                      </a:lnTo>
                      <a:lnTo>
                        <a:pt x="490" y="85"/>
                      </a:lnTo>
                      <a:lnTo>
                        <a:pt x="491" y="86"/>
                      </a:lnTo>
                      <a:lnTo>
                        <a:pt x="491" y="88"/>
                      </a:lnTo>
                      <a:lnTo>
                        <a:pt x="492" y="88"/>
                      </a:lnTo>
                      <a:lnTo>
                        <a:pt x="491" y="89"/>
                      </a:lnTo>
                      <a:lnTo>
                        <a:pt x="490" y="90"/>
                      </a:lnTo>
                      <a:lnTo>
                        <a:pt x="490" y="91"/>
                      </a:lnTo>
                      <a:lnTo>
                        <a:pt x="490" y="93"/>
                      </a:lnTo>
                      <a:lnTo>
                        <a:pt x="490" y="95"/>
                      </a:lnTo>
                      <a:lnTo>
                        <a:pt x="491" y="95"/>
                      </a:lnTo>
                      <a:lnTo>
                        <a:pt x="491" y="96"/>
                      </a:lnTo>
                      <a:lnTo>
                        <a:pt x="493" y="97"/>
                      </a:lnTo>
                      <a:lnTo>
                        <a:pt x="494" y="98"/>
                      </a:lnTo>
                      <a:lnTo>
                        <a:pt x="497" y="100"/>
                      </a:lnTo>
                      <a:lnTo>
                        <a:pt x="498" y="103"/>
                      </a:lnTo>
                      <a:lnTo>
                        <a:pt x="500" y="105"/>
                      </a:lnTo>
                      <a:lnTo>
                        <a:pt x="503" y="106"/>
                      </a:lnTo>
                      <a:lnTo>
                        <a:pt x="503" y="107"/>
                      </a:lnTo>
                      <a:lnTo>
                        <a:pt x="504" y="109"/>
                      </a:lnTo>
                      <a:lnTo>
                        <a:pt x="504" y="110"/>
                      </a:lnTo>
                      <a:lnTo>
                        <a:pt x="503" y="111"/>
                      </a:lnTo>
                      <a:lnTo>
                        <a:pt x="501" y="113"/>
                      </a:lnTo>
                      <a:lnTo>
                        <a:pt x="500" y="116"/>
                      </a:lnTo>
                      <a:lnTo>
                        <a:pt x="499" y="118"/>
                      </a:lnTo>
                      <a:lnTo>
                        <a:pt x="498" y="120"/>
                      </a:lnTo>
                      <a:lnTo>
                        <a:pt x="497" y="121"/>
                      </a:lnTo>
                      <a:lnTo>
                        <a:pt x="496" y="124"/>
                      </a:lnTo>
                      <a:lnTo>
                        <a:pt x="496" y="125"/>
                      </a:lnTo>
                      <a:lnTo>
                        <a:pt x="496" y="126"/>
                      </a:lnTo>
                      <a:lnTo>
                        <a:pt x="496" y="128"/>
                      </a:lnTo>
                      <a:lnTo>
                        <a:pt x="496" y="130"/>
                      </a:lnTo>
                      <a:lnTo>
                        <a:pt x="496" y="131"/>
                      </a:lnTo>
                      <a:lnTo>
                        <a:pt x="496" y="133"/>
                      </a:lnTo>
                      <a:lnTo>
                        <a:pt x="496" y="134"/>
                      </a:lnTo>
                      <a:lnTo>
                        <a:pt x="496" y="135"/>
                      </a:lnTo>
                      <a:lnTo>
                        <a:pt x="494" y="138"/>
                      </a:lnTo>
                      <a:lnTo>
                        <a:pt x="494" y="139"/>
                      </a:lnTo>
                      <a:lnTo>
                        <a:pt x="494" y="140"/>
                      </a:lnTo>
                      <a:lnTo>
                        <a:pt x="494" y="142"/>
                      </a:lnTo>
                      <a:lnTo>
                        <a:pt x="494" y="144"/>
                      </a:lnTo>
                      <a:lnTo>
                        <a:pt x="494" y="145"/>
                      </a:lnTo>
                      <a:lnTo>
                        <a:pt x="494" y="147"/>
                      </a:lnTo>
                      <a:lnTo>
                        <a:pt x="494" y="148"/>
                      </a:lnTo>
                      <a:lnTo>
                        <a:pt x="494" y="149"/>
                      </a:lnTo>
                      <a:lnTo>
                        <a:pt x="493" y="152"/>
                      </a:lnTo>
                      <a:lnTo>
                        <a:pt x="493" y="153"/>
                      </a:lnTo>
                      <a:lnTo>
                        <a:pt x="493" y="154"/>
                      </a:lnTo>
                      <a:lnTo>
                        <a:pt x="493" y="155"/>
                      </a:lnTo>
                      <a:lnTo>
                        <a:pt x="493" y="158"/>
                      </a:lnTo>
                      <a:lnTo>
                        <a:pt x="493" y="159"/>
                      </a:lnTo>
                      <a:lnTo>
                        <a:pt x="493" y="160"/>
                      </a:lnTo>
                      <a:lnTo>
                        <a:pt x="493" y="162"/>
                      </a:lnTo>
                      <a:lnTo>
                        <a:pt x="493" y="163"/>
                      </a:lnTo>
                      <a:lnTo>
                        <a:pt x="493" y="165"/>
                      </a:lnTo>
                      <a:lnTo>
                        <a:pt x="492" y="167"/>
                      </a:lnTo>
                      <a:lnTo>
                        <a:pt x="492" y="168"/>
                      </a:lnTo>
                      <a:lnTo>
                        <a:pt x="492" y="169"/>
                      </a:lnTo>
                      <a:lnTo>
                        <a:pt x="492" y="172"/>
                      </a:lnTo>
                      <a:lnTo>
                        <a:pt x="492" y="173"/>
                      </a:lnTo>
                      <a:lnTo>
                        <a:pt x="492" y="174"/>
                      </a:lnTo>
                      <a:lnTo>
                        <a:pt x="492" y="176"/>
                      </a:lnTo>
                      <a:lnTo>
                        <a:pt x="492" y="177"/>
                      </a:lnTo>
                      <a:lnTo>
                        <a:pt x="492" y="179"/>
                      </a:lnTo>
                      <a:lnTo>
                        <a:pt x="492" y="180"/>
                      </a:lnTo>
                      <a:lnTo>
                        <a:pt x="491" y="182"/>
                      </a:lnTo>
                      <a:lnTo>
                        <a:pt x="491" y="183"/>
                      </a:lnTo>
                      <a:lnTo>
                        <a:pt x="491" y="184"/>
                      </a:lnTo>
                      <a:lnTo>
                        <a:pt x="491" y="187"/>
                      </a:lnTo>
                      <a:lnTo>
                        <a:pt x="491" y="188"/>
                      </a:lnTo>
                      <a:lnTo>
                        <a:pt x="491" y="189"/>
                      </a:lnTo>
                      <a:lnTo>
                        <a:pt x="491" y="191"/>
                      </a:lnTo>
                      <a:lnTo>
                        <a:pt x="491" y="193"/>
                      </a:lnTo>
                      <a:lnTo>
                        <a:pt x="491" y="194"/>
                      </a:lnTo>
                      <a:lnTo>
                        <a:pt x="490" y="196"/>
                      </a:lnTo>
                      <a:lnTo>
                        <a:pt x="490" y="197"/>
                      </a:lnTo>
                      <a:lnTo>
                        <a:pt x="490" y="198"/>
                      </a:lnTo>
                      <a:lnTo>
                        <a:pt x="490" y="200"/>
                      </a:lnTo>
                      <a:lnTo>
                        <a:pt x="490" y="202"/>
                      </a:lnTo>
                      <a:lnTo>
                        <a:pt x="490" y="203"/>
                      </a:lnTo>
                      <a:lnTo>
                        <a:pt x="490" y="204"/>
                      </a:lnTo>
                      <a:lnTo>
                        <a:pt x="490" y="207"/>
                      </a:lnTo>
                      <a:lnTo>
                        <a:pt x="490" y="208"/>
                      </a:lnTo>
                      <a:lnTo>
                        <a:pt x="490" y="209"/>
                      </a:lnTo>
                      <a:lnTo>
                        <a:pt x="489" y="211"/>
                      </a:lnTo>
                      <a:lnTo>
                        <a:pt x="489" y="212"/>
                      </a:lnTo>
                      <a:lnTo>
                        <a:pt x="489" y="213"/>
                      </a:lnTo>
                      <a:lnTo>
                        <a:pt x="489" y="216"/>
                      </a:lnTo>
                      <a:lnTo>
                        <a:pt x="489" y="217"/>
                      </a:lnTo>
                      <a:lnTo>
                        <a:pt x="489" y="218"/>
                      </a:lnTo>
                      <a:lnTo>
                        <a:pt x="489" y="219"/>
                      </a:lnTo>
                      <a:lnTo>
                        <a:pt x="489" y="222"/>
                      </a:lnTo>
                      <a:lnTo>
                        <a:pt x="489" y="223"/>
                      </a:lnTo>
                      <a:lnTo>
                        <a:pt x="489" y="224"/>
                      </a:lnTo>
                      <a:lnTo>
                        <a:pt x="487" y="224"/>
                      </a:lnTo>
                      <a:lnTo>
                        <a:pt x="487" y="225"/>
                      </a:lnTo>
                      <a:lnTo>
                        <a:pt x="486" y="226"/>
                      </a:lnTo>
                      <a:lnTo>
                        <a:pt x="485" y="229"/>
                      </a:lnTo>
                      <a:lnTo>
                        <a:pt x="483" y="230"/>
                      </a:lnTo>
                      <a:lnTo>
                        <a:pt x="480" y="232"/>
                      </a:lnTo>
                      <a:lnTo>
                        <a:pt x="479" y="234"/>
                      </a:lnTo>
                      <a:lnTo>
                        <a:pt x="477" y="236"/>
                      </a:lnTo>
                      <a:lnTo>
                        <a:pt x="476" y="238"/>
                      </a:lnTo>
                      <a:lnTo>
                        <a:pt x="473" y="240"/>
                      </a:lnTo>
                      <a:lnTo>
                        <a:pt x="472" y="241"/>
                      </a:lnTo>
                      <a:lnTo>
                        <a:pt x="470" y="244"/>
                      </a:lnTo>
                      <a:lnTo>
                        <a:pt x="469" y="246"/>
                      </a:lnTo>
                      <a:lnTo>
                        <a:pt x="466" y="247"/>
                      </a:lnTo>
                      <a:lnTo>
                        <a:pt x="465" y="250"/>
                      </a:lnTo>
                      <a:lnTo>
                        <a:pt x="463" y="252"/>
                      </a:lnTo>
                      <a:lnTo>
                        <a:pt x="462" y="253"/>
                      </a:lnTo>
                      <a:lnTo>
                        <a:pt x="459" y="255"/>
                      </a:lnTo>
                      <a:lnTo>
                        <a:pt x="458" y="258"/>
                      </a:lnTo>
                      <a:lnTo>
                        <a:pt x="457" y="259"/>
                      </a:lnTo>
                      <a:lnTo>
                        <a:pt x="455" y="260"/>
                      </a:lnTo>
                      <a:lnTo>
                        <a:pt x="453" y="262"/>
                      </a:lnTo>
                      <a:lnTo>
                        <a:pt x="453" y="264"/>
                      </a:lnTo>
                      <a:lnTo>
                        <a:pt x="451" y="265"/>
                      </a:lnTo>
                      <a:lnTo>
                        <a:pt x="450" y="266"/>
                      </a:lnTo>
                      <a:lnTo>
                        <a:pt x="449" y="268"/>
                      </a:lnTo>
                      <a:lnTo>
                        <a:pt x="448" y="269"/>
                      </a:lnTo>
                      <a:lnTo>
                        <a:pt x="448" y="271"/>
                      </a:lnTo>
                      <a:lnTo>
                        <a:pt x="447" y="272"/>
                      </a:lnTo>
                      <a:lnTo>
                        <a:pt x="446" y="273"/>
                      </a:lnTo>
                      <a:lnTo>
                        <a:pt x="444" y="274"/>
                      </a:lnTo>
                      <a:lnTo>
                        <a:pt x="443" y="276"/>
                      </a:lnTo>
                      <a:lnTo>
                        <a:pt x="443" y="278"/>
                      </a:lnTo>
                      <a:lnTo>
                        <a:pt x="442" y="279"/>
                      </a:lnTo>
                      <a:lnTo>
                        <a:pt x="441" y="280"/>
                      </a:lnTo>
                      <a:lnTo>
                        <a:pt x="440" y="281"/>
                      </a:lnTo>
                      <a:lnTo>
                        <a:pt x="439" y="282"/>
                      </a:lnTo>
                      <a:lnTo>
                        <a:pt x="437" y="283"/>
                      </a:lnTo>
                      <a:lnTo>
                        <a:pt x="437" y="286"/>
                      </a:lnTo>
                      <a:lnTo>
                        <a:pt x="436" y="287"/>
                      </a:lnTo>
                      <a:lnTo>
                        <a:pt x="435" y="288"/>
                      </a:lnTo>
                      <a:lnTo>
                        <a:pt x="434" y="290"/>
                      </a:lnTo>
                      <a:lnTo>
                        <a:pt x="434" y="292"/>
                      </a:lnTo>
                      <a:lnTo>
                        <a:pt x="434" y="293"/>
                      </a:lnTo>
                      <a:lnTo>
                        <a:pt x="434" y="294"/>
                      </a:lnTo>
                      <a:lnTo>
                        <a:pt x="434" y="295"/>
                      </a:lnTo>
                      <a:lnTo>
                        <a:pt x="434" y="296"/>
                      </a:lnTo>
                      <a:lnTo>
                        <a:pt x="433" y="296"/>
                      </a:lnTo>
                      <a:lnTo>
                        <a:pt x="433" y="297"/>
                      </a:lnTo>
                      <a:lnTo>
                        <a:pt x="432" y="297"/>
                      </a:lnTo>
                      <a:lnTo>
                        <a:pt x="430" y="299"/>
                      </a:lnTo>
                      <a:lnTo>
                        <a:pt x="430" y="300"/>
                      </a:lnTo>
                      <a:lnTo>
                        <a:pt x="430" y="301"/>
                      </a:lnTo>
                      <a:lnTo>
                        <a:pt x="430" y="302"/>
                      </a:lnTo>
                      <a:lnTo>
                        <a:pt x="429" y="303"/>
                      </a:lnTo>
                      <a:lnTo>
                        <a:pt x="428" y="303"/>
                      </a:lnTo>
                      <a:lnTo>
                        <a:pt x="427" y="303"/>
                      </a:lnTo>
                      <a:lnTo>
                        <a:pt x="426" y="304"/>
                      </a:lnTo>
                      <a:lnTo>
                        <a:pt x="425" y="304"/>
                      </a:lnTo>
                      <a:lnTo>
                        <a:pt x="423" y="306"/>
                      </a:lnTo>
                      <a:lnTo>
                        <a:pt x="423" y="308"/>
                      </a:lnTo>
                      <a:lnTo>
                        <a:pt x="425" y="310"/>
                      </a:lnTo>
                      <a:lnTo>
                        <a:pt x="425" y="311"/>
                      </a:lnTo>
                      <a:lnTo>
                        <a:pt x="426" y="313"/>
                      </a:lnTo>
                      <a:lnTo>
                        <a:pt x="426" y="314"/>
                      </a:lnTo>
                      <a:lnTo>
                        <a:pt x="426" y="315"/>
                      </a:lnTo>
                      <a:lnTo>
                        <a:pt x="426" y="316"/>
                      </a:lnTo>
                      <a:lnTo>
                        <a:pt x="426" y="317"/>
                      </a:lnTo>
                      <a:lnTo>
                        <a:pt x="427" y="318"/>
                      </a:lnTo>
                      <a:lnTo>
                        <a:pt x="427" y="320"/>
                      </a:lnTo>
                      <a:lnTo>
                        <a:pt x="427" y="321"/>
                      </a:lnTo>
                      <a:lnTo>
                        <a:pt x="427" y="322"/>
                      </a:lnTo>
                      <a:lnTo>
                        <a:pt x="428" y="323"/>
                      </a:lnTo>
                      <a:lnTo>
                        <a:pt x="428" y="324"/>
                      </a:lnTo>
                      <a:lnTo>
                        <a:pt x="428" y="325"/>
                      </a:lnTo>
                      <a:lnTo>
                        <a:pt x="428" y="327"/>
                      </a:lnTo>
                      <a:lnTo>
                        <a:pt x="428" y="328"/>
                      </a:lnTo>
                      <a:lnTo>
                        <a:pt x="429" y="329"/>
                      </a:lnTo>
                      <a:lnTo>
                        <a:pt x="429" y="330"/>
                      </a:lnTo>
                      <a:lnTo>
                        <a:pt x="421" y="329"/>
                      </a:lnTo>
                      <a:lnTo>
                        <a:pt x="420" y="330"/>
                      </a:lnTo>
                      <a:lnTo>
                        <a:pt x="420" y="331"/>
                      </a:lnTo>
                      <a:lnTo>
                        <a:pt x="419" y="332"/>
                      </a:lnTo>
                      <a:lnTo>
                        <a:pt x="418" y="332"/>
                      </a:lnTo>
                      <a:lnTo>
                        <a:pt x="418" y="334"/>
                      </a:lnTo>
                      <a:lnTo>
                        <a:pt x="416" y="335"/>
                      </a:lnTo>
                      <a:lnTo>
                        <a:pt x="415" y="336"/>
                      </a:lnTo>
                      <a:lnTo>
                        <a:pt x="414" y="336"/>
                      </a:lnTo>
                      <a:lnTo>
                        <a:pt x="415" y="335"/>
                      </a:lnTo>
                      <a:lnTo>
                        <a:pt x="414" y="335"/>
                      </a:lnTo>
                      <a:lnTo>
                        <a:pt x="414" y="336"/>
                      </a:lnTo>
                      <a:lnTo>
                        <a:pt x="414" y="335"/>
                      </a:lnTo>
                      <a:lnTo>
                        <a:pt x="413" y="336"/>
                      </a:lnTo>
                      <a:lnTo>
                        <a:pt x="412" y="336"/>
                      </a:lnTo>
                      <a:lnTo>
                        <a:pt x="413" y="335"/>
                      </a:lnTo>
                      <a:lnTo>
                        <a:pt x="412" y="335"/>
                      </a:lnTo>
                      <a:lnTo>
                        <a:pt x="411" y="335"/>
                      </a:lnTo>
                      <a:lnTo>
                        <a:pt x="408" y="337"/>
                      </a:lnTo>
                      <a:lnTo>
                        <a:pt x="407" y="337"/>
                      </a:lnTo>
                      <a:lnTo>
                        <a:pt x="406" y="337"/>
                      </a:lnTo>
                      <a:lnTo>
                        <a:pt x="405" y="337"/>
                      </a:lnTo>
                      <a:lnTo>
                        <a:pt x="406" y="337"/>
                      </a:lnTo>
                      <a:lnTo>
                        <a:pt x="406" y="338"/>
                      </a:lnTo>
                      <a:lnTo>
                        <a:pt x="405" y="338"/>
                      </a:lnTo>
                      <a:lnTo>
                        <a:pt x="405" y="339"/>
                      </a:lnTo>
                      <a:lnTo>
                        <a:pt x="404" y="339"/>
                      </a:lnTo>
                      <a:lnTo>
                        <a:pt x="404" y="341"/>
                      </a:lnTo>
                      <a:lnTo>
                        <a:pt x="402" y="341"/>
                      </a:lnTo>
                      <a:lnTo>
                        <a:pt x="401" y="342"/>
                      </a:lnTo>
                      <a:lnTo>
                        <a:pt x="401" y="343"/>
                      </a:lnTo>
                      <a:lnTo>
                        <a:pt x="400" y="343"/>
                      </a:lnTo>
                      <a:lnTo>
                        <a:pt x="399" y="344"/>
                      </a:lnTo>
                      <a:lnTo>
                        <a:pt x="399" y="343"/>
                      </a:lnTo>
                      <a:lnTo>
                        <a:pt x="398" y="343"/>
                      </a:lnTo>
                      <a:lnTo>
                        <a:pt x="398" y="344"/>
                      </a:lnTo>
                      <a:lnTo>
                        <a:pt x="397" y="344"/>
                      </a:lnTo>
                      <a:lnTo>
                        <a:pt x="395" y="345"/>
                      </a:lnTo>
                      <a:lnTo>
                        <a:pt x="395" y="346"/>
                      </a:lnTo>
                      <a:lnTo>
                        <a:pt x="395" y="348"/>
                      </a:lnTo>
                      <a:lnTo>
                        <a:pt x="394" y="349"/>
                      </a:lnTo>
                      <a:lnTo>
                        <a:pt x="393" y="350"/>
                      </a:lnTo>
                      <a:lnTo>
                        <a:pt x="393" y="351"/>
                      </a:lnTo>
                      <a:lnTo>
                        <a:pt x="392" y="351"/>
                      </a:lnTo>
                      <a:lnTo>
                        <a:pt x="391" y="350"/>
                      </a:lnTo>
                      <a:lnTo>
                        <a:pt x="390" y="350"/>
                      </a:lnTo>
                      <a:lnTo>
                        <a:pt x="389" y="350"/>
                      </a:lnTo>
                      <a:lnTo>
                        <a:pt x="387" y="350"/>
                      </a:lnTo>
                      <a:lnTo>
                        <a:pt x="386" y="350"/>
                      </a:lnTo>
                      <a:lnTo>
                        <a:pt x="384" y="349"/>
                      </a:lnTo>
                      <a:lnTo>
                        <a:pt x="383" y="350"/>
                      </a:lnTo>
                      <a:lnTo>
                        <a:pt x="382" y="350"/>
                      </a:lnTo>
                      <a:lnTo>
                        <a:pt x="380" y="349"/>
                      </a:lnTo>
                      <a:lnTo>
                        <a:pt x="379" y="349"/>
                      </a:lnTo>
                      <a:lnTo>
                        <a:pt x="378" y="348"/>
                      </a:lnTo>
                      <a:lnTo>
                        <a:pt x="373" y="345"/>
                      </a:lnTo>
                      <a:lnTo>
                        <a:pt x="370" y="344"/>
                      </a:lnTo>
                      <a:lnTo>
                        <a:pt x="361" y="342"/>
                      </a:lnTo>
                      <a:lnTo>
                        <a:pt x="344" y="342"/>
                      </a:lnTo>
                      <a:lnTo>
                        <a:pt x="338" y="341"/>
                      </a:lnTo>
                      <a:lnTo>
                        <a:pt x="336" y="341"/>
                      </a:lnTo>
                      <a:lnTo>
                        <a:pt x="335" y="342"/>
                      </a:lnTo>
                      <a:lnTo>
                        <a:pt x="320" y="345"/>
                      </a:lnTo>
                      <a:lnTo>
                        <a:pt x="318" y="345"/>
                      </a:lnTo>
                      <a:lnTo>
                        <a:pt x="312" y="349"/>
                      </a:lnTo>
                      <a:lnTo>
                        <a:pt x="312" y="350"/>
                      </a:lnTo>
                      <a:lnTo>
                        <a:pt x="311" y="351"/>
                      </a:lnTo>
                      <a:lnTo>
                        <a:pt x="309" y="351"/>
                      </a:lnTo>
                      <a:lnTo>
                        <a:pt x="308" y="352"/>
                      </a:lnTo>
                      <a:lnTo>
                        <a:pt x="304" y="359"/>
                      </a:lnTo>
                      <a:lnTo>
                        <a:pt x="302" y="359"/>
                      </a:lnTo>
                      <a:lnTo>
                        <a:pt x="302" y="360"/>
                      </a:lnTo>
                      <a:lnTo>
                        <a:pt x="301" y="360"/>
                      </a:lnTo>
                      <a:lnTo>
                        <a:pt x="294" y="359"/>
                      </a:lnTo>
                      <a:lnTo>
                        <a:pt x="292" y="359"/>
                      </a:lnTo>
                      <a:lnTo>
                        <a:pt x="291" y="359"/>
                      </a:lnTo>
                      <a:lnTo>
                        <a:pt x="281" y="359"/>
                      </a:lnTo>
                      <a:lnTo>
                        <a:pt x="280" y="358"/>
                      </a:lnTo>
                      <a:lnTo>
                        <a:pt x="272" y="356"/>
                      </a:lnTo>
                      <a:lnTo>
                        <a:pt x="271" y="356"/>
                      </a:lnTo>
                      <a:lnTo>
                        <a:pt x="271" y="355"/>
                      </a:lnTo>
                      <a:lnTo>
                        <a:pt x="270" y="353"/>
                      </a:lnTo>
                      <a:lnTo>
                        <a:pt x="269" y="352"/>
                      </a:lnTo>
                      <a:lnTo>
                        <a:pt x="267" y="352"/>
                      </a:lnTo>
                      <a:lnTo>
                        <a:pt x="266" y="351"/>
                      </a:lnTo>
                      <a:lnTo>
                        <a:pt x="265" y="351"/>
                      </a:lnTo>
                      <a:lnTo>
                        <a:pt x="264" y="351"/>
                      </a:lnTo>
                      <a:lnTo>
                        <a:pt x="263" y="351"/>
                      </a:lnTo>
                      <a:lnTo>
                        <a:pt x="260" y="349"/>
                      </a:lnTo>
                      <a:lnTo>
                        <a:pt x="259" y="348"/>
                      </a:lnTo>
                      <a:lnTo>
                        <a:pt x="258" y="346"/>
                      </a:lnTo>
                      <a:lnTo>
                        <a:pt x="257" y="346"/>
                      </a:lnTo>
                      <a:lnTo>
                        <a:pt x="256" y="345"/>
                      </a:lnTo>
                      <a:lnTo>
                        <a:pt x="255" y="345"/>
                      </a:lnTo>
                      <a:lnTo>
                        <a:pt x="255" y="344"/>
                      </a:lnTo>
                      <a:lnTo>
                        <a:pt x="254" y="344"/>
                      </a:lnTo>
                      <a:lnTo>
                        <a:pt x="245" y="343"/>
                      </a:lnTo>
                      <a:lnTo>
                        <a:pt x="244" y="343"/>
                      </a:lnTo>
                      <a:lnTo>
                        <a:pt x="243" y="343"/>
                      </a:lnTo>
                      <a:lnTo>
                        <a:pt x="231" y="350"/>
                      </a:lnTo>
                      <a:lnTo>
                        <a:pt x="230" y="351"/>
                      </a:lnTo>
                      <a:lnTo>
                        <a:pt x="229" y="351"/>
                      </a:lnTo>
                      <a:lnTo>
                        <a:pt x="226" y="350"/>
                      </a:lnTo>
                      <a:lnTo>
                        <a:pt x="223" y="352"/>
                      </a:lnTo>
                      <a:lnTo>
                        <a:pt x="222" y="353"/>
                      </a:lnTo>
                      <a:lnTo>
                        <a:pt x="221" y="355"/>
                      </a:lnTo>
                      <a:lnTo>
                        <a:pt x="220" y="355"/>
                      </a:lnTo>
                      <a:lnTo>
                        <a:pt x="217" y="355"/>
                      </a:lnTo>
                      <a:lnTo>
                        <a:pt x="216" y="355"/>
                      </a:lnTo>
                      <a:lnTo>
                        <a:pt x="216" y="353"/>
                      </a:lnTo>
                      <a:lnTo>
                        <a:pt x="215" y="353"/>
                      </a:lnTo>
                      <a:lnTo>
                        <a:pt x="214" y="352"/>
                      </a:lnTo>
                      <a:lnTo>
                        <a:pt x="212" y="350"/>
                      </a:lnTo>
                      <a:lnTo>
                        <a:pt x="210" y="349"/>
                      </a:lnTo>
                      <a:lnTo>
                        <a:pt x="208" y="344"/>
                      </a:lnTo>
                      <a:lnTo>
                        <a:pt x="203" y="338"/>
                      </a:lnTo>
                      <a:lnTo>
                        <a:pt x="199" y="334"/>
                      </a:lnTo>
                      <a:lnTo>
                        <a:pt x="196" y="332"/>
                      </a:lnTo>
                      <a:lnTo>
                        <a:pt x="195" y="332"/>
                      </a:lnTo>
                      <a:lnTo>
                        <a:pt x="194" y="332"/>
                      </a:lnTo>
                      <a:lnTo>
                        <a:pt x="193" y="332"/>
                      </a:lnTo>
                      <a:lnTo>
                        <a:pt x="192" y="334"/>
                      </a:lnTo>
                      <a:lnTo>
                        <a:pt x="191" y="334"/>
                      </a:lnTo>
                      <a:lnTo>
                        <a:pt x="181" y="330"/>
                      </a:lnTo>
                      <a:lnTo>
                        <a:pt x="172" y="327"/>
                      </a:lnTo>
                      <a:lnTo>
                        <a:pt x="171" y="325"/>
                      </a:lnTo>
                      <a:lnTo>
                        <a:pt x="166" y="327"/>
                      </a:lnTo>
                      <a:lnTo>
                        <a:pt x="166" y="328"/>
                      </a:lnTo>
                      <a:lnTo>
                        <a:pt x="165" y="328"/>
                      </a:lnTo>
                      <a:lnTo>
                        <a:pt x="165" y="329"/>
                      </a:lnTo>
                      <a:lnTo>
                        <a:pt x="164" y="329"/>
                      </a:lnTo>
                      <a:lnTo>
                        <a:pt x="164" y="330"/>
                      </a:lnTo>
                      <a:lnTo>
                        <a:pt x="163" y="330"/>
                      </a:lnTo>
                      <a:lnTo>
                        <a:pt x="162" y="330"/>
                      </a:lnTo>
                      <a:lnTo>
                        <a:pt x="157" y="330"/>
                      </a:lnTo>
                      <a:lnTo>
                        <a:pt x="155" y="331"/>
                      </a:lnTo>
                      <a:lnTo>
                        <a:pt x="152" y="331"/>
                      </a:lnTo>
                      <a:lnTo>
                        <a:pt x="151" y="330"/>
                      </a:lnTo>
                      <a:lnTo>
                        <a:pt x="150" y="330"/>
                      </a:lnTo>
                      <a:lnTo>
                        <a:pt x="149" y="330"/>
                      </a:lnTo>
                      <a:lnTo>
                        <a:pt x="143" y="331"/>
                      </a:lnTo>
                      <a:lnTo>
                        <a:pt x="139" y="332"/>
                      </a:lnTo>
                      <a:lnTo>
                        <a:pt x="137" y="332"/>
                      </a:lnTo>
                      <a:lnTo>
                        <a:pt x="136" y="334"/>
                      </a:lnTo>
                      <a:lnTo>
                        <a:pt x="131" y="339"/>
                      </a:lnTo>
                      <a:lnTo>
                        <a:pt x="130" y="339"/>
                      </a:lnTo>
                      <a:lnTo>
                        <a:pt x="129" y="339"/>
                      </a:lnTo>
                      <a:lnTo>
                        <a:pt x="127" y="339"/>
                      </a:lnTo>
                      <a:lnTo>
                        <a:pt x="127" y="348"/>
                      </a:lnTo>
                      <a:lnTo>
                        <a:pt x="126" y="355"/>
                      </a:lnTo>
                      <a:lnTo>
                        <a:pt x="121" y="363"/>
                      </a:lnTo>
                      <a:lnTo>
                        <a:pt x="119" y="365"/>
                      </a:lnTo>
                      <a:lnTo>
                        <a:pt x="112" y="371"/>
                      </a:lnTo>
                      <a:lnTo>
                        <a:pt x="113" y="379"/>
                      </a:lnTo>
                      <a:lnTo>
                        <a:pt x="112" y="384"/>
                      </a:lnTo>
                      <a:lnTo>
                        <a:pt x="112" y="385"/>
                      </a:lnTo>
                      <a:lnTo>
                        <a:pt x="113" y="387"/>
                      </a:lnTo>
                      <a:lnTo>
                        <a:pt x="113" y="388"/>
                      </a:lnTo>
                      <a:lnTo>
                        <a:pt x="112" y="390"/>
                      </a:lnTo>
                      <a:lnTo>
                        <a:pt x="112" y="391"/>
                      </a:lnTo>
                      <a:lnTo>
                        <a:pt x="110" y="391"/>
                      </a:lnTo>
                      <a:lnTo>
                        <a:pt x="112" y="393"/>
                      </a:lnTo>
                      <a:lnTo>
                        <a:pt x="113" y="394"/>
                      </a:lnTo>
                      <a:lnTo>
                        <a:pt x="113" y="395"/>
                      </a:lnTo>
                      <a:lnTo>
                        <a:pt x="113" y="397"/>
                      </a:lnTo>
                      <a:lnTo>
                        <a:pt x="110" y="398"/>
                      </a:lnTo>
                      <a:lnTo>
                        <a:pt x="110" y="397"/>
                      </a:lnTo>
                      <a:lnTo>
                        <a:pt x="109" y="397"/>
                      </a:lnTo>
                      <a:lnTo>
                        <a:pt x="109" y="395"/>
                      </a:lnTo>
                      <a:lnTo>
                        <a:pt x="109" y="394"/>
                      </a:lnTo>
                      <a:lnTo>
                        <a:pt x="108" y="393"/>
                      </a:lnTo>
                      <a:lnTo>
                        <a:pt x="107" y="393"/>
                      </a:lnTo>
                      <a:lnTo>
                        <a:pt x="106" y="392"/>
                      </a:lnTo>
                      <a:lnTo>
                        <a:pt x="105" y="392"/>
                      </a:lnTo>
                      <a:lnTo>
                        <a:pt x="103" y="391"/>
                      </a:lnTo>
                      <a:lnTo>
                        <a:pt x="103" y="392"/>
                      </a:lnTo>
                      <a:lnTo>
                        <a:pt x="102" y="392"/>
                      </a:lnTo>
                      <a:lnTo>
                        <a:pt x="102" y="391"/>
                      </a:lnTo>
                      <a:lnTo>
                        <a:pt x="101" y="391"/>
                      </a:lnTo>
                      <a:lnTo>
                        <a:pt x="100" y="390"/>
                      </a:lnTo>
                      <a:lnTo>
                        <a:pt x="100" y="388"/>
                      </a:lnTo>
                      <a:lnTo>
                        <a:pt x="100" y="387"/>
                      </a:lnTo>
                      <a:lnTo>
                        <a:pt x="99" y="387"/>
                      </a:lnTo>
                      <a:lnTo>
                        <a:pt x="99" y="386"/>
                      </a:lnTo>
                      <a:lnTo>
                        <a:pt x="94" y="381"/>
                      </a:lnTo>
                      <a:lnTo>
                        <a:pt x="92" y="380"/>
                      </a:lnTo>
                      <a:lnTo>
                        <a:pt x="92" y="379"/>
                      </a:lnTo>
                      <a:lnTo>
                        <a:pt x="91" y="379"/>
                      </a:lnTo>
                      <a:lnTo>
                        <a:pt x="89" y="378"/>
                      </a:lnTo>
                      <a:lnTo>
                        <a:pt x="89" y="377"/>
                      </a:lnTo>
                      <a:lnTo>
                        <a:pt x="88" y="377"/>
                      </a:lnTo>
                      <a:lnTo>
                        <a:pt x="87" y="374"/>
                      </a:lnTo>
                      <a:lnTo>
                        <a:pt x="86" y="376"/>
                      </a:lnTo>
                      <a:lnTo>
                        <a:pt x="85" y="376"/>
                      </a:lnTo>
                      <a:lnTo>
                        <a:pt x="84" y="376"/>
                      </a:lnTo>
                      <a:lnTo>
                        <a:pt x="84" y="377"/>
                      </a:lnTo>
                      <a:lnTo>
                        <a:pt x="82" y="377"/>
                      </a:lnTo>
                      <a:lnTo>
                        <a:pt x="81" y="377"/>
                      </a:lnTo>
                      <a:lnTo>
                        <a:pt x="81" y="378"/>
                      </a:lnTo>
                      <a:lnTo>
                        <a:pt x="81" y="379"/>
                      </a:lnTo>
                      <a:lnTo>
                        <a:pt x="80" y="378"/>
                      </a:lnTo>
                      <a:lnTo>
                        <a:pt x="79" y="378"/>
                      </a:lnTo>
                      <a:lnTo>
                        <a:pt x="79" y="379"/>
                      </a:lnTo>
                      <a:lnTo>
                        <a:pt x="79" y="378"/>
                      </a:lnTo>
                      <a:lnTo>
                        <a:pt x="78" y="378"/>
                      </a:lnTo>
                      <a:lnTo>
                        <a:pt x="78" y="379"/>
                      </a:lnTo>
                      <a:lnTo>
                        <a:pt x="77" y="379"/>
                      </a:lnTo>
                      <a:lnTo>
                        <a:pt x="75" y="379"/>
                      </a:lnTo>
                      <a:lnTo>
                        <a:pt x="75" y="380"/>
                      </a:lnTo>
                      <a:lnTo>
                        <a:pt x="74" y="379"/>
                      </a:lnTo>
                      <a:lnTo>
                        <a:pt x="74" y="380"/>
                      </a:lnTo>
                      <a:lnTo>
                        <a:pt x="73" y="380"/>
                      </a:lnTo>
                      <a:lnTo>
                        <a:pt x="72" y="380"/>
                      </a:lnTo>
                      <a:lnTo>
                        <a:pt x="71" y="381"/>
                      </a:lnTo>
                      <a:lnTo>
                        <a:pt x="72" y="384"/>
                      </a:lnTo>
                      <a:lnTo>
                        <a:pt x="73" y="386"/>
                      </a:lnTo>
                      <a:lnTo>
                        <a:pt x="73" y="387"/>
                      </a:lnTo>
                      <a:lnTo>
                        <a:pt x="74" y="387"/>
                      </a:lnTo>
                      <a:lnTo>
                        <a:pt x="74" y="388"/>
                      </a:lnTo>
                      <a:lnTo>
                        <a:pt x="73" y="388"/>
                      </a:lnTo>
                      <a:lnTo>
                        <a:pt x="73" y="390"/>
                      </a:lnTo>
                      <a:lnTo>
                        <a:pt x="72" y="390"/>
                      </a:lnTo>
                      <a:lnTo>
                        <a:pt x="72" y="391"/>
                      </a:lnTo>
                      <a:lnTo>
                        <a:pt x="72" y="392"/>
                      </a:lnTo>
                      <a:lnTo>
                        <a:pt x="71" y="390"/>
                      </a:lnTo>
                      <a:lnTo>
                        <a:pt x="68" y="386"/>
                      </a:lnTo>
                      <a:lnTo>
                        <a:pt x="66" y="384"/>
                      </a:lnTo>
                      <a:lnTo>
                        <a:pt x="64" y="380"/>
                      </a:lnTo>
                      <a:lnTo>
                        <a:pt x="62" y="378"/>
                      </a:lnTo>
                      <a:lnTo>
                        <a:pt x="62" y="377"/>
                      </a:lnTo>
                      <a:lnTo>
                        <a:pt x="62" y="376"/>
                      </a:lnTo>
                      <a:lnTo>
                        <a:pt x="64" y="376"/>
                      </a:lnTo>
                      <a:lnTo>
                        <a:pt x="64" y="374"/>
                      </a:lnTo>
                      <a:lnTo>
                        <a:pt x="65" y="374"/>
                      </a:lnTo>
                      <a:lnTo>
                        <a:pt x="65" y="376"/>
                      </a:lnTo>
                      <a:lnTo>
                        <a:pt x="67" y="374"/>
                      </a:lnTo>
                      <a:lnTo>
                        <a:pt x="67" y="373"/>
                      </a:lnTo>
                      <a:lnTo>
                        <a:pt x="67" y="372"/>
                      </a:lnTo>
                      <a:lnTo>
                        <a:pt x="66" y="372"/>
                      </a:lnTo>
                      <a:lnTo>
                        <a:pt x="66" y="371"/>
                      </a:lnTo>
                      <a:lnTo>
                        <a:pt x="66" y="370"/>
                      </a:lnTo>
                      <a:lnTo>
                        <a:pt x="66" y="369"/>
                      </a:lnTo>
                      <a:lnTo>
                        <a:pt x="65" y="367"/>
                      </a:lnTo>
                      <a:lnTo>
                        <a:pt x="64" y="367"/>
                      </a:lnTo>
                      <a:lnTo>
                        <a:pt x="64" y="366"/>
                      </a:lnTo>
                      <a:lnTo>
                        <a:pt x="63" y="365"/>
                      </a:lnTo>
                      <a:lnTo>
                        <a:pt x="62" y="365"/>
                      </a:lnTo>
                      <a:lnTo>
                        <a:pt x="59" y="365"/>
                      </a:lnTo>
                      <a:lnTo>
                        <a:pt x="58" y="365"/>
                      </a:lnTo>
                      <a:lnTo>
                        <a:pt x="58" y="366"/>
                      </a:lnTo>
                      <a:lnTo>
                        <a:pt x="57" y="365"/>
                      </a:lnTo>
                      <a:lnTo>
                        <a:pt x="57" y="366"/>
                      </a:lnTo>
                      <a:lnTo>
                        <a:pt x="56" y="367"/>
                      </a:lnTo>
                      <a:lnTo>
                        <a:pt x="56" y="369"/>
                      </a:lnTo>
                      <a:lnTo>
                        <a:pt x="55" y="369"/>
                      </a:lnTo>
                      <a:lnTo>
                        <a:pt x="50" y="369"/>
                      </a:lnTo>
                      <a:lnTo>
                        <a:pt x="46" y="369"/>
                      </a:lnTo>
                      <a:lnTo>
                        <a:pt x="45" y="367"/>
                      </a:lnTo>
                      <a:lnTo>
                        <a:pt x="43" y="365"/>
                      </a:lnTo>
                      <a:lnTo>
                        <a:pt x="41" y="364"/>
                      </a:lnTo>
                      <a:lnTo>
                        <a:pt x="38" y="362"/>
                      </a:lnTo>
                      <a:lnTo>
                        <a:pt x="37" y="362"/>
                      </a:lnTo>
                      <a:lnTo>
                        <a:pt x="35" y="359"/>
                      </a:lnTo>
                      <a:lnTo>
                        <a:pt x="34" y="358"/>
                      </a:lnTo>
                      <a:lnTo>
                        <a:pt x="31" y="356"/>
                      </a:lnTo>
                      <a:lnTo>
                        <a:pt x="30" y="356"/>
                      </a:lnTo>
                      <a:lnTo>
                        <a:pt x="28" y="356"/>
                      </a:lnTo>
                      <a:lnTo>
                        <a:pt x="27" y="355"/>
                      </a:lnTo>
                      <a:lnTo>
                        <a:pt x="27" y="353"/>
                      </a:lnTo>
                      <a:lnTo>
                        <a:pt x="27" y="351"/>
                      </a:lnTo>
                      <a:lnTo>
                        <a:pt x="27" y="348"/>
                      </a:lnTo>
                      <a:lnTo>
                        <a:pt x="27" y="345"/>
                      </a:lnTo>
                      <a:lnTo>
                        <a:pt x="27" y="344"/>
                      </a:lnTo>
                      <a:lnTo>
                        <a:pt x="28" y="344"/>
                      </a:lnTo>
                      <a:lnTo>
                        <a:pt x="30" y="345"/>
                      </a:lnTo>
                      <a:lnTo>
                        <a:pt x="32" y="345"/>
                      </a:lnTo>
                      <a:lnTo>
                        <a:pt x="32" y="346"/>
                      </a:lnTo>
                      <a:lnTo>
                        <a:pt x="32" y="345"/>
                      </a:lnTo>
                      <a:lnTo>
                        <a:pt x="34" y="345"/>
                      </a:lnTo>
                      <a:lnTo>
                        <a:pt x="34" y="344"/>
                      </a:lnTo>
                      <a:lnTo>
                        <a:pt x="35" y="345"/>
                      </a:lnTo>
                      <a:lnTo>
                        <a:pt x="36" y="345"/>
                      </a:lnTo>
                      <a:lnTo>
                        <a:pt x="36" y="344"/>
                      </a:lnTo>
                      <a:lnTo>
                        <a:pt x="35" y="344"/>
                      </a:lnTo>
                      <a:lnTo>
                        <a:pt x="34" y="343"/>
                      </a:lnTo>
                      <a:lnTo>
                        <a:pt x="32" y="343"/>
                      </a:lnTo>
                      <a:lnTo>
                        <a:pt x="29" y="342"/>
                      </a:lnTo>
                      <a:lnTo>
                        <a:pt x="28" y="341"/>
                      </a:lnTo>
                      <a:lnTo>
                        <a:pt x="28" y="339"/>
                      </a:lnTo>
                      <a:lnTo>
                        <a:pt x="27" y="338"/>
                      </a:lnTo>
                      <a:lnTo>
                        <a:pt x="25" y="337"/>
                      </a:lnTo>
                      <a:lnTo>
                        <a:pt x="24" y="336"/>
                      </a:lnTo>
                      <a:lnTo>
                        <a:pt x="23" y="336"/>
                      </a:lnTo>
                      <a:lnTo>
                        <a:pt x="22" y="336"/>
                      </a:lnTo>
                      <a:lnTo>
                        <a:pt x="21" y="336"/>
                      </a:lnTo>
                      <a:lnTo>
                        <a:pt x="20" y="335"/>
                      </a:lnTo>
                      <a:lnTo>
                        <a:pt x="20" y="334"/>
                      </a:lnTo>
                      <a:lnTo>
                        <a:pt x="15" y="334"/>
                      </a:lnTo>
                      <a:lnTo>
                        <a:pt x="14" y="332"/>
                      </a:lnTo>
                      <a:lnTo>
                        <a:pt x="15" y="331"/>
                      </a:lnTo>
                      <a:lnTo>
                        <a:pt x="14" y="330"/>
                      </a:lnTo>
                      <a:lnTo>
                        <a:pt x="13" y="330"/>
                      </a:lnTo>
                      <a:lnTo>
                        <a:pt x="11" y="329"/>
                      </a:lnTo>
                      <a:lnTo>
                        <a:pt x="11" y="328"/>
                      </a:lnTo>
                      <a:lnTo>
                        <a:pt x="10" y="328"/>
                      </a:lnTo>
                      <a:lnTo>
                        <a:pt x="10" y="327"/>
                      </a:lnTo>
                      <a:lnTo>
                        <a:pt x="9" y="327"/>
                      </a:lnTo>
                      <a:lnTo>
                        <a:pt x="10" y="325"/>
                      </a:lnTo>
                      <a:lnTo>
                        <a:pt x="9" y="325"/>
                      </a:lnTo>
                      <a:lnTo>
                        <a:pt x="9" y="324"/>
                      </a:lnTo>
                      <a:lnTo>
                        <a:pt x="8" y="324"/>
                      </a:lnTo>
                      <a:lnTo>
                        <a:pt x="8" y="323"/>
                      </a:lnTo>
                      <a:lnTo>
                        <a:pt x="7" y="322"/>
                      </a:lnTo>
                      <a:lnTo>
                        <a:pt x="8" y="322"/>
                      </a:lnTo>
                      <a:lnTo>
                        <a:pt x="7" y="321"/>
                      </a:lnTo>
                      <a:lnTo>
                        <a:pt x="7" y="320"/>
                      </a:lnTo>
                      <a:lnTo>
                        <a:pt x="6" y="320"/>
                      </a:lnTo>
                      <a:lnTo>
                        <a:pt x="7" y="320"/>
                      </a:lnTo>
                      <a:lnTo>
                        <a:pt x="7" y="318"/>
                      </a:lnTo>
                      <a:lnTo>
                        <a:pt x="7" y="317"/>
                      </a:lnTo>
                      <a:lnTo>
                        <a:pt x="7" y="316"/>
                      </a:lnTo>
                      <a:lnTo>
                        <a:pt x="8" y="316"/>
                      </a:lnTo>
                      <a:lnTo>
                        <a:pt x="8" y="315"/>
                      </a:lnTo>
                      <a:lnTo>
                        <a:pt x="7" y="314"/>
                      </a:lnTo>
                      <a:lnTo>
                        <a:pt x="2" y="309"/>
                      </a:lnTo>
                      <a:lnTo>
                        <a:pt x="1" y="309"/>
                      </a:lnTo>
                      <a:lnTo>
                        <a:pt x="0" y="308"/>
                      </a:lnTo>
                      <a:lnTo>
                        <a:pt x="0" y="306"/>
                      </a:lnTo>
                      <a:lnTo>
                        <a:pt x="2" y="300"/>
                      </a:lnTo>
                      <a:lnTo>
                        <a:pt x="2" y="299"/>
                      </a:lnTo>
                      <a:lnTo>
                        <a:pt x="1" y="297"/>
                      </a:lnTo>
                      <a:lnTo>
                        <a:pt x="1" y="296"/>
                      </a:lnTo>
                      <a:lnTo>
                        <a:pt x="1" y="295"/>
                      </a:lnTo>
                      <a:lnTo>
                        <a:pt x="2" y="295"/>
                      </a:lnTo>
                      <a:lnTo>
                        <a:pt x="2" y="294"/>
                      </a:lnTo>
                      <a:lnTo>
                        <a:pt x="2" y="293"/>
                      </a:lnTo>
                      <a:lnTo>
                        <a:pt x="2" y="292"/>
                      </a:lnTo>
                      <a:lnTo>
                        <a:pt x="7" y="292"/>
                      </a:lnTo>
                      <a:lnTo>
                        <a:pt x="8" y="292"/>
                      </a:lnTo>
                      <a:lnTo>
                        <a:pt x="10" y="292"/>
                      </a:lnTo>
                      <a:lnTo>
                        <a:pt x="11" y="292"/>
                      </a:lnTo>
                      <a:lnTo>
                        <a:pt x="16" y="293"/>
                      </a:lnTo>
                      <a:lnTo>
                        <a:pt x="17" y="293"/>
                      </a:lnTo>
                      <a:lnTo>
                        <a:pt x="18" y="292"/>
                      </a:lnTo>
                      <a:lnTo>
                        <a:pt x="20" y="292"/>
                      </a:lnTo>
                      <a:lnTo>
                        <a:pt x="24" y="292"/>
                      </a:lnTo>
                      <a:lnTo>
                        <a:pt x="25" y="292"/>
                      </a:lnTo>
                      <a:lnTo>
                        <a:pt x="27" y="290"/>
                      </a:lnTo>
                      <a:lnTo>
                        <a:pt x="29" y="288"/>
                      </a:lnTo>
                      <a:lnTo>
                        <a:pt x="31" y="287"/>
                      </a:lnTo>
                      <a:lnTo>
                        <a:pt x="34" y="285"/>
                      </a:lnTo>
                      <a:lnTo>
                        <a:pt x="36" y="282"/>
                      </a:lnTo>
                      <a:lnTo>
                        <a:pt x="36" y="281"/>
                      </a:lnTo>
                      <a:lnTo>
                        <a:pt x="37" y="281"/>
                      </a:lnTo>
                      <a:lnTo>
                        <a:pt x="39" y="281"/>
                      </a:lnTo>
                      <a:lnTo>
                        <a:pt x="43" y="281"/>
                      </a:lnTo>
                      <a:lnTo>
                        <a:pt x="46" y="281"/>
                      </a:lnTo>
                      <a:lnTo>
                        <a:pt x="49" y="281"/>
                      </a:lnTo>
                      <a:lnTo>
                        <a:pt x="52" y="281"/>
                      </a:lnTo>
                      <a:lnTo>
                        <a:pt x="55" y="280"/>
                      </a:lnTo>
                      <a:lnTo>
                        <a:pt x="58" y="280"/>
                      </a:lnTo>
                      <a:lnTo>
                        <a:pt x="62" y="280"/>
                      </a:lnTo>
                      <a:lnTo>
                        <a:pt x="64" y="280"/>
                      </a:lnTo>
                      <a:lnTo>
                        <a:pt x="67" y="280"/>
                      </a:lnTo>
                      <a:lnTo>
                        <a:pt x="71" y="280"/>
                      </a:lnTo>
                      <a:lnTo>
                        <a:pt x="73" y="280"/>
                      </a:lnTo>
                      <a:lnTo>
                        <a:pt x="77" y="280"/>
                      </a:lnTo>
                      <a:lnTo>
                        <a:pt x="80" y="279"/>
                      </a:lnTo>
                      <a:lnTo>
                        <a:pt x="82" y="279"/>
                      </a:lnTo>
                      <a:lnTo>
                        <a:pt x="86" y="279"/>
                      </a:lnTo>
                      <a:lnTo>
                        <a:pt x="89" y="279"/>
                      </a:lnTo>
                      <a:lnTo>
                        <a:pt x="91" y="279"/>
                      </a:lnTo>
                      <a:lnTo>
                        <a:pt x="91" y="278"/>
                      </a:lnTo>
                      <a:lnTo>
                        <a:pt x="91" y="276"/>
                      </a:lnTo>
                      <a:lnTo>
                        <a:pt x="92" y="276"/>
                      </a:lnTo>
                      <a:lnTo>
                        <a:pt x="93" y="276"/>
                      </a:lnTo>
                      <a:lnTo>
                        <a:pt x="96" y="276"/>
                      </a:lnTo>
                      <a:lnTo>
                        <a:pt x="102" y="278"/>
                      </a:lnTo>
                      <a:lnTo>
                        <a:pt x="106" y="278"/>
                      </a:lnTo>
                      <a:lnTo>
                        <a:pt x="107" y="278"/>
                      </a:lnTo>
                      <a:lnTo>
                        <a:pt x="107" y="274"/>
                      </a:lnTo>
                      <a:lnTo>
                        <a:pt x="107" y="273"/>
                      </a:lnTo>
                      <a:lnTo>
                        <a:pt x="110" y="272"/>
                      </a:lnTo>
                      <a:lnTo>
                        <a:pt x="113" y="269"/>
                      </a:lnTo>
                      <a:lnTo>
                        <a:pt x="114" y="268"/>
                      </a:lnTo>
                      <a:lnTo>
                        <a:pt x="116" y="268"/>
                      </a:lnTo>
                      <a:lnTo>
                        <a:pt x="117" y="267"/>
                      </a:lnTo>
                      <a:lnTo>
                        <a:pt x="119" y="266"/>
                      </a:lnTo>
                      <a:lnTo>
                        <a:pt x="119" y="265"/>
                      </a:lnTo>
                      <a:lnTo>
                        <a:pt x="119" y="264"/>
                      </a:lnTo>
                      <a:lnTo>
                        <a:pt x="120" y="260"/>
                      </a:lnTo>
                      <a:lnTo>
                        <a:pt x="120" y="259"/>
                      </a:lnTo>
                      <a:lnTo>
                        <a:pt x="122" y="258"/>
                      </a:lnTo>
                      <a:lnTo>
                        <a:pt x="122" y="257"/>
                      </a:lnTo>
                      <a:lnTo>
                        <a:pt x="121" y="255"/>
                      </a:lnTo>
                      <a:lnTo>
                        <a:pt x="121" y="254"/>
                      </a:lnTo>
                      <a:lnTo>
                        <a:pt x="124" y="247"/>
                      </a:lnTo>
                      <a:lnTo>
                        <a:pt x="124" y="246"/>
                      </a:lnTo>
                      <a:lnTo>
                        <a:pt x="126" y="245"/>
                      </a:lnTo>
                      <a:lnTo>
                        <a:pt x="127" y="244"/>
                      </a:lnTo>
                      <a:lnTo>
                        <a:pt x="128" y="244"/>
                      </a:lnTo>
                      <a:lnTo>
                        <a:pt x="128" y="243"/>
                      </a:lnTo>
                      <a:lnTo>
                        <a:pt x="128" y="239"/>
                      </a:lnTo>
                      <a:lnTo>
                        <a:pt x="128" y="237"/>
                      </a:lnTo>
                      <a:lnTo>
                        <a:pt x="128" y="232"/>
                      </a:lnTo>
                      <a:lnTo>
                        <a:pt x="128" y="230"/>
                      </a:lnTo>
                      <a:lnTo>
                        <a:pt x="128" y="229"/>
                      </a:lnTo>
                      <a:lnTo>
                        <a:pt x="128" y="225"/>
                      </a:lnTo>
                      <a:lnTo>
                        <a:pt x="128" y="224"/>
                      </a:lnTo>
                      <a:lnTo>
                        <a:pt x="129" y="224"/>
                      </a:lnTo>
                      <a:lnTo>
                        <a:pt x="129" y="220"/>
                      </a:lnTo>
                      <a:lnTo>
                        <a:pt x="129" y="218"/>
                      </a:lnTo>
                      <a:lnTo>
                        <a:pt x="129" y="213"/>
                      </a:lnTo>
                      <a:lnTo>
                        <a:pt x="129" y="210"/>
                      </a:lnTo>
                      <a:lnTo>
                        <a:pt x="129" y="205"/>
                      </a:lnTo>
                      <a:lnTo>
                        <a:pt x="129" y="202"/>
                      </a:lnTo>
                      <a:lnTo>
                        <a:pt x="129" y="197"/>
                      </a:lnTo>
                      <a:lnTo>
                        <a:pt x="129" y="194"/>
                      </a:lnTo>
                      <a:lnTo>
                        <a:pt x="129" y="191"/>
                      </a:lnTo>
                      <a:lnTo>
                        <a:pt x="129" y="189"/>
                      </a:lnTo>
                      <a:lnTo>
                        <a:pt x="129" y="186"/>
                      </a:lnTo>
                      <a:lnTo>
                        <a:pt x="129" y="181"/>
                      </a:lnTo>
                      <a:lnTo>
                        <a:pt x="129" y="176"/>
                      </a:lnTo>
                      <a:lnTo>
                        <a:pt x="129" y="173"/>
                      </a:lnTo>
                      <a:lnTo>
                        <a:pt x="129" y="168"/>
                      </a:lnTo>
                      <a:lnTo>
                        <a:pt x="129" y="165"/>
                      </a:lnTo>
                      <a:lnTo>
                        <a:pt x="129" y="160"/>
                      </a:lnTo>
                      <a:lnTo>
                        <a:pt x="129" y="156"/>
                      </a:lnTo>
                      <a:lnTo>
                        <a:pt x="129" y="152"/>
                      </a:lnTo>
                      <a:lnTo>
                        <a:pt x="135" y="151"/>
                      </a:lnTo>
                      <a:lnTo>
                        <a:pt x="141" y="149"/>
                      </a:lnTo>
                      <a:lnTo>
                        <a:pt x="146" y="148"/>
                      </a:lnTo>
                      <a:lnTo>
                        <a:pt x="152" y="147"/>
                      </a:lnTo>
                      <a:lnTo>
                        <a:pt x="156" y="146"/>
                      </a:lnTo>
                      <a:lnTo>
                        <a:pt x="163" y="145"/>
                      </a:lnTo>
                      <a:lnTo>
                        <a:pt x="170" y="144"/>
                      </a:lnTo>
                      <a:lnTo>
                        <a:pt x="173" y="142"/>
                      </a:lnTo>
                      <a:lnTo>
                        <a:pt x="177" y="141"/>
                      </a:lnTo>
                      <a:lnTo>
                        <a:pt x="178" y="141"/>
                      </a:lnTo>
                      <a:lnTo>
                        <a:pt x="180" y="140"/>
                      </a:lnTo>
                      <a:lnTo>
                        <a:pt x="183" y="138"/>
                      </a:lnTo>
                      <a:lnTo>
                        <a:pt x="184" y="135"/>
                      </a:lnTo>
                      <a:lnTo>
                        <a:pt x="186" y="134"/>
                      </a:lnTo>
                      <a:lnTo>
                        <a:pt x="188" y="132"/>
                      </a:lnTo>
                      <a:lnTo>
                        <a:pt x="191" y="131"/>
                      </a:lnTo>
                      <a:lnTo>
                        <a:pt x="192" y="128"/>
                      </a:lnTo>
                      <a:lnTo>
                        <a:pt x="194" y="126"/>
                      </a:lnTo>
                      <a:lnTo>
                        <a:pt x="196" y="125"/>
                      </a:lnTo>
                      <a:lnTo>
                        <a:pt x="199" y="123"/>
                      </a:lnTo>
                      <a:lnTo>
                        <a:pt x="200" y="121"/>
                      </a:lnTo>
                      <a:lnTo>
                        <a:pt x="202" y="119"/>
                      </a:lnTo>
                      <a:lnTo>
                        <a:pt x="205" y="118"/>
                      </a:lnTo>
                      <a:lnTo>
                        <a:pt x="206" y="116"/>
                      </a:lnTo>
                      <a:lnTo>
                        <a:pt x="208" y="113"/>
                      </a:lnTo>
                      <a:lnTo>
                        <a:pt x="210" y="112"/>
                      </a:lnTo>
                      <a:lnTo>
                        <a:pt x="213" y="110"/>
                      </a:lnTo>
                      <a:lnTo>
                        <a:pt x="214" y="109"/>
                      </a:lnTo>
                      <a:lnTo>
                        <a:pt x="216" y="106"/>
                      </a:lnTo>
                      <a:lnTo>
                        <a:pt x="217" y="105"/>
                      </a:lnTo>
                      <a:lnTo>
                        <a:pt x="220" y="103"/>
                      </a:lnTo>
                      <a:lnTo>
                        <a:pt x="222" y="102"/>
                      </a:lnTo>
                      <a:lnTo>
                        <a:pt x="224" y="99"/>
                      </a:lnTo>
                      <a:lnTo>
                        <a:pt x="227" y="97"/>
                      </a:lnTo>
                      <a:lnTo>
                        <a:pt x="229" y="95"/>
                      </a:lnTo>
                      <a:lnTo>
                        <a:pt x="231" y="92"/>
                      </a:lnTo>
                      <a:lnTo>
                        <a:pt x="236" y="90"/>
                      </a:lnTo>
                      <a:lnTo>
                        <a:pt x="238" y="89"/>
                      </a:lnTo>
                      <a:lnTo>
                        <a:pt x="241" y="86"/>
                      </a:lnTo>
                      <a:lnTo>
                        <a:pt x="243" y="85"/>
                      </a:lnTo>
                      <a:lnTo>
                        <a:pt x="245" y="84"/>
                      </a:lnTo>
                      <a:lnTo>
                        <a:pt x="247" y="83"/>
                      </a:lnTo>
                      <a:lnTo>
                        <a:pt x="249" y="82"/>
                      </a:lnTo>
                      <a:lnTo>
                        <a:pt x="251" y="79"/>
                      </a:lnTo>
                      <a:lnTo>
                        <a:pt x="254" y="78"/>
                      </a:lnTo>
                      <a:lnTo>
                        <a:pt x="256" y="77"/>
                      </a:lnTo>
                      <a:lnTo>
                        <a:pt x="258" y="76"/>
                      </a:lnTo>
                      <a:lnTo>
                        <a:pt x="260" y="75"/>
                      </a:lnTo>
                      <a:lnTo>
                        <a:pt x="262" y="72"/>
                      </a:lnTo>
                      <a:lnTo>
                        <a:pt x="264" y="71"/>
                      </a:lnTo>
                      <a:lnTo>
                        <a:pt x="266" y="70"/>
                      </a:lnTo>
                      <a:lnTo>
                        <a:pt x="269" y="69"/>
                      </a:lnTo>
                      <a:lnTo>
                        <a:pt x="271" y="68"/>
                      </a:lnTo>
                      <a:lnTo>
                        <a:pt x="273" y="65"/>
                      </a:lnTo>
                      <a:lnTo>
                        <a:pt x="276" y="64"/>
                      </a:lnTo>
                      <a:lnTo>
                        <a:pt x="277" y="63"/>
                      </a:lnTo>
                      <a:lnTo>
                        <a:pt x="279" y="62"/>
                      </a:lnTo>
                      <a:lnTo>
                        <a:pt x="281" y="61"/>
                      </a:lnTo>
                      <a:lnTo>
                        <a:pt x="284" y="60"/>
                      </a:lnTo>
                      <a:lnTo>
                        <a:pt x="286" y="57"/>
                      </a:lnTo>
                      <a:lnTo>
                        <a:pt x="288" y="56"/>
                      </a:lnTo>
                      <a:lnTo>
                        <a:pt x="291" y="55"/>
                      </a:lnTo>
                      <a:lnTo>
                        <a:pt x="292" y="54"/>
                      </a:lnTo>
                      <a:lnTo>
                        <a:pt x="294" y="53"/>
                      </a:lnTo>
                      <a:lnTo>
                        <a:pt x="297" y="50"/>
                      </a:lnTo>
                      <a:lnTo>
                        <a:pt x="299" y="49"/>
                      </a:lnTo>
                      <a:lnTo>
                        <a:pt x="301" y="48"/>
                      </a:lnTo>
                      <a:lnTo>
                        <a:pt x="304" y="47"/>
                      </a:lnTo>
                      <a:lnTo>
                        <a:pt x="306" y="46"/>
                      </a:lnTo>
                      <a:lnTo>
                        <a:pt x="307" y="43"/>
                      </a:lnTo>
                      <a:lnTo>
                        <a:pt x="309" y="42"/>
                      </a:lnTo>
                      <a:lnTo>
                        <a:pt x="312" y="41"/>
                      </a:lnTo>
                      <a:lnTo>
                        <a:pt x="314" y="40"/>
                      </a:lnTo>
                      <a:lnTo>
                        <a:pt x="316" y="39"/>
                      </a:lnTo>
                      <a:lnTo>
                        <a:pt x="319" y="36"/>
                      </a:lnTo>
                      <a:lnTo>
                        <a:pt x="321" y="35"/>
                      </a:lnTo>
                      <a:lnTo>
                        <a:pt x="323" y="34"/>
                      </a:lnTo>
                      <a:lnTo>
                        <a:pt x="325" y="33"/>
                      </a:lnTo>
                      <a:lnTo>
                        <a:pt x="327" y="32"/>
                      </a:lnTo>
                      <a:lnTo>
                        <a:pt x="329" y="29"/>
                      </a:lnTo>
                      <a:lnTo>
                        <a:pt x="331" y="28"/>
                      </a:lnTo>
                      <a:lnTo>
                        <a:pt x="334" y="27"/>
                      </a:lnTo>
                      <a:lnTo>
                        <a:pt x="336" y="26"/>
                      </a:lnTo>
                      <a:lnTo>
                        <a:pt x="338" y="25"/>
                      </a:lnTo>
                      <a:lnTo>
                        <a:pt x="340" y="22"/>
                      </a:lnTo>
                      <a:lnTo>
                        <a:pt x="342" y="21"/>
                      </a:lnTo>
                      <a:lnTo>
                        <a:pt x="344" y="20"/>
                      </a:lnTo>
                      <a:lnTo>
                        <a:pt x="347" y="19"/>
                      </a:lnTo>
                      <a:lnTo>
                        <a:pt x="349" y="18"/>
                      </a:lnTo>
                      <a:lnTo>
                        <a:pt x="351" y="15"/>
                      </a:lnTo>
                      <a:lnTo>
                        <a:pt x="354" y="14"/>
                      </a:lnTo>
                      <a:lnTo>
                        <a:pt x="355" y="13"/>
                      </a:lnTo>
                      <a:lnTo>
                        <a:pt x="357" y="12"/>
                      </a:lnTo>
                      <a:lnTo>
                        <a:pt x="359" y="9"/>
                      </a:lnTo>
                      <a:lnTo>
                        <a:pt x="362" y="8"/>
                      </a:lnTo>
                      <a:lnTo>
                        <a:pt x="364" y="7"/>
                      </a:lnTo>
                      <a:lnTo>
                        <a:pt x="366" y="6"/>
                      </a:lnTo>
                      <a:lnTo>
                        <a:pt x="369" y="5"/>
                      </a:lnTo>
                      <a:lnTo>
                        <a:pt x="371" y="2"/>
                      </a:lnTo>
                      <a:lnTo>
                        <a:pt x="372" y="1"/>
                      </a:lnTo>
                      <a:lnTo>
                        <a:pt x="375" y="0"/>
                      </a:lnTo>
                      <a:lnTo>
                        <a:pt x="378" y="1"/>
                      </a:lnTo>
                      <a:lnTo>
                        <a:pt x="380" y="1"/>
                      </a:lnTo>
                      <a:lnTo>
                        <a:pt x="384" y="2"/>
                      </a:lnTo>
                      <a:lnTo>
                        <a:pt x="386" y="2"/>
                      </a:lnTo>
                      <a:lnTo>
                        <a:pt x="389" y="4"/>
                      </a:lnTo>
                      <a:lnTo>
                        <a:pt x="392" y="4"/>
                      </a:lnTo>
                      <a:lnTo>
                        <a:pt x="394" y="5"/>
                      </a:lnTo>
                      <a:lnTo>
                        <a:pt x="398" y="6"/>
                      </a:lnTo>
                      <a:lnTo>
                        <a:pt x="400" y="6"/>
                      </a:lnTo>
                      <a:lnTo>
                        <a:pt x="404" y="7"/>
                      </a:lnTo>
                      <a:lnTo>
                        <a:pt x="406" y="7"/>
                      </a:lnTo>
                      <a:lnTo>
                        <a:pt x="408" y="8"/>
                      </a:lnTo>
                      <a:lnTo>
                        <a:pt x="412" y="8"/>
                      </a:lnTo>
                      <a:lnTo>
                        <a:pt x="414" y="9"/>
                      </a:lnTo>
                      <a:lnTo>
                        <a:pt x="418" y="11"/>
                      </a:lnTo>
                      <a:lnTo>
                        <a:pt x="420" y="11"/>
                      </a:lnTo>
                      <a:lnTo>
                        <a:pt x="423" y="12"/>
                      </a:lnTo>
                      <a:lnTo>
                        <a:pt x="427" y="14"/>
                      </a:lnTo>
                      <a:lnTo>
                        <a:pt x="429" y="15"/>
                      </a:lnTo>
                      <a:lnTo>
                        <a:pt x="433" y="19"/>
                      </a:lnTo>
                      <a:lnTo>
                        <a:pt x="437" y="22"/>
                      </a:lnTo>
                      <a:lnTo>
                        <a:pt x="441" y="26"/>
                      </a:lnTo>
                      <a:lnTo>
                        <a:pt x="446" y="29"/>
                      </a:lnTo>
                      <a:lnTo>
                        <a:pt x="447" y="30"/>
                      </a:lnTo>
                      <a:lnTo>
                        <a:pt x="448" y="30"/>
                      </a:lnTo>
                      <a:lnTo>
                        <a:pt x="449" y="29"/>
                      </a:lnTo>
                      <a:lnTo>
                        <a:pt x="455" y="27"/>
                      </a:lnTo>
                      <a:lnTo>
                        <a:pt x="461" y="23"/>
                      </a:lnTo>
                      <a:lnTo>
                        <a:pt x="465" y="21"/>
                      </a:lnTo>
                      <a:lnTo>
                        <a:pt x="471" y="18"/>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3" name="Freeform 109">
                  <a:extLst>
                    <a:ext uri="{FF2B5EF4-FFF2-40B4-BE49-F238E27FC236}">
                      <a16:creationId xmlns:a16="http://schemas.microsoft.com/office/drawing/2014/main" id="{DBC9EF6C-D8A1-ACC2-1EE0-6FD257914CB2}"/>
                    </a:ext>
                  </a:extLst>
                </p:cNvPr>
                <p:cNvSpPr>
                  <a:spLocks/>
                </p:cNvSpPr>
                <p:nvPr/>
              </p:nvSpPr>
              <p:spPr bwMode="auto">
                <a:xfrm>
                  <a:off x="5629819" y="2817485"/>
                  <a:ext cx="287741" cy="267188"/>
                </a:xfrm>
                <a:custGeom>
                  <a:avLst/>
                  <a:gdLst>
                    <a:gd name="T0" fmla="*/ 265 w 266"/>
                    <a:gd name="T1" fmla="*/ 14 h 247"/>
                    <a:gd name="T2" fmla="*/ 265 w 266"/>
                    <a:gd name="T3" fmla="*/ 25 h 247"/>
                    <a:gd name="T4" fmla="*/ 266 w 266"/>
                    <a:gd name="T5" fmla="*/ 44 h 247"/>
                    <a:gd name="T6" fmla="*/ 266 w 266"/>
                    <a:gd name="T7" fmla="*/ 57 h 247"/>
                    <a:gd name="T8" fmla="*/ 263 w 266"/>
                    <a:gd name="T9" fmla="*/ 61 h 247"/>
                    <a:gd name="T10" fmla="*/ 247 w 266"/>
                    <a:gd name="T11" fmla="*/ 61 h 247"/>
                    <a:gd name="T12" fmla="*/ 230 w 266"/>
                    <a:gd name="T13" fmla="*/ 61 h 247"/>
                    <a:gd name="T14" fmla="*/ 214 w 266"/>
                    <a:gd name="T15" fmla="*/ 61 h 247"/>
                    <a:gd name="T16" fmla="*/ 198 w 266"/>
                    <a:gd name="T17" fmla="*/ 62 h 247"/>
                    <a:gd name="T18" fmla="*/ 183 w 266"/>
                    <a:gd name="T19" fmla="*/ 62 h 247"/>
                    <a:gd name="T20" fmla="*/ 166 w 266"/>
                    <a:gd name="T21" fmla="*/ 62 h 247"/>
                    <a:gd name="T22" fmla="*/ 159 w 266"/>
                    <a:gd name="T23" fmla="*/ 70 h 247"/>
                    <a:gd name="T24" fmla="*/ 159 w 266"/>
                    <a:gd name="T25" fmla="*/ 83 h 247"/>
                    <a:gd name="T26" fmla="*/ 161 w 266"/>
                    <a:gd name="T27" fmla="*/ 97 h 247"/>
                    <a:gd name="T28" fmla="*/ 161 w 266"/>
                    <a:gd name="T29" fmla="*/ 110 h 247"/>
                    <a:gd name="T30" fmla="*/ 161 w 266"/>
                    <a:gd name="T31" fmla="*/ 124 h 247"/>
                    <a:gd name="T32" fmla="*/ 161 w 266"/>
                    <a:gd name="T33" fmla="*/ 137 h 247"/>
                    <a:gd name="T34" fmla="*/ 161 w 266"/>
                    <a:gd name="T35" fmla="*/ 149 h 247"/>
                    <a:gd name="T36" fmla="*/ 149 w 266"/>
                    <a:gd name="T37" fmla="*/ 156 h 247"/>
                    <a:gd name="T38" fmla="*/ 133 w 266"/>
                    <a:gd name="T39" fmla="*/ 165 h 247"/>
                    <a:gd name="T40" fmla="*/ 124 w 266"/>
                    <a:gd name="T41" fmla="*/ 174 h 247"/>
                    <a:gd name="T42" fmla="*/ 128 w 266"/>
                    <a:gd name="T43" fmla="*/ 194 h 247"/>
                    <a:gd name="T44" fmla="*/ 126 w 266"/>
                    <a:gd name="T45" fmla="*/ 225 h 247"/>
                    <a:gd name="T46" fmla="*/ 99 w 266"/>
                    <a:gd name="T47" fmla="*/ 225 h 247"/>
                    <a:gd name="T48" fmla="*/ 56 w 266"/>
                    <a:gd name="T49" fmla="*/ 226 h 247"/>
                    <a:gd name="T50" fmla="*/ 13 w 266"/>
                    <a:gd name="T51" fmla="*/ 228 h 247"/>
                    <a:gd name="T52" fmla="*/ 3 w 266"/>
                    <a:gd name="T53" fmla="*/ 231 h 247"/>
                    <a:gd name="T54" fmla="*/ 1 w 266"/>
                    <a:gd name="T55" fmla="*/ 243 h 247"/>
                    <a:gd name="T56" fmla="*/ 0 w 266"/>
                    <a:gd name="T57" fmla="*/ 243 h 247"/>
                    <a:gd name="T58" fmla="*/ 1 w 266"/>
                    <a:gd name="T59" fmla="*/ 238 h 247"/>
                    <a:gd name="T60" fmla="*/ 5 w 266"/>
                    <a:gd name="T61" fmla="*/ 224 h 247"/>
                    <a:gd name="T62" fmla="*/ 37 w 266"/>
                    <a:gd name="T63" fmla="*/ 221 h 247"/>
                    <a:gd name="T64" fmla="*/ 62 w 266"/>
                    <a:gd name="T65" fmla="*/ 223 h 247"/>
                    <a:gd name="T66" fmla="*/ 78 w 266"/>
                    <a:gd name="T67" fmla="*/ 214 h 247"/>
                    <a:gd name="T68" fmla="*/ 81 w 266"/>
                    <a:gd name="T69" fmla="*/ 203 h 247"/>
                    <a:gd name="T70" fmla="*/ 90 w 266"/>
                    <a:gd name="T71" fmla="*/ 195 h 247"/>
                    <a:gd name="T72" fmla="*/ 93 w 266"/>
                    <a:gd name="T73" fmla="*/ 176 h 247"/>
                    <a:gd name="T74" fmla="*/ 97 w 266"/>
                    <a:gd name="T75" fmla="*/ 154 h 247"/>
                    <a:gd name="T76" fmla="*/ 105 w 266"/>
                    <a:gd name="T77" fmla="*/ 140 h 247"/>
                    <a:gd name="T78" fmla="*/ 120 w 266"/>
                    <a:gd name="T79" fmla="*/ 134 h 247"/>
                    <a:gd name="T80" fmla="*/ 127 w 266"/>
                    <a:gd name="T81" fmla="*/ 119 h 247"/>
                    <a:gd name="T82" fmla="*/ 135 w 266"/>
                    <a:gd name="T83" fmla="*/ 113 h 247"/>
                    <a:gd name="T84" fmla="*/ 147 w 266"/>
                    <a:gd name="T85" fmla="*/ 104 h 247"/>
                    <a:gd name="T86" fmla="*/ 152 w 266"/>
                    <a:gd name="T87" fmla="*/ 83 h 247"/>
                    <a:gd name="T88" fmla="*/ 157 w 266"/>
                    <a:gd name="T89" fmla="*/ 67 h 247"/>
                    <a:gd name="T90" fmla="*/ 159 w 266"/>
                    <a:gd name="T91" fmla="*/ 61 h 247"/>
                    <a:gd name="T92" fmla="*/ 170 w 266"/>
                    <a:gd name="T93" fmla="*/ 56 h 247"/>
                    <a:gd name="T94" fmla="*/ 176 w 266"/>
                    <a:gd name="T95" fmla="*/ 44 h 247"/>
                    <a:gd name="T96" fmla="*/ 181 w 266"/>
                    <a:gd name="T97" fmla="*/ 35 h 247"/>
                    <a:gd name="T98" fmla="*/ 190 w 266"/>
                    <a:gd name="T99" fmla="*/ 27 h 247"/>
                    <a:gd name="T100" fmla="*/ 206 w 266"/>
                    <a:gd name="T101" fmla="*/ 26 h 247"/>
                    <a:gd name="T102" fmla="*/ 220 w 266"/>
                    <a:gd name="T103" fmla="*/ 29 h 247"/>
                    <a:gd name="T104" fmla="*/ 229 w 266"/>
                    <a:gd name="T105" fmla="*/ 30 h 247"/>
                    <a:gd name="T106" fmla="*/ 242 w 266"/>
                    <a:gd name="T107" fmla="*/ 21 h 247"/>
                    <a:gd name="T108" fmla="*/ 256 w 266"/>
                    <a:gd name="T109" fmla="*/ 21 h 247"/>
                    <a:gd name="T110" fmla="*/ 263 w 266"/>
                    <a:gd name="T111" fmla="*/ 15 h 247"/>
                    <a:gd name="T112" fmla="*/ 262 w 266"/>
                    <a:gd name="T113" fmla="*/ 5 h 247"/>
                    <a:gd name="T114" fmla="*/ 261 w 266"/>
                    <a:gd name="T115"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6" h="247">
                      <a:moveTo>
                        <a:pt x="265" y="0"/>
                      </a:moveTo>
                      <a:lnTo>
                        <a:pt x="265" y="4"/>
                      </a:lnTo>
                      <a:lnTo>
                        <a:pt x="265" y="7"/>
                      </a:lnTo>
                      <a:lnTo>
                        <a:pt x="265" y="11"/>
                      </a:lnTo>
                      <a:lnTo>
                        <a:pt x="265" y="14"/>
                      </a:lnTo>
                      <a:lnTo>
                        <a:pt x="265" y="14"/>
                      </a:lnTo>
                      <a:lnTo>
                        <a:pt x="265" y="16"/>
                      </a:lnTo>
                      <a:lnTo>
                        <a:pt x="265" y="18"/>
                      </a:lnTo>
                      <a:lnTo>
                        <a:pt x="265" y="21"/>
                      </a:lnTo>
                      <a:lnTo>
                        <a:pt x="265" y="25"/>
                      </a:lnTo>
                      <a:lnTo>
                        <a:pt x="265" y="28"/>
                      </a:lnTo>
                      <a:lnTo>
                        <a:pt x="266" y="32"/>
                      </a:lnTo>
                      <a:lnTo>
                        <a:pt x="266" y="36"/>
                      </a:lnTo>
                      <a:lnTo>
                        <a:pt x="266" y="40"/>
                      </a:lnTo>
                      <a:lnTo>
                        <a:pt x="266" y="44"/>
                      </a:lnTo>
                      <a:lnTo>
                        <a:pt x="266" y="48"/>
                      </a:lnTo>
                      <a:lnTo>
                        <a:pt x="266" y="51"/>
                      </a:lnTo>
                      <a:lnTo>
                        <a:pt x="266" y="54"/>
                      </a:lnTo>
                      <a:lnTo>
                        <a:pt x="266" y="56"/>
                      </a:lnTo>
                      <a:lnTo>
                        <a:pt x="266" y="57"/>
                      </a:lnTo>
                      <a:lnTo>
                        <a:pt x="266" y="58"/>
                      </a:lnTo>
                      <a:lnTo>
                        <a:pt x="266" y="60"/>
                      </a:lnTo>
                      <a:lnTo>
                        <a:pt x="266" y="60"/>
                      </a:lnTo>
                      <a:lnTo>
                        <a:pt x="265" y="61"/>
                      </a:lnTo>
                      <a:lnTo>
                        <a:pt x="263" y="61"/>
                      </a:lnTo>
                      <a:lnTo>
                        <a:pt x="259" y="61"/>
                      </a:lnTo>
                      <a:lnTo>
                        <a:pt x="256" y="61"/>
                      </a:lnTo>
                      <a:lnTo>
                        <a:pt x="254" y="61"/>
                      </a:lnTo>
                      <a:lnTo>
                        <a:pt x="250" y="61"/>
                      </a:lnTo>
                      <a:lnTo>
                        <a:pt x="247" y="61"/>
                      </a:lnTo>
                      <a:lnTo>
                        <a:pt x="243" y="61"/>
                      </a:lnTo>
                      <a:lnTo>
                        <a:pt x="240" y="61"/>
                      </a:lnTo>
                      <a:lnTo>
                        <a:pt x="237" y="61"/>
                      </a:lnTo>
                      <a:lnTo>
                        <a:pt x="234" y="61"/>
                      </a:lnTo>
                      <a:lnTo>
                        <a:pt x="230" y="61"/>
                      </a:lnTo>
                      <a:lnTo>
                        <a:pt x="227" y="61"/>
                      </a:lnTo>
                      <a:lnTo>
                        <a:pt x="225" y="61"/>
                      </a:lnTo>
                      <a:lnTo>
                        <a:pt x="221" y="61"/>
                      </a:lnTo>
                      <a:lnTo>
                        <a:pt x="218" y="61"/>
                      </a:lnTo>
                      <a:lnTo>
                        <a:pt x="214" y="61"/>
                      </a:lnTo>
                      <a:lnTo>
                        <a:pt x="211" y="61"/>
                      </a:lnTo>
                      <a:lnTo>
                        <a:pt x="208" y="61"/>
                      </a:lnTo>
                      <a:lnTo>
                        <a:pt x="205" y="61"/>
                      </a:lnTo>
                      <a:lnTo>
                        <a:pt x="201" y="61"/>
                      </a:lnTo>
                      <a:lnTo>
                        <a:pt x="198" y="62"/>
                      </a:lnTo>
                      <a:lnTo>
                        <a:pt x="195" y="62"/>
                      </a:lnTo>
                      <a:lnTo>
                        <a:pt x="192" y="62"/>
                      </a:lnTo>
                      <a:lnTo>
                        <a:pt x="188" y="62"/>
                      </a:lnTo>
                      <a:lnTo>
                        <a:pt x="185" y="62"/>
                      </a:lnTo>
                      <a:lnTo>
                        <a:pt x="183" y="62"/>
                      </a:lnTo>
                      <a:lnTo>
                        <a:pt x="179" y="62"/>
                      </a:lnTo>
                      <a:lnTo>
                        <a:pt x="176" y="62"/>
                      </a:lnTo>
                      <a:lnTo>
                        <a:pt x="172" y="62"/>
                      </a:lnTo>
                      <a:lnTo>
                        <a:pt x="169" y="62"/>
                      </a:lnTo>
                      <a:lnTo>
                        <a:pt x="166" y="62"/>
                      </a:lnTo>
                      <a:lnTo>
                        <a:pt x="163" y="62"/>
                      </a:lnTo>
                      <a:lnTo>
                        <a:pt x="159" y="62"/>
                      </a:lnTo>
                      <a:lnTo>
                        <a:pt x="159" y="64"/>
                      </a:lnTo>
                      <a:lnTo>
                        <a:pt x="159" y="68"/>
                      </a:lnTo>
                      <a:lnTo>
                        <a:pt x="159" y="70"/>
                      </a:lnTo>
                      <a:lnTo>
                        <a:pt x="159" y="72"/>
                      </a:lnTo>
                      <a:lnTo>
                        <a:pt x="159" y="76"/>
                      </a:lnTo>
                      <a:lnTo>
                        <a:pt x="159" y="78"/>
                      </a:lnTo>
                      <a:lnTo>
                        <a:pt x="159" y="81"/>
                      </a:lnTo>
                      <a:lnTo>
                        <a:pt x="159" y="83"/>
                      </a:lnTo>
                      <a:lnTo>
                        <a:pt x="159" y="86"/>
                      </a:lnTo>
                      <a:lnTo>
                        <a:pt x="159" y="89"/>
                      </a:lnTo>
                      <a:lnTo>
                        <a:pt x="161" y="91"/>
                      </a:lnTo>
                      <a:lnTo>
                        <a:pt x="161" y="95"/>
                      </a:lnTo>
                      <a:lnTo>
                        <a:pt x="161" y="97"/>
                      </a:lnTo>
                      <a:lnTo>
                        <a:pt x="161" y="99"/>
                      </a:lnTo>
                      <a:lnTo>
                        <a:pt x="161" y="102"/>
                      </a:lnTo>
                      <a:lnTo>
                        <a:pt x="161" y="105"/>
                      </a:lnTo>
                      <a:lnTo>
                        <a:pt x="161" y="107"/>
                      </a:lnTo>
                      <a:lnTo>
                        <a:pt x="161" y="110"/>
                      </a:lnTo>
                      <a:lnTo>
                        <a:pt x="161" y="113"/>
                      </a:lnTo>
                      <a:lnTo>
                        <a:pt x="161" y="116"/>
                      </a:lnTo>
                      <a:lnTo>
                        <a:pt x="161" y="118"/>
                      </a:lnTo>
                      <a:lnTo>
                        <a:pt x="161" y="120"/>
                      </a:lnTo>
                      <a:lnTo>
                        <a:pt x="161" y="124"/>
                      </a:lnTo>
                      <a:lnTo>
                        <a:pt x="161" y="126"/>
                      </a:lnTo>
                      <a:lnTo>
                        <a:pt x="161" y="128"/>
                      </a:lnTo>
                      <a:lnTo>
                        <a:pt x="161" y="131"/>
                      </a:lnTo>
                      <a:lnTo>
                        <a:pt x="161" y="134"/>
                      </a:lnTo>
                      <a:lnTo>
                        <a:pt x="161" y="137"/>
                      </a:lnTo>
                      <a:lnTo>
                        <a:pt x="161" y="139"/>
                      </a:lnTo>
                      <a:lnTo>
                        <a:pt x="161" y="142"/>
                      </a:lnTo>
                      <a:lnTo>
                        <a:pt x="161" y="145"/>
                      </a:lnTo>
                      <a:lnTo>
                        <a:pt x="161" y="147"/>
                      </a:lnTo>
                      <a:lnTo>
                        <a:pt x="161" y="149"/>
                      </a:lnTo>
                      <a:lnTo>
                        <a:pt x="161" y="151"/>
                      </a:lnTo>
                      <a:lnTo>
                        <a:pt x="161" y="152"/>
                      </a:lnTo>
                      <a:lnTo>
                        <a:pt x="157" y="153"/>
                      </a:lnTo>
                      <a:lnTo>
                        <a:pt x="150" y="156"/>
                      </a:lnTo>
                      <a:lnTo>
                        <a:pt x="149" y="156"/>
                      </a:lnTo>
                      <a:lnTo>
                        <a:pt x="144" y="158"/>
                      </a:lnTo>
                      <a:lnTo>
                        <a:pt x="142" y="158"/>
                      </a:lnTo>
                      <a:lnTo>
                        <a:pt x="140" y="160"/>
                      </a:lnTo>
                      <a:lnTo>
                        <a:pt x="136" y="162"/>
                      </a:lnTo>
                      <a:lnTo>
                        <a:pt x="133" y="165"/>
                      </a:lnTo>
                      <a:lnTo>
                        <a:pt x="129" y="167"/>
                      </a:lnTo>
                      <a:lnTo>
                        <a:pt x="129" y="168"/>
                      </a:lnTo>
                      <a:lnTo>
                        <a:pt x="129" y="168"/>
                      </a:lnTo>
                      <a:lnTo>
                        <a:pt x="126" y="172"/>
                      </a:lnTo>
                      <a:lnTo>
                        <a:pt x="124" y="174"/>
                      </a:lnTo>
                      <a:lnTo>
                        <a:pt x="124" y="176"/>
                      </a:lnTo>
                      <a:lnTo>
                        <a:pt x="124" y="179"/>
                      </a:lnTo>
                      <a:lnTo>
                        <a:pt x="127" y="183"/>
                      </a:lnTo>
                      <a:lnTo>
                        <a:pt x="127" y="186"/>
                      </a:lnTo>
                      <a:lnTo>
                        <a:pt x="128" y="194"/>
                      </a:lnTo>
                      <a:lnTo>
                        <a:pt x="128" y="202"/>
                      </a:lnTo>
                      <a:lnTo>
                        <a:pt x="129" y="217"/>
                      </a:lnTo>
                      <a:lnTo>
                        <a:pt x="130" y="219"/>
                      </a:lnTo>
                      <a:lnTo>
                        <a:pt x="130" y="225"/>
                      </a:lnTo>
                      <a:lnTo>
                        <a:pt x="126" y="225"/>
                      </a:lnTo>
                      <a:lnTo>
                        <a:pt x="124" y="225"/>
                      </a:lnTo>
                      <a:lnTo>
                        <a:pt x="121" y="225"/>
                      </a:lnTo>
                      <a:lnTo>
                        <a:pt x="115" y="225"/>
                      </a:lnTo>
                      <a:lnTo>
                        <a:pt x="107" y="225"/>
                      </a:lnTo>
                      <a:lnTo>
                        <a:pt x="99" y="225"/>
                      </a:lnTo>
                      <a:lnTo>
                        <a:pt x="90" y="225"/>
                      </a:lnTo>
                      <a:lnTo>
                        <a:pt x="88" y="226"/>
                      </a:lnTo>
                      <a:lnTo>
                        <a:pt x="78" y="226"/>
                      </a:lnTo>
                      <a:lnTo>
                        <a:pt x="66" y="226"/>
                      </a:lnTo>
                      <a:lnTo>
                        <a:pt x="56" y="226"/>
                      </a:lnTo>
                      <a:lnTo>
                        <a:pt x="45" y="226"/>
                      </a:lnTo>
                      <a:lnTo>
                        <a:pt x="35" y="226"/>
                      </a:lnTo>
                      <a:lnTo>
                        <a:pt x="27" y="228"/>
                      </a:lnTo>
                      <a:lnTo>
                        <a:pt x="19" y="228"/>
                      </a:lnTo>
                      <a:lnTo>
                        <a:pt x="13" y="228"/>
                      </a:lnTo>
                      <a:lnTo>
                        <a:pt x="9" y="228"/>
                      </a:lnTo>
                      <a:lnTo>
                        <a:pt x="8" y="228"/>
                      </a:lnTo>
                      <a:lnTo>
                        <a:pt x="5" y="228"/>
                      </a:lnTo>
                      <a:lnTo>
                        <a:pt x="3" y="228"/>
                      </a:lnTo>
                      <a:lnTo>
                        <a:pt x="3" y="231"/>
                      </a:lnTo>
                      <a:lnTo>
                        <a:pt x="3" y="235"/>
                      </a:lnTo>
                      <a:lnTo>
                        <a:pt x="1" y="238"/>
                      </a:lnTo>
                      <a:lnTo>
                        <a:pt x="1" y="239"/>
                      </a:lnTo>
                      <a:lnTo>
                        <a:pt x="1" y="243"/>
                      </a:lnTo>
                      <a:lnTo>
                        <a:pt x="1" y="243"/>
                      </a:lnTo>
                      <a:lnTo>
                        <a:pt x="1" y="247"/>
                      </a:lnTo>
                      <a:lnTo>
                        <a:pt x="1" y="246"/>
                      </a:lnTo>
                      <a:lnTo>
                        <a:pt x="0" y="244"/>
                      </a:lnTo>
                      <a:lnTo>
                        <a:pt x="0" y="244"/>
                      </a:lnTo>
                      <a:lnTo>
                        <a:pt x="0" y="243"/>
                      </a:lnTo>
                      <a:lnTo>
                        <a:pt x="0" y="243"/>
                      </a:lnTo>
                      <a:lnTo>
                        <a:pt x="0" y="242"/>
                      </a:lnTo>
                      <a:lnTo>
                        <a:pt x="0" y="240"/>
                      </a:lnTo>
                      <a:lnTo>
                        <a:pt x="0" y="239"/>
                      </a:lnTo>
                      <a:lnTo>
                        <a:pt x="1" y="238"/>
                      </a:lnTo>
                      <a:lnTo>
                        <a:pt x="2" y="228"/>
                      </a:lnTo>
                      <a:lnTo>
                        <a:pt x="2" y="226"/>
                      </a:lnTo>
                      <a:lnTo>
                        <a:pt x="2" y="226"/>
                      </a:lnTo>
                      <a:lnTo>
                        <a:pt x="2" y="224"/>
                      </a:lnTo>
                      <a:lnTo>
                        <a:pt x="5" y="224"/>
                      </a:lnTo>
                      <a:lnTo>
                        <a:pt x="12" y="223"/>
                      </a:lnTo>
                      <a:lnTo>
                        <a:pt x="16" y="222"/>
                      </a:lnTo>
                      <a:lnTo>
                        <a:pt x="29" y="222"/>
                      </a:lnTo>
                      <a:lnTo>
                        <a:pt x="34" y="222"/>
                      </a:lnTo>
                      <a:lnTo>
                        <a:pt x="37" y="221"/>
                      </a:lnTo>
                      <a:lnTo>
                        <a:pt x="43" y="222"/>
                      </a:lnTo>
                      <a:lnTo>
                        <a:pt x="48" y="222"/>
                      </a:lnTo>
                      <a:lnTo>
                        <a:pt x="52" y="223"/>
                      </a:lnTo>
                      <a:lnTo>
                        <a:pt x="57" y="223"/>
                      </a:lnTo>
                      <a:lnTo>
                        <a:pt x="62" y="223"/>
                      </a:lnTo>
                      <a:lnTo>
                        <a:pt x="67" y="223"/>
                      </a:lnTo>
                      <a:lnTo>
                        <a:pt x="72" y="222"/>
                      </a:lnTo>
                      <a:lnTo>
                        <a:pt x="74" y="221"/>
                      </a:lnTo>
                      <a:lnTo>
                        <a:pt x="77" y="217"/>
                      </a:lnTo>
                      <a:lnTo>
                        <a:pt x="78" y="214"/>
                      </a:lnTo>
                      <a:lnTo>
                        <a:pt x="79" y="211"/>
                      </a:lnTo>
                      <a:lnTo>
                        <a:pt x="79" y="209"/>
                      </a:lnTo>
                      <a:lnTo>
                        <a:pt x="78" y="208"/>
                      </a:lnTo>
                      <a:lnTo>
                        <a:pt x="80" y="207"/>
                      </a:lnTo>
                      <a:lnTo>
                        <a:pt x="81" y="203"/>
                      </a:lnTo>
                      <a:lnTo>
                        <a:pt x="84" y="202"/>
                      </a:lnTo>
                      <a:lnTo>
                        <a:pt x="84" y="201"/>
                      </a:lnTo>
                      <a:lnTo>
                        <a:pt x="86" y="198"/>
                      </a:lnTo>
                      <a:lnTo>
                        <a:pt x="88" y="196"/>
                      </a:lnTo>
                      <a:lnTo>
                        <a:pt x="90" y="195"/>
                      </a:lnTo>
                      <a:lnTo>
                        <a:pt x="91" y="193"/>
                      </a:lnTo>
                      <a:lnTo>
                        <a:pt x="92" y="190"/>
                      </a:lnTo>
                      <a:lnTo>
                        <a:pt x="92" y="188"/>
                      </a:lnTo>
                      <a:lnTo>
                        <a:pt x="92" y="182"/>
                      </a:lnTo>
                      <a:lnTo>
                        <a:pt x="93" y="176"/>
                      </a:lnTo>
                      <a:lnTo>
                        <a:pt x="93" y="173"/>
                      </a:lnTo>
                      <a:lnTo>
                        <a:pt x="94" y="169"/>
                      </a:lnTo>
                      <a:lnTo>
                        <a:pt x="94" y="165"/>
                      </a:lnTo>
                      <a:lnTo>
                        <a:pt x="97" y="156"/>
                      </a:lnTo>
                      <a:lnTo>
                        <a:pt x="97" y="154"/>
                      </a:lnTo>
                      <a:lnTo>
                        <a:pt x="98" y="151"/>
                      </a:lnTo>
                      <a:lnTo>
                        <a:pt x="100" y="147"/>
                      </a:lnTo>
                      <a:lnTo>
                        <a:pt x="101" y="145"/>
                      </a:lnTo>
                      <a:lnTo>
                        <a:pt x="102" y="142"/>
                      </a:lnTo>
                      <a:lnTo>
                        <a:pt x="105" y="140"/>
                      </a:lnTo>
                      <a:lnTo>
                        <a:pt x="108" y="139"/>
                      </a:lnTo>
                      <a:lnTo>
                        <a:pt x="110" y="138"/>
                      </a:lnTo>
                      <a:lnTo>
                        <a:pt x="114" y="137"/>
                      </a:lnTo>
                      <a:lnTo>
                        <a:pt x="116" y="135"/>
                      </a:lnTo>
                      <a:lnTo>
                        <a:pt x="120" y="134"/>
                      </a:lnTo>
                      <a:lnTo>
                        <a:pt x="120" y="132"/>
                      </a:lnTo>
                      <a:lnTo>
                        <a:pt x="122" y="130"/>
                      </a:lnTo>
                      <a:lnTo>
                        <a:pt x="124" y="125"/>
                      </a:lnTo>
                      <a:lnTo>
                        <a:pt x="126" y="123"/>
                      </a:lnTo>
                      <a:lnTo>
                        <a:pt x="127" y="119"/>
                      </a:lnTo>
                      <a:lnTo>
                        <a:pt x="129" y="117"/>
                      </a:lnTo>
                      <a:lnTo>
                        <a:pt x="130" y="116"/>
                      </a:lnTo>
                      <a:lnTo>
                        <a:pt x="130" y="116"/>
                      </a:lnTo>
                      <a:lnTo>
                        <a:pt x="131" y="114"/>
                      </a:lnTo>
                      <a:lnTo>
                        <a:pt x="135" y="113"/>
                      </a:lnTo>
                      <a:lnTo>
                        <a:pt x="138" y="111"/>
                      </a:lnTo>
                      <a:lnTo>
                        <a:pt x="141" y="109"/>
                      </a:lnTo>
                      <a:lnTo>
                        <a:pt x="143" y="107"/>
                      </a:lnTo>
                      <a:lnTo>
                        <a:pt x="144" y="105"/>
                      </a:lnTo>
                      <a:lnTo>
                        <a:pt x="147" y="104"/>
                      </a:lnTo>
                      <a:lnTo>
                        <a:pt x="148" y="102"/>
                      </a:lnTo>
                      <a:lnTo>
                        <a:pt x="149" y="98"/>
                      </a:lnTo>
                      <a:lnTo>
                        <a:pt x="150" y="93"/>
                      </a:lnTo>
                      <a:lnTo>
                        <a:pt x="151" y="89"/>
                      </a:lnTo>
                      <a:lnTo>
                        <a:pt x="152" y="83"/>
                      </a:lnTo>
                      <a:lnTo>
                        <a:pt x="154" y="79"/>
                      </a:lnTo>
                      <a:lnTo>
                        <a:pt x="155" y="75"/>
                      </a:lnTo>
                      <a:lnTo>
                        <a:pt x="156" y="71"/>
                      </a:lnTo>
                      <a:lnTo>
                        <a:pt x="157" y="68"/>
                      </a:lnTo>
                      <a:lnTo>
                        <a:pt x="157" y="67"/>
                      </a:lnTo>
                      <a:lnTo>
                        <a:pt x="157" y="64"/>
                      </a:lnTo>
                      <a:lnTo>
                        <a:pt x="158" y="62"/>
                      </a:lnTo>
                      <a:lnTo>
                        <a:pt x="158" y="62"/>
                      </a:lnTo>
                      <a:lnTo>
                        <a:pt x="158" y="62"/>
                      </a:lnTo>
                      <a:lnTo>
                        <a:pt x="159" y="61"/>
                      </a:lnTo>
                      <a:lnTo>
                        <a:pt x="162" y="60"/>
                      </a:lnTo>
                      <a:lnTo>
                        <a:pt x="164" y="60"/>
                      </a:lnTo>
                      <a:lnTo>
                        <a:pt x="168" y="58"/>
                      </a:lnTo>
                      <a:lnTo>
                        <a:pt x="169" y="58"/>
                      </a:lnTo>
                      <a:lnTo>
                        <a:pt x="170" y="56"/>
                      </a:lnTo>
                      <a:lnTo>
                        <a:pt x="170" y="54"/>
                      </a:lnTo>
                      <a:lnTo>
                        <a:pt x="171" y="51"/>
                      </a:lnTo>
                      <a:lnTo>
                        <a:pt x="173" y="49"/>
                      </a:lnTo>
                      <a:lnTo>
                        <a:pt x="174" y="47"/>
                      </a:lnTo>
                      <a:lnTo>
                        <a:pt x="176" y="44"/>
                      </a:lnTo>
                      <a:lnTo>
                        <a:pt x="177" y="43"/>
                      </a:lnTo>
                      <a:lnTo>
                        <a:pt x="179" y="41"/>
                      </a:lnTo>
                      <a:lnTo>
                        <a:pt x="180" y="39"/>
                      </a:lnTo>
                      <a:lnTo>
                        <a:pt x="181" y="37"/>
                      </a:lnTo>
                      <a:lnTo>
                        <a:pt x="181" y="35"/>
                      </a:lnTo>
                      <a:lnTo>
                        <a:pt x="180" y="33"/>
                      </a:lnTo>
                      <a:lnTo>
                        <a:pt x="179" y="30"/>
                      </a:lnTo>
                      <a:lnTo>
                        <a:pt x="183" y="29"/>
                      </a:lnTo>
                      <a:lnTo>
                        <a:pt x="186" y="28"/>
                      </a:lnTo>
                      <a:lnTo>
                        <a:pt x="190" y="27"/>
                      </a:lnTo>
                      <a:lnTo>
                        <a:pt x="194" y="25"/>
                      </a:lnTo>
                      <a:lnTo>
                        <a:pt x="197" y="25"/>
                      </a:lnTo>
                      <a:lnTo>
                        <a:pt x="199" y="25"/>
                      </a:lnTo>
                      <a:lnTo>
                        <a:pt x="202" y="26"/>
                      </a:lnTo>
                      <a:lnTo>
                        <a:pt x="206" y="26"/>
                      </a:lnTo>
                      <a:lnTo>
                        <a:pt x="208" y="27"/>
                      </a:lnTo>
                      <a:lnTo>
                        <a:pt x="212" y="29"/>
                      </a:lnTo>
                      <a:lnTo>
                        <a:pt x="215" y="30"/>
                      </a:lnTo>
                      <a:lnTo>
                        <a:pt x="218" y="30"/>
                      </a:lnTo>
                      <a:lnTo>
                        <a:pt x="220" y="29"/>
                      </a:lnTo>
                      <a:lnTo>
                        <a:pt x="221" y="28"/>
                      </a:lnTo>
                      <a:lnTo>
                        <a:pt x="222" y="28"/>
                      </a:lnTo>
                      <a:lnTo>
                        <a:pt x="225" y="29"/>
                      </a:lnTo>
                      <a:lnTo>
                        <a:pt x="227" y="30"/>
                      </a:lnTo>
                      <a:lnTo>
                        <a:pt x="229" y="30"/>
                      </a:lnTo>
                      <a:lnTo>
                        <a:pt x="232" y="30"/>
                      </a:lnTo>
                      <a:lnTo>
                        <a:pt x="234" y="28"/>
                      </a:lnTo>
                      <a:lnTo>
                        <a:pt x="237" y="25"/>
                      </a:lnTo>
                      <a:lnTo>
                        <a:pt x="240" y="23"/>
                      </a:lnTo>
                      <a:lnTo>
                        <a:pt x="242" y="21"/>
                      </a:lnTo>
                      <a:lnTo>
                        <a:pt x="244" y="21"/>
                      </a:lnTo>
                      <a:lnTo>
                        <a:pt x="247" y="21"/>
                      </a:lnTo>
                      <a:lnTo>
                        <a:pt x="249" y="21"/>
                      </a:lnTo>
                      <a:lnTo>
                        <a:pt x="252" y="21"/>
                      </a:lnTo>
                      <a:lnTo>
                        <a:pt x="256" y="21"/>
                      </a:lnTo>
                      <a:lnTo>
                        <a:pt x="259" y="21"/>
                      </a:lnTo>
                      <a:lnTo>
                        <a:pt x="262" y="20"/>
                      </a:lnTo>
                      <a:lnTo>
                        <a:pt x="263" y="19"/>
                      </a:lnTo>
                      <a:lnTo>
                        <a:pt x="263" y="18"/>
                      </a:lnTo>
                      <a:lnTo>
                        <a:pt x="263" y="15"/>
                      </a:lnTo>
                      <a:lnTo>
                        <a:pt x="262" y="13"/>
                      </a:lnTo>
                      <a:lnTo>
                        <a:pt x="262" y="12"/>
                      </a:lnTo>
                      <a:lnTo>
                        <a:pt x="262" y="9"/>
                      </a:lnTo>
                      <a:lnTo>
                        <a:pt x="263" y="8"/>
                      </a:lnTo>
                      <a:lnTo>
                        <a:pt x="262" y="5"/>
                      </a:lnTo>
                      <a:lnTo>
                        <a:pt x="262" y="2"/>
                      </a:lnTo>
                      <a:lnTo>
                        <a:pt x="261" y="0"/>
                      </a:lnTo>
                      <a:lnTo>
                        <a:pt x="261" y="0"/>
                      </a:lnTo>
                      <a:lnTo>
                        <a:pt x="261" y="0"/>
                      </a:lnTo>
                      <a:lnTo>
                        <a:pt x="261" y="0"/>
                      </a:lnTo>
                      <a:lnTo>
                        <a:pt x="263" y="0"/>
                      </a:lnTo>
                      <a:lnTo>
                        <a:pt x="265"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4" name="Freeform 110">
                  <a:extLst>
                    <a:ext uri="{FF2B5EF4-FFF2-40B4-BE49-F238E27FC236}">
                      <a16:creationId xmlns:a16="http://schemas.microsoft.com/office/drawing/2014/main" id="{A4C24CCF-D2D4-F2B6-719A-70DB61199643}"/>
                    </a:ext>
                  </a:extLst>
                </p:cNvPr>
                <p:cNvSpPr>
                  <a:spLocks noEditPoints="1"/>
                </p:cNvSpPr>
                <p:nvPr/>
              </p:nvSpPr>
              <p:spPr bwMode="auto">
                <a:xfrm>
                  <a:off x="6975495" y="3016524"/>
                  <a:ext cx="579809" cy="483534"/>
                </a:xfrm>
                <a:custGeom>
                  <a:avLst/>
                  <a:gdLst>
                    <a:gd name="T0" fmla="*/ 318 w 536"/>
                    <a:gd name="T1" fmla="*/ 7 h 447"/>
                    <a:gd name="T2" fmla="*/ 359 w 536"/>
                    <a:gd name="T3" fmla="*/ 9 h 447"/>
                    <a:gd name="T4" fmla="*/ 446 w 536"/>
                    <a:gd name="T5" fmla="*/ 9 h 447"/>
                    <a:gd name="T6" fmla="*/ 483 w 536"/>
                    <a:gd name="T7" fmla="*/ 20 h 447"/>
                    <a:gd name="T8" fmla="*/ 493 w 536"/>
                    <a:gd name="T9" fmla="*/ 40 h 447"/>
                    <a:gd name="T10" fmla="*/ 489 w 536"/>
                    <a:gd name="T11" fmla="*/ 37 h 447"/>
                    <a:gd name="T12" fmla="*/ 493 w 536"/>
                    <a:gd name="T13" fmla="*/ 60 h 447"/>
                    <a:gd name="T14" fmla="*/ 492 w 536"/>
                    <a:gd name="T15" fmla="*/ 75 h 447"/>
                    <a:gd name="T16" fmla="*/ 496 w 536"/>
                    <a:gd name="T17" fmla="*/ 105 h 447"/>
                    <a:gd name="T18" fmla="*/ 504 w 536"/>
                    <a:gd name="T19" fmla="*/ 121 h 447"/>
                    <a:gd name="T20" fmla="*/ 519 w 536"/>
                    <a:gd name="T21" fmla="*/ 129 h 447"/>
                    <a:gd name="T22" fmla="*/ 526 w 536"/>
                    <a:gd name="T23" fmla="*/ 136 h 447"/>
                    <a:gd name="T24" fmla="*/ 533 w 536"/>
                    <a:gd name="T25" fmla="*/ 140 h 447"/>
                    <a:gd name="T26" fmla="*/ 527 w 536"/>
                    <a:gd name="T27" fmla="*/ 157 h 447"/>
                    <a:gd name="T28" fmla="*/ 518 w 536"/>
                    <a:gd name="T29" fmla="*/ 159 h 447"/>
                    <a:gd name="T30" fmla="*/ 501 w 536"/>
                    <a:gd name="T31" fmla="*/ 172 h 447"/>
                    <a:gd name="T32" fmla="*/ 484 w 536"/>
                    <a:gd name="T33" fmla="*/ 175 h 447"/>
                    <a:gd name="T34" fmla="*/ 482 w 536"/>
                    <a:gd name="T35" fmla="*/ 189 h 447"/>
                    <a:gd name="T36" fmla="*/ 482 w 536"/>
                    <a:gd name="T37" fmla="*/ 203 h 447"/>
                    <a:gd name="T38" fmla="*/ 469 w 536"/>
                    <a:gd name="T39" fmla="*/ 236 h 447"/>
                    <a:gd name="T40" fmla="*/ 468 w 536"/>
                    <a:gd name="T41" fmla="*/ 280 h 447"/>
                    <a:gd name="T42" fmla="*/ 457 w 536"/>
                    <a:gd name="T43" fmla="*/ 314 h 447"/>
                    <a:gd name="T44" fmla="*/ 434 w 536"/>
                    <a:gd name="T45" fmla="*/ 334 h 447"/>
                    <a:gd name="T46" fmla="*/ 423 w 536"/>
                    <a:gd name="T47" fmla="*/ 347 h 447"/>
                    <a:gd name="T48" fmla="*/ 420 w 536"/>
                    <a:gd name="T49" fmla="*/ 368 h 447"/>
                    <a:gd name="T50" fmla="*/ 413 w 536"/>
                    <a:gd name="T51" fmla="*/ 382 h 447"/>
                    <a:gd name="T52" fmla="*/ 399 w 536"/>
                    <a:gd name="T53" fmla="*/ 399 h 447"/>
                    <a:gd name="T54" fmla="*/ 387 w 536"/>
                    <a:gd name="T55" fmla="*/ 411 h 447"/>
                    <a:gd name="T56" fmla="*/ 361 w 536"/>
                    <a:gd name="T57" fmla="*/ 382 h 447"/>
                    <a:gd name="T58" fmla="*/ 363 w 536"/>
                    <a:gd name="T59" fmla="*/ 334 h 447"/>
                    <a:gd name="T60" fmla="*/ 336 w 536"/>
                    <a:gd name="T61" fmla="*/ 360 h 447"/>
                    <a:gd name="T62" fmla="*/ 300 w 536"/>
                    <a:gd name="T63" fmla="*/ 412 h 447"/>
                    <a:gd name="T64" fmla="*/ 250 w 536"/>
                    <a:gd name="T65" fmla="*/ 403 h 447"/>
                    <a:gd name="T66" fmla="*/ 212 w 536"/>
                    <a:gd name="T67" fmla="*/ 426 h 447"/>
                    <a:gd name="T68" fmla="*/ 153 w 536"/>
                    <a:gd name="T69" fmla="*/ 421 h 447"/>
                    <a:gd name="T70" fmla="*/ 128 w 536"/>
                    <a:gd name="T71" fmla="*/ 391 h 447"/>
                    <a:gd name="T72" fmla="*/ 113 w 536"/>
                    <a:gd name="T73" fmla="*/ 395 h 447"/>
                    <a:gd name="T74" fmla="*/ 102 w 536"/>
                    <a:gd name="T75" fmla="*/ 405 h 447"/>
                    <a:gd name="T76" fmla="*/ 92 w 536"/>
                    <a:gd name="T77" fmla="*/ 425 h 447"/>
                    <a:gd name="T78" fmla="*/ 76 w 536"/>
                    <a:gd name="T79" fmla="*/ 446 h 447"/>
                    <a:gd name="T80" fmla="*/ 59 w 536"/>
                    <a:gd name="T81" fmla="*/ 446 h 447"/>
                    <a:gd name="T82" fmla="*/ 55 w 536"/>
                    <a:gd name="T83" fmla="*/ 438 h 447"/>
                    <a:gd name="T84" fmla="*/ 58 w 536"/>
                    <a:gd name="T85" fmla="*/ 423 h 447"/>
                    <a:gd name="T86" fmla="*/ 34 w 536"/>
                    <a:gd name="T87" fmla="*/ 376 h 447"/>
                    <a:gd name="T88" fmla="*/ 31 w 536"/>
                    <a:gd name="T89" fmla="*/ 358 h 447"/>
                    <a:gd name="T90" fmla="*/ 25 w 536"/>
                    <a:gd name="T91" fmla="*/ 337 h 447"/>
                    <a:gd name="T92" fmla="*/ 12 w 536"/>
                    <a:gd name="T93" fmla="*/ 319 h 447"/>
                    <a:gd name="T94" fmla="*/ 2 w 536"/>
                    <a:gd name="T95" fmla="*/ 311 h 447"/>
                    <a:gd name="T96" fmla="*/ 13 w 536"/>
                    <a:gd name="T97" fmla="*/ 288 h 447"/>
                    <a:gd name="T98" fmla="*/ 22 w 536"/>
                    <a:gd name="T99" fmla="*/ 272 h 447"/>
                    <a:gd name="T100" fmla="*/ 19 w 536"/>
                    <a:gd name="T101" fmla="*/ 258 h 447"/>
                    <a:gd name="T102" fmla="*/ 29 w 536"/>
                    <a:gd name="T103" fmla="*/ 244 h 447"/>
                    <a:gd name="T104" fmla="*/ 35 w 536"/>
                    <a:gd name="T105" fmla="*/ 227 h 447"/>
                    <a:gd name="T106" fmla="*/ 65 w 536"/>
                    <a:gd name="T107" fmla="*/ 218 h 447"/>
                    <a:gd name="T108" fmla="*/ 70 w 536"/>
                    <a:gd name="T109" fmla="*/ 147 h 447"/>
                    <a:gd name="T110" fmla="*/ 78 w 536"/>
                    <a:gd name="T111" fmla="*/ 76 h 447"/>
                    <a:gd name="T112" fmla="*/ 101 w 536"/>
                    <a:gd name="T113" fmla="*/ 54 h 447"/>
                    <a:gd name="T114" fmla="*/ 108 w 536"/>
                    <a:gd name="T115" fmla="*/ 7 h 447"/>
                    <a:gd name="T116" fmla="*/ 148 w 536"/>
                    <a:gd name="T117" fmla="*/ 7 h 447"/>
                    <a:gd name="T118" fmla="*/ 188 w 536"/>
                    <a:gd name="T119" fmla="*/ 7 h 447"/>
                    <a:gd name="T120" fmla="*/ 229 w 536"/>
                    <a:gd name="T121" fmla="*/ 7 h 447"/>
                    <a:gd name="T122" fmla="*/ 270 w 536"/>
                    <a:gd name="T123" fmla="*/ 7 h 447"/>
                    <a:gd name="T124" fmla="*/ 306 w 536"/>
                    <a:gd name="T125" fmla="*/ 2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6" h="447">
                      <a:moveTo>
                        <a:pt x="494" y="52"/>
                      </a:moveTo>
                      <a:lnTo>
                        <a:pt x="493" y="51"/>
                      </a:lnTo>
                      <a:lnTo>
                        <a:pt x="493" y="49"/>
                      </a:lnTo>
                      <a:lnTo>
                        <a:pt x="493" y="48"/>
                      </a:lnTo>
                      <a:lnTo>
                        <a:pt x="494" y="48"/>
                      </a:lnTo>
                      <a:lnTo>
                        <a:pt x="494" y="51"/>
                      </a:lnTo>
                      <a:lnTo>
                        <a:pt x="494" y="52"/>
                      </a:lnTo>
                      <a:close/>
                      <a:moveTo>
                        <a:pt x="309" y="5"/>
                      </a:moveTo>
                      <a:lnTo>
                        <a:pt x="308" y="7"/>
                      </a:lnTo>
                      <a:lnTo>
                        <a:pt x="309" y="7"/>
                      </a:lnTo>
                      <a:lnTo>
                        <a:pt x="311" y="7"/>
                      </a:lnTo>
                      <a:lnTo>
                        <a:pt x="314" y="7"/>
                      </a:lnTo>
                      <a:lnTo>
                        <a:pt x="318" y="7"/>
                      </a:lnTo>
                      <a:lnTo>
                        <a:pt x="321" y="7"/>
                      </a:lnTo>
                      <a:lnTo>
                        <a:pt x="323" y="7"/>
                      </a:lnTo>
                      <a:lnTo>
                        <a:pt x="327" y="7"/>
                      </a:lnTo>
                      <a:lnTo>
                        <a:pt x="330" y="7"/>
                      </a:lnTo>
                      <a:lnTo>
                        <a:pt x="334" y="7"/>
                      </a:lnTo>
                      <a:lnTo>
                        <a:pt x="337" y="7"/>
                      </a:lnTo>
                      <a:lnTo>
                        <a:pt x="340" y="7"/>
                      </a:lnTo>
                      <a:lnTo>
                        <a:pt x="343" y="7"/>
                      </a:lnTo>
                      <a:lnTo>
                        <a:pt x="347" y="7"/>
                      </a:lnTo>
                      <a:lnTo>
                        <a:pt x="350" y="7"/>
                      </a:lnTo>
                      <a:lnTo>
                        <a:pt x="354" y="7"/>
                      </a:lnTo>
                      <a:lnTo>
                        <a:pt x="357" y="7"/>
                      </a:lnTo>
                      <a:lnTo>
                        <a:pt x="359" y="9"/>
                      </a:lnTo>
                      <a:lnTo>
                        <a:pt x="363" y="9"/>
                      </a:lnTo>
                      <a:lnTo>
                        <a:pt x="364" y="9"/>
                      </a:lnTo>
                      <a:lnTo>
                        <a:pt x="371" y="9"/>
                      </a:lnTo>
                      <a:lnTo>
                        <a:pt x="378" y="9"/>
                      </a:lnTo>
                      <a:lnTo>
                        <a:pt x="385" y="9"/>
                      </a:lnTo>
                      <a:lnTo>
                        <a:pt x="393" y="9"/>
                      </a:lnTo>
                      <a:lnTo>
                        <a:pt x="400" y="9"/>
                      </a:lnTo>
                      <a:lnTo>
                        <a:pt x="408" y="9"/>
                      </a:lnTo>
                      <a:lnTo>
                        <a:pt x="415" y="9"/>
                      </a:lnTo>
                      <a:lnTo>
                        <a:pt x="422" y="9"/>
                      </a:lnTo>
                      <a:lnTo>
                        <a:pt x="430" y="9"/>
                      </a:lnTo>
                      <a:lnTo>
                        <a:pt x="437" y="9"/>
                      </a:lnTo>
                      <a:lnTo>
                        <a:pt x="446" y="9"/>
                      </a:lnTo>
                      <a:lnTo>
                        <a:pt x="453" y="9"/>
                      </a:lnTo>
                      <a:lnTo>
                        <a:pt x="460" y="9"/>
                      </a:lnTo>
                      <a:lnTo>
                        <a:pt x="468" y="9"/>
                      </a:lnTo>
                      <a:lnTo>
                        <a:pt x="475" y="9"/>
                      </a:lnTo>
                      <a:lnTo>
                        <a:pt x="483" y="9"/>
                      </a:lnTo>
                      <a:lnTo>
                        <a:pt x="482" y="9"/>
                      </a:lnTo>
                      <a:lnTo>
                        <a:pt x="482" y="10"/>
                      </a:lnTo>
                      <a:lnTo>
                        <a:pt x="480" y="10"/>
                      </a:lnTo>
                      <a:lnTo>
                        <a:pt x="482" y="10"/>
                      </a:lnTo>
                      <a:lnTo>
                        <a:pt x="482" y="11"/>
                      </a:lnTo>
                      <a:lnTo>
                        <a:pt x="482" y="14"/>
                      </a:lnTo>
                      <a:lnTo>
                        <a:pt x="483" y="19"/>
                      </a:lnTo>
                      <a:lnTo>
                        <a:pt x="483" y="20"/>
                      </a:lnTo>
                      <a:lnTo>
                        <a:pt x="483" y="21"/>
                      </a:lnTo>
                      <a:lnTo>
                        <a:pt x="484" y="23"/>
                      </a:lnTo>
                      <a:lnTo>
                        <a:pt x="485" y="27"/>
                      </a:lnTo>
                      <a:lnTo>
                        <a:pt x="490" y="33"/>
                      </a:lnTo>
                      <a:lnTo>
                        <a:pt x="492" y="35"/>
                      </a:lnTo>
                      <a:lnTo>
                        <a:pt x="496" y="40"/>
                      </a:lnTo>
                      <a:lnTo>
                        <a:pt x="496" y="41"/>
                      </a:lnTo>
                      <a:lnTo>
                        <a:pt x="496" y="42"/>
                      </a:lnTo>
                      <a:lnTo>
                        <a:pt x="494" y="42"/>
                      </a:lnTo>
                      <a:lnTo>
                        <a:pt x="493" y="42"/>
                      </a:lnTo>
                      <a:lnTo>
                        <a:pt x="492" y="40"/>
                      </a:lnTo>
                      <a:lnTo>
                        <a:pt x="492" y="39"/>
                      </a:lnTo>
                      <a:lnTo>
                        <a:pt x="493" y="40"/>
                      </a:lnTo>
                      <a:lnTo>
                        <a:pt x="493" y="41"/>
                      </a:lnTo>
                      <a:lnTo>
                        <a:pt x="494" y="41"/>
                      </a:lnTo>
                      <a:lnTo>
                        <a:pt x="494" y="40"/>
                      </a:lnTo>
                      <a:lnTo>
                        <a:pt x="493" y="40"/>
                      </a:lnTo>
                      <a:lnTo>
                        <a:pt x="493" y="39"/>
                      </a:lnTo>
                      <a:lnTo>
                        <a:pt x="493" y="38"/>
                      </a:lnTo>
                      <a:lnTo>
                        <a:pt x="492" y="38"/>
                      </a:lnTo>
                      <a:lnTo>
                        <a:pt x="491" y="38"/>
                      </a:lnTo>
                      <a:lnTo>
                        <a:pt x="491" y="37"/>
                      </a:lnTo>
                      <a:lnTo>
                        <a:pt x="491" y="35"/>
                      </a:lnTo>
                      <a:lnTo>
                        <a:pt x="490" y="35"/>
                      </a:lnTo>
                      <a:lnTo>
                        <a:pt x="489" y="35"/>
                      </a:lnTo>
                      <a:lnTo>
                        <a:pt x="489" y="37"/>
                      </a:lnTo>
                      <a:lnTo>
                        <a:pt x="489" y="38"/>
                      </a:lnTo>
                      <a:lnTo>
                        <a:pt x="490" y="38"/>
                      </a:lnTo>
                      <a:lnTo>
                        <a:pt x="490" y="39"/>
                      </a:lnTo>
                      <a:lnTo>
                        <a:pt x="490" y="40"/>
                      </a:lnTo>
                      <a:lnTo>
                        <a:pt x="489" y="40"/>
                      </a:lnTo>
                      <a:lnTo>
                        <a:pt x="489" y="41"/>
                      </a:lnTo>
                      <a:lnTo>
                        <a:pt x="490" y="42"/>
                      </a:lnTo>
                      <a:lnTo>
                        <a:pt x="491" y="45"/>
                      </a:lnTo>
                      <a:lnTo>
                        <a:pt x="491" y="47"/>
                      </a:lnTo>
                      <a:lnTo>
                        <a:pt x="491" y="52"/>
                      </a:lnTo>
                      <a:lnTo>
                        <a:pt x="492" y="54"/>
                      </a:lnTo>
                      <a:lnTo>
                        <a:pt x="493" y="58"/>
                      </a:lnTo>
                      <a:lnTo>
                        <a:pt x="493" y="60"/>
                      </a:lnTo>
                      <a:lnTo>
                        <a:pt x="493" y="61"/>
                      </a:lnTo>
                      <a:lnTo>
                        <a:pt x="492" y="61"/>
                      </a:lnTo>
                      <a:lnTo>
                        <a:pt x="491" y="61"/>
                      </a:lnTo>
                      <a:lnTo>
                        <a:pt x="491" y="62"/>
                      </a:lnTo>
                      <a:lnTo>
                        <a:pt x="491" y="65"/>
                      </a:lnTo>
                      <a:lnTo>
                        <a:pt x="491" y="66"/>
                      </a:lnTo>
                      <a:lnTo>
                        <a:pt x="491" y="67"/>
                      </a:lnTo>
                      <a:lnTo>
                        <a:pt x="492" y="69"/>
                      </a:lnTo>
                      <a:lnTo>
                        <a:pt x="492" y="70"/>
                      </a:lnTo>
                      <a:lnTo>
                        <a:pt x="492" y="72"/>
                      </a:lnTo>
                      <a:lnTo>
                        <a:pt x="493" y="73"/>
                      </a:lnTo>
                      <a:lnTo>
                        <a:pt x="492" y="74"/>
                      </a:lnTo>
                      <a:lnTo>
                        <a:pt x="492" y="75"/>
                      </a:lnTo>
                      <a:lnTo>
                        <a:pt x="492" y="76"/>
                      </a:lnTo>
                      <a:lnTo>
                        <a:pt x="492" y="77"/>
                      </a:lnTo>
                      <a:lnTo>
                        <a:pt x="494" y="83"/>
                      </a:lnTo>
                      <a:lnTo>
                        <a:pt x="494" y="84"/>
                      </a:lnTo>
                      <a:lnTo>
                        <a:pt x="494" y="87"/>
                      </a:lnTo>
                      <a:lnTo>
                        <a:pt x="493" y="87"/>
                      </a:lnTo>
                      <a:lnTo>
                        <a:pt x="493" y="88"/>
                      </a:lnTo>
                      <a:lnTo>
                        <a:pt x="493" y="90"/>
                      </a:lnTo>
                      <a:lnTo>
                        <a:pt x="493" y="91"/>
                      </a:lnTo>
                      <a:lnTo>
                        <a:pt x="494" y="93"/>
                      </a:lnTo>
                      <a:lnTo>
                        <a:pt x="494" y="95"/>
                      </a:lnTo>
                      <a:lnTo>
                        <a:pt x="496" y="102"/>
                      </a:lnTo>
                      <a:lnTo>
                        <a:pt x="496" y="105"/>
                      </a:lnTo>
                      <a:lnTo>
                        <a:pt x="497" y="105"/>
                      </a:lnTo>
                      <a:lnTo>
                        <a:pt x="497" y="107"/>
                      </a:lnTo>
                      <a:lnTo>
                        <a:pt x="498" y="108"/>
                      </a:lnTo>
                      <a:lnTo>
                        <a:pt x="498" y="110"/>
                      </a:lnTo>
                      <a:lnTo>
                        <a:pt x="499" y="112"/>
                      </a:lnTo>
                      <a:lnTo>
                        <a:pt x="499" y="114"/>
                      </a:lnTo>
                      <a:lnTo>
                        <a:pt x="499" y="115"/>
                      </a:lnTo>
                      <a:lnTo>
                        <a:pt x="500" y="116"/>
                      </a:lnTo>
                      <a:lnTo>
                        <a:pt x="500" y="117"/>
                      </a:lnTo>
                      <a:lnTo>
                        <a:pt x="501" y="118"/>
                      </a:lnTo>
                      <a:lnTo>
                        <a:pt x="503" y="119"/>
                      </a:lnTo>
                      <a:lnTo>
                        <a:pt x="503" y="121"/>
                      </a:lnTo>
                      <a:lnTo>
                        <a:pt x="504" y="121"/>
                      </a:lnTo>
                      <a:lnTo>
                        <a:pt x="506" y="119"/>
                      </a:lnTo>
                      <a:lnTo>
                        <a:pt x="507" y="119"/>
                      </a:lnTo>
                      <a:lnTo>
                        <a:pt x="507" y="121"/>
                      </a:lnTo>
                      <a:lnTo>
                        <a:pt x="508" y="121"/>
                      </a:lnTo>
                      <a:lnTo>
                        <a:pt x="510" y="121"/>
                      </a:lnTo>
                      <a:lnTo>
                        <a:pt x="510" y="122"/>
                      </a:lnTo>
                      <a:lnTo>
                        <a:pt x="510" y="123"/>
                      </a:lnTo>
                      <a:lnTo>
                        <a:pt x="511" y="123"/>
                      </a:lnTo>
                      <a:lnTo>
                        <a:pt x="511" y="124"/>
                      </a:lnTo>
                      <a:lnTo>
                        <a:pt x="515" y="124"/>
                      </a:lnTo>
                      <a:lnTo>
                        <a:pt x="517" y="126"/>
                      </a:lnTo>
                      <a:lnTo>
                        <a:pt x="517" y="128"/>
                      </a:lnTo>
                      <a:lnTo>
                        <a:pt x="519" y="129"/>
                      </a:lnTo>
                      <a:lnTo>
                        <a:pt x="519" y="130"/>
                      </a:lnTo>
                      <a:lnTo>
                        <a:pt x="521" y="130"/>
                      </a:lnTo>
                      <a:lnTo>
                        <a:pt x="521" y="131"/>
                      </a:lnTo>
                      <a:lnTo>
                        <a:pt x="520" y="131"/>
                      </a:lnTo>
                      <a:lnTo>
                        <a:pt x="520" y="132"/>
                      </a:lnTo>
                      <a:lnTo>
                        <a:pt x="520" y="135"/>
                      </a:lnTo>
                      <a:lnTo>
                        <a:pt x="522" y="136"/>
                      </a:lnTo>
                      <a:lnTo>
                        <a:pt x="524" y="137"/>
                      </a:lnTo>
                      <a:lnTo>
                        <a:pt x="525" y="136"/>
                      </a:lnTo>
                      <a:lnTo>
                        <a:pt x="525" y="135"/>
                      </a:lnTo>
                      <a:lnTo>
                        <a:pt x="526" y="135"/>
                      </a:lnTo>
                      <a:lnTo>
                        <a:pt x="527" y="135"/>
                      </a:lnTo>
                      <a:lnTo>
                        <a:pt x="526" y="136"/>
                      </a:lnTo>
                      <a:lnTo>
                        <a:pt x="526" y="137"/>
                      </a:lnTo>
                      <a:lnTo>
                        <a:pt x="525" y="137"/>
                      </a:lnTo>
                      <a:lnTo>
                        <a:pt x="526" y="137"/>
                      </a:lnTo>
                      <a:lnTo>
                        <a:pt x="527" y="137"/>
                      </a:lnTo>
                      <a:lnTo>
                        <a:pt x="527" y="138"/>
                      </a:lnTo>
                      <a:lnTo>
                        <a:pt x="528" y="138"/>
                      </a:lnTo>
                      <a:lnTo>
                        <a:pt x="529" y="138"/>
                      </a:lnTo>
                      <a:lnTo>
                        <a:pt x="529" y="137"/>
                      </a:lnTo>
                      <a:lnTo>
                        <a:pt x="531" y="137"/>
                      </a:lnTo>
                      <a:lnTo>
                        <a:pt x="532" y="139"/>
                      </a:lnTo>
                      <a:lnTo>
                        <a:pt x="531" y="139"/>
                      </a:lnTo>
                      <a:lnTo>
                        <a:pt x="532" y="140"/>
                      </a:lnTo>
                      <a:lnTo>
                        <a:pt x="533" y="140"/>
                      </a:lnTo>
                      <a:lnTo>
                        <a:pt x="533" y="139"/>
                      </a:lnTo>
                      <a:lnTo>
                        <a:pt x="533" y="140"/>
                      </a:lnTo>
                      <a:lnTo>
                        <a:pt x="533" y="142"/>
                      </a:lnTo>
                      <a:lnTo>
                        <a:pt x="534" y="142"/>
                      </a:lnTo>
                      <a:lnTo>
                        <a:pt x="534" y="140"/>
                      </a:lnTo>
                      <a:lnTo>
                        <a:pt x="536" y="142"/>
                      </a:lnTo>
                      <a:lnTo>
                        <a:pt x="536" y="143"/>
                      </a:lnTo>
                      <a:lnTo>
                        <a:pt x="536" y="144"/>
                      </a:lnTo>
                      <a:lnTo>
                        <a:pt x="532" y="149"/>
                      </a:lnTo>
                      <a:lnTo>
                        <a:pt x="531" y="150"/>
                      </a:lnTo>
                      <a:lnTo>
                        <a:pt x="529" y="154"/>
                      </a:lnTo>
                      <a:lnTo>
                        <a:pt x="528" y="156"/>
                      </a:lnTo>
                      <a:lnTo>
                        <a:pt x="527" y="157"/>
                      </a:lnTo>
                      <a:lnTo>
                        <a:pt x="526" y="157"/>
                      </a:lnTo>
                      <a:lnTo>
                        <a:pt x="525" y="158"/>
                      </a:lnTo>
                      <a:lnTo>
                        <a:pt x="525" y="159"/>
                      </a:lnTo>
                      <a:lnTo>
                        <a:pt x="525" y="160"/>
                      </a:lnTo>
                      <a:lnTo>
                        <a:pt x="524" y="160"/>
                      </a:lnTo>
                      <a:lnTo>
                        <a:pt x="522" y="159"/>
                      </a:lnTo>
                      <a:lnTo>
                        <a:pt x="521" y="159"/>
                      </a:lnTo>
                      <a:lnTo>
                        <a:pt x="521" y="160"/>
                      </a:lnTo>
                      <a:lnTo>
                        <a:pt x="520" y="161"/>
                      </a:lnTo>
                      <a:lnTo>
                        <a:pt x="519" y="161"/>
                      </a:lnTo>
                      <a:lnTo>
                        <a:pt x="519" y="160"/>
                      </a:lnTo>
                      <a:lnTo>
                        <a:pt x="519" y="159"/>
                      </a:lnTo>
                      <a:lnTo>
                        <a:pt x="518" y="159"/>
                      </a:lnTo>
                      <a:lnTo>
                        <a:pt x="515" y="161"/>
                      </a:lnTo>
                      <a:lnTo>
                        <a:pt x="514" y="163"/>
                      </a:lnTo>
                      <a:lnTo>
                        <a:pt x="513" y="163"/>
                      </a:lnTo>
                      <a:lnTo>
                        <a:pt x="512" y="163"/>
                      </a:lnTo>
                      <a:lnTo>
                        <a:pt x="511" y="161"/>
                      </a:lnTo>
                      <a:lnTo>
                        <a:pt x="510" y="163"/>
                      </a:lnTo>
                      <a:lnTo>
                        <a:pt x="508" y="165"/>
                      </a:lnTo>
                      <a:lnTo>
                        <a:pt x="507" y="165"/>
                      </a:lnTo>
                      <a:lnTo>
                        <a:pt x="506" y="166"/>
                      </a:lnTo>
                      <a:lnTo>
                        <a:pt x="501" y="167"/>
                      </a:lnTo>
                      <a:lnTo>
                        <a:pt x="501" y="169"/>
                      </a:lnTo>
                      <a:lnTo>
                        <a:pt x="501" y="171"/>
                      </a:lnTo>
                      <a:lnTo>
                        <a:pt x="501" y="172"/>
                      </a:lnTo>
                      <a:lnTo>
                        <a:pt x="500" y="173"/>
                      </a:lnTo>
                      <a:lnTo>
                        <a:pt x="500" y="174"/>
                      </a:lnTo>
                      <a:lnTo>
                        <a:pt x="498" y="176"/>
                      </a:lnTo>
                      <a:lnTo>
                        <a:pt x="494" y="175"/>
                      </a:lnTo>
                      <a:lnTo>
                        <a:pt x="492" y="176"/>
                      </a:lnTo>
                      <a:lnTo>
                        <a:pt x="491" y="176"/>
                      </a:lnTo>
                      <a:lnTo>
                        <a:pt x="490" y="176"/>
                      </a:lnTo>
                      <a:lnTo>
                        <a:pt x="489" y="176"/>
                      </a:lnTo>
                      <a:lnTo>
                        <a:pt x="487" y="176"/>
                      </a:lnTo>
                      <a:lnTo>
                        <a:pt x="487" y="175"/>
                      </a:lnTo>
                      <a:lnTo>
                        <a:pt x="486" y="175"/>
                      </a:lnTo>
                      <a:lnTo>
                        <a:pt x="485" y="175"/>
                      </a:lnTo>
                      <a:lnTo>
                        <a:pt x="484" y="175"/>
                      </a:lnTo>
                      <a:lnTo>
                        <a:pt x="485" y="176"/>
                      </a:lnTo>
                      <a:lnTo>
                        <a:pt x="485" y="178"/>
                      </a:lnTo>
                      <a:lnTo>
                        <a:pt x="484" y="179"/>
                      </a:lnTo>
                      <a:lnTo>
                        <a:pt x="484" y="180"/>
                      </a:lnTo>
                      <a:lnTo>
                        <a:pt x="485" y="180"/>
                      </a:lnTo>
                      <a:lnTo>
                        <a:pt x="485" y="181"/>
                      </a:lnTo>
                      <a:lnTo>
                        <a:pt x="485" y="182"/>
                      </a:lnTo>
                      <a:lnTo>
                        <a:pt x="485" y="183"/>
                      </a:lnTo>
                      <a:lnTo>
                        <a:pt x="484" y="185"/>
                      </a:lnTo>
                      <a:lnTo>
                        <a:pt x="484" y="187"/>
                      </a:lnTo>
                      <a:lnTo>
                        <a:pt x="483" y="187"/>
                      </a:lnTo>
                      <a:lnTo>
                        <a:pt x="483" y="188"/>
                      </a:lnTo>
                      <a:lnTo>
                        <a:pt x="482" y="189"/>
                      </a:lnTo>
                      <a:lnTo>
                        <a:pt x="482" y="190"/>
                      </a:lnTo>
                      <a:lnTo>
                        <a:pt x="482" y="192"/>
                      </a:lnTo>
                      <a:lnTo>
                        <a:pt x="480" y="193"/>
                      </a:lnTo>
                      <a:lnTo>
                        <a:pt x="480" y="194"/>
                      </a:lnTo>
                      <a:lnTo>
                        <a:pt x="482" y="194"/>
                      </a:lnTo>
                      <a:lnTo>
                        <a:pt x="482" y="195"/>
                      </a:lnTo>
                      <a:lnTo>
                        <a:pt x="483" y="196"/>
                      </a:lnTo>
                      <a:lnTo>
                        <a:pt x="483" y="197"/>
                      </a:lnTo>
                      <a:lnTo>
                        <a:pt x="483" y="199"/>
                      </a:lnTo>
                      <a:lnTo>
                        <a:pt x="483" y="201"/>
                      </a:lnTo>
                      <a:lnTo>
                        <a:pt x="484" y="201"/>
                      </a:lnTo>
                      <a:lnTo>
                        <a:pt x="483" y="202"/>
                      </a:lnTo>
                      <a:lnTo>
                        <a:pt x="482" y="203"/>
                      </a:lnTo>
                      <a:lnTo>
                        <a:pt x="482" y="204"/>
                      </a:lnTo>
                      <a:lnTo>
                        <a:pt x="480" y="207"/>
                      </a:lnTo>
                      <a:lnTo>
                        <a:pt x="478" y="211"/>
                      </a:lnTo>
                      <a:lnTo>
                        <a:pt x="477" y="216"/>
                      </a:lnTo>
                      <a:lnTo>
                        <a:pt x="476" y="217"/>
                      </a:lnTo>
                      <a:lnTo>
                        <a:pt x="475" y="218"/>
                      </a:lnTo>
                      <a:lnTo>
                        <a:pt x="475" y="220"/>
                      </a:lnTo>
                      <a:lnTo>
                        <a:pt x="472" y="225"/>
                      </a:lnTo>
                      <a:lnTo>
                        <a:pt x="472" y="228"/>
                      </a:lnTo>
                      <a:lnTo>
                        <a:pt x="472" y="229"/>
                      </a:lnTo>
                      <a:lnTo>
                        <a:pt x="471" y="230"/>
                      </a:lnTo>
                      <a:lnTo>
                        <a:pt x="470" y="235"/>
                      </a:lnTo>
                      <a:lnTo>
                        <a:pt x="469" y="236"/>
                      </a:lnTo>
                      <a:lnTo>
                        <a:pt x="467" y="238"/>
                      </a:lnTo>
                      <a:lnTo>
                        <a:pt x="467" y="239"/>
                      </a:lnTo>
                      <a:lnTo>
                        <a:pt x="467" y="243"/>
                      </a:lnTo>
                      <a:lnTo>
                        <a:pt x="468" y="249"/>
                      </a:lnTo>
                      <a:lnTo>
                        <a:pt x="468" y="250"/>
                      </a:lnTo>
                      <a:lnTo>
                        <a:pt x="468" y="253"/>
                      </a:lnTo>
                      <a:lnTo>
                        <a:pt x="469" y="257"/>
                      </a:lnTo>
                      <a:lnTo>
                        <a:pt x="469" y="262"/>
                      </a:lnTo>
                      <a:lnTo>
                        <a:pt x="470" y="267"/>
                      </a:lnTo>
                      <a:lnTo>
                        <a:pt x="467" y="277"/>
                      </a:lnTo>
                      <a:lnTo>
                        <a:pt x="467" y="278"/>
                      </a:lnTo>
                      <a:lnTo>
                        <a:pt x="467" y="279"/>
                      </a:lnTo>
                      <a:lnTo>
                        <a:pt x="468" y="280"/>
                      </a:lnTo>
                      <a:lnTo>
                        <a:pt x="468" y="281"/>
                      </a:lnTo>
                      <a:lnTo>
                        <a:pt x="467" y="284"/>
                      </a:lnTo>
                      <a:lnTo>
                        <a:pt x="465" y="287"/>
                      </a:lnTo>
                      <a:lnTo>
                        <a:pt x="465" y="290"/>
                      </a:lnTo>
                      <a:lnTo>
                        <a:pt x="464" y="290"/>
                      </a:lnTo>
                      <a:lnTo>
                        <a:pt x="460" y="297"/>
                      </a:lnTo>
                      <a:lnTo>
                        <a:pt x="457" y="307"/>
                      </a:lnTo>
                      <a:lnTo>
                        <a:pt x="457" y="308"/>
                      </a:lnTo>
                      <a:lnTo>
                        <a:pt x="457" y="309"/>
                      </a:lnTo>
                      <a:lnTo>
                        <a:pt x="456" y="311"/>
                      </a:lnTo>
                      <a:lnTo>
                        <a:pt x="456" y="312"/>
                      </a:lnTo>
                      <a:lnTo>
                        <a:pt x="457" y="313"/>
                      </a:lnTo>
                      <a:lnTo>
                        <a:pt x="457" y="314"/>
                      </a:lnTo>
                      <a:lnTo>
                        <a:pt x="456" y="318"/>
                      </a:lnTo>
                      <a:lnTo>
                        <a:pt x="456" y="319"/>
                      </a:lnTo>
                      <a:lnTo>
                        <a:pt x="455" y="319"/>
                      </a:lnTo>
                      <a:lnTo>
                        <a:pt x="454" y="318"/>
                      </a:lnTo>
                      <a:lnTo>
                        <a:pt x="443" y="319"/>
                      </a:lnTo>
                      <a:lnTo>
                        <a:pt x="443" y="320"/>
                      </a:lnTo>
                      <a:lnTo>
                        <a:pt x="442" y="320"/>
                      </a:lnTo>
                      <a:lnTo>
                        <a:pt x="442" y="321"/>
                      </a:lnTo>
                      <a:lnTo>
                        <a:pt x="442" y="322"/>
                      </a:lnTo>
                      <a:lnTo>
                        <a:pt x="441" y="322"/>
                      </a:lnTo>
                      <a:lnTo>
                        <a:pt x="440" y="322"/>
                      </a:lnTo>
                      <a:lnTo>
                        <a:pt x="434" y="333"/>
                      </a:lnTo>
                      <a:lnTo>
                        <a:pt x="434" y="334"/>
                      </a:lnTo>
                      <a:lnTo>
                        <a:pt x="434" y="335"/>
                      </a:lnTo>
                      <a:lnTo>
                        <a:pt x="433" y="335"/>
                      </a:lnTo>
                      <a:lnTo>
                        <a:pt x="433" y="336"/>
                      </a:lnTo>
                      <a:lnTo>
                        <a:pt x="432" y="336"/>
                      </a:lnTo>
                      <a:lnTo>
                        <a:pt x="432" y="337"/>
                      </a:lnTo>
                      <a:lnTo>
                        <a:pt x="430" y="340"/>
                      </a:lnTo>
                      <a:lnTo>
                        <a:pt x="430" y="341"/>
                      </a:lnTo>
                      <a:lnTo>
                        <a:pt x="429" y="342"/>
                      </a:lnTo>
                      <a:lnTo>
                        <a:pt x="428" y="342"/>
                      </a:lnTo>
                      <a:lnTo>
                        <a:pt x="428" y="343"/>
                      </a:lnTo>
                      <a:lnTo>
                        <a:pt x="427" y="344"/>
                      </a:lnTo>
                      <a:lnTo>
                        <a:pt x="425" y="346"/>
                      </a:lnTo>
                      <a:lnTo>
                        <a:pt x="423" y="347"/>
                      </a:lnTo>
                      <a:lnTo>
                        <a:pt x="422" y="347"/>
                      </a:lnTo>
                      <a:lnTo>
                        <a:pt x="422" y="348"/>
                      </a:lnTo>
                      <a:lnTo>
                        <a:pt x="422" y="349"/>
                      </a:lnTo>
                      <a:lnTo>
                        <a:pt x="421" y="350"/>
                      </a:lnTo>
                      <a:lnTo>
                        <a:pt x="422" y="351"/>
                      </a:lnTo>
                      <a:lnTo>
                        <a:pt x="422" y="353"/>
                      </a:lnTo>
                      <a:lnTo>
                        <a:pt x="422" y="355"/>
                      </a:lnTo>
                      <a:lnTo>
                        <a:pt x="422" y="356"/>
                      </a:lnTo>
                      <a:lnTo>
                        <a:pt x="419" y="364"/>
                      </a:lnTo>
                      <a:lnTo>
                        <a:pt x="419" y="365"/>
                      </a:lnTo>
                      <a:lnTo>
                        <a:pt x="419" y="367"/>
                      </a:lnTo>
                      <a:lnTo>
                        <a:pt x="420" y="367"/>
                      </a:lnTo>
                      <a:lnTo>
                        <a:pt x="420" y="368"/>
                      </a:lnTo>
                      <a:lnTo>
                        <a:pt x="420" y="369"/>
                      </a:lnTo>
                      <a:lnTo>
                        <a:pt x="418" y="375"/>
                      </a:lnTo>
                      <a:lnTo>
                        <a:pt x="419" y="376"/>
                      </a:lnTo>
                      <a:lnTo>
                        <a:pt x="419" y="377"/>
                      </a:lnTo>
                      <a:lnTo>
                        <a:pt x="418" y="378"/>
                      </a:lnTo>
                      <a:lnTo>
                        <a:pt x="416" y="379"/>
                      </a:lnTo>
                      <a:lnTo>
                        <a:pt x="415" y="381"/>
                      </a:lnTo>
                      <a:lnTo>
                        <a:pt x="415" y="382"/>
                      </a:lnTo>
                      <a:lnTo>
                        <a:pt x="414" y="382"/>
                      </a:lnTo>
                      <a:lnTo>
                        <a:pt x="413" y="383"/>
                      </a:lnTo>
                      <a:lnTo>
                        <a:pt x="413" y="384"/>
                      </a:lnTo>
                      <a:lnTo>
                        <a:pt x="412" y="383"/>
                      </a:lnTo>
                      <a:lnTo>
                        <a:pt x="413" y="382"/>
                      </a:lnTo>
                      <a:lnTo>
                        <a:pt x="412" y="382"/>
                      </a:lnTo>
                      <a:lnTo>
                        <a:pt x="411" y="381"/>
                      </a:lnTo>
                      <a:lnTo>
                        <a:pt x="407" y="377"/>
                      </a:lnTo>
                      <a:lnTo>
                        <a:pt x="406" y="377"/>
                      </a:lnTo>
                      <a:lnTo>
                        <a:pt x="403" y="379"/>
                      </a:lnTo>
                      <a:lnTo>
                        <a:pt x="401" y="381"/>
                      </a:lnTo>
                      <a:lnTo>
                        <a:pt x="400" y="383"/>
                      </a:lnTo>
                      <a:lnTo>
                        <a:pt x="398" y="388"/>
                      </a:lnTo>
                      <a:lnTo>
                        <a:pt x="397" y="389"/>
                      </a:lnTo>
                      <a:lnTo>
                        <a:pt x="397" y="390"/>
                      </a:lnTo>
                      <a:lnTo>
                        <a:pt x="399" y="397"/>
                      </a:lnTo>
                      <a:lnTo>
                        <a:pt x="399" y="398"/>
                      </a:lnTo>
                      <a:lnTo>
                        <a:pt x="399" y="399"/>
                      </a:lnTo>
                      <a:lnTo>
                        <a:pt x="398" y="400"/>
                      </a:lnTo>
                      <a:lnTo>
                        <a:pt x="398" y="402"/>
                      </a:lnTo>
                      <a:lnTo>
                        <a:pt x="398" y="403"/>
                      </a:lnTo>
                      <a:lnTo>
                        <a:pt x="396" y="405"/>
                      </a:lnTo>
                      <a:lnTo>
                        <a:pt x="391" y="416"/>
                      </a:lnTo>
                      <a:lnTo>
                        <a:pt x="391" y="420"/>
                      </a:lnTo>
                      <a:lnTo>
                        <a:pt x="391" y="423"/>
                      </a:lnTo>
                      <a:lnTo>
                        <a:pt x="385" y="423"/>
                      </a:lnTo>
                      <a:lnTo>
                        <a:pt x="385" y="421"/>
                      </a:lnTo>
                      <a:lnTo>
                        <a:pt x="384" y="420"/>
                      </a:lnTo>
                      <a:lnTo>
                        <a:pt x="385" y="418"/>
                      </a:lnTo>
                      <a:lnTo>
                        <a:pt x="385" y="414"/>
                      </a:lnTo>
                      <a:lnTo>
                        <a:pt x="387" y="411"/>
                      </a:lnTo>
                      <a:lnTo>
                        <a:pt x="387" y="410"/>
                      </a:lnTo>
                      <a:lnTo>
                        <a:pt x="387" y="409"/>
                      </a:lnTo>
                      <a:lnTo>
                        <a:pt x="387" y="407"/>
                      </a:lnTo>
                      <a:lnTo>
                        <a:pt x="387" y="405"/>
                      </a:lnTo>
                      <a:lnTo>
                        <a:pt x="387" y="404"/>
                      </a:lnTo>
                      <a:lnTo>
                        <a:pt x="386" y="399"/>
                      </a:lnTo>
                      <a:lnTo>
                        <a:pt x="385" y="399"/>
                      </a:lnTo>
                      <a:lnTo>
                        <a:pt x="378" y="393"/>
                      </a:lnTo>
                      <a:lnTo>
                        <a:pt x="371" y="388"/>
                      </a:lnTo>
                      <a:lnTo>
                        <a:pt x="369" y="385"/>
                      </a:lnTo>
                      <a:lnTo>
                        <a:pt x="369" y="384"/>
                      </a:lnTo>
                      <a:lnTo>
                        <a:pt x="362" y="382"/>
                      </a:lnTo>
                      <a:lnTo>
                        <a:pt x="361" y="382"/>
                      </a:lnTo>
                      <a:lnTo>
                        <a:pt x="361" y="381"/>
                      </a:lnTo>
                      <a:lnTo>
                        <a:pt x="362" y="381"/>
                      </a:lnTo>
                      <a:lnTo>
                        <a:pt x="362" y="379"/>
                      </a:lnTo>
                      <a:lnTo>
                        <a:pt x="362" y="378"/>
                      </a:lnTo>
                      <a:lnTo>
                        <a:pt x="363" y="378"/>
                      </a:lnTo>
                      <a:lnTo>
                        <a:pt x="361" y="367"/>
                      </a:lnTo>
                      <a:lnTo>
                        <a:pt x="359" y="354"/>
                      </a:lnTo>
                      <a:lnTo>
                        <a:pt x="361" y="353"/>
                      </a:lnTo>
                      <a:lnTo>
                        <a:pt x="361" y="351"/>
                      </a:lnTo>
                      <a:lnTo>
                        <a:pt x="362" y="347"/>
                      </a:lnTo>
                      <a:lnTo>
                        <a:pt x="362" y="343"/>
                      </a:lnTo>
                      <a:lnTo>
                        <a:pt x="363" y="336"/>
                      </a:lnTo>
                      <a:lnTo>
                        <a:pt x="363" y="334"/>
                      </a:lnTo>
                      <a:lnTo>
                        <a:pt x="348" y="334"/>
                      </a:lnTo>
                      <a:lnTo>
                        <a:pt x="348" y="335"/>
                      </a:lnTo>
                      <a:lnTo>
                        <a:pt x="348" y="336"/>
                      </a:lnTo>
                      <a:lnTo>
                        <a:pt x="348" y="337"/>
                      </a:lnTo>
                      <a:lnTo>
                        <a:pt x="349" y="339"/>
                      </a:lnTo>
                      <a:lnTo>
                        <a:pt x="349" y="340"/>
                      </a:lnTo>
                      <a:lnTo>
                        <a:pt x="349" y="341"/>
                      </a:lnTo>
                      <a:lnTo>
                        <a:pt x="339" y="341"/>
                      </a:lnTo>
                      <a:lnTo>
                        <a:pt x="328" y="341"/>
                      </a:lnTo>
                      <a:lnTo>
                        <a:pt x="336" y="350"/>
                      </a:lnTo>
                      <a:lnTo>
                        <a:pt x="336" y="351"/>
                      </a:lnTo>
                      <a:lnTo>
                        <a:pt x="336" y="355"/>
                      </a:lnTo>
                      <a:lnTo>
                        <a:pt x="336" y="360"/>
                      </a:lnTo>
                      <a:lnTo>
                        <a:pt x="336" y="363"/>
                      </a:lnTo>
                      <a:lnTo>
                        <a:pt x="336" y="365"/>
                      </a:lnTo>
                      <a:lnTo>
                        <a:pt x="339" y="370"/>
                      </a:lnTo>
                      <a:lnTo>
                        <a:pt x="339" y="371"/>
                      </a:lnTo>
                      <a:lnTo>
                        <a:pt x="330" y="378"/>
                      </a:lnTo>
                      <a:lnTo>
                        <a:pt x="323" y="384"/>
                      </a:lnTo>
                      <a:lnTo>
                        <a:pt x="322" y="385"/>
                      </a:lnTo>
                      <a:lnTo>
                        <a:pt x="320" y="390"/>
                      </a:lnTo>
                      <a:lnTo>
                        <a:pt x="319" y="393"/>
                      </a:lnTo>
                      <a:lnTo>
                        <a:pt x="318" y="393"/>
                      </a:lnTo>
                      <a:lnTo>
                        <a:pt x="314" y="398"/>
                      </a:lnTo>
                      <a:lnTo>
                        <a:pt x="307" y="405"/>
                      </a:lnTo>
                      <a:lnTo>
                        <a:pt x="300" y="412"/>
                      </a:lnTo>
                      <a:lnTo>
                        <a:pt x="298" y="413"/>
                      </a:lnTo>
                      <a:lnTo>
                        <a:pt x="291" y="413"/>
                      </a:lnTo>
                      <a:lnTo>
                        <a:pt x="287" y="413"/>
                      </a:lnTo>
                      <a:lnTo>
                        <a:pt x="286" y="413"/>
                      </a:lnTo>
                      <a:lnTo>
                        <a:pt x="286" y="414"/>
                      </a:lnTo>
                      <a:lnTo>
                        <a:pt x="285" y="414"/>
                      </a:lnTo>
                      <a:lnTo>
                        <a:pt x="285" y="413"/>
                      </a:lnTo>
                      <a:lnTo>
                        <a:pt x="277" y="406"/>
                      </a:lnTo>
                      <a:lnTo>
                        <a:pt x="269" y="402"/>
                      </a:lnTo>
                      <a:lnTo>
                        <a:pt x="262" y="396"/>
                      </a:lnTo>
                      <a:lnTo>
                        <a:pt x="261" y="397"/>
                      </a:lnTo>
                      <a:lnTo>
                        <a:pt x="251" y="402"/>
                      </a:lnTo>
                      <a:lnTo>
                        <a:pt x="250" y="403"/>
                      </a:lnTo>
                      <a:lnTo>
                        <a:pt x="249" y="403"/>
                      </a:lnTo>
                      <a:lnTo>
                        <a:pt x="249" y="407"/>
                      </a:lnTo>
                      <a:lnTo>
                        <a:pt x="248" y="410"/>
                      </a:lnTo>
                      <a:lnTo>
                        <a:pt x="244" y="412"/>
                      </a:lnTo>
                      <a:lnTo>
                        <a:pt x="237" y="414"/>
                      </a:lnTo>
                      <a:lnTo>
                        <a:pt x="234" y="416"/>
                      </a:lnTo>
                      <a:lnTo>
                        <a:pt x="229" y="418"/>
                      </a:lnTo>
                      <a:lnTo>
                        <a:pt x="227" y="420"/>
                      </a:lnTo>
                      <a:lnTo>
                        <a:pt x="224" y="423"/>
                      </a:lnTo>
                      <a:lnTo>
                        <a:pt x="223" y="424"/>
                      </a:lnTo>
                      <a:lnTo>
                        <a:pt x="223" y="425"/>
                      </a:lnTo>
                      <a:lnTo>
                        <a:pt x="224" y="426"/>
                      </a:lnTo>
                      <a:lnTo>
                        <a:pt x="212" y="426"/>
                      </a:lnTo>
                      <a:lnTo>
                        <a:pt x="199" y="426"/>
                      </a:lnTo>
                      <a:lnTo>
                        <a:pt x="198" y="425"/>
                      </a:lnTo>
                      <a:lnTo>
                        <a:pt x="194" y="418"/>
                      </a:lnTo>
                      <a:lnTo>
                        <a:pt x="193" y="418"/>
                      </a:lnTo>
                      <a:lnTo>
                        <a:pt x="191" y="418"/>
                      </a:lnTo>
                      <a:lnTo>
                        <a:pt x="186" y="418"/>
                      </a:lnTo>
                      <a:lnTo>
                        <a:pt x="185" y="418"/>
                      </a:lnTo>
                      <a:lnTo>
                        <a:pt x="183" y="418"/>
                      </a:lnTo>
                      <a:lnTo>
                        <a:pt x="178" y="418"/>
                      </a:lnTo>
                      <a:lnTo>
                        <a:pt x="177" y="417"/>
                      </a:lnTo>
                      <a:lnTo>
                        <a:pt x="169" y="418"/>
                      </a:lnTo>
                      <a:lnTo>
                        <a:pt x="156" y="421"/>
                      </a:lnTo>
                      <a:lnTo>
                        <a:pt x="153" y="421"/>
                      </a:lnTo>
                      <a:lnTo>
                        <a:pt x="151" y="420"/>
                      </a:lnTo>
                      <a:lnTo>
                        <a:pt x="145" y="413"/>
                      </a:lnTo>
                      <a:lnTo>
                        <a:pt x="140" y="406"/>
                      </a:lnTo>
                      <a:lnTo>
                        <a:pt x="137" y="405"/>
                      </a:lnTo>
                      <a:lnTo>
                        <a:pt x="136" y="404"/>
                      </a:lnTo>
                      <a:lnTo>
                        <a:pt x="135" y="402"/>
                      </a:lnTo>
                      <a:lnTo>
                        <a:pt x="134" y="400"/>
                      </a:lnTo>
                      <a:lnTo>
                        <a:pt x="133" y="400"/>
                      </a:lnTo>
                      <a:lnTo>
                        <a:pt x="131" y="399"/>
                      </a:lnTo>
                      <a:lnTo>
                        <a:pt x="130" y="399"/>
                      </a:lnTo>
                      <a:lnTo>
                        <a:pt x="130" y="393"/>
                      </a:lnTo>
                      <a:lnTo>
                        <a:pt x="129" y="391"/>
                      </a:lnTo>
                      <a:lnTo>
                        <a:pt x="128" y="391"/>
                      </a:lnTo>
                      <a:lnTo>
                        <a:pt x="127" y="392"/>
                      </a:lnTo>
                      <a:lnTo>
                        <a:pt x="126" y="392"/>
                      </a:lnTo>
                      <a:lnTo>
                        <a:pt x="124" y="392"/>
                      </a:lnTo>
                      <a:lnTo>
                        <a:pt x="123" y="392"/>
                      </a:lnTo>
                      <a:lnTo>
                        <a:pt x="122" y="392"/>
                      </a:lnTo>
                      <a:lnTo>
                        <a:pt x="121" y="392"/>
                      </a:lnTo>
                      <a:lnTo>
                        <a:pt x="119" y="393"/>
                      </a:lnTo>
                      <a:lnTo>
                        <a:pt x="117" y="393"/>
                      </a:lnTo>
                      <a:lnTo>
                        <a:pt x="116" y="393"/>
                      </a:lnTo>
                      <a:lnTo>
                        <a:pt x="115" y="393"/>
                      </a:lnTo>
                      <a:lnTo>
                        <a:pt x="115" y="395"/>
                      </a:lnTo>
                      <a:lnTo>
                        <a:pt x="114" y="395"/>
                      </a:lnTo>
                      <a:lnTo>
                        <a:pt x="113" y="395"/>
                      </a:lnTo>
                      <a:lnTo>
                        <a:pt x="112" y="395"/>
                      </a:lnTo>
                      <a:lnTo>
                        <a:pt x="110" y="395"/>
                      </a:lnTo>
                      <a:lnTo>
                        <a:pt x="109" y="395"/>
                      </a:lnTo>
                      <a:lnTo>
                        <a:pt x="108" y="395"/>
                      </a:lnTo>
                      <a:lnTo>
                        <a:pt x="107" y="395"/>
                      </a:lnTo>
                      <a:lnTo>
                        <a:pt x="106" y="395"/>
                      </a:lnTo>
                      <a:lnTo>
                        <a:pt x="106" y="396"/>
                      </a:lnTo>
                      <a:lnTo>
                        <a:pt x="105" y="396"/>
                      </a:lnTo>
                      <a:lnTo>
                        <a:pt x="102" y="399"/>
                      </a:lnTo>
                      <a:lnTo>
                        <a:pt x="102" y="400"/>
                      </a:lnTo>
                      <a:lnTo>
                        <a:pt x="103" y="402"/>
                      </a:lnTo>
                      <a:lnTo>
                        <a:pt x="102" y="403"/>
                      </a:lnTo>
                      <a:lnTo>
                        <a:pt x="102" y="405"/>
                      </a:lnTo>
                      <a:lnTo>
                        <a:pt x="101" y="405"/>
                      </a:lnTo>
                      <a:lnTo>
                        <a:pt x="101" y="406"/>
                      </a:lnTo>
                      <a:lnTo>
                        <a:pt x="100" y="407"/>
                      </a:lnTo>
                      <a:lnTo>
                        <a:pt x="99" y="409"/>
                      </a:lnTo>
                      <a:lnTo>
                        <a:pt x="98" y="410"/>
                      </a:lnTo>
                      <a:lnTo>
                        <a:pt x="96" y="410"/>
                      </a:lnTo>
                      <a:lnTo>
                        <a:pt x="95" y="410"/>
                      </a:lnTo>
                      <a:lnTo>
                        <a:pt x="95" y="411"/>
                      </a:lnTo>
                      <a:lnTo>
                        <a:pt x="95" y="420"/>
                      </a:lnTo>
                      <a:lnTo>
                        <a:pt x="95" y="421"/>
                      </a:lnTo>
                      <a:lnTo>
                        <a:pt x="93" y="424"/>
                      </a:lnTo>
                      <a:lnTo>
                        <a:pt x="92" y="424"/>
                      </a:lnTo>
                      <a:lnTo>
                        <a:pt x="92" y="425"/>
                      </a:lnTo>
                      <a:lnTo>
                        <a:pt x="92" y="431"/>
                      </a:lnTo>
                      <a:lnTo>
                        <a:pt x="91" y="432"/>
                      </a:lnTo>
                      <a:lnTo>
                        <a:pt x="88" y="437"/>
                      </a:lnTo>
                      <a:lnTo>
                        <a:pt x="88" y="438"/>
                      </a:lnTo>
                      <a:lnTo>
                        <a:pt x="88" y="440"/>
                      </a:lnTo>
                      <a:lnTo>
                        <a:pt x="88" y="441"/>
                      </a:lnTo>
                      <a:lnTo>
                        <a:pt x="87" y="441"/>
                      </a:lnTo>
                      <a:lnTo>
                        <a:pt x="86" y="441"/>
                      </a:lnTo>
                      <a:lnTo>
                        <a:pt x="84" y="441"/>
                      </a:lnTo>
                      <a:lnTo>
                        <a:pt x="83" y="442"/>
                      </a:lnTo>
                      <a:lnTo>
                        <a:pt x="79" y="444"/>
                      </a:lnTo>
                      <a:lnTo>
                        <a:pt x="78" y="445"/>
                      </a:lnTo>
                      <a:lnTo>
                        <a:pt x="76" y="446"/>
                      </a:lnTo>
                      <a:lnTo>
                        <a:pt x="76" y="447"/>
                      </a:lnTo>
                      <a:lnTo>
                        <a:pt x="74" y="447"/>
                      </a:lnTo>
                      <a:lnTo>
                        <a:pt x="71" y="447"/>
                      </a:lnTo>
                      <a:lnTo>
                        <a:pt x="70" y="447"/>
                      </a:lnTo>
                      <a:lnTo>
                        <a:pt x="69" y="447"/>
                      </a:lnTo>
                      <a:lnTo>
                        <a:pt x="67" y="446"/>
                      </a:lnTo>
                      <a:lnTo>
                        <a:pt x="66" y="446"/>
                      </a:lnTo>
                      <a:lnTo>
                        <a:pt x="64" y="446"/>
                      </a:lnTo>
                      <a:lnTo>
                        <a:pt x="63" y="446"/>
                      </a:lnTo>
                      <a:lnTo>
                        <a:pt x="62" y="446"/>
                      </a:lnTo>
                      <a:lnTo>
                        <a:pt x="62" y="447"/>
                      </a:lnTo>
                      <a:lnTo>
                        <a:pt x="60" y="446"/>
                      </a:lnTo>
                      <a:lnTo>
                        <a:pt x="59" y="446"/>
                      </a:lnTo>
                      <a:lnTo>
                        <a:pt x="58" y="446"/>
                      </a:lnTo>
                      <a:lnTo>
                        <a:pt x="57" y="446"/>
                      </a:lnTo>
                      <a:lnTo>
                        <a:pt x="56" y="446"/>
                      </a:lnTo>
                      <a:lnTo>
                        <a:pt x="56" y="447"/>
                      </a:lnTo>
                      <a:lnTo>
                        <a:pt x="55" y="446"/>
                      </a:lnTo>
                      <a:lnTo>
                        <a:pt x="53" y="445"/>
                      </a:lnTo>
                      <a:lnTo>
                        <a:pt x="53" y="444"/>
                      </a:lnTo>
                      <a:lnTo>
                        <a:pt x="55" y="444"/>
                      </a:lnTo>
                      <a:lnTo>
                        <a:pt x="56" y="441"/>
                      </a:lnTo>
                      <a:lnTo>
                        <a:pt x="57" y="439"/>
                      </a:lnTo>
                      <a:lnTo>
                        <a:pt x="57" y="438"/>
                      </a:lnTo>
                      <a:lnTo>
                        <a:pt x="56" y="437"/>
                      </a:lnTo>
                      <a:lnTo>
                        <a:pt x="55" y="438"/>
                      </a:lnTo>
                      <a:lnTo>
                        <a:pt x="53" y="438"/>
                      </a:lnTo>
                      <a:lnTo>
                        <a:pt x="52" y="437"/>
                      </a:lnTo>
                      <a:lnTo>
                        <a:pt x="53" y="432"/>
                      </a:lnTo>
                      <a:lnTo>
                        <a:pt x="55" y="431"/>
                      </a:lnTo>
                      <a:lnTo>
                        <a:pt x="55" y="432"/>
                      </a:lnTo>
                      <a:lnTo>
                        <a:pt x="56" y="431"/>
                      </a:lnTo>
                      <a:lnTo>
                        <a:pt x="57" y="431"/>
                      </a:lnTo>
                      <a:lnTo>
                        <a:pt x="58" y="428"/>
                      </a:lnTo>
                      <a:lnTo>
                        <a:pt x="58" y="427"/>
                      </a:lnTo>
                      <a:lnTo>
                        <a:pt x="58" y="426"/>
                      </a:lnTo>
                      <a:lnTo>
                        <a:pt x="59" y="424"/>
                      </a:lnTo>
                      <a:lnTo>
                        <a:pt x="59" y="423"/>
                      </a:lnTo>
                      <a:lnTo>
                        <a:pt x="58" y="423"/>
                      </a:lnTo>
                      <a:lnTo>
                        <a:pt x="58" y="421"/>
                      </a:lnTo>
                      <a:lnTo>
                        <a:pt x="58" y="420"/>
                      </a:lnTo>
                      <a:lnTo>
                        <a:pt x="58" y="419"/>
                      </a:lnTo>
                      <a:lnTo>
                        <a:pt x="59" y="417"/>
                      </a:lnTo>
                      <a:lnTo>
                        <a:pt x="59" y="416"/>
                      </a:lnTo>
                      <a:lnTo>
                        <a:pt x="60" y="414"/>
                      </a:lnTo>
                      <a:lnTo>
                        <a:pt x="59" y="410"/>
                      </a:lnTo>
                      <a:lnTo>
                        <a:pt x="58" y="407"/>
                      </a:lnTo>
                      <a:lnTo>
                        <a:pt x="53" y="399"/>
                      </a:lnTo>
                      <a:lnTo>
                        <a:pt x="48" y="391"/>
                      </a:lnTo>
                      <a:lnTo>
                        <a:pt x="42" y="385"/>
                      </a:lnTo>
                      <a:lnTo>
                        <a:pt x="38" y="383"/>
                      </a:lnTo>
                      <a:lnTo>
                        <a:pt x="34" y="376"/>
                      </a:lnTo>
                      <a:lnTo>
                        <a:pt x="34" y="375"/>
                      </a:lnTo>
                      <a:lnTo>
                        <a:pt x="35" y="371"/>
                      </a:lnTo>
                      <a:lnTo>
                        <a:pt x="36" y="370"/>
                      </a:lnTo>
                      <a:lnTo>
                        <a:pt x="36" y="369"/>
                      </a:lnTo>
                      <a:lnTo>
                        <a:pt x="36" y="368"/>
                      </a:lnTo>
                      <a:lnTo>
                        <a:pt x="37" y="367"/>
                      </a:lnTo>
                      <a:lnTo>
                        <a:pt x="37" y="365"/>
                      </a:lnTo>
                      <a:lnTo>
                        <a:pt x="37" y="364"/>
                      </a:lnTo>
                      <a:lnTo>
                        <a:pt x="36" y="362"/>
                      </a:lnTo>
                      <a:lnTo>
                        <a:pt x="36" y="360"/>
                      </a:lnTo>
                      <a:lnTo>
                        <a:pt x="35" y="360"/>
                      </a:lnTo>
                      <a:lnTo>
                        <a:pt x="31" y="360"/>
                      </a:lnTo>
                      <a:lnTo>
                        <a:pt x="31" y="358"/>
                      </a:lnTo>
                      <a:lnTo>
                        <a:pt x="30" y="357"/>
                      </a:lnTo>
                      <a:lnTo>
                        <a:pt x="28" y="357"/>
                      </a:lnTo>
                      <a:lnTo>
                        <a:pt x="27" y="356"/>
                      </a:lnTo>
                      <a:lnTo>
                        <a:pt x="25" y="355"/>
                      </a:lnTo>
                      <a:lnTo>
                        <a:pt x="24" y="354"/>
                      </a:lnTo>
                      <a:lnTo>
                        <a:pt x="24" y="353"/>
                      </a:lnTo>
                      <a:lnTo>
                        <a:pt x="23" y="350"/>
                      </a:lnTo>
                      <a:lnTo>
                        <a:pt x="25" y="341"/>
                      </a:lnTo>
                      <a:lnTo>
                        <a:pt x="25" y="339"/>
                      </a:lnTo>
                      <a:lnTo>
                        <a:pt x="27" y="339"/>
                      </a:lnTo>
                      <a:lnTo>
                        <a:pt x="25" y="337"/>
                      </a:lnTo>
                      <a:lnTo>
                        <a:pt x="25" y="339"/>
                      </a:lnTo>
                      <a:lnTo>
                        <a:pt x="25" y="337"/>
                      </a:lnTo>
                      <a:lnTo>
                        <a:pt x="24" y="339"/>
                      </a:lnTo>
                      <a:lnTo>
                        <a:pt x="22" y="339"/>
                      </a:lnTo>
                      <a:lnTo>
                        <a:pt x="21" y="340"/>
                      </a:lnTo>
                      <a:lnTo>
                        <a:pt x="22" y="336"/>
                      </a:lnTo>
                      <a:lnTo>
                        <a:pt x="22" y="335"/>
                      </a:lnTo>
                      <a:lnTo>
                        <a:pt x="20" y="327"/>
                      </a:lnTo>
                      <a:lnTo>
                        <a:pt x="19" y="326"/>
                      </a:lnTo>
                      <a:lnTo>
                        <a:pt x="20" y="325"/>
                      </a:lnTo>
                      <a:lnTo>
                        <a:pt x="21" y="320"/>
                      </a:lnTo>
                      <a:lnTo>
                        <a:pt x="17" y="319"/>
                      </a:lnTo>
                      <a:lnTo>
                        <a:pt x="13" y="316"/>
                      </a:lnTo>
                      <a:lnTo>
                        <a:pt x="13" y="318"/>
                      </a:lnTo>
                      <a:lnTo>
                        <a:pt x="12" y="319"/>
                      </a:lnTo>
                      <a:lnTo>
                        <a:pt x="10" y="319"/>
                      </a:lnTo>
                      <a:lnTo>
                        <a:pt x="8" y="320"/>
                      </a:lnTo>
                      <a:lnTo>
                        <a:pt x="7" y="320"/>
                      </a:lnTo>
                      <a:lnTo>
                        <a:pt x="6" y="320"/>
                      </a:lnTo>
                      <a:lnTo>
                        <a:pt x="5" y="320"/>
                      </a:lnTo>
                      <a:lnTo>
                        <a:pt x="3" y="319"/>
                      </a:lnTo>
                      <a:lnTo>
                        <a:pt x="2" y="319"/>
                      </a:lnTo>
                      <a:lnTo>
                        <a:pt x="1" y="316"/>
                      </a:lnTo>
                      <a:lnTo>
                        <a:pt x="1" y="315"/>
                      </a:lnTo>
                      <a:lnTo>
                        <a:pt x="0" y="314"/>
                      </a:lnTo>
                      <a:lnTo>
                        <a:pt x="1" y="314"/>
                      </a:lnTo>
                      <a:lnTo>
                        <a:pt x="1" y="313"/>
                      </a:lnTo>
                      <a:lnTo>
                        <a:pt x="2" y="311"/>
                      </a:lnTo>
                      <a:lnTo>
                        <a:pt x="5" y="306"/>
                      </a:lnTo>
                      <a:lnTo>
                        <a:pt x="6" y="305"/>
                      </a:lnTo>
                      <a:lnTo>
                        <a:pt x="7" y="304"/>
                      </a:lnTo>
                      <a:lnTo>
                        <a:pt x="10" y="302"/>
                      </a:lnTo>
                      <a:lnTo>
                        <a:pt x="12" y="301"/>
                      </a:lnTo>
                      <a:lnTo>
                        <a:pt x="14" y="299"/>
                      </a:lnTo>
                      <a:lnTo>
                        <a:pt x="15" y="297"/>
                      </a:lnTo>
                      <a:lnTo>
                        <a:pt x="15" y="295"/>
                      </a:lnTo>
                      <a:lnTo>
                        <a:pt x="15" y="294"/>
                      </a:lnTo>
                      <a:lnTo>
                        <a:pt x="14" y="293"/>
                      </a:lnTo>
                      <a:lnTo>
                        <a:pt x="13" y="292"/>
                      </a:lnTo>
                      <a:lnTo>
                        <a:pt x="13" y="290"/>
                      </a:lnTo>
                      <a:lnTo>
                        <a:pt x="13" y="288"/>
                      </a:lnTo>
                      <a:lnTo>
                        <a:pt x="10" y="287"/>
                      </a:lnTo>
                      <a:lnTo>
                        <a:pt x="10" y="286"/>
                      </a:lnTo>
                      <a:lnTo>
                        <a:pt x="10" y="285"/>
                      </a:lnTo>
                      <a:lnTo>
                        <a:pt x="10" y="284"/>
                      </a:lnTo>
                      <a:lnTo>
                        <a:pt x="9" y="284"/>
                      </a:lnTo>
                      <a:lnTo>
                        <a:pt x="9" y="283"/>
                      </a:lnTo>
                      <a:lnTo>
                        <a:pt x="9" y="281"/>
                      </a:lnTo>
                      <a:lnTo>
                        <a:pt x="13" y="278"/>
                      </a:lnTo>
                      <a:lnTo>
                        <a:pt x="14" y="277"/>
                      </a:lnTo>
                      <a:lnTo>
                        <a:pt x="14" y="276"/>
                      </a:lnTo>
                      <a:lnTo>
                        <a:pt x="20" y="273"/>
                      </a:lnTo>
                      <a:lnTo>
                        <a:pt x="21" y="272"/>
                      </a:lnTo>
                      <a:lnTo>
                        <a:pt x="22" y="272"/>
                      </a:lnTo>
                      <a:lnTo>
                        <a:pt x="23" y="271"/>
                      </a:lnTo>
                      <a:lnTo>
                        <a:pt x="24" y="271"/>
                      </a:lnTo>
                      <a:lnTo>
                        <a:pt x="24" y="270"/>
                      </a:lnTo>
                      <a:lnTo>
                        <a:pt x="23" y="269"/>
                      </a:lnTo>
                      <a:lnTo>
                        <a:pt x="23" y="267"/>
                      </a:lnTo>
                      <a:lnTo>
                        <a:pt x="21" y="267"/>
                      </a:lnTo>
                      <a:lnTo>
                        <a:pt x="20" y="266"/>
                      </a:lnTo>
                      <a:lnTo>
                        <a:pt x="20" y="265"/>
                      </a:lnTo>
                      <a:lnTo>
                        <a:pt x="20" y="264"/>
                      </a:lnTo>
                      <a:lnTo>
                        <a:pt x="21" y="264"/>
                      </a:lnTo>
                      <a:lnTo>
                        <a:pt x="21" y="263"/>
                      </a:lnTo>
                      <a:lnTo>
                        <a:pt x="20" y="259"/>
                      </a:lnTo>
                      <a:lnTo>
                        <a:pt x="19" y="258"/>
                      </a:lnTo>
                      <a:lnTo>
                        <a:pt x="19" y="257"/>
                      </a:lnTo>
                      <a:lnTo>
                        <a:pt x="19" y="256"/>
                      </a:lnTo>
                      <a:lnTo>
                        <a:pt x="20" y="256"/>
                      </a:lnTo>
                      <a:lnTo>
                        <a:pt x="21" y="255"/>
                      </a:lnTo>
                      <a:lnTo>
                        <a:pt x="28" y="252"/>
                      </a:lnTo>
                      <a:lnTo>
                        <a:pt x="28" y="251"/>
                      </a:lnTo>
                      <a:lnTo>
                        <a:pt x="28" y="250"/>
                      </a:lnTo>
                      <a:lnTo>
                        <a:pt x="27" y="249"/>
                      </a:lnTo>
                      <a:lnTo>
                        <a:pt x="27" y="248"/>
                      </a:lnTo>
                      <a:lnTo>
                        <a:pt x="28" y="248"/>
                      </a:lnTo>
                      <a:lnTo>
                        <a:pt x="29" y="246"/>
                      </a:lnTo>
                      <a:lnTo>
                        <a:pt x="29" y="245"/>
                      </a:lnTo>
                      <a:lnTo>
                        <a:pt x="29" y="244"/>
                      </a:lnTo>
                      <a:lnTo>
                        <a:pt x="30" y="244"/>
                      </a:lnTo>
                      <a:lnTo>
                        <a:pt x="30" y="243"/>
                      </a:lnTo>
                      <a:lnTo>
                        <a:pt x="32" y="239"/>
                      </a:lnTo>
                      <a:lnTo>
                        <a:pt x="34" y="239"/>
                      </a:lnTo>
                      <a:lnTo>
                        <a:pt x="35" y="238"/>
                      </a:lnTo>
                      <a:lnTo>
                        <a:pt x="36" y="238"/>
                      </a:lnTo>
                      <a:lnTo>
                        <a:pt x="37" y="236"/>
                      </a:lnTo>
                      <a:lnTo>
                        <a:pt x="37" y="235"/>
                      </a:lnTo>
                      <a:lnTo>
                        <a:pt x="37" y="231"/>
                      </a:lnTo>
                      <a:lnTo>
                        <a:pt x="37" y="230"/>
                      </a:lnTo>
                      <a:lnTo>
                        <a:pt x="37" y="229"/>
                      </a:lnTo>
                      <a:lnTo>
                        <a:pt x="36" y="228"/>
                      </a:lnTo>
                      <a:lnTo>
                        <a:pt x="35" y="227"/>
                      </a:lnTo>
                      <a:lnTo>
                        <a:pt x="35" y="225"/>
                      </a:lnTo>
                      <a:lnTo>
                        <a:pt x="35" y="224"/>
                      </a:lnTo>
                      <a:lnTo>
                        <a:pt x="36" y="224"/>
                      </a:lnTo>
                      <a:lnTo>
                        <a:pt x="38" y="222"/>
                      </a:lnTo>
                      <a:lnTo>
                        <a:pt x="41" y="220"/>
                      </a:lnTo>
                      <a:lnTo>
                        <a:pt x="42" y="220"/>
                      </a:lnTo>
                      <a:lnTo>
                        <a:pt x="44" y="218"/>
                      </a:lnTo>
                      <a:lnTo>
                        <a:pt x="49" y="220"/>
                      </a:lnTo>
                      <a:lnTo>
                        <a:pt x="51" y="220"/>
                      </a:lnTo>
                      <a:lnTo>
                        <a:pt x="55" y="218"/>
                      </a:lnTo>
                      <a:lnTo>
                        <a:pt x="57" y="217"/>
                      </a:lnTo>
                      <a:lnTo>
                        <a:pt x="60" y="217"/>
                      </a:lnTo>
                      <a:lnTo>
                        <a:pt x="65" y="218"/>
                      </a:lnTo>
                      <a:lnTo>
                        <a:pt x="69" y="220"/>
                      </a:lnTo>
                      <a:lnTo>
                        <a:pt x="70" y="220"/>
                      </a:lnTo>
                      <a:lnTo>
                        <a:pt x="70" y="218"/>
                      </a:lnTo>
                      <a:lnTo>
                        <a:pt x="70" y="216"/>
                      </a:lnTo>
                      <a:lnTo>
                        <a:pt x="70" y="209"/>
                      </a:lnTo>
                      <a:lnTo>
                        <a:pt x="70" y="201"/>
                      </a:lnTo>
                      <a:lnTo>
                        <a:pt x="70" y="194"/>
                      </a:lnTo>
                      <a:lnTo>
                        <a:pt x="70" y="186"/>
                      </a:lnTo>
                      <a:lnTo>
                        <a:pt x="70" y="178"/>
                      </a:lnTo>
                      <a:lnTo>
                        <a:pt x="70" y="171"/>
                      </a:lnTo>
                      <a:lnTo>
                        <a:pt x="70" y="163"/>
                      </a:lnTo>
                      <a:lnTo>
                        <a:pt x="70" y="156"/>
                      </a:lnTo>
                      <a:lnTo>
                        <a:pt x="70" y="147"/>
                      </a:lnTo>
                      <a:lnTo>
                        <a:pt x="70" y="139"/>
                      </a:lnTo>
                      <a:lnTo>
                        <a:pt x="70" y="132"/>
                      </a:lnTo>
                      <a:lnTo>
                        <a:pt x="70" y="124"/>
                      </a:lnTo>
                      <a:lnTo>
                        <a:pt x="70" y="116"/>
                      </a:lnTo>
                      <a:lnTo>
                        <a:pt x="70" y="109"/>
                      </a:lnTo>
                      <a:lnTo>
                        <a:pt x="70" y="101"/>
                      </a:lnTo>
                      <a:lnTo>
                        <a:pt x="70" y="93"/>
                      </a:lnTo>
                      <a:lnTo>
                        <a:pt x="70" y="88"/>
                      </a:lnTo>
                      <a:lnTo>
                        <a:pt x="70" y="84"/>
                      </a:lnTo>
                      <a:lnTo>
                        <a:pt x="70" y="80"/>
                      </a:lnTo>
                      <a:lnTo>
                        <a:pt x="70" y="76"/>
                      </a:lnTo>
                      <a:lnTo>
                        <a:pt x="74" y="76"/>
                      </a:lnTo>
                      <a:lnTo>
                        <a:pt x="78" y="76"/>
                      </a:lnTo>
                      <a:lnTo>
                        <a:pt x="81" y="76"/>
                      </a:lnTo>
                      <a:lnTo>
                        <a:pt x="85" y="76"/>
                      </a:lnTo>
                      <a:lnTo>
                        <a:pt x="89" y="76"/>
                      </a:lnTo>
                      <a:lnTo>
                        <a:pt x="93" y="76"/>
                      </a:lnTo>
                      <a:lnTo>
                        <a:pt x="98" y="76"/>
                      </a:lnTo>
                      <a:lnTo>
                        <a:pt x="101" y="76"/>
                      </a:lnTo>
                      <a:lnTo>
                        <a:pt x="101" y="75"/>
                      </a:lnTo>
                      <a:lnTo>
                        <a:pt x="101" y="72"/>
                      </a:lnTo>
                      <a:lnTo>
                        <a:pt x="101" y="68"/>
                      </a:lnTo>
                      <a:lnTo>
                        <a:pt x="101" y="65"/>
                      </a:lnTo>
                      <a:lnTo>
                        <a:pt x="101" y="62"/>
                      </a:lnTo>
                      <a:lnTo>
                        <a:pt x="101" y="59"/>
                      </a:lnTo>
                      <a:lnTo>
                        <a:pt x="101" y="54"/>
                      </a:lnTo>
                      <a:lnTo>
                        <a:pt x="101" y="51"/>
                      </a:lnTo>
                      <a:lnTo>
                        <a:pt x="101" y="46"/>
                      </a:lnTo>
                      <a:lnTo>
                        <a:pt x="101" y="41"/>
                      </a:lnTo>
                      <a:lnTo>
                        <a:pt x="101" y="38"/>
                      </a:lnTo>
                      <a:lnTo>
                        <a:pt x="101" y="33"/>
                      </a:lnTo>
                      <a:lnTo>
                        <a:pt x="101" y="28"/>
                      </a:lnTo>
                      <a:lnTo>
                        <a:pt x="101" y="25"/>
                      </a:lnTo>
                      <a:lnTo>
                        <a:pt x="101" y="20"/>
                      </a:lnTo>
                      <a:lnTo>
                        <a:pt x="101" y="16"/>
                      </a:lnTo>
                      <a:lnTo>
                        <a:pt x="101" y="12"/>
                      </a:lnTo>
                      <a:lnTo>
                        <a:pt x="101" y="7"/>
                      </a:lnTo>
                      <a:lnTo>
                        <a:pt x="105" y="7"/>
                      </a:lnTo>
                      <a:lnTo>
                        <a:pt x="108" y="7"/>
                      </a:lnTo>
                      <a:lnTo>
                        <a:pt x="110" y="7"/>
                      </a:lnTo>
                      <a:lnTo>
                        <a:pt x="114" y="7"/>
                      </a:lnTo>
                      <a:lnTo>
                        <a:pt x="117" y="7"/>
                      </a:lnTo>
                      <a:lnTo>
                        <a:pt x="120" y="7"/>
                      </a:lnTo>
                      <a:lnTo>
                        <a:pt x="123" y="7"/>
                      </a:lnTo>
                      <a:lnTo>
                        <a:pt x="127" y="7"/>
                      </a:lnTo>
                      <a:lnTo>
                        <a:pt x="129" y="7"/>
                      </a:lnTo>
                      <a:lnTo>
                        <a:pt x="133" y="7"/>
                      </a:lnTo>
                      <a:lnTo>
                        <a:pt x="136" y="7"/>
                      </a:lnTo>
                      <a:lnTo>
                        <a:pt x="138" y="7"/>
                      </a:lnTo>
                      <a:lnTo>
                        <a:pt x="142" y="7"/>
                      </a:lnTo>
                      <a:lnTo>
                        <a:pt x="145" y="7"/>
                      </a:lnTo>
                      <a:lnTo>
                        <a:pt x="148" y="7"/>
                      </a:lnTo>
                      <a:lnTo>
                        <a:pt x="151" y="7"/>
                      </a:lnTo>
                      <a:lnTo>
                        <a:pt x="155" y="7"/>
                      </a:lnTo>
                      <a:lnTo>
                        <a:pt x="157" y="7"/>
                      </a:lnTo>
                      <a:lnTo>
                        <a:pt x="160" y="7"/>
                      </a:lnTo>
                      <a:lnTo>
                        <a:pt x="164" y="7"/>
                      </a:lnTo>
                      <a:lnTo>
                        <a:pt x="166" y="7"/>
                      </a:lnTo>
                      <a:lnTo>
                        <a:pt x="170" y="7"/>
                      </a:lnTo>
                      <a:lnTo>
                        <a:pt x="173" y="7"/>
                      </a:lnTo>
                      <a:lnTo>
                        <a:pt x="177" y="7"/>
                      </a:lnTo>
                      <a:lnTo>
                        <a:pt x="179" y="7"/>
                      </a:lnTo>
                      <a:lnTo>
                        <a:pt x="183" y="7"/>
                      </a:lnTo>
                      <a:lnTo>
                        <a:pt x="186" y="7"/>
                      </a:lnTo>
                      <a:lnTo>
                        <a:pt x="188" y="7"/>
                      </a:lnTo>
                      <a:lnTo>
                        <a:pt x="192" y="7"/>
                      </a:lnTo>
                      <a:lnTo>
                        <a:pt x="195" y="7"/>
                      </a:lnTo>
                      <a:lnTo>
                        <a:pt x="198" y="7"/>
                      </a:lnTo>
                      <a:lnTo>
                        <a:pt x="201" y="7"/>
                      </a:lnTo>
                      <a:lnTo>
                        <a:pt x="205" y="7"/>
                      </a:lnTo>
                      <a:lnTo>
                        <a:pt x="207" y="7"/>
                      </a:lnTo>
                      <a:lnTo>
                        <a:pt x="211" y="7"/>
                      </a:lnTo>
                      <a:lnTo>
                        <a:pt x="214" y="7"/>
                      </a:lnTo>
                      <a:lnTo>
                        <a:pt x="216" y="7"/>
                      </a:lnTo>
                      <a:lnTo>
                        <a:pt x="220" y="7"/>
                      </a:lnTo>
                      <a:lnTo>
                        <a:pt x="223" y="7"/>
                      </a:lnTo>
                      <a:lnTo>
                        <a:pt x="226" y="7"/>
                      </a:lnTo>
                      <a:lnTo>
                        <a:pt x="229" y="7"/>
                      </a:lnTo>
                      <a:lnTo>
                        <a:pt x="233" y="7"/>
                      </a:lnTo>
                      <a:lnTo>
                        <a:pt x="235" y="7"/>
                      </a:lnTo>
                      <a:lnTo>
                        <a:pt x="238" y="7"/>
                      </a:lnTo>
                      <a:lnTo>
                        <a:pt x="242" y="7"/>
                      </a:lnTo>
                      <a:lnTo>
                        <a:pt x="244" y="7"/>
                      </a:lnTo>
                      <a:lnTo>
                        <a:pt x="248" y="7"/>
                      </a:lnTo>
                      <a:lnTo>
                        <a:pt x="251" y="7"/>
                      </a:lnTo>
                      <a:lnTo>
                        <a:pt x="254" y="7"/>
                      </a:lnTo>
                      <a:lnTo>
                        <a:pt x="257" y="7"/>
                      </a:lnTo>
                      <a:lnTo>
                        <a:pt x="261" y="7"/>
                      </a:lnTo>
                      <a:lnTo>
                        <a:pt x="263" y="7"/>
                      </a:lnTo>
                      <a:lnTo>
                        <a:pt x="266" y="7"/>
                      </a:lnTo>
                      <a:lnTo>
                        <a:pt x="270" y="7"/>
                      </a:lnTo>
                      <a:lnTo>
                        <a:pt x="272" y="7"/>
                      </a:lnTo>
                      <a:lnTo>
                        <a:pt x="276" y="7"/>
                      </a:lnTo>
                      <a:lnTo>
                        <a:pt x="279" y="7"/>
                      </a:lnTo>
                      <a:lnTo>
                        <a:pt x="281" y="7"/>
                      </a:lnTo>
                      <a:lnTo>
                        <a:pt x="285" y="7"/>
                      </a:lnTo>
                      <a:lnTo>
                        <a:pt x="288" y="7"/>
                      </a:lnTo>
                      <a:lnTo>
                        <a:pt x="292" y="7"/>
                      </a:lnTo>
                      <a:lnTo>
                        <a:pt x="294" y="7"/>
                      </a:lnTo>
                      <a:lnTo>
                        <a:pt x="298" y="7"/>
                      </a:lnTo>
                      <a:lnTo>
                        <a:pt x="301" y="7"/>
                      </a:lnTo>
                      <a:lnTo>
                        <a:pt x="302" y="7"/>
                      </a:lnTo>
                      <a:lnTo>
                        <a:pt x="304" y="4"/>
                      </a:lnTo>
                      <a:lnTo>
                        <a:pt x="306" y="2"/>
                      </a:lnTo>
                      <a:lnTo>
                        <a:pt x="306" y="0"/>
                      </a:lnTo>
                      <a:lnTo>
                        <a:pt x="307" y="0"/>
                      </a:lnTo>
                      <a:lnTo>
                        <a:pt x="308" y="0"/>
                      </a:lnTo>
                      <a:lnTo>
                        <a:pt x="309" y="0"/>
                      </a:lnTo>
                      <a:lnTo>
                        <a:pt x="309" y="2"/>
                      </a:lnTo>
                      <a:lnTo>
                        <a:pt x="309" y="3"/>
                      </a:lnTo>
                      <a:lnTo>
                        <a:pt x="309" y="5"/>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j-lt"/>
                    <a:ea typeface="+mn-ea"/>
                    <a:cs typeface="+mn-cs"/>
                  </a:endParaRPr>
                </a:p>
              </p:txBody>
            </p:sp>
            <p:sp>
              <p:nvSpPr>
                <p:cNvPr id="135" name="Freeform 111">
                  <a:extLst>
                    <a:ext uri="{FF2B5EF4-FFF2-40B4-BE49-F238E27FC236}">
                      <a16:creationId xmlns:a16="http://schemas.microsoft.com/office/drawing/2014/main" id="{DFBECA48-FB80-0950-0EF6-7C7145340A6C}"/>
                    </a:ext>
                  </a:extLst>
                </p:cNvPr>
                <p:cNvSpPr>
                  <a:spLocks/>
                </p:cNvSpPr>
                <p:nvPr/>
              </p:nvSpPr>
              <p:spPr bwMode="auto">
                <a:xfrm>
                  <a:off x="7055543" y="3377822"/>
                  <a:ext cx="405650" cy="301803"/>
                </a:xfrm>
                <a:custGeom>
                  <a:avLst/>
                  <a:gdLst>
                    <a:gd name="T0" fmla="*/ 310 w 375"/>
                    <a:gd name="T1" fmla="*/ 122 h 279"/>
                    <a:gd name="T2" fmla="*/ 298 w 375"/>
                    <a:gd name="T3" fmla="*/ 121 h 279"/>
                    <a:gd name="T4" fmla="*/ 288 w 375"/>
                    <a:gd name="T5" fmla="*/ 127 h 279"/>
                    <a:gd name="T6" fmla="*/ 282 w 375"/>
                    <a:gd name="T7" fmla="*/ 138 h 279"/>
                    <a:gd name="T8" fmla="*/ 291 w 375"/>
                    <a:gd name="T9" fmla="*/ 145 h 279"/>
                    <a:gd name="T10" fmla="*/ 305 w 375"/>
                    <a:gd name="T11" fmla="*/ 146 h 279"/>
                    <a:gd name="T12" fmla="*/ 317 w 375"/>
                    <a:gd name="T13" fmla="*/ 161 h 279"/>
                    <a:gd name="T14" fmla="*/ 331 w 375"/>
                    <a:gd name="T15" fmla="*/ 171 h 279"/>
                    <a:gd name="T16" fmla="*/ 337 w 375"/>
                    <a:gd name="T17" fmla="*/ 180 h 279"/>
                    <a:gd name="T18" fmla="*/ 344 w 375"/>
                    <a:gd name="T19" fmla="*/ 196 h 279"/>
                    <a:gd name="T20" fmla="*/ 349 w 375"/>
                    <a:gd name="T21" fmla="*/ 212 h 279"/>
                    <a:gd name="T22" fmla="*/ 360 w 375"/>
                    <a:gd name="T23" fmla="*/ 218 h 279"/>
                    <a:gd name="T24" fmla="*/ 370 w 375"/>
                    <a:gd name="T25" fmla="*/ 225 h 279"/>
                    <a:gd name="T26" fmla="*/ 369 w 375"/>
                    <a:gd name="T27" fmla="*/ 241 h 279"/>
                    <a:gd name="T28" fmla="*/ 356 w 375"/>
                    <a:gd name="T29" fmla="*/ 232 h 279"/>
                    <a:gd name="T30" fmla="*/ 329 w 375"/>
                    <a:gd name="T31" fmla="*/ 241 h 279"/>
                    <a:gd name="T32" fmla="*/ 296 w 375"/>
                    <a:gd name="T33" fmla="*/ 271 h 279"/>
                    <a:gd name="T34" fmla="*/ 263 w 375"/>
                    <a:gd name="T35" fmla="*/ 271 h 279"/>
                    <a:gd name="T36" fmla="*/ 247 w 375"/>
                    <a:gd name="T37" fmla="*/ 273 h 279"/>
                    <a:gd name="T38" fmla="*/ 225 w 375"/>
                    <a:gd name="T39" fmla="*/ 269 h 279"/>
                    <a:gd name="T40" fmla="*/ 213 w 375"/>
                    <a:gd name="T41" fmla="*/ 278 h 279"/>
                    <a:gd name="T42" fmla="*/ 207 w 375"/>
                    <a:gd name="T43" fmla="*/ 274 h 279"/>
                    <a:gd name="T44" fmla="*/ 202 w 375"/>
                    <a:gd name="T45" fmla="*/ 267 h 279"/>
                    <a:gd name="T46" fmla="*/ 187 w 375"/>
                    <a:gd name="T47" fmla="*/ 257 h 279"/>
                    <a:gd name="T48" fmla="*/ 180 w 375"/>
                    <a:gd name="T49" fmla="*/ 248 h 279"/>
                    <a:gd name="T50" fmla="*/ 171 w 375"/>
                    <a:gd name="T51" fmla="*/ 241 h 279"/>
                    <a:gd name="T52" fmla="*/ 162 w 375"/>
                    <a:gd name="T53" fmla="*/ 251 h 279"/>
                    <a:gd name="T54" fmla="*/ 149 w 375"/>
                    <a:gd name="T55" fmla="*/ 247 h 279"/>
                    <a:gd name="T56" fmla="*/ 137 w 375"/>
                    <a:gd name="T57" fmla="*/ 253 h 279"/>
                    <a:gd name="T58" fmla="*/ 125 w 375"/>
                    <a:gd name="T59" fmla="*/ 248 h 279"/>
                    <a:gd name="T60" fmla="*/ 117 w 375"/>
                    <a:gd name="T61" fmla="*/ 244 h 279"/>
                    <a:gd name="T62" fmla="*/ 107 w 375"/>
                    <a:gd name="T63" fmla="*/ 233 h 279"/>
                    <a:gd name="T64" fmla="*/ 99 w 375"/>
                    <a:gd name="T65" fmla="*/ 220 h 279"/>
                    <a:gd name="T66" fmla="*/ 96 w 375"/>
                    <a:gd name="T67" fmla="*/ 206 h 279"/>
                    <a:gd name="T68" fmla="*/ 85 w 375"/>
                    <a:gd name="T69" fmla="*/ 201 h 279"/>
                    <a:gd name="T70" fmla="*/ 75 w 375"/>
                    <a:gd name="T71" fmla="*/ 194 h 279"/>
                    <a:gd name="T72" fmla="*/ 70 w 375"/>
                    <a:gd name="T73" fmla="*/ 187 h 279"/>
                    <a:gd name="T74" fmla="*/ 67 w 375"/>
                    <a:gd name="T75" fmla="*/ 175 h 279"/>
                    <a:gd name="T76" fmla="*/ 59 w 375"/>
                    <a:gd name="T77" fmla="*/ 166 h 279"/>
                    <a:gd name="T78" fmla="*/ 45 w 375"/>
                    <a:gd name="T79" fmla="*/ 159 h 279"/>
                    <a:gd name="T80" fmla="*/ 34 w 375"/>
                    <a:gd name="T81" fmla="*/ 150 h 279"/>
                    <a:gd name="T82" fmla="*/ 34 w 375"/>
                    <a:gd name="T83" fmla="*/ 139 h 279"/>
                    <a:gd name="T84" fmla="*/ 21 w 375"/>
                    <a:gd name="T85" fmla="*/ 129 h 279"/>
                    <a:gd name="T86" fmla="*/ 6 w 375"/>
                    <a:gd name="T87" fmla="*/ 126 h 279"/>
                    <a:gd name="T88" fmla="*/ 3 w 375"/>
                    <a:gd name="T89" fmla="*/ 114 h 279"/>
                    <a:gd name="T90" fmla="*/ 14 w 375"/>
                    <a:gd name="T91" fmla="*/ 106 h 279"/>
                    <a:gd name="T92" fmla="*/ 22 w 375"/>
                    <a:gd name="T93" fmla="*/ 76 h 279"/>
                    <a:gd name="T94" fmla="*/ 32 w 375"/>
                    <a:gd name="T95" fmla="*/ 62 h 279"/>
                    <a:gd name="T96" fmla="*/ 43 w 375"/>
                    <a:gd name="T97" fmla="*/ 59 h 279"/>
                    <a:gd name="T98" fmla="*/ 57 w 375"/>
                    <a:gd name="T99" fmla="*/ 65 h 279"/>
                    <a:gd name="T100" fmla="*/ 103 w 375"/>
                    <a:gd name="T101" fmla="*/ 83 h 279"/>
                    <a:gd name="T102" fmla="*/ 149 w 375"/>
                    <a:gd name="T103" fmla="*/ 91 h 279"/>
                    <a:gd name="T104" fmla="*/ 177 w 375"/>
                    <a:gd name="T105" fmla="*/ 68 h 279"/>
                    <a:gd name="T106" fmla="*/ 226 w 375"/>
                    <a:gd name="T107" fmla="*/ 78 h 279"/>
                    <a:gd name="T108" fmla="*/ 262 w 375"/>
                    <a:gd name="T109" fmla="*/ 29 h 279"/>
                    <a:gd name="T110" fmla="*/ 274 w 375"/>
                    <a:gd name="T111" fmla="*/ 1 h 279"/>
                    <a:gd name="T112" fmla="*/ 288 w 375"/>
                    <a:gd name="T113" fmla="*/ 45 h 279"/>
                    <a:gd name="T114" fmla="*/ 313 w 375"/>
                    <a:gd name="T115" fmla="*/ 7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5" h="279">
                      <a:moveTo>
                        <a:pt x="317" y="89"/>
                      </a:moveTo>
                      <a:lnTo>
                        <a:pt x="317" y="97"/>
                      </a:lnTo>
                      <a:lnTo>
                        <a:pt x="317" y="106"/>
                      </a:lnTo>
                      <a:lnTo>
                        <a:pt x="318" y="115"/>
                      </a:lnTo>
                      <a:lnTo>
                        <a:pt x="318" y="117"/>
                      </a:lnTo>
                      <a:lnTo>
                        <a:pt x="317" y="117"/>
                      </a:lnTo>
                      <a:lnTo>
                        <a:pt x="317" y="118"/>
                      </a:lnTo>
                      <a:lnTo>
                        <a:pt x="317" y="119"/>
                      </a:lnTo>
                      <a:lnTo>
                        <a:pt x="313" y="121"/>
                      </a:lnTo>
                      <a:lnTo>
                        <a:pt x="312" y="121"/>
                      </a:lnTo>
                      <a:lnTo>
                        <a:pt x="312" y="122"/>
                      </a:lnTo>
                      <a:lnTo>
                        <a:pt x="310" y="122"/>
                      </a:lnTo>
                      <a:lnTo>
                        <a:pt x="309" y="122"/>
                      </a:lnTo>
                      <a:lnTo>
                        <a:pt x="308" y="122"/>
                      </a:lnTo>
                      <a:lnTo>
                        <a:pt x="306" y="124"/>
                      </a:lnTo>
                      <a:lnTo>
                        <a:pt x="304" y="124"/>
                      </a:lnTo>
                      <a:lnTo>
                        <a:pt x="304" y="122"/>
                      </a:lnTo>
                      <a:lnTo>
                        <a:pt x="303" y="121"/>
                      </a:lnTo>
                      <a:lnTo>
                        <a:pt x="302" y="121"/>
                      </a:lnTo>
                      <a:lnTo>
                        <a:pt x="301" y="121"/>
                      </a:lnTo>
                      <a:lnTo>
                        <a:pt x="299" y="121"/>
                      </a:lnTo>
                      <a:lnTo>
                        <a:pt x="299" y="120"/>
                      </a:lnTo>
                      <a:lnTo>
                        <a:pt x="298" y="120"/>
                      </a:lnTo>
                      <a:lnTo>
                        <a:pt x="298" y="121"/>
                      </a:lnTo>
                      <a:lnTo>
                        <a:pt x="297" y="121"/>
                      </a:lnTo>
                      <a:lnTo>
                        <a:pt x="296" y="121"/>
                      </a:lnTo>
                      <a:lnTo>
                        <a:pt x="295" y="121"/>
                      </a:lnTo>
                      <a:lnTo>
                        <a:pt x="294" y="121"/>
                      </a:lnTo>
                      <a:lnTo>
                        <a:pt x="290" y="121"/>
                      </a:lnTo>
                      <a:lnTo>
                        <a:pt x="289" y="121"/>
                      </a:lnTo>
                      <a:lnTo>
                        <a:pt x="289" y="122"/>
                      </a:lnTo>
                      <a:lnTo>
                        <a:pt x="288" y="122"/>
                      </a:lnTo>
                      <a:lnTo>
                        <a:pt x="288" y="124"/>
                      </a:lnTo>
                      <a:lnTo>
                        <a:pt x="288" y="125"/>
                      </a:lnTo>
                      <a:lnTo>
                        <a:pt x="288" y="126"/>
                      </a:lnTo>
                      <a:lnTo>
                        <a:pt x="288" y="127"/>
                      </a:lnTo>
                      <a:lnTo>
                        <a:pt x="289" y="127"/>
                      </a:lnTo>
                      <a:lnTo>
                        <a:pt x="289" y="128"/>
                      </a:lnTo>
                      <a:lnTo>
                        <a:pt x="288" y="128"/>
                      </a:lnTo>
                      <a:lnTo>
                        <a:pt x="288" y="129"/>
                      </a:lnTo>
                      <a:lnTo>
                        <a:pt x="288" y="131"/>
                      </a:lnTo>
                      <a:lnTo>
                        <a:pt x="288" y="132"/>
                      </a:lnTo>
                      <a:lnTo>
                        <a:pt x="287" y="132"/>
                      </a:lnTo>
                      <a:lnTo>
                        <a:pt x="285" y="132"/>
                      </a:lnTo>
                      <a:lnTo>
                        <a:pt x="285" y="133"/>
                      </a:lnTo>
                      <a:lnTo>
                        <a:pt x="283" y="135"/>
                      </a:lnTo>
                      <a:lnTo>
                        <a:pt x="283" y="136"/>
                      </a:lnTo>
                      <a:lnTo>
                        <a:pt x="282" y="138"/>
                      </a:lnTo>
                      <a:lnTo>
                        <a:pt x="283" y="140"/>
                      </a:lnTo>
                      <a:lnTo>
                        <a:pt x="283" y="141"/>
                      </a:lnTo>
                      <a:lnTo>
                        <a:pt x="284" y="141"/>
                      </a:lnTo>
                      <a:lnTo>
                        <a:pt x="284" y="142"/>
                      </a:lnTo>
                      <a:lnTo>
                        <a:pt x="285" y="142"/>
                      </a:lnTo>
                      <a:lnTo>
                        <a:pt x="287" y="142"/>
                      </a:lnTo>
                      <a:lnTo>
                        <a:pt x="288" y="142"/>
                      </a:lnTo>
                      <a:lnTo>
                        <a:pt x="289" y="142"/>
                      </a:lnTo>
                      <a:lnTo>
                        <a:pt x="290" y="142"/>
                      </a:lnTo>
                      <a:lnTo>
                        <a:pt x="290" y="143"/>
                      </a:lnTo>
                      <a:lnTo>
                        <a:pt x="291" y="143"/>
                      </a:lnTo>
                      <a:lnTo>
                        <a:pt x="291" y="145"/>
                      </a:lnTo>
                      <a:lnTo>
                        <a:pt x="294" y="145"/>
                      </a:lnTo>
                      <a:lnTo>
                        <a:pt x="295" y="143"/>
                      </a:lnTo>
                      <a:lnTo>
                        <a:pt x="296" y="143"/>
                      </a:lnTo>
                      <a:lnTo>
                        <a:pt x="297" y="143"/>
                      </a:lnTo>
                      <a:lnTo>
                        <a:pt x="298" y="143"/>
                      </a:lnTo>
                      <a:lnTo>
                        <a:pt x="298" y="145"/>
                      </a:lnTo>
                      <a:lnTo>
                        <a:pt x="299" y="145"/>
                      </a:lnTo>
                      <a:lnTo>
                        <a:pt x="299" y="146"/>
                      </a:lnTo>
                      <a:lnTo>
                        <a:pt x="301" y="146"/>
                      </a:lnTo>
                      <a:lnTo>
                        <a:pt x="303" y="146"/>
                      </a:lnTo>
                      <a:lnTo>
                        <a:pt x="304" y="146"/>
                      </a:lnTo>
                      <a:lnTo>
                        <a:pt x="305" y="146"/>
                      </a:lnTo>
                      <a:lnTo>
                        <a:pt x="305" y="147"/>
                      </a:lnTo>
                      <a:lnTo>
                        <a:pt x="306" y="148"/>
                      </a:lnTo>
                      <a:lnTo>
                        <a:pt x="308" y="149"/>
                      </a:lnTo>
                      <a:lnTo>
                        <a:pt x="309" y="149"/>
                      </a:lnTo>
                      <a:lnTo>
                        <a:pt x="310" y="149"/>
                      </a:lnTo>
                      <a:lnTo>
                        <a:pt x="310" y="150"/>
                      </a:lnTo>
                      <a:lnTo>
                        <a:pt x="315" y="154"/>
                      </a:lnTo>
                      <a:lnTo>
                        <a:pt x="315" y="155"/>
                      </a:lnTo>
                      <a:lnTo>
                        <a:pt x="315" y="156"/>
                      </a:lnTo>
                      <a:lnTo>
                        <a:pt x="315" y="160"/>
                      </a:lnTo>
                      <a:lnTo>
                        <a:pt x="316" y="160"/>
                      </a:lnTo>
                      <a:lnTo>
                        <a:pt x="317" y="161"/>
                      </a:lnTo>
                      <a:lnTo>
                        <a:pt x="318" y="162"/>
                      </a:lnTo>
                      <a:lnTo>
                        <a:pt x="319" y="162"/>
                      </a:lnTo>
                      <a:lnTo>
                        <a:pt x="320" y="163"/>
                      </a:lnTo>
                      <a:lnTo>
                        <a:pt x="320" y="164"/>
                      </a:lnTo>
                      <a:lnTo>
                        <a:pt x="320" y="166"/>
                      </a:lnTo>
                      <a:lnTo>
                        <a:pt x="322" y="167"/>
                      </a:lnTo>
                      <a:lnTo>
                        <a:pt x="323" y="168"/>
                      </a:lnTo>
                      <a:lnTo>
                        <a:pt x="324" y="168"/>
                      </a:lnTo>
                      <a:lnTo>
                        <a:pt x="324" y="169"/>
                      </a:lnTo>
                      <a:lnTo>
                        <a:pt x="327" y="169"/>
                      </a:lnTo>
                      <a:lnTo>
                        <a:pt x="330" y="171"/>
                      </a:lnTo>
                      <a:lnTo>
                        <a:pt x="331" y="171"/>
                      </a:lnTo>
                      <a:lnTo>
                        <a:pt x="331" y="173"/>
                      </a:lnTo>
                      <a:lnTo>
                        <a:pt x="331" y="174"/>
                      </a:lnTo>
                      <a:lnTo>
                        <a:pt x="330" y="174"/>
                      </a:lnTo>
                      <a:lnTo>
                        <a:pt x="331" y="174"/>
                      </a:lnTo>
                      <a:lnTo>
                        <a:pt x="331" y="175"/>
                      </a:lnTo>
                      <a:lnTo>
                        <a:pt x="331" y="176"/>
                      </a:lnTo>
                      <a:lnTo>
                        <a:pt x="332" y="176"/>
                      </a:lnTo>
                      <a:lnTo>
                        <a:pt x="333" y="176"/>
                      </a:lnTo>
                      <a:lnTo>
                        <a:pt x="334" y="176"/>
                      </a:lnTo>
                      <a:lnTo>
                        <a:pt x="337" y="177"/>
                      </a:lnTo>
                      <a:lnTo>
                        <a:pt x="337" y="178"/>
                      </a:lnTo>
                      <a:lnTo>
                        <a:pt x="337" y="180"/>
                      </a:lnTo>
                      <a:lnTo>
                        <a:pt x="338" y="181"/>
                      </a:lnTo>
                      <a:lnTo>
                        <a:pt x="338" y="182"/>
                      </a:lnTo>
                      <a:lnTo>
                        <a:pt x="339" y="183"/>
                      </a:lnTo>
                      <a:lnTo>
                        <a:pt x="339" y="185"/>
                      </a:lnTo>
                      <a:lnTo>
                        <a:pt x="339" y="187"/>
                      </a:lnTo>
                      <a:lnTo>
                        <a:pt x="340" y="188"/>
                      </a:lnTo>
                      <a:lnTo>
                        <a:pt x="340" y="189"/>
                      </a:lnTo>
                      <a:lnTo>
                        <a:pt x="340" y="191"/>
                      </a:lnTo>
                      <a:lnTo>
                        <a:pt x="341" y="194"/>
                      </a:lnTo>
                      <a:lnTo>
                        <a:pt x="342" y="195"/>
                      </a:lnTo>
                      <a:lnTo>
                        <a:pt x="342" y="196"/>
                      </a:lnTo>
                      <a:lnTo>
                        <a:pt x="344" y="196"/>
                      </a:lnTo>
                      <a:lnTo>
                        <a:pt x="344" y="197"/>
                      </a:lnTo>
                      <a:lnTo>
                        <a:pt x="345" y="197"/>
                      </a:lnTo>
                      <a:lnTo>
                        <a:pt x="345" y="199"/>
                      </a:lnTo>
                      <a:lnTo>
                        <a:pt x="345" y="201"/>
                      </a:lnTo>
                      <a:lnTo>
                        <a:pt x="344" y="201"/>
                      </a:lnTo>
                      <a:lnTo>
                        <a:pt x="345" y="202"/>
                      </a:lnTo>
                      <a:lnTo>
                        <a:pt x="345" y="203"/>
                      </a:lnTo>
                      <a:lnTo>
                        <a:pt x="345" y="204"/>
                      </a:lnTo>
                      <a:lnTo>
                        <a:pt x="347" y="208"/>
                      </a:lnTo>
                      <a:lnTo>
                        <a:pt x="348" y="209"/>
                      </a:lnTo>
                      <a:lnTo>
                        <a:pt x="348" y="211"/>
                      </a:lnTo>
                      <a:lnTo>
                        <a:pt x="349" y="212"/>
                      </a:lnTo>
                      <a:lnTo>
                        <a:pt x="353" y="215"/>
                      </a:lnTo>
                      <a:lnTo>
                        <a:pt x="354" y="215"/>
                      </a:lnTo>
                      <a:lnTo>
                        <a:pt x="354" y="216"/>
                      </a:lnTo>
                      <a:lnTo>
                        <a:pt x="354" y="217"/>
                      </a:lnTo>
                      <a:lnTo>
                        <a:pt x="353" y="217"/>
                      </a:lnTo>
                      <a:lnTo>
                        <a:pt x="354" y="218"/>
                      </a:lnTo>
                      <a:lnTo>
                        <a:pt x="354" y="219"/>
                      </a:lnTo>
                      <a:lnTo>
                        <a:pt x="355" y="220"/>
                      </a:lnTo>
                      <a:lnTo>
                        <a:pt x="356" y="220"/>
                      </a:lnTo>
                      <a:lnTo>
                        <a:pt x="358" y="219"/>
                      </a:lnTo>
                      <a:lnTo>
                        <a:pt x="359" y="218"/>
                      </a:lnTo>
                      <a:lnTo>
                        <a:pt x="360" y="218"/>
                      </a:lnTo>
                      <a:lnTo>
                        <a:pt x="361" y="218"/>
                      </a:lnTo>
                      <a:lnTo>
                        <a:pt x="362" y="218"/>
                      </a:lnTo>
                      <a:lnTo>
                        <a:pt x="363" y="219"/>
                      </a:lnTo>
                      <a:lnTo>
                        <a:pt x="365" y="219"/>
                      </a:lnTo>
                      <a:lnTo>
                        <a:pt x="366" y="219"/>
                      </a:lnTo>
                      <a:lnTo>
                        <a:pt x="367" y="219"/>
                      </a:lnTo>
                      <a:lnTo>
                        <a:pt x="369" y="220"/>
                      </a:lnTo>
                      <a:lnTo>
                        <a:pt x="370" y="222"/>
                      </a:lnTo>
                      <a:lnTo>
                        <a:pt x="372" y="222"/>
                      </a:lnTo>
                      <a:lnTo>
                        <a:pt x="370" y="223"/>
                      </a:lnTo>
                      <a:lnTo>
                        <a:pt x="370" y="224"/>
                      </a:lnTo>
                      <a:lnTo>
                        <a:pt x="370" y="225"/>
                      </a:lnTo>
                      <a:lnTo>
                        <a:pt x="372" y="226"/>
                      </a:lnTo>
                      <a:lnTo>
                        <a:pt x="370" y="227"/>
                      </a:lnTo>
                      <a:lnTo>
                        <a:pt x="369" y="229"/>
                      </a:lnTo>
                      <a:lnTo>
                        <a:pt x="369" y="230"/>
                      </a:lnTo>
                      <a:lnTo>
                        <a:pt x="369" y="236"/>
                      </a:lnTo>
                      <a:lnTo>
                        <a:pt x="369" y="238"/>
                      </a:lnTo>
                      <a:lnTo>
                        <a:pt x="370" y="239"/>
                      </a:lnTo>
                      <a:lnTo>
                        <a:pt x="375" y="244"/>
                      </a:lnTo>
                      <a:lnTo>
                        <a:pt x="373" y="244"/>
                      </a:lnTo>
                      <a:lnTo>
                        <a:pt x="370" y="244"/>
                      </a:lnTo>
                      <a:lnTo>
                        <a:pt x="370" y="241"/>
                      </a:lnTo>
                      <a:lnTo>
                        <a:pt x="369" y="241"/>
                      </a:lnTo>
                      <a:lnTo>
                        <a:pt x="368" y="243"/>
                      </a:lnTo>
                      <a:lnTo>
                        <a:pt x="368" y="244"/>
                      </a:lnTo>
                      <a:lnTo>
                        <a:pt x="368" y="245"/>
                      </a:lnTo>
                      <a:lnTo>
                        <a:pt x="365" y="244"/>
                      </a:lnTo>
                      <a:lnTo>
                        <a:pt x="363" y="240"/>
                      </a:lnTo>
                      <a:lnTo>
                        <a:pt x="362" y="238"/>
                      </a:lnTo>
                      <a:lnTo>
                        <a:pt x="363" y="234"/>
                      </a:lnTo>
                      <a:lnTo>
                        <a:pt x="361" y="233"/>
                      </a:lnTo>
                      <a:lnTo>
                        <a:pt x="358" y="233"/>
                      </a:lnTo>
                      <a:lnTo>
                        <a:pt x="359" y="231"/>
                      </a:lnTo>
                      <a:lnTo>
                        <a:pt x="359" y="230"/>
                      </a:lnTo>
                      <a:lnTo>
                        <a:pt x="356" y="232"/>
                      </a:lnTo>
                      <a:lnTo>
                        <a:pt x="354" y="233"/>
                      </a:lnTo>
                      <a:lnTo>
                        <a:pt x="353" y="232"/>
                      </a:lnTo>
                      <a:lnTo>
                        <a:pt x="351" y="232"/>
                      </a:lnTo>
                      <a:lnTo>
                        <a:pt x="348" y="233"/>
                      </a:lnTo>
                      <a:lnTo>
                        <a:pt x="346" y="234"/>
                      </a:lnTo>
                      <a:lnTo>
                        <a:pt x="342" y="236"/>
                      </a:lnTo>
                      <a:lnTo>
                        <a:pt x="340" y="237"/>
                      </a:lnTo>
                      <a:lnTo>
                        <a:pt x="338" y="238"/>
                      </a:lnTo>
                      <a:lnTo>
                        <a:pt x="334" y="239"/>
                      </a:lnTo>
                      <a:lnTo>
                        <a:pt x="333" y="240"/>
                      </a:lnTo>
                      <a:lnTo>
                        <a:pt x="331" y="240"/>
                      </a:lnTo>
                      <a:lnTo>
                        <a:pt x="329" y="241"/>
                      </a:lnTo>
                      <a:lnTo>
                        <a:pt x="326" y="244"/>
                      </a:lnTo>
                      <a:lnTo>
                        <a:pt x="323" y="246"/>
                      </a:lnTo>
                      <a:lnTo>
                        <a:pt x="319" y="250"/>
                      </a:lnTo>
                      <a:lnTo>
                        <a:pt x="316" y="253"/>
                      </a:lnTo>
                      <a:lnTo>
                        <a:pt x="313" y="255"/>
                      </a:lnTo>
                      <a:lnTo>
                        <a:pt x="310" y="259"/>
                      </a:lnTo>
                      <a:lnTo>
                        <a:pt x="308" y="261"/>
                      </a:lnTo>
                      <a:lnTo>
                        <a:pt x="304" y="265"/>
                      </a:lnTo>
                      <a:lnTo>
                        <a:pt x="301" y="267"/>
                      </a:lnTo>
                      <a:lnTo>
                        <a:pt x="298" y="269"/>
                      </a:lnTo>
                      <a:lnTo>
                        <a:pt x="297" y="271"/>
                      </a:lnTo>
                      <a:lnTo>
                        <a:pt x="296" y="271"/>
                      </a:lnTo>
                      <a:lnTo>
                        <a:pt x="291" y="271"/>
                      </a:lnTo>
                      <a:lnTo>
                        <a:pt x="288" y="271"/>
                      </a:lnTo>
                      <a:lnTo>
                        <a:pt x="287" y="271"/>
                      </a:lnTo>
                      <a:lnTo>
                        <a:pt x="287" y="269"/>
                      </a:lnTo>
                      <a:lnTo>
                        <a:pt x="282" y="267"/>
                      </a:lnTo>
                      <a:lnTo>
                        <a:pt x="282" y="266"/>
                      </a:lnTo>
                      <a:lnTo>
                        <a:pt x="281" y="266"/>
                      </a:lnTo>
                      <a:lnTo>
                        <a:pt x="280" y="268"/>
                      </a:lnTo>
                      <a:lnTo>
                        <a:pt x="277" y="269"/>
                      </a:lnTo>
                      <a:lnTo>
                        <a:pt x="274" y="269"/>
                      </a:lnTo>
                      <a:lnTo>
                        <a:pt x="269" y="271"/>
                      </a:lnTo>
                      <a:lnTo>
                        <a:pt x="263" y="271"/>
                      </a:lnTo>
                      <a:lnTo>
                        <a:pt x="262" y="271"/>
                      </a:lnTo>
                      <a:lnTo>
                        <a:pt x="256" y="274"/>
                      </a:lnTo>
                      <a:lnTo>
                        <a:pt x="255" y="275"/>
                      </a:lnTo>
                      <a:lnTo>
                        <a:pt x="255" y="276"/>
                      </a:lnTo>
                      <a:lnTo>
                        <a:pt x="255" y="278"/>
                      </a:lnTo>
                      <a:lnTo>
                        <a:pt x="253" y="278"/>
                      </a:lnTo>
                      <a:lnTo>
                        <a:pt x="252" y="276"/>
                      </a:lnTo>
                      <a:lnTo>
                        <a:pt x="252" y="275"/>
                      </a:lnTo>
                      <a:lnTo>
                        <a:pt x="251" y="275"/>
                      </a:lnTo>
                      <a:lnTo>
                        <a:pt x="248" y="275"/>
                      </a:lnTo>
                      <a:lnTo>
                        <a:pt x="247" y="275"/>
                      </a:lnTo>
                      <a:lnTo>
                        <a:pt x="247" y="273"/>
                      </a:lnTo>
                      <a:lnTo>
                        <a:pt x="247" y="272"/>
                      </a:lnTo>
                      <a:lnTo>
                        <a:pt x="245" y="269"/>
                      </a:lnTo>
                      <a:lnTo>
                        <a:pt x="244" y="268"/>
                      </a:lnTo>
                      <a:lnTo>
                        <a:pt x="242" y="268"/>
                      </a:lnTo>
                      <a:lnTo>
                        <a:pt x="240" y="272"/>
                      </a:lnTo>
                      <a:lnTo>
                        <a:pt x="237" y="272"/>
                      </a:lnTo>
                      <a:lnTo>
                        <a:pt x="235" y="273"/>
                      </a:lnTo>
                      <a:lnTo>
                        <a:pt x="234" y="273"/>
                      </a:lnTo>
                      <a:lnTo>
                        <a:pt x="231" y="271"/>
                      </a:lnTo>
                      <a:lnTo>
                        <a:pt x="227" y="269"/>
                      </a:lnTo>
                      <a:lnTo>
                        <a:pt x="226" y="269"/>
                      </a:lnTo>
                      <a:lnTo>
                        <a:pt x="225" y="269"/>
                      </a:lnTo>
                      <a:lnTo>
                        <a:pt x="224" y="269"/>
                      </a:lnTo>
                      <a:lnTo>
                        <a:pt x="223" y="269"/>
                      </a:lnTo>
                      <a:lnTo>
                        <a:pt x="221" y="271"/>
                      </a:lnTo>
                      <a:lnTo>
                        <a:pt x="220" y="271"/>
                      </a:lnTo>
                      <a:lnTo>
                        <a:pt x="219" y="271"/>
                      </a:lnTo>
                      <a:lnTo>
                        <a:pt x="219" y="272"/>
                      </a:lnTo>
                      <a:lnTo>
                        <a:pt x="218" y="272"/>
                      </a:lnTo>
                      <a:lnTo>
                        <a:pt x="217" y="272"/>
                      </a:lnTo>
                      <a:lnTo>
                        <a:pt x="217" y="273"/>
                      </a:lnTo>
                      <a:lnTo>
                        <a:pt x="216" y="274"/>
                      </a:lnTo>
                      <a:lnTo>
                        <a:pt x="214" y="276"/>
                      </a:lnTo>
                      <a:lnTo>
                        <a:pt x="213" y="278"/>
                      </a:lnTo>
                      <a:lnTo>
                        <a:pt x="213" y="279"/>
                      </a:lnTo>
                      <a:lnTo>
                        <a:pt x="213" y="278"/>
                      </a:lnTo>
                      <a:lnTo>
                        <a:pt x="213" y="276"/>
                      </a:lnTo>
                      <a:lnTo>
                        <a:pt x="213" y="275"/>
                      </a:lnTo>
                      <a:lnTo>
                        <a:pt x="212" y="275"/>
                      </a:lnTo>
                      <a:lnTo>
                        <a:pt x="211" y="275"/>
                      </a:lnTo>
                      <a:lnTo>
                        <a:pt x="211" y="274"/>
                      </a:lnTo>
                      <a:lnTo>
                        <a:pt x="211" y="273"/>
                      </a:lnTo>
                      <a:lnTo>
                        <a:pt x="210" y="273"/>
                      </a:lnTo>
                      <a:lnTo>
                        <a:pt x="210" y="274"/>
                      </a:lnTo>
                      <a:lnTo>
                        <a:pt x="209" y="274"/>
                      </a:lnTo>
                      <a:lnTo>
                        <a:pt x="207" y="274"/>
                      </a:lnTo>
                      <a:lnTo>
                        <a:pt x="206" y="274"/>
                      </a:lnTo>
                      <a:lnTo>
                        <a:pt x="206" y="275"/>
                      </a:lnTo>
                      <a:lnTo>
                        <a:pt x="205" y="275"/>
                      </a:lnTo>
                      <a:lnTo>
                        <a:pt x="204" y="275"/>
                      </a:lnTo>
                      <a:lnTo>
                        <a:pt x="204" y="274"/>
                      </a:lnTo>
                      <a:lnTo>
                        <a:pt x="204" y="273"/>
                      </a:lnTo>
                      <a:lnTo>
                        <a:pt x="204" y="272"/>
                      </a:lnTo>
                      <a:lnTo>
                        <a:pt x="204" y="267"/>
                      </a:lnTo>
                      <a:lnTo>
                        <a:pt x="203" y="267"/>
                      </a:lnTo>
                      <a:lnTo>
                        <a:pt x="203" y="266"/>
                      </a:lnTo>
                      <a:lnTo>
                        <a:pt x="203" y="267"/>
                      </a:lnTo>
                      <a:lnTo>
                        <a:pt x="202" y="267"/>
                      </a:lnTo>
                      <a:lnTo>
                        <a:pt x="201" y="266"/>
                      </a:lnTo>
                      <a:lnTo>
                        <a:pt x="197" y="265"/>
                      </a:lnTo>
                      <a:lnTo>
                        <a:pt x="195" y="264"/>
                      </a:lnTo>
                      <a:lnTo>
                        <a:pt x="194" y="264"/>
                      </a:lnTo>
                      <a:lnTo>
                        <a:pt x="192" y="264"/>
                      </a:lnTo>
                      <a:lnTo>
                        <a:pt x="192" y="262"/>
                      </a:lnTo>
                      <a:lnTo>
                        <a:pt x="191" y="261"/>
                      </a:lnTo>
                      <a:lnTo>
                        <a:pt x="191" y="260"/>
                      </a:lnTo>
                      <a:lnTo>
                        <a:pt x="190" y="259"/>
                      </a:lnTo>
                      <a:lnTo>
                        <a:pt x="189" y="259"/>
                      </a:lnTo>
                      <a:lnTo>
                        <a:pt x="188" y="258"/>
                      </a:lnTo>
                      <a:lnTo>
                        <a:pt x="187" y="257"/>
                      </a:lnTo>
                      <a:lnTo>
                        <a:pt x="187" y="255"/>
                      </a:lnTo>
                      <a:lnTo>
                        <a:pt x="185" y="255"/>
                      </a:lnTo>
                      <a:lnTo>
                        <a:pt x="184" y="255"/>
                      </a:lnTo>
                      <a:lnTo>
                        <a:pt x="184" y="254"/>
                      </a:lnTo>
                      <a:lnTo>
                        <a:pt x="184" y="253"/>
                      </a:lnTo>
                      <a:lnTo>
                        <a:pt x="184" y="252"/>
                      </a:lnTo>
                      <a:lnTo>
                        <a:pt x="183" y="252"/>
                      </a:lnTo>
                      <a:lnTo>
                        <a:pt x="182" y="252"/>
                      </a:lnTo>
                      <a:lnTo>
                        <a:pt x="181" y="252"/>
                      </a:lnTo>
                      <a:lnTo>
                        <a:pt x="180" y="251"/>
                      </a:lnTo>
                      <a:lnTo>
                        <a:pt x="180" y="250"/>
                      </a:lnTo>
                      <a:lnTo>
                        <a:pt x="180" y="248"/>
                      </a:lnTo>
                      <a:lnTo>
                        <a:pt x="180" y="247"/>
                      </a:lnTo>
                      <a:lnTo>
                        <a:pt x="180" y="246"/>
                      </a:lnTo>
                      <a:lnTo>
                        <a:pt x="180" y="245"/>
                      </a:lnTo>
                      <a:lnTo>
                        <a:pt x="181" y="245"/>
                      </a:lnTo>
                      <a:lnTo>
                        <a:pt x="180" y="245"/>
                      </a:lnTo>
                      <a:lnTo>
                        <a:pt x="178" y="244"/>
                      </a:lnTo>
                      <a:lnTo>
                        <a:pt x="177" y="244"/>
                      </a:lnTo>
                      <a:lnTo>
                        <a:pt x="176" y="243"/>
                      </a:lnTo>
                      <a:lnTo>
                        <a:pt x="175" y="241"/>
                      </a:lnTo>
                      <a:lnTo>
                        <a:pt x="174" y="241"/>
                      </a:lnTo>
                      <a:lnTo>
                        <a:pt x="173" y="241"/>
                      </a:lnTo>
                      <a:lnTo>
                        <a:pt x="171" y="241"/>
                      </a:lnTo>
                      <a:lnTo>
                        <a:pt x="170" y="241"/>
                      </a:lnTo>
                      <a:lnTo>
                        <a:pt x="169" y="241"/>
                      </a:lnTo>
                      <a:lnTo>
                        <a:pt x="169" y="243"/>
                      </a:lnTo>
                      <a:lnTo>
                        <a:pt x="169" y="244"/>
                      </a:lnTo>
                      <a:lnTo>
                        <a:pt x="168" y="245"/>
                      </a:lnTo>
                      <a:lnTo>
                        <a:pt x="168" y="246"/>
                      </a:lnTo>
                      <a:lnTo>
                        <a:pt x="166" y="248"/>
                      </a:lnTo>
                      <a:lnTo>
                        <a:pt x="166" y="250"/>
                      </a:lnTo>
                      <a:lnTo>
                        <a:pt x="164" y="250"/>
                      </a:lnTo>
                      <a:lnTo>
                        <a:pt x="163" y="250"/>
                      </a:lnTo>
                      <a:lnTo>
                        <a:pt x="162" y="250"/>
                      </a:lnTo>
                      <a:lnTo>
                        <a:pt x="162" y="251"/>
                      </a:lnTo>
                      <a:lnTo>
                        <a:pt x="162" y="252"/>
                      </a:lnTo>
                      <a:lnTo>
                        <a:pt x="161" y="252"/>
                      </a:lnTo>
                      <a:lnTo>
                        <a:pt x="161" y="251"/>
                      </a:lnTo>
                      <a:lnTo>
                        <a:pt x="159" y="250"/>
                      </a:lnTo>
                      <a:lnTo>
                        <a:pt x="159" y="248"/>
                      </a:lnTo>
                      <a:lnTo>
                        <a:pt x="156" y="248"/>
                      </a:lnTo>
                      <a:lnTo>
                        <a:pt x="155" y="247"/>
                      </a:lnTo>
                      <a:lnTo>
                        <a:pt x="154" y="246"/>
                      </a:lnTo>
                      <a:lnTo>
                        <a:pt x="153" y="247"/>
                      </a:lnTo>
                      <a:lnTo>
                        <a:pt x="152" y="247"/>
                      </a:lnTo>
                      <a:lnTo>
                        <a:pt x="150" y="247"/>
                      </a:lnTo>
                      <a:lnTo>
                        <a:pt x="149" y="247"/>
                      </a:lnTo>
                      <a:lnTo>
                        <a:pt x="148" y="247"/>
                      </a:lnTo>
                      <a:lnTo>
                        <a:pt x="148" y="246"/>
                      </a:lnTo>
                      <a:lnTo>
                        <a:pt x="148" y="245"/>
                      </a:lnTo>
                      <a:lnTo>
                        <a:pt x="147" y="245"/>
                      </a:lnTo>
                      <a:lnTo>
                        <a:pt x="146" y="245"/>
                      </a:lnTo>
                      <a:lnTo>
                        <a:pt x="143" y="248"/>
                      </a:lnTo>
                      <a:lnTo>
                        <a:pt x="141" y="250"/>
                      </a:lnTo>
                      <a:lnTo>
                        <a:pt x="141" y="251"/>
                      </a:lnTo>
                      <a:lnTo>
                        <a:pt x="140" y="251"/>
                      </a:lnTo>
                      <a:lnTo>
                        <a:pt x="139" y="251"/>
                      </a:lnTo>
                      <a:lnTo>
                        <a:pt x="138" y="252"/>
                      </a:lnTo>
                      <a:lnTo>
                        <a:pt x="137" y="253"/>
                      </a:lnTo>
                      <a:lnTo>
                        <a:pt x="135" y="253"/>
                      </a:lnTo>
                      <a:lnTo>
                        <a:pt x="134" y="253"/>
                      </a:lnTo>
                      <a:lnTo>
                        <a:pt x="134" y="252"/>
                      </a:lnTo>
                      <a:lnTo>
                        <a:pt x="133" y="251"/>
                      </a:lnTo>
                      <a:lnTo>
                        <a:pt x="132" y="251"/>
                      </a:lnTo>
                      <a:lnTo>
                        <a:pt x="131" y="252"/>
                      </a:lnTo>
                      <a:lnTo>
                        <a:pt x="128" y="251"/>
                      </a:lnTo>
                      <a:lnTo>
                        <a:pt x="127" y="251"/>
                      </a:lnTo>
                      <a:lnTo>
                        <a:pt x="127" y="250"/>
                      </a:lnTo>
                      <a:lnTo>
                        <a:pt x="127" y="248"/>
                      </a:lnTo>
                      <a:lnTo>
                        <a:pt x="126" y="248"/>
                      </a:lnTo>
                      <a:lnTo>
                        <a:pt x="125" y="248"/>
                      </a:lnTo>
                      <a:lnTo>
                        <a:pt x="124" y="247"/>
                      </a:lnTo>
                      <a:lnTo>
                        <a:pt x="124" y="246"/>
                      </a:lnTo>
                      <a:lnTo>
                        <a:pt x="124" y="245"/>
                      </a:lnTo>
                      <a:lnTo>
                        <a:pt x="123" y="245"/>
                      </a:lnTo>
                      <a:lnTo>
                        <a:pt x="121" y="245"/>
                      </a:lnTo>
                      <a:lnTo>
                        <a:pt x="121" y="244"/>
                      </a:lnTo>
                      <a:lnTo>
                        <a:pt x="120" y="244"/>
                      </a:lnTo>
                      <a:lnTo>
                        <a:pt x="120" y="245"/>
                      </a:lnTo>
                      <a:lnTo>
                        <a:pt x="119" y="245"/>
                      </a:lnTo>
                      <a:lnTo>
                        <a:pt x="118" y="245"/>
                      </a:lnTo>
                      <a:lnTo>
                        <a:pt x="118" y="244"/>
                      </a:lnTo>
                      <a:lnTo>
                        <a:pt x="117" y="244"/>
                      </a:lnTo>
                      <a:lnTo>
                        <a:pt x="116" y="244"/>
                      </a:lnTo>
                      <a:lnTo>
                        <a:pt x="116" y="243"/>
                      </a:lnTo>
                      <a:lnTo>
                        <a:pt x="116" y="240"/>
                      </a:lnTo>
                      <a:lnTo>
                        <a:pt x="116" y="239"/>
                      </a:lnTo>
                      <a:lnTo>
                        <a:pt x="116" y="238"/>
                      </a:lnTo>
                      <a:lnTo>
                        <a:pt x="116" y="237"/>
                      </a:lnTo>
                      <a:lnTo>
                        <a:pt x="114" y="237"/>
                      </a:lnTo>
                      <a:lnTo>
                        <a:pt x="113" y="237"/>
                      </a:lnTo>
                      <a:lnTo>
                        <a:pt x="113" y="236"/>
                      </a:lnTo>
                      <a:lnTo>
                        <a:pt x="112" y="234"/>
                      </a:lnTo>
                      <a:lnTo>
                        <a:pt x="109" y="233"/>
                      </a:lnTo>
                      <a:lnTo>
                        <a:pt x="107" y="233"/>
                      </a:lnTo>
                      <a:lnTo>
                        <a:pt x="107" y="232"/>
                      </a:lnTo>
                      <a:lnTo>
                        <a:pt x="107" y="231"/>
                      </a:lnTo>
                      <a:lnTo>
                        <a:pt x="106" y="231"/>
                      </a:lnTo>
                      <a:lnTo>
                        <a:pt x="105" y="230"/>
                      </a:lnTo>
                      <a:lnTo>
                        <a:pt x="105" y="229"/>
                      </a:lnTo>
                      <a:lnTo>
                        <a:pt x="105" y="227"/>
                      </a:lnTo>
                      <a:lnTo>
                        <a:pt x="104" y="227"/>
                      </a:lnTo>
                      <a:lnTo>
                        <a:pt x="104" y="226"/>
                      </a:lnTo>
                      <a:lnTo>
                        <a:pt x="103" y="225"/>
                      </a:lnTo>
                      <a:lnTo>
                        <a:pt x="102" y="224"/>
                      </a:lnTo>
                      <a:lnTo>
                        <a:pt x="100" y="223"/>
                      </a:lnTo>
                      <a:lnTo>
                        <a:pt x="99" y="220"/>
                      </a:lnTo>
                      <a:lnTo>
                        <a:pt x="99" y="219"/>
                      </a:lnTo>
                      <a:lnTo>
                        <a:pt x="99" y="218"/>
                      </a:lnTo>
                      <a:lnTo>
                        <a:pt x="98" y="217"/>
                      </a:lnTo>
                      <a:lnTo>
                        <a:pt x="99" y="213"/>
                      </a:lnTo>
                      <a:lnTo>
                        <a:pt x="99" y="212"/>
                      </a:lnTo>
                      <a:lnTo>
                        <a:pt x="98" y="212"/>
                      </a:lnTo>
                      <a:lnTo>
                        <a:pt x="98" y="211"/>
                      </a:lnTo>
                      <a:lnTo>
                        <a:pt x="98" y="210"/>
                      </a:lnTo>
                      <a:lnTo>
                        <a:pt x="98" y="209"/>
                      </a:lnTo>
                      <a:lnTo>
                        <a:pt x="97" y="208"/>
                      </a:lnTo>
                      <a:lnTo>
                        <a:pt x="96" y="208"/>
                      </a:lnTo>
                      <a:lnTo>
                        <a:pt x="96" y="206"/>
                      </a:lnTo>
                      <a:lnTo>
                        <a:pt x="93" y="205"/>
                      </a:lnTo>
                      <a:lnTo>
                        <a:pt x="92" y="205"/>
                      </a:lnTo>
                      <a:lnTo>
                        <a:pt x="91" y="204"/>
                      </a:lnTo>
                      <a:lnTo>
                        <a:pt x="91" y="203"/>
                      </a:lnTo>
                      <a:lnTo>
                        <a:pt x="90" y="204"/>
                      </a:lnTo>
                      <a:lnTo>
                        <a:pt x="89" y="204"/>
                      </a:lnTo>
                      <a:lnTo>
                        <a:pt x="89" y="203"/>
                      </a:lnTo>
                      <a:lnTo>
                        <a:pt x="88" y="202"/>
                      </a:lnTo>
                      <a:lnTo>
                        <a:pt x="88" y="203"/>
                      </a:lnTo>
                      <a:lnTo>
                        <a:pt x="86" y="203"/>
                      </a:lnTo>
                      <a:lnTo>
                        <a:pt x="85" y="202"/>
                      </a:lnTo>
                      <a:lnTo>
                        <a:pt x="85" y="201"/>
                      </a:lnTo>
                      <a:lnTo>
                        <a:pt x="85" y="199"/>
                      </a:lnTo>
                      <a:lnTo>
                        <a:pt x="84" y="199"/>
                      </a:lnTo>
                      <a:lnTo>
                        <a:pt x="82" y="198"/>
                      </a:lnTo>
                      <a:lnTo>
                        <a:pt x="79" y="198"/>
                      </a:lnTo>
                      <a:lnTo>
                        <a:pt x="77" y="198"/>
                      </a:lnTo>
                      <a:lnTo>
                        <a:pt x="77" y="197"/>
                      </a:lnTo>
                      <a:lnTo>
                        <a:pt x="76" y="197"/>
                      </a:lnTo>
                      <a:lnTo>
                        <a:pt x="76" y="196"/>
                      </a:lnTo>
                      <a:lnTo>
                        <a:pt x="75" y="196"/>
                      </a:lnTo>
                      <a:lnTo>
                        <a:pt x="74" y="196"/>
                      </a:lnTo>
                      <a:lnTo>
                        <a:pt x="74" y="195"/>
                      </a:lnTo>
                      <a:lnTo>
                        <a:pt x="75" y="194"/>
                      </a:lnTo>
                      <a:lnTo>
                        <a:pt x="76" y="194"/>
                      </a:lnTo>
                      <a:lnTo>
                        <a:pt x="76" y="192"/>
                      </a:lnTo>
                      <a:lnTo>
                        <a:pt x="76" y="191"/>
                      </a:lnTo>
                      <a:lnTo>
                        <a:pt x="75" y="191"/>
                      </a:lnTo>
                      <a:lnTo>
                        <a:pt x="75" y="190"/>
                      </a:lnTo>
                      <a:lnTo>
                        <a:pt x="74" y="190"/>
                      </a:lnTo>
                      <a:lnTo>
                        <a:pt x="74" y="189"/>
                      </a:lnTo>
                      <a:lnTo>
                        <a:pt x="73" y="189"/>
                      </a:lnTo>
                      <a:lnTo>
                        <a:pt x="71" y="189"/>
                      </a:lnTo>
                      <a:lnTo>
                        <a:pt x="71" y="188"/>
                      </a:lnTo>
                      <a:lnTo>
                        <a:pt x="70" y="188"/>
                      </a:lnTo>
                      <a:lnTo>
                        <a:pt x="70" y="187"/>
                      </a:lnTo>
                      <a:lnTo>
                        <a:pt x="69" y="187"/>
                      </a:lnTo>
                      <a:lnTo>
                        <a:pt x="69" y="185"/>
                      </a:lnTo>
                      <a:lnTo>
                        <a:pt x="69" y="184"/>
                      </a:lnTo>
                      <a:lnTo>
                        <a:pt x="68" y="184"/>
                      </a:lnTo>
                      <a:lnTo>
                        <a:pt x="69" y="183"/>
                      </a:lnTo>
                      <a:lnTo>
                        <a:pt x="70" y="182"/>
                      </a:lnTo>
                      <a:lnTo>
                        <a:pt x="71" y="181"/>
                      </a:lnTo>
                      <a:lnTo>
                        <a:pt x="71" y="180"/>
                      </a:lnTo>
                      <a:lnTo>
                        <a:pt x="71" y="178"/>
                      </a:lnTo>
                      <a:lnTo>
                        <a:pt x="70" y="177"/>
                      </a:lnTo>
                      <a:lnTo>
                        <a:pt x="68" y="176"/>
                      </a:lnTo>
                      <a:lnTo>
                        <a:pt x="67" y="175"/>
                      </a:lnTo>
                      <a:lnTo>
                        <a:pt x="66" y="175"/>
                      </a:lnTo>
                      <a:lnTo>
                        <a:pt x="64" y="173"/>
                      </a:lnTo>
                      <a:lnTo>
                        <a:pt x="63" y="173"/>
                      </a:lnTo>
                      <a:lnTo>
                        <a:pt x="62" y="171"/>
                      </a:lnTo>
                      <a:lnTo>
                        <a:pt x="62" y="170"/>
                      </a:lnTo>
                      <a:lnTo>
                        <a:pt x="61" y="170"/>
                      </a:lnTo>
                      <a:lnTo>
                        <a:pt x="61" y="169"/>
                      </a:lnTo>
                      <a:lnTo>
                        <a:pt x="61" y="168"/>
                      </a:lnTo>
                      <a:lnTo>
                        <a:pt x="61" y="167"/>
                      </a:lnTo>
                      <a:lnTo>
                        <a:pt x="60" y="167"/>
                      </a:lnTo>
                      <a:lnTo>
                        <a:pt x="59" y="167"/>
                      </a:lnTo>
                      <a:lnTo>
                        <a:pt x="59" y="166"/>
                      </a:lnTo>
                      <a:lnTo>
                        <a:pt x="57" y="166"/>
                      </a:lnTo>
                      <a:lnTo>
                        <a:pt x="56" y="166"/>
                      </a:lnTo>
                      <a:lnTo>
                        <a:pt x="56" y="164"/>
                      </a:lnTo>
                      <a:lnTo>
                        <a:pt x="55" y="164"/>
                      </a:lnTo>
                      <a:lnTo>
                        <a:pt x="54" y="163"/>
                      </a:lnTo>
                      <a:lnTo>
                        <a:pt x="53" y="163"/>
                      </a:lnTo>
                      <a:lnTo>
                        <a:pt x="53" y="162"/>
                      </a:lnTo>
                      <a:lnTo>
                        <a:pt x="52" y="162"/>
                      </a:lnTo>
                      <a:lnTo>
                        <a:pt x="50" y="162"/>
                      </a:lnTo>
                      <a:lnTo>
                        <a:pt x="49" y="161"/>
                      </a:lnTo>
                      <a:lnTo>
                        <a:pt x="47" y="160"/>
                      </a:lnTo>
                      <a:lnTo>
                        <a:pt x="45" y="159"/>
                      </a:lnTo>
                      <a:lnTo>
                        <a:pt x="43" y="159"/>
                      </a:lnTo>
                      <a:lnTo>
                        <a:pt x="42" y="159"/>
                      </a:lnTo>
                      <a:lnTo>
                        <a:pt x="41" y="157"/>
                      </a:lnTo>
                      <a:lnTo>
                        <a:pt x="40" y="156"/>
                      </a:lnTo>
                      <a:lnTo>
                        <a:pt x="39" y="156"/>
                      </a:lnTo>
                      <a:lnTo>
                        <a:pt x="39" y="155"/>
                      </a:lnTo>
                      <a:lnTo>
                        <a:pt x="39" y="154"/>
                      </a:lnTo>
                      <a:lnTo>
                        <a:pt x="38" y="154"/>
                      </a:lnTo>
                      <a:lnTo>
                        <a:pt x="38" y="153"/>
                      </a:lnTo>
                      <a:lnTo>
                        <a:pt x="36" y="153"/>
                      </a:lnTo>
                      <a:lnTo>
                        <a:pt x="36" y="152"/>
                      </a:lnTo>
                      <a:lnTo>
                        <a:pt x="34" y="150"/>
                      </a:lnTo>
                      <a:lnTo>
                        <a:pt x="33" y="149"/>
                      </a:lnTo>
                      <a:lnTo>
                        <a:pt x="33" y="148"/>
                      </a:lnTo>
                      <a:lnTo>
                        <a:pt x="34" y="148"/>
                      </a:lnTo>
                      <a:lnTo>
                        <a:pt x="36" y="147"/>
                      </a:lnTo>
                      <a:lnTo>
                        <a:pt x="36" y="146"/>
                      </a:lnTo>
                      <a:lnTo>
                        <a:pt x="36" y="145"/>
                      </a:lnTo>
                      <a:lnTo>
                        <a:pt x="36" y="143"/>
                      </a:lnTo>
                      <a:lnTo>
                        <a:pt x="36" y="142"/>
                      </a:lnTo>
                      <a:lnTo>
                        <a:pt x="36" y="141"/>
                      </a:lnTo>
                      <a:lnTo>
                        <a:pt x="35" y="140"/>
                      </a:lnTo>
                      <a:lnTo>
                        <a:pt x="35" y="139"/>
                      </a:lnTo>
                      <a:lnTo>
                        <a:pt x="34" y="139"/>
                      </a:lnTo>
                      <a:lnTo>
                        <a:pt x="33" y="139"/>
                      </a:lnTo>
                      <a:lnTo>
                        <a:pt x="32" y="139"/>
                      </a:lnTo>
                      <a:lnTo>
                        <a:pt x="31" y="139"/>
                      </a:lnTo>
                      <a:lnTo>
                        <a:pt x="29" y="139"/>
                      </a:lnTo>
                      <a:lnTo>
                        <a:pt x="29" y="138"/>
                      </a:lnTo>
                      <a:lnTo>
                        <a:pt x="27" y="136"/>
                      </a:lnTo>
                      <a:lnTo>
                        <a:pt x="27" y="135"/>
                      </a:lnTo>
                      <a:lnTo>
                        <a:pt x="26" y="134"/>
                      </a:lnTo>
                      <a:lnTo>
                        <a:pt x="26" y="133"/>
                      </a:lnTo>
                      <a:lnTo>
                        <a:pt x="26" y="132"/>
                      </a:lnTo>
                      <a:lnTo>
                        <a:pt x="22" y="129"/>
                      </a:lnTo>
                      <a:lnTo>
                        <a:pt x="21" y="129"/>
                      </a:lnTo>
                      <a:lnTo>
                        <a:pt x="20" y="129"/>
                      </a:lnTo>
                      <a:lnTo>
                        <a:pt x="19" y="128"/>
                      </a:lnTo>
                      <a:lnTo>
                        <a:pt x="18" y="128"/>
                      </a:lnTo>
                      <a:lnTo>
                        <a:pt x="15" y="128"/>
                      </a:lnTo>
                      <a:lnTo>
                        <a:pt x="13" y="128"/>
                      </a:lnTo>
                      <a:lnTo>
                        <a:pt x="12" y="128"/>
                      </a:lnTo>
                      <a:lnTo>
                        <a:pt x="11" y="127"/>
                      </a:lnTo>
                      <a:lnTo>
                        <a:pt x="10" y="126"/>
                      </a:lnTo>
                      <a:lnTo>
                        <a:pt x="9" y="126"/>
                      </a:lnTo>
                      <a:lnTo>
                        <a:pt x="7" y="127"/>
                      </a:lnTo>
                      <a:lnTo>
                        <a:pt x="6" y="127"/>
                      </a:lnTo>
                      <a:lnTo>
                        <a:pt x="6" y="126"/>
                      </a:lnTo>
                      <a:lnTo>
                        <a:pt x="5" y="126"/>
                      </a:lnTo>
                      <a:lnTo>
                        <a:pt x="4" y="126"/>
                      </a:lnTo>
                      <a:lnTo>
                        <a:pt x="3" y="126"/>
                      </a:lnTo>
                      <a:lnTo>
                        <a:pt x="2" y="126"/>
                      </a:lnTo>
                      <a:lnTo>
                        <a:pt x="2" y="125"/>
                      </a:lnTo>
                      <a:lnTo>
                        <a:pt x="0" y="124"/>
                      </a:lnTo>
                      <a:lnTo>
                        <a:pt x="0" y="122"/>
                      </a:lnTo>
                      <a:lnTo>
                        <a:pt x="0" y="121"/>
                      </a:lnTo>
                      <a:lnTo>
                        <a:pt x="3" y="118"/>
                      </a:lnTo>
                      <a:lnTo>
                        <a:pt x="4" y="117"/>
                      </a:lnTo>
                      <a:lnTo>
                        <a:pt x="3" y="115"/>
                      </a:lnTo>
                      <a:lnTo>
                        <a:pt x="3" y="114"/>
                      </a:lnTo>
                      <a:lnTo>
                        <a:pt x="4" y="113"/>
                      </a:lnTo>
                      <a:lnTo>
                        <a:pt x="3" y="113"/>
                      </a:lnTo>
                      <a:lnTo>
                        <a:pt x="2" y="113"/>
                      </a:lnTo>
                      <a:lnTo>
                        <a:pt x="2" y="112"/>
                      </a:lnTo>
                      <a:lnTo>
                        <a:pt x="4" y="111"/>
                      </a:lnTo>
                      <a:lnTo>
                        <a:pt x="5" y="110"/>
                      </a:lnTo>
                      <a:lnTo>
                        <a:pt x="9" y="108"/>
                      </a:lnTo>
                      <a:lnTo>
                        <a:pt x="10" y="107"/>
                      </a:lnTo>
                      <a:lnTo>
                        <a:pt x="12" y="107"/>
                      </a:lnTo>
                      <a:lnTo>
                        <a:pt x="13" y="107"/>
                      </a:lnTo>
                      <a:lnTo>
                        <a:pt x="14" y="107"/>
                      </a:lnTo>
                      <a:lnTo>
                        <a:pt x="14" y="106"/>
                      </a:lnTo>
                      <a:lnTo>
                        <a:pt x="14" y="104"/>
                      </a:lnTo>
                      <a:lnTo>
                        <a:pt x="14" y="103"/>
                      </a:lnTo>
                      <a:lnTo>
                        <a:pt x="17" y="98"/>
                      </a:lnTo>
                      <a:lnTo>
                        <a:pt x="18" y="97"/>
                      </a:lnTo>
                      <a:lnTo>
                        <a:pt x="18" y="91"/>
                      </a:lnTo>
                      <a:lnTo>
                        <a:pt x="18" y="90"/>
                      </a:lnTo>
                      <a:lnTo>
                        <a:pt x="19" y="90"/>
                      </a:lnTo>
                      <a:lnTo>
                        <a:pt x="21" y="87"/>
                      </a:lnTo>
                      <a:lnTo>
                        <a:pt x="21" y="86"/>
                      </a:lnTo>
                      <a:lnTo>
                        <a:pt x="21" y="77"/>
                      </a:lnTo>
                      <a:lnTo>
                        <a:pt x="21" y="76"/>
                      </a:lnTo>
                      <a:lnTo>
                        <a:pt x="22" y="76"/>
                      </a:lnTo>
                      <a:lnTo>
                        <a:pt x="24" y="76"/>
                      </a:lnTo>
                      <a:lnTo>
                        <a:pt x="25" y="75"/>
                      </a:lnTo>
                      <a:lnTo>
                        <a:pt x="26" y="73"/>
                      </a:lnTo>
                      <a:lnTo>
                        <a:pt x="27" y="72"/>
                      </a:lnTo>
                      <a:lnTo>
                        <a:pt x="27" y="71"/>
                      </a:lnTo>
                      <a:lnTo>
                        <a:pt x="28" y="71"/>
                      </a:lnTo>
                      <a:lnTo>
                        <a:pt x="28" y="69"/>
                      </a:lnTo>
                      <a:lnTo>
                        <a:pt x="29" y="68"/>
                      </a:lnTo>
                      <a:lnTo>
                        <a:pt x="28" y="66"/>
                      </a:lnTo>
                      <a:lnTo>
                        <a:pt x="28" y="65"/>
                      </a:lnTo>
                      <a:lnTo>
                        <a:pt x="31" y="62"/>
                      </a:lnTo>
                      <a:lnTo>
                        <a:pt x="32" y="62"/>
                      </a:lnTo>
                      <a:lnTo>
                        <a:pt x="32" y="61"/>
                      </a:lnTo>
                      <a:lnTo>
                        <a:pt x="33" y="61"/>
                      </a:lnTo>
                      <a:lnTo>
                        <a:pt x="34" y="61"/>
                      </a:lnTo>
                      <a:lnTo>
                        <a:pt x="35" y="61"/>
                      </a:lnTo>
                      <a:lnTo>
                        <a:pt x="36" y="61"/>
                      </a:lnTo>
                      <a:lnTo>
                        <a:pt x="38" y="61"/>
                      </a:lnTo>
                      <a:lnTo>
                        <a:pt x="39" y="61"/>
                      </a:lnTo>
                      <a:lnTo>
                        <a:pt x="40" y="61"/>
                      </a:lnTo>
                      <a:lnTo>
                        <a:pt x="41" y="61"/>
                      </a:lnTo>
                      <a:lnTo>
                        <a:pt x="41" y="59"/>
                      </a:lnTo>
                      <a:lnTo>
                        <a:pt x="42" y="59"/>
                      </a:lnTo>
                      <a:lnTo>
                        <a:pt x="43" y="59"/>
                      </a:lnTo>
                      <a:lnTo>
                        <a:pt x="45" y="59"/>
                      </a:lnTo>
                      <a:lnTo>
                        <a:pt x="47" y="58"/>
                      </a:lnTo>
                      <a:lnTo>
                        <a:pt x="48" y="58"/>
                      </a:lnTo>
                      <a:lnTo>
                        <a:pt x="49" y="58"/>
                      </a:lnTo>
                      <a:lnTo>
                        <a:pt x="50" y="58"/>
                      </a:lnTo>
                      <a:lnTo>
                        <a:pt x="52" y="58"/>
                      </a:lnTo>
                      <a:lnTo>
                        <a:pt x="53" y="58"/>
                      </a:lnTo>
                      <a:lnTo>
                        <a:pt x="54" y="57"/>
                      </a:lnTo>
                      <a:lnTo>
                        <a:pt x="55" y="57"/>
                      </a:lnTo>
                      <a:lnTo>
                        <a:pt x="56" y="59"/>
                      </a:lnTo>
                      <a:lnTo>
                        <a:pt x="56" y="65"/>
                      </a:lnTo>
                      <a:lnTo>
                        <a:pt x="57" y="65"/>
                      </a:lnTo>
                      <a:lnTo>
                        <a:pt x="59" y="66"/>
                      </a:lnTo>
                      <a:lnTo>
                        <a:pt x="60" y="66"/>
                      </a:lnTo>
                      <a:lnTo>
                        <a:pt x="61" y="68"/>
                      </a:lnTo>
                      <a:lnTo>
                        <a:pt x="62" y="70"/>
                      </a:lnTo>
                      <a:lnTo>
                        <a:pt x="63" y="71"/>
                      </a:lnTo>
                      <a:lnTo>
                        <a:pt x="66" y="72"/>
                      </a:lnTo>
                      <a:lnTo>
                        <a:pt x="71" y="79"/>
                      </a:lnTo>
                      <a:lnTo>
                        <a:pt x="77" y="86"/>
                      </a:lnTo>
                      <a:lnTo>
                        <a:pt x="79" y="87"/>
                      </a:lnTo>
                      <a:lnTo>
                        <a:pt x="82" y="87"/>
                      </a:lnTo>
                      <a:lnTo>
                        <a:pt x="95" y="84"/>
                      </a:lnTo>
                      <a:lnTo>
                        <a:pt x="103" y="83"/>
                      </a:lnTo>
                      <a:lnTo>
                        <a:pt x="104" y="84"/>
                      </a:lnTo>
                      <a:lnTo>
                        <a:pt x="109" y="84"/>
                      </a:lnTo>
                      <a:lnTo>
                        <a:pt x="111" y="84"/>
                      </a:lnTo>
                      <a:lnTo>
                        <a:pt x="112" y="84"/>
                      </a:lnTo>
                      <a:lnTo>
                        <a:pt x="117" y="84"/>
                      </a:lnTo>
                      <a:lnTo>
                        <a:pt x="119" y="84"/>
                      </a:lnTo>
                      <a:lnTo>
                        <a:pt x="120" y="84"/>
                      </a:lnTo>
                      <a:lnTo>
                        <a:pt x="124" y="91"/>
                      </a:lnTo>
                      <a:lnTo>
                        <a:pt x="125" y="92"/>
                      </a:lnTo>
                      <a:lnTo>
                        <a:pt x="138" y="92"/>
                      </a:lnTo>
                      <a:lnTo>
                        <a:pt x="150" y="92"/>
                      </a:lnTo>
                      <a:lnTo>
                        <a:pt x="149" y="91"/>
                      </a:lnTo>
                      <a:lnTo>
                        <a:pt x="149" y="90"/>
                      </a:lnTo>
                      <a:lnTo>
                        <a:pt x="150" y="89"/>
                      </a:lnTo>
                      <a:lnTo>
                        <a:pt x="153" y="86"/>
                      </a:lnTo>
                      <a:lnTo>
                        <a:pt x="155" y="84"/>
                      </a:lnTo>
                      <a:lnTo>
                        <a:pt x="160" y="82"/>
                      </a:lnTo>
                      <a:lnTo>
                        <a:pt x="163" y="80"/>
                      </a:lnTo>
                      <a:lnTo>
                        <a:pt x="170" y="78"/>
                      </a:lnTo>
                      <a:lnTo>
                        <a:pt x="174" y="76"/>
                      </a:lnTo>
                      <a:lnTo>
                        <a:pt x="175" y="73"/>
                      </a:lnTo>
                      <a:lnTo>
                        <a:pt x="175" y="69"/>
                      </a:lnTo>
                      <a:lnTo>
                        <a:pt x="176" y="69"/>
                      </a:lnTo>
                      <a:lnTo>
                        <a:pt x="177" y="68"/>
                      </a:lnTo>
                      <a:lnTo>
                        <a:pt x="187" y="63"/>
                      </a:lnTo>
                      <a:lnTo>
                        <a:pt x="188" y="62"/>
                      </a:lnTo>
                      <a:lnTo>
                        <a:pt x="195" y="68"/>
                      </a:lnTo>
                      <a:lnTo>
                        <a:pt x="203" y="72"/>
                      </a:lnTo>
                      <a:lnTo>
                        <a:pt x="211" y="79"/>
                      </a:lnTo>
                      <a:lnTo>
                        <a:pt x="211" y="80"/>
                      </a:lnTo>
                      <a:lnTo>
                        <a:pt x="212" y="80"/>
                      </a:lnTo>
                      <a:lnTo>
                        <a:pt x="212" y="79"/>
                      </a:lnTo>
                      <a:lnTo>
                        <a:pt x="213" y="79"/>
                      </a:lnTo>
                      <a:lnTo>
                        <a:pt x="217" y="79"/>
                      </a:lnTo>
                      <a:lnTo>
                        <a:pt x="224" y="79"/>
                      </a:lnTo>
                      <a:lnTo>
                        <a:pt x="226" y="78"/>
                      </a:lnTo>
                      <a:lnTo>
                        <a:pt x="233" y="71"/>
                      </a:lnTo>
                      <a:lnTo>
                        <a:pt x="240" y="64"/>
                      </a:lnTo>
                      <a:lnTo>
                        <a:pt x="244" y="59"/>
                      </a:lnTo>
                      <a:lnTo>
                        <a:pt x="245" y="59"/>
                      </a:lnTo>
                      <a:lnTo>
                        <a:pt x="246" y="56"/>
                      </a:lnTo>
                      <a:lnTo>
                        <a:pt x="248" y="51"/>
                      </a:lnTo>
                      <a:lnTo>
                        <a:pt x="249" y="50"/>
                      </a:lnTo>
                      <a:lnTo>
                        <a:pt x="256" y="44"/>
                      </a:lnTo>
                      <a:lnTo>
                        <a:pt x="265" y="37"/>
                      </a:lnTo>
                      <a:lnTo>
                        <a:pt x="265" y="36"/>
                      </a:lnTo>
                      <a:lnTo>
                        <a:pt x="262" y="31"/>
                      </a:lnTo>
                      <a:lnTo>
                        <a:pt x="262" y="29"/>
                      </a:lnTo>
                      <a:lnTo>
                        <a:pt x="262" y="26"/>
                      </a:lnTo>
                      <a:lnTo>
                        <a:pt x="262" y="21"/>
                      </a:lnTo>
                      <a:lnTo>
                        <a:pt x="262" y="17"/>
                      </a:lnTo>
                      <a:lnTo>
                        <a:pt x="262" y="16"/>
                      </a:lnTo>
                      <a:lnTo>
                        <a:pt x="254" y="7"/>
                      </a:lnTo>
                      <a:lnTo>
                        <a:pt x="265" y="7"/>
                      </a:lnTo>
                      <a:lnTo>
                        <a:pt x="275" y="7"/>
                      </a:lnTo>
                      <a:lnTo>
                        <a:pt x="275" y="6"/>
                      </a:lnTo>
                      <a:lnTo>
                        <a:pt x="275" y="5"/>
                      </a:lnTo>
                      <a:lnTo>
                        <a:pt x="274" y="3"/>
                      </a:lnTo>
                      <a:lnTo>
                        <a:pt x="274" y="2"/>
                      </a:lnTo>
                      <a:lnTo>
                        <a:pt x="274" y="1"/>
                      </a:lnTo>
                      <a:lnTo>
                        <a:pt x="274" y="0"/>
                      </a:lnTo>
                      <a:lnTo>
                        <a:pt x="289" y="0"/>
                      </a:lnTo>
                      <a:lnTo>
                        <a:pt x="289" y="2"/>
                      </a:lnTo>
                      <a:lnTo>
                        <a:pt x="288" y="9"/>
                      </a:lnTo>
                      <a:lnTo>
                        <a:pt x="288" y="13"/>
                      </a:lnTo>
                      <a:lnTo>
                        <a:pt x="287" y="17"/>
                      </a:lnTo>
                      <a:lnTo>
                        <a:pt x="287" y="19"/>
                      </a:lnTo>
                      <a:lnTo>
                        <a:pt x="285" y="20"/>
                      </a:lnTo>
                      <a:lnTo>
                        <a:pt x="287" y="33"/>
                      </a:lnTo>
                      <a:lnTo>
                        <a:pt x="289" y="44"/>
                      </a:lnTo>
                      <a:lnTo>
                        <a:pt x="288" y="44"/>
                      </a:lnTo>
                      <a:lnTo>
                        <a:pt x="288" y="45"/>
                      </a:lnTo>
                      <a:lnTo>
                        <a:pt x="288" y="47"/>
                      </a:lnTo>
                      <a:lnTo>
                        <a:pt x="287" y="47"/>
                      </a:lnTo>
                      <a:lnTo>
                        <a:pt x="287" y="48"/>
                      </a:lnTo>
                      <a:lnTo>
                        <a:pt x="288" y="48"/>
                      </a:lnTo>
                      <a:lnTo>
                        <a:pt x="295" y="50"/>
                      </a:lnTo>
                      <a:lnTo>
                        <a:pt x="295" y="51"/>
                      </a:lnTo>
                      <a:lnTo>
                        <a:pt x="297" y="54"/>
                      </a:lnTo>
                      <a:lnTo>
                        <a:pt x="304" y="59"/>
                      </a:lnTo>
                      <a:lnTo>
                        <a:pt x="311" y="65"/>
                      </a:lnTo>
                      <a:lnTo>
                        <a:pt x="312" y="65"/>
                      </a:lnTo>
                      <a:lnTo>
                        <a:pt x="313" y="70"/>
                      </a:lnTo>
                      <a:lnTo>
                        <a:pt x="313" y="71"/>
                      </a:lnTo>
                      <a:lnTo>
                        <a:pt x="313" y="73"/>
                      </a:lnTo>
                      <a:lnTo>
                        <a:pt x="313" y="75"/>
                      </a:lnTo>
                      <a:lnTo>
                        <a:pt x="313" y="76"/>
                      </a:lnTo>
                      <a:lnTo>
                        <a:pt x="313" y="77"/>
                      </a:lnTo>
                      <a:lnTo>
                        <a:pt x="311" y="80"/>
                      </a:lnTo>
                      <a:lnTo>
                        <a:pt x="311" y="84"/>
                      </a:lnTo>
                      <a:lnTo>
                        <a:pt x="310" y="86"/>
                      </a:lnTo>
                      <a:lnTo>
                        <a:pt x="311" y="87"/>
                      </a:lnTo>
                      <a:lnTo>
                        <a:pt x="311" y="89"/>
                      </a:lnTo>
                      <a:lnTo>
                        <a:pt x="317" y="89"/>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6" name="Freeform 113">
                  <a:extLst>
                    <a:ext uri="{FF2B5EF4-FFF2-40B4-BE49-F238E27FC236}">
                      <a16:creationId xmlns:a16="http://schemas.microsoft.com/office/drawing/2014/main" id="{F3145D0F-F27F-27BA-3346-7C01865A594F}"/>
                    </a:ext>
                  </a:extLst>
                </p:cNvPr>
                <p:cNvSpPr>
                  <a:spLocks noEditPoints="1"/>
                </p:cNvSpPr>
                <p:nvPr/>
              </p:nvSpPr>
              <p:spPr bwMode="auto">
                <a:xfrm>
                  <a:off x="5768281" y="3464360"/>
                  <a:ext cx="104928" cy="108173"/>
                </a:xfrm>
                <a:custGeom>
                  <a:avLst/>
                  <a:gdLst>
                    <a:gd name="T0" fmla="*/ 27 w 97"/>
                    <a:gd name="T1" fmla="*/ 81 h 100"/>
                    <a:gd name="T2" fmla="*/ 26 w 97"/>
                    <a:gd name="T3" fmla="*/ 84 h 100"/>
                    <a:gd name="T4" fmla="*/ 13 w 97"/>
                    <a:gd name="T5" fmla="*/ 80 h 100"/>
                    <a:gd name="T6" fmla="*/ 24 w 97"/>
                    <a:gd name="T7" fmla="*/ 77 h 100"/>
                    <a:gd name="T8" fmla="*/ 73 w 97"/>
                    <a:gd name="T9" fmla="*/ 10 h 100"/>
                    <a:gd name="T10" fmla="*/ 78 w 97"/>
                    <a:gd name="T11" fmla="*/ 16 h 100"/>
                    <a:gd name="T12" fmla="*/ 81 w 97"/>
                    <a:gd name="T13" fmla="*/ 21 h 100"/>
                    <a:gd name="T14" fmla="*/ 81 w 97"/>
                    <a:gd name="T15" fmla="*/ 27 h 100"/>
                    <a:gd name="T16" fmla="*/ 86 w 97"/>
                    <a:gd name="T17" fmla="*/ 33 h 100"/>
                    <a:gd name="T18" fmla="*/ 88 w 97"/>
                    <a:gd name="T19" fmla="*/ 41 h 100"/>
                    <a:gd name="T20" fmla="*/ 86 w 97"/>
                    <a:gd name="T21" fmla="*/ 47 h 100"/>
                    <a:gd name="T22" fmla="*/ 83 w 97"/>
                    <a:gd name="T23" fmla="*/ 56 h 100"/>
                    <a:gd name="T24" fmla="*/ 88 w 97"/>
                    <a:gd name="T25" fmla="*/ 54 h 100"/>
                    <a:gd name="T26" fmla="*/ 94 w 97"/>
                    <a:gd name="T27" fmla="*/ 48 h 100"/>
                    <a:gd name="T28" fmla="*/ 95 w 97"/>
                    <a:gd name="T29" fmla="*/ 58 h 100"/>
                    <a:gd name="T30" fmla="*/ 88 w 97"/>
                    <a:gd name="T31" fmla="*/ 62 h 100"/>
                    <a:gd name="T32" fmla="*/ 83 w 97"/>
                    <a:gd name="T33" fmla="*/ 74 h 100"/>
                    <a:gd name="T34" fmla="*/ 67 w 97"/>
                    <a:gd name="T35" fmla="*/ 88 h 100"/>
                    <a:gd name="T36" fmla="*/ 64 w 97"/>
                    <a:gd name="T37" fmla="*/ 94 h 100"/>
                    <a:gd name="T38" fmla="*/ 62 w 97"/>
                    <a:gd name="T39" fmla="*/ 97 h 100"/>
                    <a:gd name="T40" fmla="*/ 56 w 97"/>
                    <a:gd name="T41" fmla="*/ 97 h 100"/>
                    <a:gd name="T42" fmla="*/ 41 w 97"/>
                    <a:gd name="T43" fmla="*/ 90 h 100"/>
                    <a:gd name="T44" fmla="*/ 30 w 97"/>
                    <a:gd name="T45" fmla="*/ 84 h 100"/>
                    <a:gd name="T46" fmla="*/ 29 w 97"/>
                    <a:gd name="T47" fmla="*/ 81 h 100"/>
                    <a:gd name="T48" fmla="*/ 34 w 97"/>
                    <a:gd name="T49" fmla="*/ 80 h 100"/>
                    <a:gd name="T50" fmla="*/ 36 w 97"/>
                    <a:gd name="T51" fmla="*/ 79 h 100"/>
                    <a:gd name="T52" fmla="*/ 30 w 97"/>
                    <a:gd name="T53" fmla="*/ 80 h 100"/>
                    <a:gd name="T54" fmla="*/ 27 w 97"/>
                    <a:gd name="T55" fmla="*/ 76 h 100"/>
                    <a:gd name="T56" fmla="*/ 28 w 97"/>
                    <a:gd name="T57" fmla="*/ 73 h 100"/>
                    <a:gd name="T58" fmla="*/ 19 w 97"/>
                    <a:gd name="T59" fmla="*/ 74 h 100"/>
                    <a:gd name="T60" fmla="*/ 15 w 97"/>
                    <a:gd name="T61" fmla="*/ 72 h 100"/>
                    <a:gd name="T62" fmla="*/ 16 w 97"/>
                    <a:gd name="T63" fmla="*/ 68 h 100"/>
                    <a:gd name="T64" fmla="*/ 13 w 97"/>
                    <a:gd name="T65" fmla="*/ 61 h 100"/>
                    <a:gd name="T66" fmla="*/ 9 w 97"/>
                    <a:gd name="T67" fmla="*/ 58 h 100"/>
                    <a:gd name="T68" fmla="*/ 5 w 97"/>
                    <a:gd name="T69" fmla="*/ 56 h 100"/>
                    <a:gd name="T70" fmla="*/ 2 w 97"/>
                    <a:gd name="T71" fmla="*/ 51 h 100"/>
                    <a:gd name="T72" fmla="*/ 3 w 97"/>
                    <a:gd name="T73" fmla="*/ 51 h 100"/>
                    <a:gd name="T74" fmla="*/ 9 w 97"/>
                    <a:gd name="T75" fmla="*/ 53 h 100"/>
                    <a:gd name="T76" fmla="*/ 9 w 97"/>
                    <a:gd name="T77" fmla="*/ 49 h 100"/>
                    <a:gd name="T78" fmla="*/ 13 w 97"/>
                    <a:gd name="T79" fmla="*/ 46 h 100"/>
                    <a:gd name="T80" fmla="*/ 8 w 97"/>
                    <a:gd name="T81" fmla="*/ 47 h 100"/>
                    <a:gd name="T82" fmla="*/ 7 w 97"/>
                    <a:gd name="T83" fmla="*/ 46 h 100"/>
                    <a:gd name="T84" fmla="*/ 6 w 97"/>
                    <a:gd name="T85" fmla="*/ 48 h 100"/>
                    <a:gd name="T86" fmla="*/ 2 w 97"/>
                    <a:gd name="T87" fmla="*/ 45 h 100"/>
                    <a:gd name="T88" fmla="*/ 8 w 97"/>
                    <a:gd name="T89" fmla="*/ 39 h 100"/>
                    <a:gd name="T90" fmla="*/ 5 w 97"/>
                    <a:gd name="T91" fmla="*/ 38 h 100"/>
                    <a:gd name="T92" fmla="*/ 3 w 97"/>
                    <a:gd name="T93" fmla="*/ 35 h 100"/>
                    <a:gd name="T94" fmla="*/ 3 w 97"/>
                    <a:gd name="T95" fmla="*/ 32 h 100"/>
                    <a:gd name="T96" fmla="*/ 10 w 97"/>
                    <a:gd name="T97" fmla="*/ 30 h 100"/>
                    <a:gd name="T98" fmla="*/ 13 w 97"/>
                    <a:gd name="T99" fmla="*/ 25 h 100"/>
                    <a:gd name="T100" fmla="*/ 19 w 97"/>
                    <a:gd name="T101" fmla="*/ 21 h 100"/>
                    <a:gd name="T102" fmla="*/ 22 w 97"/>
                    <a:gd name="T103" fmla="*/ 14 h 100"/>
                    <a:gd name="T104" fmla="*/ 26 w 97"/>
                    <a:gd name="T105" fmla="*/ 6 h 100"/>
                    <a:gd name="T106" fmla="*/ 36 w 97"/>
                    <a:gd name="T107" fmla="*/ 5 h 100"/>
                    <a:gd name="T108" fmla="*/ 64 w 97"/>
                    <a:gd name="T10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 h="100">
                      <a:moveTo>
                        <a:pt x="23" y="77"/>
                      </a:moveTo>
                      <a:lnTo>
                        <a:pt x="24" y="79"/>
                      </a:lnTo>
                      <a:lnTo>
                        <a:pt x="26" y="77"/>
                      </a:lnTo>
                      <a:lnTo>
                        <a:pt x="26" y="79"/>
                      </a:lnTo>
                      <a:lnTo>
                        <a:pt x="27" y="79"/>
                      </a:lnTo>
                      <a:lnTo>
                        <a:pt x="27" y="80"/>
                      </a:lnTo>
                      <a:lnTo>
                        <a:pt x="27" y="81"/>
                      </a:lnTo>
                      <a:lnTo>
                        <a:pt x="27" y="82"/>
                      </a:lnTo>
                      <a:lnTo>
                        <a:pt x="26" y="82"/>
                      </a:lnTo>
                      <a:lnTo>
                        <a:pt x="26" y="83"/>
                      </a:lnTo>
                      <a:lnTo>
                        <a:pt x="27" y="84"/>
                      </a:lnTo>
                      <a:lnTo>
                        <a:pt x="26" y="84"/>
                      </a:lnTo>
                      <a:lnTo>
                        <a:pt x="24" y="84"/>
                      </a:lnTo>
                      <a:lnTo>
                        <a:pt x="26" y="84"/>
                      </a:lnTo>
                      <a:lnTo>
                        <a:pt x="24" y="83"/>
                      </a:lnTo>
                      <a:lnTo>
                        <a:pt x="23" y="82"/>
                      </a:lnTo>
                      <a:lnTo>
                        <a:pt x="22" y="82"/>
                      </a:lnTo>
                      <a:lnTo>
                        <a:pt x="20" y="81"/>
                      </a:lnTo>
                      <a:lnTo>
                        <a:pt x="19" y="81"/>
                      </a:lnTo>
                      <a:lnTo>
                        <a:pt x="15" y="80"/>
                      </a:lnTo>
                      <a:lnTo>
                        <a:pt x="13" y="80"/>
                      </a:lnTo>
                      <a:lnTo>
                        <a:pt x="14" y="79"/>
                      </a:lnTo>
                      <a:lnTo>
                        <a:pt x="15" y="77"/>
                      </a:lnTo>
                      <a:lnTo>
                        <a:pt x="16" y="77"/>
                      </a:lnTo>
                      <a:lnTo>
                        <a:pt x="20" y="77"/>
                      </a:lnTo>
                      <a:lnTo>
                        <a:pt x="21" y="77"/>
                      </a:lnTo>
                      <a:lnTo>
                        <a:pt x="23" y="77"/>
                      </a:lnTo>
                      <a:lnTo>
                        <a:pt x="24" y="77"/>
                      </a:lnTo>
                      <a:lnTo>
                        <a:pt x="23" y="77"/>
                      </a:lnTo>
                      <a:close/>
                      <a:moveTo>
                        <a:pt x="67" y="4"/>
                      </a:moveTo>
                      <a:lnTo>
                        <a:pt x="69" y="5"/>
                      </a:lnTo>
                      <a:lnTo>
                        <a:pt x="71" y="6"/>
                      </a:lnTo>
                      <a:lnTo>
                        <a:pt x="72" y="7"/>
                      </a:lnTo>
                      <a:lnTo>
                        <a:pt x="73" y="9"/>
                      </a:lnTo>
                      <a:lnTo>
                        <a:pt x="73" y="10"/>
                      </a:lnTo>
                      <a:lnTo>
                        <a:pt x="74" y="11"/>
                      </a:lnTo>
                      <a:lnTo>
                        <a:pt x="74" y="12"/>
                      </a:lnTo>
                      <a:lnTo>
                        <a:pt x="76" y="12"/>
                      </a:lnTo>
                      <a:lnTo>
                        <a:pt x="76" y="13"/>
                      </a:lnTo>
                      <a:lnTo>
                        <a:pt x="77" y="14"/>
                      </a:lnTo>
                      <a:lnTo>
                        <a:pt x="77" y="16"/>
                      </a:lnTo>
                      <a:lnTo>
                        <a:pt x="78" y="16"/>
                      </a:lnTo>
                      <a:lnTo>
                        <a:pt x="78" y="17"/>
                      </a:lnTo>
                      <a:lnTo>
                        <a:pt x="78" y="18"/>
                      </a:lnTo>
                      <a:lnTo>
                        <a:pt x="79" y="19"/>
                      </a:lnTo>
                      <a:lnTo>
                        <a:pt x="79" y="20"/>
                      </a:lnTo>
                      <a:lnTo>
                        <a:pt x="80" y="20"/>
                      </a:lnTo>
                      <a:lnTo>
                        <a:pt x="81" y="20"/>
                      </a:lnTo>
                      <a:lnTo>
                        <a:pt x="81" y="21"/>
                      </a:lnTo>
                      <a:lnTo>
                        <a:pt x="83" y="21"/>
                      </a:lnTo>
                      <a:lnTo>
                        <a:pt x="84" y="23"/>
                      </a:lnTo>
                      <a:lnTo>
                        <a:pt x="84" y="24"/>
                      </a:lnTo>
                      <a:lnTo>
                        <a:pt x="84" y="25"/>
                      </a:lnTo>
                      <a:lnTo>
                        <a:pt x="84" y="26"/>
                      </a:lnTo>
                      <a:lnTo>
                        <a:pt x="83" y="26"/>
                      </a:lnTo>
                      <a:lnTo>
                        <a:pt x="81" y="27"/>
                      </a:lnTo>
                      <a:lnTo>
                        <a:pt x="81" y="28"/>
                      </a:lnTo>
                      <a:lnTo>
                        <a:pt x="81" y="30"/>
                      </a:lnTo>
                      <a:lnTo>
                        <a:pt x="83" y="30"/>
                      </a:lnTo>
                      <a:lnTo>
                        <a:pt x="84" y="30"/>
                      </a:lnTo>
                      <a:lnTo>
                        <a:pt x="85" y="31"/>
                      </a:lnTo>
                      <a:lnTo>
                        <a:pt x="86" y="31"/>
                      </a:lnTo>
                      <a:lnTo>
                        <a:pt x="86" y="33"/>
                      </a:lnTo>
                      <a:lnTo>
                        <a:pt x="86" y="34"/>
                      </a:lnTo>
                      <a:lnTo>
                        <a:pt x="86" y="37"/>
                      </a:lnTo>
                      <a:lnTo>
                        <a:pt x="86" y="38"/>
                      </a:lnTo>
                      <a:lnTo>
                        <a:pt x="86" y="39"/>
                      </a:lnTo>
                      <a:lnTo>
                        <a:pt x="87" y="39"/>
                      </a:lnTo>
                      <a:lnTo>
                        <a:pt x="88" y="40"/>
                      </a:lnTo>
                      <a:lnTo>
                        <a:pt x="88" y="41"/>
                      </a:lnTo>
                      <a:lnTo>
                        <a:pt x="91" y="42"/>
                      </a:lnTo>
                      <a:lnTo>
                        <a:pt x="90" y="44"/>
                      </a:lnTo>
                      <a:lnTo>
                        <a:pt x="90" y="45"/>
                      </a:lnTo>
                      <a:lnTo>
                        <a:pt x="88" y="45"/>
                      </a:lnTo>
                      <a:lnTo>
                        <a:pt x="87" y="45"/>
                      </a:lnTo>
                      <a:lnTo>
                        <a:pt x="86" y="46"/>
                      </a:lnTo>
                      <a:lnTo>
                        <a:pt x="86" y="47"/>
                      </a:lnTo>
                      <a:lnTo>
                        <a:pt x="85" y="48"/>
                      </a:lnTo>
                      <a:lnTo>
                        <a:pt x="85" y="49"/>
                      </a:lnTo>
                      <a:lnTo>
                        <a:pt x="85" y="52"/>
                      </a:lnTo>
                      <a:lnTo>
                        <a:pt x="84" y="53"/>
                      </a:lnTo>
                      <a:lnTo>
                        <a:pt x="83" y="54"/>
                      </a:lnTo>
                      <a:lnTo>
                        <a:pt x="83" y="55"/>
                      </a:lnTo>
                      <a:lnTo>
                        <a:pt x="83" y="56"/>
                      </a:lnTo>
                      <a:lnTo>
                        <a:pt x="84" y="55"/>
                      </a:lnTo>
                      <a:lnTo>
                        <a:pt x="84" y="54"/>
                      </a:lnTo>
                      <a:lnTo>
                        <a:pt x="85" y="54"/>
                      </a:lnTo>
                      <a:lnTo>
                        <a:pt x="86" y="54"/>
                      </a:lnTo>
                      <a:lnTo>
                        <a:pt x="87" y="54"/>
                      </a:lnTo>
                      <a:lnTo>
                        <a:pt x="87" y="55"/>
                      </a:lnTo>
                      <a:lnTo>
                        <a:pt x="88" y="54"/>
                      </a:lnTo>
                      <a:lnTo>
                        <a:pt x="90" y="54"/>
                      </a:lnTo>
                      <a:lnTo>
                        <a:pt x="91" y="52"/>
                      </a:lnTo>
                      <a:lnTo>
                        <a:pt x="92" y="52"/>
                      </a:lnTo>
                      <a:lnTo>
                        <a:pt x="92" y="49"/>
                      </a:lnTo>
                      <a:lnTo>
                        <a:pt x="93" y="49"/>
                      </a:lnTo>
                      <a:lnTo>
                        <a:pt x="93" y="48"/>
                      </a:lnTo>
                      <a:lnTo>
                        <a:pt x="94" y="48"/>
                      </a:lnTo>
                      <a:lnTo>
                        <a:pt x="95" y="48"/>
                      </a:lnTo>
                      <a:lnTo>
                        <a:pt x="97" y="48"/>
                      </a:lnTo>
                      <a:lnTo>
                        <a:pt x="97" y="51"/>
                      </a:lnTo>
                      <a:lnTo>
                        <a:pt x="95" y="54"/>
                      </a:lnTo>
                      <a:lnTo>
                        <a:pt x="95" y="55"/>
                      </a:lnTo>
                      <a:lnTo>
                        <a:pt x="95" y="56"/>
                      </a:lnTo>
                      <a:lnTo>
                        <a:pt x="95" y="58"/>
                      </a:lnTo>
                      <a:lnTo>
                        <a:pt x="95" y="59"/>
                      </a:lnTo>
                      <a:lnTo>
                        <a:pt x="94" y="60"/>
                      </a:lnTo>
                      <a:lnTo>
                        <a:pt x="93" y="60"/>
                      </a:lnTo>
                      <a:lnTo>
                        <a:pt x="91" y="60"/>
                      </a:lnTo>
                      <a:lnTo>
                        <a:pt x="90" y="60"/>
                      </a:lnTo>
                      <a:lnTo>
                        <a:pt x="88" y="61"/>
                      </a:lnTo>
                      <a:lnTo>
                        <a:pt x="88" y="62"/>
                      </a:lnTo>
                      <a:lnTo>
                        <a:pt x="87" y="62"/>
                      </a:lnTo>
                      <a:lnTo>
                        <a:pt x="87" y="63"/>
                      </a:lnTo>
                      <a:lnTo>
                        <a:pt x="86" y="63"/>
                      </a:lnTo>
                      <a:lnTo>
                        <a:pt x="86" y="65"/>
                      </a:lnTo>
                      <a:lnTo>
                        <a:pt x="86" y="72"/>
                      </a:lnTo>
                      <a:lnTo>
                        <a:pt x="84" y="73"/>
                      </a:lnTo>
                      <a:lnTo>
                        <a:pt x="83" y="74"/>
                      </a:lnTo>
                      <a:lnTo>
                        <a:pt x="79" y="79"/>
                      </a:lnTo>
                      <a:lnTo>
                        <a:pt x="78" y="80"/>
                      </a:lnTo>
                      <a:lnTo>
                        <a:pt x="77" y="80"/>
                      </a:lnTo>
                      <a:lnTo>
                        <a:pt x="76" y="81"/>
                      </a:lnTo>
                      <a:lnTo>
                        <a:pt x="71" y="84"/>
                      </a:lnTo>
                      <a:lnTo>
                        <a:pt x="70" y="86"/>
                      </a:lnTo>
                      <a:lnTo>
                        <a:pt x="67" y="88"/>
                      </a:lnTo>
                      <a:lnTo>
                        <a:pt x="67" y="89"/>
                      </a:lnTo>
                      <a:lnTo>
                        <a:pt x="65" y="90"/>
                      </a:lnTo>
                      <a:lnTo>
                        <a:pt x="64" y="90"/>
                      </a:lnTo>
                      <a:lnTo>
                        <a:pt x="64" y="91"/>
                      </a:lnTo>
                      <a:lnTo>
                        <a:pt x="63" y="93"/>
                      </a:lnTo>
                      <a:lnTo>
                        <a:pt x="63" y="94"/>
                      </a:lnTo>
                      <a:lnTo>
                        <a:pt x="64" y="94"/>
                      </a:lnTo>
                      <a:lnTo>
                        <a:pt x="63" y="94"/>
                      </a:lnTo>
                      <a:lnTo>
                        <a:pt x="63" y="95"/>
                      </a:lnTo>
                      <a:lnTo>
                        <a:pt x="62" y="95"/>
                      </a:lnTo>
                      <a:lnTo>
                        <a:pt x="63" y="95"/>
                      </a:lnTo>
                      <a:lnTo>
                        <a:pt x="63" y="96"/>
                      </a:lnTo>
                      <a:lnTo>
                        <a:pt x="62" y="96"/>
                      </a:lnTo>
                      <a:lnTo>
                        <a:pt x="62" y="97"/>
                      </a:lnTo>
                      <a:lnTo>
                        <a:pt x="60" y="97"/>
                      </a:lnTo>
                      <a:lnTo>
                        <a:pt x="60" y="98"/>
                      </a:lnTo>
                      <a:lnTo>
                        <a:pt x="59" y="100"/>
                      </a:lnTo>
                      <a:lnTo>
                        <a:pt x="59" y="98"/>
                      </a:lnTo>
                      <a:lnTo>
                        <a:pt x="58" y="98"/>
                      </a:lnTo>
                      <a:lnTo>
                        <a:pt x="57" y="98"/>
                      </a:lnTo>
                      <a:lnTo>
                        <a:pt x="56" y="97"/>
                      </a:lnTo>
                      <a:lnTo>
                        <a:pt x="57" y="97"/>
                      </a:lnTo>
                      <a:lnTo>
                        <a:pt x="56" y="97"/>
                      </a:lnTo>
                      <a:lnTo>
                        <a:pt x="55" y="97"/>
                      </a:lnTo>
                      <a:lnTo>
                        <a:pt x="55" y="96"/>
                      </a:lnTo>
                      <a:lnTo>
                        <a:pt x="52" y="95"/>
                      </a:lnTo>
                      <a:lnTo>
                        <a:pt x="48" y="93"/>
                      </a:lnTo>
                      <a:lnTo>
                        <a:pt x="41" y="90"/>
                      </a:lnTo>
                      <a:lnTo>
                        <a:pt x="33" y="87"/>
                      </a:lnTo>
                      <a:lnTo>
                        <a:pt x="27" y="84"/>
                      </a:lnTo>
                      <a:lnTo>
                        <a:pt x="28" y="84"/>
                      </a:lnTo>
                      <a:lnTo>
                        <a:pt x="29" y="84"/>
                      </a:lnTo>
                      <a:lnTo>
                        <a:pt x="30" y="84"/>
                      </a:lnTo>
                      <a:lnTo>
                        <a:pt x="31" y="84"/>
                      </a:lnTo>
                      <a:lnTo>
                        <a:pt x="30" y="84"/>
                      </a:lnTo>
                      <a:lnTo>
                        <a:pt x="30" y="83"/>
                      </a:lnTo>
                      <a:lnTo>
                        <a:pt x="29" y="83"/>
                      </a:lnTo>
                      <a:lnTo>
                        <a:pt x="28" y="83"/>
                      </a:lnTo>
                      <a:lnTo>
                        <a:pt x="27" y="83"/>
                      </a:lnTo>
                      <a:lnTo>
                        <a:pt x="28" y="82"/>
                      </a:lnTo>
                      <a:lnTo>
                        <a:pt x="28" y="81"/>
                      </a:lnTo>
                      <a:lnTo>
                        <a:pt x="29" y="81"/>
                      </a:lnTo>
                      <a:lnTo>
                        <a:pt x="29" y="80"/>
                      </a:lnTo>
                      <a:lnTo>
                        <a:pt x="29" y="81"/>
                      </a:lnTo>
                      <a:lnTo>
                        <a:pt x="30" y="80"/>
                      </a:lnTo>
                      <a:lnTo>
                        <a:pt x="31" y="80"/>
                      </a:lnTo>
                      <a:lnTo>
                        <a:pt x="33" y="80"/>
                      </a:lnTo>
                      <a:lnTo>
                        <a:pt x="33" y="81"/>
                      </a:lnTo>
                      <a:lnTo>
                        <a:pt x="34" y="80"/>
                      </a:lnTo>
                      <a:lnTo>
                        <a:pt x="35" y="80"/>
                      </a:lnTo>
                      <a:lnTo>
                        <a:pt x="35" y="79"/>
                      </a:lnTo>
                      <a:lnTo>
                        <a:pt x="36" y="79"/>
                      </a:lnTo>
                      <a:lnTo>
                        <a:pt x="37" y="79"/>
                      </a:lnTo>
                      <a:lnTo>
                        <a:pt x="37" y="77"/>
                      </a:lnTo>
                      <a:lnTo>
                        <a:pt x="36" y="77"/>
                      </a:lnTo>
                      <a:lnTo>
                        <a:pt x="36" y="79"/>
                      </a:lnTo>
                      <a:lnTo>
                        <a:pt x="36" y="77"/>
                      </a:lnTo>
                      <a:lnTo>
                        <a:pt x="35" y="77"/>
                      </a:lnTo>
                      <a:lnTo>
                        <a:pt x="35" y="79"/>
                      </a:lnTo>
                      <a:lnTo>
                        <a:pt x="34" y="79"/>
                      </a:lnTo>
                      <a:lnTo>
                        <a:pt x="33" y="79"/>
                      </a:lnTo>
                      <a:lnTo>
                        <a:pt x="31" y="80"/>
                      </a:lnTo>
                      <a:lnTo>
                        <a:pt x="30" y="80"/>
                      </a:lnTo>
                      <a:lnTo>
                        <a:pt x="29" y="80"/>
                      </a:lnTo>
                      <a:lnTo>
                        <a:pt x="28" y="80"/>
                      </a:lnTo>
                      <a:lnTo>
                        <a:pt x="28" y="79"/>
                      </a:lnTo>
                      <a:lnTo>
                        <a:pt x="27" y="77"/>
                      </a:lnTo>
                      <a:lnTo>
                        <a:pt x="27" y="76"/>
                      </a:lnTo>
                      <a:lnTo>
                        <a:pt x="27" y="77"/>
                      </a:lnTo>
                      <a:lnTo>
                        <a:pt x="27" y="76"/>
                      </a:lnTo>
                      <a:lnTo>
                        <a:pt x="26" y="76"/>
                      </a:lnTo>
                      <a:lnTo>
                        <a:pt x="26" y="77"/>
                      </a:lnTo>
                      <a:lnTo>
                        <a:pt x="26" y="76"/>
                      </a:lnTo>
                      <a:lnTo>
                        <a:pt x="26" y="75"/>
                      </a:lnTo>
                      <a:lnTo>
                        <a:pt x="27" y="74"/>
                      </a:lnTo>
                      <a:lnTo>
                        <a:pt x="28" y="74"/>
                      </a:lnTo>
                      <a:lnTo>
                        <a:pt x="28" y="73"/>
                      </a:lnTo>
                      <a:lnTo>
                        <a:pt x="27" y="73"/>
                      </a:lnTo>
                      <a:lnTo>
                        <a:pt x="26" y="74"/>
                      </a:lnTo>
                      <a:lnTo>
                        <a:pt x="24" y="75"/>
                      </a:lnTo>
                      <a:lnTo>
                        <a:pt x="23" y="75"/>
                      </a:lnTo>
                      <a:lnTo>
                        <a:pt x="21" y="75"/>
                      </a:lnTo>
                      <a:lnTo>
                        <a:pt x="20" y="75"/>
                      </a:lnTo>
                      <a:lnTo>
                        <a:pt x="19" y="74"/>
                      </a:lnTo>
                      <a:lnTo>
                        <a:pt x="17" y="74"/>
                      </a:lnTo>
                      <a:lnTo>
                        <a:pt x="17" y="73"/>
                      </a:lnTo>
                      <a:lnTo>
                        <a:pt x="17" y="72"/>
                      </a:lnTo>
                      <a:lnTo>
                        <a:pt x="19" y="72"/>
                      </a:lnTo>
                      <a:lnTo>
                        <a:pt x="17" y="72"/>
                      </a:lnTo>
                      <a:lnTo>
                        <a:pt x="16" y="72"/>
                      </a:lnTo>
                      <a:lnTo>
                        <a:pt x="15" y="72"/>
                      </a:lnTo>
                      <a:lnTo>
                        <a:pt x="14" y="70"/>
                      </a:lnTo>
                      <a:lnTo>
                        <a:pt x="13" y="69"/>
                      </a:lnTo>
                      <a:lnTo>
                        <a:pt x="12" y="68"/>
                      </a:lnTo>
                      <a:lnTo>
                        <a:pt x="13" y="68"/>
                      </a:lnTo>
                      <a:lnTo>
                        <a:pt x="14" y="68"/>
                      </a:lnTo>
                      <a:lnTo>
                        <a:pt x="15" y="68"/>
                      </a:lnTo>
                      <a:lnTo>
                        <a:pt x="16" y="68"/>
                      </a:lnTo>
                      <a:lnTo>
                        <a:pt x="15" y="67"/>
                      </a:lnTo>
                      <a:lnTo>
                        <a:pt x="14" y="67"/>
                      </a:lnTo>
                      <a:lnTo>
                        <a:pt x="14" y="65"/>
                      </a:lnTo>
                      <a:lnTo>
                        <a:pt x="14" y="63"/>
                      </a:lnTo>
                      <a:lnTo>
                        <a:pt x="14" y="62"/>
                      </a:lnTo>
                      <a:lnTo>
                        <a:pt x="13" y="62"/>
                      </a:lnTo>
                      <a:lnTo>
                        <a:pt x="13" y="61"/>
                      </a:lnTo>
                      <a:lnTo>
                        <a:pt x="13" y="60"/>
                      </a:lnTo>
                      <a:lnTo>
                        <a:pt x="12" y="60"/>
                      </a:lnTo>
                      <a:lnTo>
                        <a:pt x="10" y="59"/>
                      </a:lnTo>
                      <a:lnTo>
                        <a:pt x="12" y="59"/>
                      </a:lnTo>
                      <a:lnTo>
                        <a:pt x="12" y="58"/>
                      </a:lnTo>
                      <a:lnTo>
                        <a:pt x="10" y="58"/>
                      </a:lnTo>
                      <a:lnTo>
                        <a:pt x="9" y="58"/>
                      </a:lnTo>
                      <a:lnTo>
                        <a:pt x="8" y="59"/>
                      </a:lnTo>
                      <a:lnTo>
                        <a:pt x="7" y="59"/>
                      </a:lnTo>
                      <a:lnTo>
                        <a:pt x="6" y="60"/>
                      </a:lnTo>
                      <a:lnTo>
                        <a:pt x="6" y="59"/>
                      </a:lnTo>
                      <a:lnTo>
                        <a:pt x="5" y="58"/>
                      </a:lnTo>
                      <a:lnTo>
                        <a:pt x="6" y="58"/>
                      </a:lnTo>
                      <a:lnTo>
                        <a:pt x="5" y="56"/>
                      </a:lnTo>
                      <a:lnTo>
                        <a:pt x="3" y="55"/>
                      </a:lnTo>
                      <a:lnTo>
                        <a:pt x="3" y="54"/>
                      </a:lnTo>
                      <a:lnTo>
                        <a:pt x="2" y="53"/>
                      </a:lnTo>
                      <a:lnTo>
                        <a:pt x="1" y="53"/>
                      </a:lnTo>
                      <a:lnTo>
                        <a:pt x="1" y="52"/>
                      </a:lnTo>
                      <a:lnTo>
                        <a:pt x="2" y="52"/>
                      </a:lnTo>
                      <a:lnTo>
                        <a:pt x="2" y="51"/>
                      </a:lnTo>
                      <a:lnTo>
                        <a:pt x="1" y="51"/>
                      </a:lnTo>
                      <a:lnTo>
                        <a:pt x="1" y="49"/>
                      </a:lnTo>
                      <a:lnTo>
                        <a:pt x="2" y="49"/>
                      </a:lnTo>
                      <a:lnTo>
                        <a:pt x="2" y="51"/>
                      </a:lnTo>
                      <a:lnTo>
                        <a:pt x="2" y="49"/>
                      </a:lnTo>
                      <a:lnTo>
                        <a:pt x="2" y="51"/>
                      </a:lnTo>
                      <a:lnTo>
                        <a:pt x="3" y="51"/>
                      </a:lnTo>
                      <a:lnTo>
                        <a:pt x="5" y="51"/>
                      </a:lnTo>
                      <a:lnTo>
                        <a:pt x="6" y="52"/>
                      </a:lnTo>
                      <a:lnTo>
                        <a:pt x="7" y="53"/>
                      </a:lnTo>
                      <a:lnTo>
                        <a:pt x="8" y="53"/>
                      </a:lnTo>
                      <a:lnTo>
                        <a:pt x="8" y="54"/>
                      </a:lnTo>
                      <a:lnTo>
                        <a:pt x="9" y="54"/>
                      </a:lnTo>
                      <a:lnTo>
                        <a:pt x="9" y="53"/>
                      </a:lnTo>
                      <a:lnTo>
                        <a:pt x="8" y="53"/>
                      </a:lnTo>
                      <a:lnTo>
                        <a:pt x="8" y="52"/>
                      </a:lnTo>
                      <a:lnTo>
                        <a:pt x="7" y="52"/>
                      </a:lnTo>
                      <a:lnTo>
                        <a:pt x="7" y="51"/>
                      </a:lnTo>
                      <a:lnTo>
                        <a:pt x="8" y="51"/>
                      </a:lnTo>
                      <a:lnTo>
                        <a:pt x="8" y="49"/>
                      </a:lnTo>
                      <a:lnTo>
                        <a:pt x="9" y="49"/>
                      </a:lnTo>
                      <a:lnTo>
                        <a:pt x="9" y="48"/>
                      </a:lnTo>
                      <a:lnTo>
                        <a:pt x="10" y="48"/>
                      </a:lnTo>
                      <a:lnTo>
                        <a:pt x="13" y="48"/>
                      </a:lnTo>
                      <a:lnTo>
                        <a:pt x="14" y="48"/>
                      </a:lnTo>
                      <a:lnTo>
                        <a:pt x="14" y="47"/>
                      </a:lnTo>
                      <a:lnTo>
                        <a:pt x="13" y="47"/>
                      </a:lnTo>
                      <a:lnTo>
                        <a:pt x="13" y="46"/>
                      </a:lnTo>
                      <a:lnTo>
                        <a:pt x="14" y="44"/>
                      </a:lnTo>
                      <a:lnTo>
                        <a:pt x="14" y="45"/>
                      </a:lnTo>
                      <a:lnTo>
                        <a:pt x="13" y="46"/>
                      </a:lnTo>
                      <a:lnTo>
                        <a:pt x="12" y="47"/>
                      </a:lnTo>
                      <a:lnTo>
                        <a:pt x="10" y="47"/>
                      </a:lnTo>
                      <a:lnTo>
                        <a:pt x="9" y="47"/>
                      </a:lnTo>
                      <a:lnTo>
                        <a:pt x="8" y="47"/>
                      </a:lnTo>
                      <a:lnTo>
                        <a:pt x="7" y="47"/>
                      </a:lnTo>
                      <a:lnTo>
                        <a:pt x="8" y="46"/>
                      </a:lnTo>
                      <a:lnTo>
                        <a:pt x="9" y="46"/>
                      </a:lnTo>
                      <a:lnTo>
                        <a:pt x="9" y="45"/>
                      </a:lnTo>
                      <a:lnTo>
                        <a:pt x="8" y="45"/>
                      </a:lnTo>
                      <a:lnTo>
                        <a:pt x="8" y="46"/>
                      </a:lnTo>
                      <a:lnTo>
                        <a:pt x="7" y="46"/>
                      </a:lnTo>
                      <a:lnTo>
                        <a:pt x="6" y="45"/>
                      </a:lnTo>
                      <a:lnTo>
                        <a:pt x="5" y="45"/>
                      </a:lnTo>
                      <a:lnTo>
                        <a:pt x="6" y="45"/>
                      </a:lnTo>
                      <a:lnTo>
                        <a:pt x="6" y="46"/>
                      </a:lnTo>
                      <a:lnTo>
                        <a:pt x="7" y="47"/>
                      </a:lnTo>
                      <a:lnTo>
                        <a:pt x="7" y="48"/>
                      </a:lnTo>
                      <a:lnTo>
                        <a:pt x="6" y="48"/>
                      </a:lnTo>
                      <a:lnTo>
                        <a:pt x="6" y="49"/>
                      </a:lnTo>
                      <a:lnTo>
                        <a:pt x="5" y="49"/>
                      </a:lnTo>
                      <a:lnTo>
                        <a:pt x="5" y="47"/>
                      </a:lnTo>
                      <a:lnTo>
                        <a:pt x="3" y="47"/>
                      </a:lnTo>
                      <a:lnTo>
                        <a:pt x="3" y="46"/>
                      </a:lnTo>
                      <a:lnTo>
                        <a:pt x="3" y="45"/>
                      </a:lnTo>
                      <a:lnTo>
                        <a:pt x="2" y="45"/>
                      </a:lnTo>
                      <a:lnTo>
                        <a:pt x="2" y="44"/>
                      </a:lnTo>
                      <a:lnTo>
                        <a:pt x="2" y="42"/>
                      </a:lnTo>
                      <a:lnTo>
                        <a:pt x="2" y="39"/>
                      </a:lnTo>
                      <a:lnTo>
                        <a:pt x="3" y="39"/>
                      </a:lnTo>
                      <a:lnTo>
                        <a:pt x="5" y="39"/>
                      </a:lnTo>
                      <a:lnTo>
                        <a:pt x="7" y="39"/>
                      </a:lnTo>
                      <a:lnTo>
                        <a:pt x="8" y="39"/>
                      </a:lnTo>
                      <a:lnTo>
                        <a:pt x="9" y="38"/>
                      </a:lnTo>
                      <a:lnTo>
                        <a:pt x="10" y="38"/>
                      </a:lnTo>
                      <a:lnTo>
                        <a:pt x="9" y="38"/>
                      </a:lnTo>
                      <a:lnTo>
                        <a:pt x="8" y="38"/>
                      </a:lnTo>
                      <a:lnTo>
                        <a:pt x="7" y="38"/>
                      </a:lnTo>
                      <a:lnTo>
                        <a:pt x="6" y="38"/>
                      </a:lnTo>
                      <a:lnTo>
                        <a:pt x="5" y="38"/>
                      </a:lnTo>
                      <a:lnTo>
                        <a:pt x="6" y="37"/>
                      </a:lnTo>
                      <a:lnTo>
                        <a:pt x="7" y="37"/>
                      </a:lnTo>
                      <a:lnTo>
                        <a:pt x="8" y="35"/>
                      </a:lnTo>
                      <a:lnTo>
                        <a:pt x="7" y="35"/>
                      </a:lnTo>
                      <a:lnTo>
                        <a:pt x="5" y="37"/>
                      </a:lnTo>
                      <a:lnTo>
                        <a:pt x="3" y="37"/>
                      </a:lnTo>
                      <a:lnTo>
                        <a:pt x="3" y="35"/>
                      </a:lnTo>
                      <a:lnTo>
                        <a:pt x="2" y="35"/>
                      </a:lnTo>
                      <a:lnTo>
                        <a:pt x="1" y="35"/>
                      </a:lnTo>
                      <a:lnTo>
                        <a:pt x="1" y="33"/>
                      </a:lnTo>
                      <a:lnTo>
                        <a:pt x="0" y="33"/>
                      </a:lnTo>
                      <a:lnTo>
                        <a:pt x="1" y="32"/>
                      </a:lnTo>
                      <a:lnTo>
                        <a:pt x="2" y="32"/>
                      </a:lnTo>
                      <a:lnTo>
                        <a:pt x="3" y="32"/>
                      </a:lnTo>
                      <a:lnTo>
                        <a:pt x="5" y="32"/>
                      </a:lnTo>
                      <a:lnTo>
                        <a:pt x="6" y="32"/>
                      </a:lnTo>
                      <a:lnTo>
                        <a:pt x="7" y="32"/>
                      </a:lnTo>
                      <a:lnTo>
                        <a:pt x="8" y="31"/>
                      </a:lnTo>
                      <a:lnTo>
                        <a:pt x="9" y="31"/>
                      </a:lnTo>
                      <a:lnTo>
                        <a:pt x="9" y="30"/>
                      </a:lnTo>
                      <a:lnTo>
                        <a:pt x="10" y="30"/>
                      </a:lnTo>
                      <a:lnTo>
                        <a:pt x="10" y="28"/>
                      </a:lnTo>
                      <a:lnTo>
                        <a:pt x="12" y="28"/>
                      </a:lnTo>
                      <a:lnTo>
                        <a:pt x="12" y="27"/>
                      </a:lnTo>
                      <a:lnTo>
                        <a:pt x="10" y="27"/>
                      </a:lnTo>
                      <a:lnTo>
                        <a:pt x="10" y="26"/>
                      </a:lnTo>
                      <a:lnTo>
                        <a:pt x="12" y="25"/>
                      </a:lnTo>
                      <a:lnTo>
                        <a:pt x="13" y="25"/>
                      </a:lnTo>
                      <a:lnTo>
                        <a:pt x="14" y="25"/>
                      </a:lnTo>
                      <a:lnTo>
                        <a:pt x="15" y="25"/>
                      </a:lnTo>
                      <a:lnTo>
                        <a:pt x="15" y="24"/>
                      </a:lnTo>
                      <a:lnTo>
                        <a:pt x="16" y="23"/>
                      </a:lnTo>
                      <a:lnTo>
                        <a:pt x="17" y="23"/>
                      </a:lnTo>
                      <a:lnTo>
                        <a:pt x="17" y="21"/>
                      </a:lnTo>
                      <a:lnTo>
                        <a:pt x="19" y="21"/>
                      </a:lnTo>
                      <a:lnTo>
                        <a:pt x="19" y="20"/>
                      </a:lnTo>
                      <a:lnTo>
                        <a:pt x="20" y="20"/>
                      </a:lnTo>
                      <a:lnTo>
                        <a:pt x="20" y="17"/>
                      </a:lnTo>
                      <a:lnTo>
                        <a:pt x="20" y="16"/>
                      </a:lnTo>
                      <a:lnTo>
                        <a:pt x="21" y="16"/>
                      </a:lnTo>
                      <a:lnTo>
                        <a:pt x="21" y="14"/>
                      </a:lnTo>
                      <a:lnTo>
                        <a:pt x="22" y="14"/>
                      </a:lnTo>
                      <a:lnTo>
                        <a:pt x="22" y="12"/>
                      </a:lnTo>
                      <a:lnTo>
                        <a:pt x="23" y="12"/>
                      </a:lnTo>
                      <a:lnTo>
                        <a:pt x="23" y="11"/>
                      </a:lnTo>
                      <a:lnTo>
                        <a:pt x="24" y="11"/>
                      </a:lnTo>
                      <a:lnTo>
                        <a:pt x="24" y="10"/>
                      </a:lnTo>
                      <a:lnTo>
                        <a:pt x="26" y="7"/>
                      </a:lnTo>
                      <a:lnTo>
                        <a:pt x="26" y="6"/>
                      </a:lnTo>
                      <a:lnTo>
                        <a:pt x="27" y="5"/>
                      </a:lnTo>
                      <a:lnTo>
                        <a:pt x="28" y="5"/>
                      </a:lnTo>
                      <a:lnTo>
                        <a:pt x="33" y="4"/>
                      </a:lnTo>
                      <a:lnTo>
                        <a:pt x="34" y="4"/>
                      </a:lnTo>
                      <a:lnTo>
                        <a:pt x="35" y="4"/>
                      </a:lnTo>
                      <a:lnTo>
                        <a:pt x="35" y="5"/>
                      </a:lnTo>
                      <a:lnTo>
                        <a:pt x="36" y="5"/>
                      </a:lnTo>
                      <a:lnTo>
                        <a:pt x="37" y="5"/>
                      </a:lnTo>
                      <a:lnTo>
                        <a:pt x="38" y="5"/>
                      </a:lnTo>
                      <a:lnTo>
                        <a:pt x="44" y="4"/>
                      </a:lnTo>
                      <a:lnTo>
                        <a:pt x="44" y="3"/>
                      </a:lnTo>
                      <a:lnTo>
                        <a:pt x="44" y="2"/>
                      </a:lnTo>
                      <a:lnTo>
                        <a:pt x="58" y="0"/>
                      </a:lnTo>
                      <a:lnTo>
                        <a:pt x="64" y="0"/>
                      </a:lnTo>
                      <a:lnTo>
                        <a:pt x="65" y="0"/>
                      </a:lnTo>
                      <a:lnTo>
                        <a:pt x="66" y="2"/>
                      </a:lnTo>
                      <a:lnTo>
                        <a:pt x="67" y="2"/>
                      </a:lnTo>
                      <a:lnTo>
                        <a:pt x="67" y="3"/>
                      </a:lnTo>
                      <a:lnTo>
                        <a:pt x="67" y="4"/>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7" name="Freeform 114">
                  <a:extLst>
                    <a:ext uri="{FF2B5EF4-FFF2-40B4-BE49-F238E27FC236}">
                      <a16:creationId xmlns:a16="http://schemas.microsoft.com/office/drawing/2014/main" id="{E2A649AA-E318-2FBB-5E78-2BDC4B791F1E}"/>
                    </a:ext>
                  </a:extLst>
                </p:cNvPr>
                <p:cNvSpPr>
                  <a:spLocks/>
                </p:cNvSpPr>
                <p:nvPr/>
              </p:nvSpPr>
              <p:spPr bwMode="auto">
                <a:xfrm>
                  <a:off x="7632106" y="3390803"/>
                  <a:ext cx="362381" cy="467307"/>
                </a:xfrm>
                <a:custGeom>
                  <a:avLst/>
                  <a:gdLst>
                    <a:gd name="T0" fmla="*/ 331 w 335"/>
                    <a:gd name="T1" fmla="*/ 10 h 432"/>
                    <a:gd name="T2" fmla="*/ 325 w 335"/>
                    <a:gd name="T3" fmla="*/ 25 h 432"/>
                    <a:gd name="T4" fmla="*/ 326 w 335"/>
                    <a:gd name="T5" fmla="*/ 45 h 432"/>
                    <a:gd name="T6" fmla="*/ 328 w 335"/>
                    <a:gd name="T7" fmla="*/ 49 h 432"/>
                    <a:gd name="T8" fmla="*/ 334 w 335"/>
                    <a:gd name="T9" fmla="*/ 51 h 432"/>
                    <a:gd name="T10" fmla="*/ 319 w 335"/>
                    <a:gd name="T11" fmla="*/ 58 h 432"/>
                    <a:gd name="T12" fmla="*/ 317 w 335"/>
                    <a:gd name="T13" fmla="*/ 73 h 432"/>
                    <a:gd name="T14" fmla="*/ 311 w 335"/>
                    <a:gd name="T15" fmla="*/ 89 h 432"/>
                    <a:gd name="T16" fmla="*/ 301 w 335"/>
                    <a:gd name="T17" fmla="*/ 107 h 432"/>
                    <a:gd name="T18" fmla="*/ 291 w 335"/>
                    <a:gd name="T19" fmla="*/ 123 h 432"/>
                    <a:gd name="T20" fmla="*/ 282 w 335"/>
                    <a:gd name="T21" fmla="*/ 140 h 432"/>
                    <a:gd name="T22" fmla="*/ 260 w 335"/>
                    <a:gd name="T23" fmla="*/ 182 h 432"/>
                    <a:gd name="T24" fmla="*/ 226 w 335"/>
                    <a:gd name="T25" fmla="*/ 235 h 432"/>
                    <a:gd name="T26" fmla="*/ 176 w 335"/>
                    <a:gd name="T27" fmla="*/ 288 h 432"/>
                    <a:gd name="T28" fmla="*/ 162 w 335"/>
                    <a:gd name="T29" fmla="*/ 302 h 432"/>
                    <a:gd name="T30" fmla="*/ 119 w 335"/>
                    <a:gd name="T31" fmla="*/ 327 h 432"/>
                    <a:gd name="T32" fmla="*/ 95 w 335"/>
                    <a:gd name="T33" fmla="*/ 347 h 432"/>
                    <a:gd name="T34" fmla="*/ 57 w 335"/>
                    <a:gd name="T35" fmla="*/ 383 h 432"/>
                    <a:gd name="T36" fmla="*/ 46 w 335"/>
                    <a:gd name="T37" fmla="*/ 395 h 432"/>
                    <a:gd name="T38" fmla="*/ 34 w 335"/>
                    <a:gd name="T39" fmla="*/ 408 h 432"/>
                    <a:gd name="T40" fmla="*/ 31 w 335"/>
                    <a:gd name="T41" fmla="*/ 413 h 432"/>
                    <a:gd name="T42" fmla="*/ 24 w 335"/>
                    <a:gd name="T43" fmla="*/ 424 h 432"/>
                    <a:gd name="T44" fmla="*/ 15 w 335"/>
                    <a:gd name="T45" fmla="*/ 424 h 432"/>
                    <a:gd name="T46" fmla="*/ 0 w 335"/>
                    <a:gd name="T47" fmla="*/ 403 h 432"/>
                    <a:gd name="T48" fmla="*/ 0 w 335"/>
                    <a:gd name="T49" fmla="*/ 367 h 432"/>
                    <a:gd name="T50" fmla="*/ 1 w 335"/>
                    <a:gd name="T51" fmla="*/ 319 h 432"/>
                    <a:gd name="T52" fmla="*/ 5 w 335"/>
                    <a:gd name="T53" fmla="*/ 285 h 432"/>
                    <a:gd name="T54" fmla="*/ 32 w 335"/>
                    <a:gd name="T55" fmla="*/ 252 h 432"/>
                    <a:gd name="T56" fmla="*/ 60 w 335"/>
                    <a:gd name="T57" fmla="*/ 243 h 432"/>
                    <a:gd name="T58" fmla="*/ 83 w 335"/>
                    <a:gd name="T59" fmla="*/ 226 h 432"/>
                    <a:gd name="T60" fmla="*/ 107 w 335"/>
                    <a:gd name="T61" fmla="*/ 224 h 432"/>
                    <a:gd name="T62" fmla="*/ 127 w 335"/>
                    <a:gd name="T63" fmla="*/ 225 h 432"/>
                    <a:gd name="T64" fmla="*/ 162 w 335"/>
                    <a:gd name="T65" fmla="*/ 189 h 432"/>
                    <a:gd name="T66" fmla="*/ 181 w 335"/>
                    <a:gd name="T67" fmla="*/ 169 h 432"/>
                    <a:gd name="T68" fmla="*/ 199 w 335"/>
                    <a:gd name="T69" fmla="*/ 152 h 432"/>
                    <a:gd name="T70" fmla="*/ 218 w 335"/>
                    <a:gd name="T71" fmla="*/ 135 h 432"/>
                    <a:gd name="T72" fmla="*/ 193 w 335"/>
                    <a:gd name="T73" fmla="*/ 127 h 432"/>
                    <a:gd name="T74" fmla="*/ 163 w 335"/>
                    <a:gd name="T75" fmla="*/ 116 h 432"/>
                    <a:gd name="T76" fmla="*/ 131 w 335"/>
                    <a:gd name="T77" fmla="*/ 105 h 432"/>
                    <a:gd name="T78" fmla="*/ 98 w 335"/>
                    <a:gd name="T79" fmla="*/ 93 h 432"/>
                    <a:gd name="T80" fmla="*/ 79 w 335"/>
                    <a:gd name="T81" fmla="*/ 77 h 432"/>
                    <a:gd name="T82" fmla="*/ 70 w 335"/>
                    <a:gd name="T83" fmla="*/ 64 h 432"/>
                    <a:gd name="T84" fmla="*/ 60 w 335"/>
                    <a:gd name="T85" fmla="*/ 46 h 432"/>
                    <a:gd name="T86" fmla="*/ 62 w 335"/>
                    <a:gd name="T87" fmla="*/ 33 h 432"/>
                    <a:gd name="T88" fmla="*/ 78 w 335"/>
                    <a:gd name="T89" fmla="*/ 16 h 432"/>
                    <a:gd name="T90" fmla="*/ 86 w 335"/>
                    <a:gd name="T91" fmla="*/ 24 h 432"/>
                    <a:gd name="T92" fmla="*/ 111 w 335"/>
                    <a:gd name="T93" fmla="*/ 49 h 432"/>
                    <a:gd name="T94" fmla="*/ 131 w 335"/>
                    <a:gd name="T95" fmla="*/ 49 h 432"/>
                    <a:gd name="T96" fmla="*/ 148 w 335"/>
                    <a:gd name="T97" fmla="*/ 39 h 432"/>
                    <a:gd name="T98" fmla="*/ 159 w 335"/>
                    <a:gd name="T99" fmla="*/ 35 h 432"/>
                    <a:gd name="T100" fmla="*/ 171 w 335"/>
                    <a:gd name="T101" fmla="*/ 37 h 432"/>
                    <a:gd name="T102" fmla="*/ 185 w 335"/>
                    <a:gd name="T103" fmla="*/ 37 h 432"/>
                    <a:gd name="T104" fmla="*/ 207 w 335"/>
                    <a:gd name="T105" fmla="*/ 25 h 432"/>
                    <a:gd name="T106" fmla="*/ 233 w 335"/>
                    <a:gd name="T107" fmla="*/ 25 h 432"/>
                    <a:gd name="T108" fmla="*/ 247 w 335"/>
                    <a:gd name="T109" fmla="*/ 21 h 432"/>
                    <a:gd name="T110" fmla="*/ 269 w 335"/>
                    <a:gd name="T111" fmla="*/ 19 h 432"/>
                    <a:gd name="T112" fmla="*/ 284 w 335"/>
                    <a:gd name="T113" fmla="*/ 16 h 432"/>
                    <a:gd name="T114" fmla="*/ 299 w 335"/>
                    <a:gd name="T115" fmla="*/ 12 h 432"/>
                    <a:gd name="T116" fmla="*/ 310 w 335"/>
                    <a:gd name="T117" fmla="*/ 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5" h="432">
                      <a:moveTo>
                        <a:pt x="317" y="0"/>
                      </a:moveTo>
                      <a:lnTo>
                        <a:pt x="319" y="1"/>
                      </a:lnTo>
                      <a:lnTo>
                        <a:pt x="321" y="2"/>
                      </a:lnTo>
                      <a:lnTo>
                        <a:pt x="324" y="3"/>
                      </a:lnTo>
                      <a:lnTo>
                        <a:pt x="327" y="3"/>
                      </a:lnTo>
                      <a:lnTo>
                        <a:pt x="328" y="4"/>
                      </a:lnTo>
                      <a:lnTo>
                        <a:pt x="330" y="4"/>
                      </a:lnTo>
                      <a:lnTo>
                        <a:pt x="331" y="4"/>
                      </a:lnTo>
                      <a:lnTo>
                        <a:pt x="332" y="4"/>
                      </a:lnTo>
                      <a:lnTo>
                        <a:pt x="332" y="5"/>
                      </a:lnTo>
                      <a:lnTo>
                        <a:pt x="331" y="8"/>
                      </a:lnTo>
                      <a:lnTo>
                        <a:pt x="331" y="10"/>
                      </a:lnTo>
                      <a:lnTo>
                        <a:pt x="330" y="11"/>
                      </a:lnTo>
                      <a:lnTo>
                        <a:pt x="330" y="12"/>
                      </a:lnTo>
                      <a:lnTo>
                        <a:pt x="328" y="14"/>
                      </a:lnTo>
                      <a:lnTo>
                        <a:pt x="327" y="15"/>
                      </a:lnTo>
                      <a:lnTo>
                        <a:pt x="326" y="15"/>
                      </a:lnTo>
                      <a:lnTo>
                        <a:pt x="326" y="16"/>
                      </a:lnTo>
                      <a:lnTo>
                        <a:pt x="326" y="17"/>
                      </a:lnTo>
                      <a:lnTo>
                        <a:pt x="326" y="18"/>
                      </a:lnTo>
                      <a:lnTo>
                        <a:pt x="325" y="21"/>
                      </a:lnTo>
                      <a:lnTo>
                        <a:pt x="325" y="23"/>
                      </a:lnTo>
                      <a:lnTo>
                        <a:pt x="325" y="24"/>
                      </a:lnTo>
                      <a:lnTo>
                        <a:pt x="325" y="25"/>
                      </a:lnTo>
                      <a:lnTo>
                        <a:pt x="326" y="26"/>
                      </a:lnTo>
                      <a:lnTo>
                        <a:pt x="328" y="26"/>
                      </a:lnTo>
                      <a:lnTo>
                        <a:pt x="328" y="28"/>
                      </a:lnTo>
                      <a:lnTo>
                        <a:pt x="327" y="28"/>
                      </a:lnTo>
                      <a:lnTo>
                        <a:pt x="327" y="30"/>
                      </a:lnTo>
                      <a:lnTo>
                        <a:pt x="326" y="30"/>
                      </a:lnTo>
                      <a:lnTo>
                        <a:pt x="326" y="31"/>
                      </a:lnTo>
                      <a:lnTo>
                        <a:pt x="326" y="32"/>
                      </a:lnTo>
                      <a:lnTo>
                        <a:pt x="326" y="37"/>
                      </a:lnTo>
                      <a:lnTo>
                        <a:pt x="326" y="42"/>
                      </a:lnTo>
                      <a:lnTo>
                        <a:pt x="327" y="45"/>
                      </a:lnTo>
                      <a:lnTo>
                        <a:pt x="326" y="45"/>
                      </a:lnTo>
                      <a:lnTo>
                        <a:pt x="325" y="46"/>
                      </a:lnTo>
                      <a:lnTo>
                        <a:pt x="326" y="47"/>
                      </a:lnTo>
                      <a:lnTo>
                        <a:pt x="325" y="47"/>
                      </a:lnTo>
                      <a:lnTo>
                        <a:pt x="325" y="49"/>
                      </a:lnTo>
                      <a:lnTo>
                        <a:pt x="324" y="49"/>
                      </a:lnTo>
                      <a:lnTo>
                        <a:pt x="323" y="50"/>
                      </a:lnTo>
                      <a:lnTo>
                        <a:pt x="323" y="51"/>
                      </a:lnTo>
                      <a:lnTo>
                        <a:pt x="324" y="51"/>
                      </a:lnTo>
                      <a:lnTo>
                        <a:pt x="328" y="50"/>
                      </a:lnTo>
                      <a:lnTo>
                        <a:pt x="330" y="50"/>
                      </a:lnTo>
                      <a:lnTo>
                        <a:pt x="330" y="49"/>
                      </a:lnTo>
                      <a:lnTo>
                        <a:pt x="328" y="49"/>
                      </a:lnTo>
                      <a:lnTo>
                        <a:pt x="328" y="47"/>
                      </a:lnTo>
                      <a:lnTo>
                        <a:pt x="328" y="46"/>
                      </a:lnTo>
                      <a:lnTo>
                        <a:pt x="327" y="46"/>
                      </a:lnTo>
                      <a:lnTo>
                        <a:pt x="328" y="46"/>
                      </a:lnTo>
                      <a:lnTo>
                        <a:pt x="330" y="47"/>
                      </a:lnTo>
                      <a:lnTo>
                        <a:pt x="331" y="47"/>
                      </a:lnTo>
                      <a:lnTo>
                        <a:pt x="331" y="49"/>
                      </a:lnTo>
                      <a:lnTo>
                        <a:pt x="332" y="49"/>
                      </a:lnTo>
                      <a:lnTo>
                        <a:pt x="333" y="49"/>
                      </a:lnTo>
                      <a:lnTo>
                        <a:pt x="334" y="49"/>
                      </a:lnTo>
                      <a:lnTo>
                        <a:pt x="335" y="50"/>
                      </a:lnTo>
                      <a:lnTo>
                        <a:pt x="334" y="51"/>
                      </a:lnTo>
                      <a:lnTo>
                        <a:pt x="334" y="52"/>
                      </a:lnTo>
                      <a:lnTo>
                        <a:pt x="333" y="52"/>
                      </a:lnTo>
                      <a:lnTo>
                        <a:pt x="332" y="52"/>
                      </a:lnTo>
                      <a:lnTo>
                        <a:pt x="331" y="52"/>
                      </a:lnTo>
                      <a:lnTo>
                        <a:pt x="331" y="51"/>
                      </a:lnTo>
                      <a:lnTo>
                        <a:pt x="330" y="50"/>
                      </a:lnTo>
                      <a:lnTo>
                        <a:pt x="325" y="51"/>
                      </a:lnTo>
                      <a:lnTo>
                        <a:pt x="323" y="52"/>
                      </a:lnTo>
                      <a:lnTo>
                        <a:pt x="320" y="53"/>
                      </a:lnTo>
                      <a:lnTo>
                        <a:pt x="319" y="54"/>
                      </a:lnTo>
                      <a:lnTo>
                        <a:pt x="319" y="57"/>
                      </a:lnTo>
                      <a:lnTo>
                        <a:pt x="319" y="58"/>
                      </a:lnTo>
                      <a:lnTo>
                        <a:pt x="318" y="60"/>
                      </a:lnTo>
                      <a:lnTo>
                        <a:pt x="318" y="63"/>
                      </a:lnTo>
                      <a:lnTo>
                        <a:pt x="319" y="63"/>
                      </a:lnTo>
                      <a:lnTo>
                        <a:pt x="319" y="64"/>
                      </a:lnTo>
                      <a:lnTo>
                        <a:pt x="318" y="64"/>
                      </a:lnTo>
                      <a:lnTo>
                        <a:pt x="318" y="66"/>
                      </a:lnTo>
                      <a:lnTo>
                        <a:pt x="318" y="67"/>
                      </a:lnTo>
                      <a:lnTo>
                        <a:pt x="318" y="68"/>
                      </a:lnTo>
                      <a:lnTo>
                        <a:pt x="317" y="70"/>
                      </a:lnTo>
                      <a:lnTo>
                        <a:pt x="317" y="71"/>
                      </a:lnTo>
                      <a:lnTo>
                        <a:pt x="317" y="72"/>
                      </a:lnTo>
                      <a:lnTo>
                        <a:pt x="317" y="73"/>
                      </a:lnTo>
                      <a:lnTo>
                        <a:pt x="317" y="75"/>
                      </a:lnTo>
                      <a:lnTo>
                        <a:pt x="316" y="75"/>
                      </a:lnTo>
                      <a:lnTo>
                        <a:pt x="316" y="77"/>
                      </a:lnTo>
                      <a:lnTo>
                        <a:pt x="316" y="79"/>
                      </a:lnTo>
                      <a:lnTo>
                        <a:pt x="317" y="80"/>
                      </a:lnTo>
                      <a:lnTo>
                        <a:pt x="317" y="81"/>
                      </a:lnTo>
                      <a:lnTo>
                        <a:pt x="317" y="82"/>
                      </a:lnTo>
                      <a:lnTo>
                        <a:pt x="314" y="86"/>
                      </a:lnTo>
                      <a:lnTo>
                        <a:pt x="313" y="86"/>
                      </a:lnTo>
                      <a:lnTo>
                        <a:pt x="312" y="87"/>
                      </a:lnTo>
                      <a:lnTo>
                        <a:pt x="311" y="87"/>
                      </a:lnTo>
                      <a:lnTo>
                        <a:pt x="311" y="89"/>
                      </a:lnTo>
                      <a:lnTo>
                        <a:pt x="310" y="89"/>
                      </a:lnTo>
                      <a:lnTo>
                        <a:pt x="311" y="92"/>
                      </a:lnTo>
                      <a:lnTo>
                        <a:pt x="310" y="94"/>
                      </a:lnTo>
                      <a:lnTo>
                        <a:pt x="309" y="94"/>
                      </a:lnTo>
                      <a:lnTo>
                        <a:pt x="305" y="98"/>
                      </a:lnTo>
                      <a:lnTo>
                        <a:pt x="304" y="99"/>
                      </a:lnTo>
                      <a:lnTo>
                        <a:pt x="304" y="100"/>
                      </a:lnTo>
                      <a:lnTo>
                        <a:pt x="303" y="100"/>
                      </a:lnTo>
                      <a:lnTo>
                        <a:pt x="303" y="101"/>
                      </a:lnTo>
                      <a:lnTo>
                        <a:pt x="302" y="105"/>
                      </a:lnTo>
                      <a:lnTo>
                        <a:pt x="302" y="106"/>
                      </a:lnTo>
                      <a:lnTo>
                        <a:pt x="301" y="107"/>
                      </a:lnTo>
                      <a:lnTo>
                        <a:pt x="299" y="108"/>
                      </a:lnTo>
                      <a:lnTo>
                        <a:pt x="299" y="110"/>
                      </a:lnTo>
                      <a:lnTo>
                        <a:pt x="299" y="112"/>
                      </a:lnTo>
                      <a:lnTo>
                        <a:pt x="299" y="113"/>
                      </a:lnTo>
                      <a:lnTo>
                        <a:pt x="298" y="113"/>
                      </a:lnTo>
                      <a:lnTo>
                        <a:pt x="297" y="113"/>
                      </a:lnTo>
                      <a:lnTo>
                        <a:pt x="297" y="114"/>
                      </a:lnTo>
                      <a:lnTo>
                        <a:pt x="295" y="117"/>
                      </a:lnTo>
                      <a:lnTo>
                        <a:pt x="294" y="119"/>
                      </a:lnTo>
                      <a:lnTo>
                        <a:pt x="294" y="121"/>
                      </a:lnTo>
                      <a:lnTo>
                        <a:pt x="292" y="122"/>
                      </a:lnTo>
                      <a:lnTo>
                        <a:pt x="291" y="123"/>
                      </a:lnTo>
                      <a:lnTo>
                        <a:pt x="288" y="126"/>
                      </a:lnTo>
                      <a:lnTo>
                        <a:pt x="284" y="129"/>
                      </a:lnTo>
                      <a:lnTo>
                        <a:pt x="284" y="130"/>
                      </a:lnTo>
                      <a:lnTo>
                        <a:pt x="283" y="130"/>
                      </a:lnTo>
                      <a:lnTo>
                        <a:pt x="283" y="133"/>
                      </a:lnTo>
                      <a:lnTo>
                        <a:pt x="283" y="134"/>
                      </a:lnTo>
                      <a:lnTo>
                        <a:pt x="284" y="134"/>
                      </a:lnTo>
                      <a:lnTo>
                        <a:pt x="284" y="135"/>
                      </a:lnTo>
                      <a:lnTo>
                        <a:pt x="283" y="136"/>
                      </a:lnTo>
                      <a:lnTo>
                        <a:pt x="283" y="137"/>
                      </a:lnTo>
                      <a:lnTo>
                        <a:pt x="282" y="138"/>
                      </a:lnTo>
                      <a:lnTo>
                        <a:pt x="282" y="140"/>
                      </a:lnTo>
                      <a:lnTo>
                        <a:pt x="281" y="141"/>
                      </a:lnTo>
                      <a:lnTo>
                        <a:pt x="278" y="147"/>
                      </a:lnTo>
                      <a:lnTo>
                        <a:pt x="276" y="149"/>
                      </a:lnTo>
                      <a:lnTo>
                        <a:pt x="274" y="151"/>
                      </a:lnTo>
                      <a:lnTo>
                        <a:pt x="269" y="158"/>
                      </a:lnTo>
                      <a:lnTo>
                        <a:pt x="267" y="163"/>
                      </a:lnTo>
                      <a:lnTo>
                        <a:pt x="266" y="165"/>
                      </a:lnTo>
                      <a:lnTo>
                        <a:pt x="263" y="170"/>
                      </a:lnTo>
                      <a:lnTo>
                        <a:pt x="260" y="178"/>
                      </a:lnTo>
                      <a:lnTo>
                        <a:pt x="260" y="179"/>
                      </a:lnTo>
                      <a:lnTo>
                        <a:pt x="260" y="180"/>
                      </a:lnTo>
                      <a:lnTo>
                        <a:pt x="260" y="182"/>
                      </a:lnTo>
                      <a:lnTo>
                        <a:pt x="260" y="184"/>
                      </a:lnTo>
                      <a:lnTo>
                        <a:pt x="259" y="186"/>
                      </a:lnTo>
                      <a:lnTo>
                        <a:pt x="255" y="191"/>
                      </a:lnTo>
                      <a:lnTo>
                        <a:pt x="252" y="197"/>
                      </a:lnTo>
                      <a:lnTo>
                        <a:pt x="247" y="204"/>
                      </a:lnTo>
                      <a:lnTo>
                        <a:pt x="246" y="207"/>
                      </a:lnTo>
                      <a:lnTo>
                        <a:pt x="245" y="208"/>
                      </a:lnTo>
                      <a:lnTo>
                        <a:pt x="242" y="211"/>
                      </a:lnTo>
                      <a:lnTo>
                        <a:pt x="239" y="215"/>
                      </a:lnTo>
                      <a:lnTo>
                        <a:pt x="235" y="220"/>
                      </a:lnTo>
                      <a:lnTo>
                        <a:pt x="232" y="226"/>
                      </a:lnTo>
                      <a:lnTo>
                        <a:pt x="226" y="235"/>
                      </a:lnTo>
                      <a:lnTo>
                        <a:pt x="223" y="240"/>
                      </a:lnTo>
                      <a:lnTo>
                        <a:pt x="219" y="243"/>
                      </a:lnTo>
                      <a:lnTo>
                        <a:pt x="211" y="252"/>
                      </a:lnTo>
                      <a:lnTo>
                        <a:pt x="209" y="256"/>
                      </a:lnTo>
                      <a:lnTo>
                        <a:pt x="204" y="261"/>
                      </a:lnTo>
                      <a:lnTo>
                        <a:pt x="199" y="266"/>
                      </a:lnTo>
                      <a:lnTo>
                        <a:pt x="193" y="270"/>
                      </a:lnTo>
                      <a:lnTo>
                        <a:pt x="193" y="271"/>
                      </a:lnTo>
                      <a:lnTo>
                        <a:pt x="188" y="278"/>
                      </a:lnTo>
                      <a:lnTo>
                        <a:pt x="183" y="282"/>
                      </a:lnTo>
                      <a:lnTo>
                        <a:pt x="181" y="284"/>
                      </a:lnTo>
                      <a:lnTo>
                        <a:pt x="176" y="288"/>
                      </a:lnTo>
                      <a:lnTo>
                        <a:pt x="174" y="290"/>
                      </a:lnTo>
                      <a:lnTo>
                        <a:pt x="171" y="292"/>
                      </a:lnTo>
                      <a:lnTo>
                        <a:pt x="171" y="294"/>
                      </a:lnTo>
                      <a:lnTo>
                        <a:pt x="170" y="294"/>
                      </a:lnTo>
                      <a:lnTo>
                        <a:pt x="170" y="295"/>
                      </a:lnTo>
                      <a:lnTo>
                        <a:pt x="169" y="295"/>
                      </a:lnTo>
                      <a:lnTo>
                        <a:pt x="168" y="296"/>
                      </a:lnTo>
                      <a:lnTo>
                        <a:pt x="166" y="298"/>
                      </a:lnTo>
                      <a:lnTo>
                        <a:pt x="164" y="299"/>
                      </a:lnTo>
                      <a:lnTo>
                        <a:pt x="164" y="301"/>
                      </a:lnTo>
                      <a:lnTo>
                        <a:pt x="163" y="302"/>
                      </a:lnTo>
                      <a:lnTo>
                        <a:pt x="162" y="302"/>
                      </a:lnTo>
                      <a:lnTo>
                        <a:pt x="162" y="303"/>
                      </a:lnTo>
                      <a:lnTo>
                        <a:pt x="155" y="306"/>
                      </a:lnTo>
                      <a:lnTo>
                        <a:pt x="152" y="309"/>
                      </a:lnTo>
                      <a:lnTo>
                        <a:pt x="148" y="311"/>
                      </a:lnTo>
                      <a:lnTo>
                        <a:pt x="138" y="317"/>
                      </a:lnTo>
                      <a:lnTo>
                        <a:pt x="136" y="317"/>
                      </a:lnTo>
                      <a:lnTo>
                        <a:pt x="135" y="318"/>
                      </a:lnTo>
                      <a:lnTo>
                        <a:pt x="128" y="320"/>
                      </a:lnTo>
                      <a:lnTo>
                        <a:pt x="124" y="324"/>
                      </a:lnTo>
                      <a:lnTo>
                        <a:pt x="124" y="325"/>
                      </a:lnTo>
                      <a:lnTo>
                        <a:pt x="122" y="325"/>
                      </a:lnTo>
                      <a:lnTo>
                        <a:pt x="119" y="327"/>
                      </a:lnTo>
                      <a:lnTo>
                        <a:pt x="114" y="330"/>
                      </a:lnTo>
                      <a:lnTo>
                        <a:pt x="107" y="336"/>
                      </a:lnTo>
                      <a:lnTo>
                        <a:pt x="104" y="339"/>
                      </a:lnTo>
                      <a:lnTo>
                        <a:pt x="103" y="339"/>
                      </a:lnTo>
                      <a:lnTo>
                        <a:pt x="102" y="340"/>
                      </a:lnTo>
                      <a:lnTo>
                        <a:pt x="102" y="341"/>
                      </a:lnTo>
                      <a:lnTo>
                        <a:pt x="100" y="341"/>
                      </a:lnTo>
                      <a:lnTo>
                        <a:pt x="100" y="343"/>
                      </a:lnTo>
                      <a:lnTo>
                        <a:pt x="98" y="345"/>
                      </a:lnTo>
                      <a:lnTo>
                        <a:pt x="97" y="345"/>
                      </a:lnTo>
                      <a:lnTo>
                        <a:pt x="96" y="345"/>
                      </a:lnTo>
                      <a:lnTo>
                        <a:pt x="95" y="347"/>
                      </a:lnTo>
                      <a:lnTo>
                        <a:pt x="91" y="350"/>
                      </a:lnTo>
                      <a:lnTo>
                        <a:pt x="90" y="350"/>
                      </a:lnTo>
                      <a:lnTo>
                        <a:pt x="89" y="352"/>
                      </a:lnTo>
                      <a:lnTo>
                        <a:pt x="88" y="352"/>
                      </a:lnTo>
                      <a:lnTo>
                        <a:pt x="88" y="353"/>
                      </a:lnTo>
                      <a:lnTo>
                        <a:pt x="86" y="354"/>
                      </a:lnTo>
                      <a:lnTo>
                        <a:pt x="79" y="359"/>
                      </a:lnTo>
                      <a:lnTo>
                        <a:pt x="74" y="366"/>
                      </a:lnTo>
                      <a:lnTo>
                        <a:pt x="71" y="369"/>
                      </a:lnTo>
                      <a:lnTo>
                        <a:pt x="68" y="372"/>
                      </a:lnTo>
                      <a:lnTo>
                        <a:pt x="62" y="379"/>
                      </a:lnTo>
                      <a:lnTo>
                        <a:pt x="57" y="383"/>
                      </a:lnTo>
                      <a:lnTo>
                        <a:pt x="56" y="385"/>
                      </a:lnTo>
                      <a:lnTo>
                        <a:pt x="54" y="386"/>
                      </a:lnTo>
                      <a:lnTo>
                        <a:pt x="52" y="388"/>
                      </a:lnTo>
                      <a:lnTo>
                        <a:pt x="50" y="389"/>
                      </a:lnTo>
                      <a:lnTo>
                        <a:pt x="50" y="390"/>
                      </a:lnTo>
                      <a:lnTo>
                        <a:pt x="49" y="390"/>
                      </a:lnTo>
                      <a:lnTo>
                        <a:pt x="48" y="392"/>
                      </a:lnTo>
                      <a:lnTo>
                        <a:pt x="48" y="393"/>
                      </a:lnTo>
                      <a:lnTo>
                        <a:pt x="48" y="394"/>
                      </a:lnTo>
                      <a:lnTo>
                        <a:pt x="48" y="393"/>
                      </a:lnTo>
                      <a:lnTo>
                        <a:pt x="46" y="394"/>
                      </a:lnTo>
                      <a:lnTo>
                        <a:pt x="46" y="395"/>
                      </a:lnTo>
                      <a:lnTo>
                        <a:pt x="45" y="396"/>
                      </a:lnTo>
                      <a:lnTo>
                        <a:pt x="41" y="400"/>
                      </a:lnTo>
                      <a:lnTo>
                        <a:pt x="41" y="401"/>
                      </a:lnTo>
                      <a:lnTo>
                        <a:pt x="40" y="401"/>
                      </a:lnTo>
                      <a:lnTo>
                        <a:pt x="39" y="403"/>
                      </a:lnTo>
                      <a:lnTo>
                        <a:pt x="39" y="404"/>
                      </a:lnTo>
                      <a:lnTo>
                        <a:pt x="38" y="404"/>
                      </a:lnTo>
                      <a:lnTo>
                        <a:pt x="36" y="404"/>
                      </a:lnTo>
                      <a:lnTo>
                        <a:pt x="35" y="404"/>
                      </a:lnTo>
                      <a:lnTo>
                        <a:pt x="35" y="406"/>
                      </a:lnTo>
                      <a:lnTo>
                        <a:pt x="35" y="407"/>
                      </a:lnTo>
                      <a:lnTo>
                        <a:pt x="34" y="408"/>
                      </a:lnTo>
                      <a:lnTo>
                        <a:pt x="34" y="409"/>
                      </a:lnTo>
                      <a:lnTo>
                        <a:pt x="33" y="410"/>
                      </a:lnTo>
                      <a:lnTo>
                        <a:pt x="32" y="410"/>
                      </a:lnTo>
                      <a:lnTo>
                        <a:pt x="32" y="409"/>
                      </a:lnTo>
                      <a:lnTo>
                        <a:pt x="32" y="408"/>
                      </a:lnTo>
                      <a:lnTo>
                        <a:pt x="32" y="407"/>
                      </a:lnTo>
                      <a:lnTo>
                        <a:pt x="32" y="408"/>
                      </a:lnTo>
                      <a:lnTo>
                        <a:pt x="32" y="409"/>
                      </a:lnTo>
                      <a:lnTo>
                        <a:pt x="32" y="410"/>
                      </a:lnTo>
                      <a:lnTo>
                        <a:pt x="32" y="411"/>
                      </a:lnTo>
                      <a:lnTo>
                        <a:pt x="32" y="413"/>
                      </a:lnTo>
                      <a:lnTo>
                        <a:pt x="31" y="413"/>
                      </a:lnTo>
                      <a:lnTo>
                        <a:pt x="31" y="414"/>
                      </a:lnTo>
                      <a:lnTo>
                        <a:pt x="29" y="416"/>
                      </a:lnTo>
                      <a:lnTo>
                        <a:pt x="29" y="417"/>
                      </a:lnTo>
                      <a:lnTo>
                        <a:pt x="28" y="417"/>
                      </a:lnTo>
                      <a:lnTo>
                        <a:pt x="28" y="416"/>
                      </a:lnTo>
                      <a:lnTo>
                        <a:pt x="28" y="415"/>
                      </a:lnTo>
                      <a:lnTo>
                        <a:pt x="27" y="415"/>
                      </a:lnTo>
                      <a:lnTo>
                        <a:pt x="27" y="416"/>
                      </a:lnTo>
                      <a:lnTo>
                        <a:pt x="28" y="417"/>
                      </a:lnTo>
                      <a:lnTo>
                        <a:pt x="28" y="418"/>
                      </a:lnTo>
                      <a:lnTo>
                        <a:pt x="25" y="424"/>
                      </a:lnTo>
                      <a:lnTo>
                        <a:pt x="24" y="424"/>
                      </a:lnTo>
                      <a:lnTo>
                        <a:pt x="24" y="425"/>
                      </a:lnTo>
                      <a:lnTo>
                        <a:pt x="22" y="428"/>
                      </a:lnTo>
                      <a:lnTo>
                        <a:pt x="21" y="429"/>
                      </a:lnTo>
                      <a:lnTo>
                        <a:pt x="20" y="429"/>
                      </a:lnTo>
                      <a:lnTo>
                        <a:pt x="19" y="430"/>
                      </a:lnTo>
                      <a:lnTo>
                        <a:pt x="19" y="431"/>
                      </a:lnTo>
                      <a:lnTo>
                        <a:pt x="18" y="432"/>
                      </a:lnTo>
                      <a:lnTo>
                        <a:pt x="18" y="431"/>
                      </a:lnTo>
                      <a:lnTo>
                        <a:pt x="18" y="429"/>
                      </a:lnTo>
                      <a:lnTo>
                        <a:pt x="18" y="428"/>
                      </a:lnTo>
                      <a:lnTo>
                        <a:pt x="17" y="427"/>
                      </a:lnTo>
                      <a:lnTo>
                        <a:pt x="15" y="424"/>
                      </a:lnTo>
                      <a:lnTo>
                        <a:pt x="13" y="422"/>
                      </a:lnTo>
                      <a:lnTo>
                        <a:pt x="12" y="421"/>
                      </a:lnTo>
                      <a:lnTo>
                        <a:pt x="11" y="418"/>
                      </a:lnTo>
                      <a:lnTo>
                        <a:pt x="8" y="416"/>
                      </a:lnTo>
                      <a:lnTo>
                        <a:pt x="7" y="414"/>
                      </a:lnTo>
                      <a:lnTo>
                        <a:pt x="5" y="413"/>
                      </a:lnTo>
                      <a:lnTo>
                        <a:pt x="4" y="410"/>
                      </a:lnTo>
                      <a:lnTo>
                        <a:pt x="3" y="409"/>
                      </a:lnTo>
                      <a:lnTo>
                        <a:pt x="3" y="408"/>
                      </a:lnTo>
                      <a:lnTo>
                        <a:pt x="1" y="407"/>
                      </a:lnTo>
                      <a:lnTo>
                        <a:pt x="0" y="406"/>
                      </a:lnTo>
                      <a:lnTo>
                        <a:pt x="0" y="403"/>
                      </a:lnTo>
                      <a:lnTo>
                        <a:pt x="0" y="401"/>
                      </a:lnTo>
                      <a:lnTo>
                        <a:pt x="0" y="399"/>
                      </a:lnTo>
                      <a:lnTo>
                        <a:pt x="0" y="395"/>
                      </a:lnTo>
                      <a:lnTo>
                        <a:pt x="0" y="392"/>
                      </a:lnTo>
                      <a:lnTo>
                        <a:pt x="0" y="389"/>
                      </a:lnTo>
                      <a:lnTo>
                        <a:pt x="0" y="386"/>
                      </a:lnTo>
                      <a:lnTo>
                        <a:pt x="0" y="383"/>
                      </a:lnTo>
                      <a:lnTo>
                        <a:pt x="0" y="381"/>
                      </a:lnTo>
                      <a:lnTo>
                        <a:pt x="0" y="379"/>
                      </a:lnTo>
                      <a:lnTo>
                        <a:pt x="0" y="374"/>
                      </a:lnTo>
                      <a:lnTo>
                        <a:pt x="0" y="371"/>
                      </a:lnTo>
                      <a:lnTo>
                        <a:pt x="0" y="367"/>
                      </a:lnTo>
                      <a:lnTo>
                        <a:pt x="0" y="362"/>
                      </a:lnTo>
                      <a:lnTo>
                        <a:pt x="0" y="359"/>
                      </a:lnTo>
                      <a:lnTo>
                        <a:pt x="0" y="354"/>
                      </a:lnTo>
                      <a:lnTo>
                        <a:pt x="0" y="351"/>
                      </a:lnTo>
                      <a:lnTo>
                        <a:pt x="0" y="347"/>
                      </a:lnTo>
                      <a:lnTo>
                        <a:pt x="0" y="343"/>
                      </a:lnTo>
                      <a:lnTo>
                        <a:pt x="1" y="339"/>
                      </a:lnTo>
                      <a:lnTo>
                        <a:pt x="1" y="336"/>
                      </a:lnTo>
                      <a:lnTo>
                        <a:pt x="1" y="331"/>
                      </a:lnTo>
                      <a:lnTo>
                        <a:pt x="1" y="327"/>
                      </a:lnTo>
                      <a:lnTo>
                        <a:pt x="1" y="323"/>
                      </a:lnTo>
                      <a:lnTo>
                        <a:pt x="1" y="319"/>
                      </a:lnTo>
                      <a:lnTo>
                        <a:pt x="1" y="316"/>
                      </a:lnTo>
                      <a:lnTo>
                        <a:pt x="1" y="312"/>
                      </a:lnTo>
                      <a:lnTo>
                        <a:pt x="1" y="309"/>
                      </a:lnTo>
                      <a:lnTo>
                        <a:pt x="1" y="305"/>
                      </a:lnTo>
                      <a:lnTo>
                        <a:pt x="1" y="302"/>
                      </a:lnTo>
                      <a:lnTo>
                        <a:pt x="1" y="299"/>
                      </a:lnTo>
                      <a:lnTo>
                        <a:pt x="1" y="296"/>
                      </a:lnTo>
                      <a:lnTo>
                        <a:pt x="1" y="291"/>
                      </a:lnTo>
                      <a:lnTo>
                        <a:pt x="1" y="290"/>
                      </a:lnTo>
                      <a:lnTo>
                        <a:pt x="1" y="289"/>
                      </a:lnTo>
                      <a:lnTo>
                        <a:pt x="3" y="288"/>
                      </a:lnTo>
                      <a:lnTo>
                        <a:pt x="5" y="285"/>
                      </a:lnTo>
                      <a:lnTo>
                        <a:pt x="8" y="283"/>
                      </a:lnTo>
                      <a:lnTo>
                        <a:pt x="11" y="280"/>
                      </a:lnTo>
                      <a:lnTo>
                        <a:pt x="13" y="277"/>
                      </a:lnTo>
                      <a:lnTo>
                        <a:pt x="15" y="275"/>
                      </a:lnTo>
                      <a:lnTo>
                        <a:pt x="17" y="273"/>
                      </a:lnTo>
                      <a:lnTo>
                        <a:pt x="18" y="270"/>
                      </a:lnTo>
                      <a:lnTo>
                        <a:pt x="20" y="268"/>
                      </a:lnTo>
                      <a:lnTo>
                        <a:pt x="22" y="264"/>
                      </a:lnTo>
                      <a:lnTo>
                        <a:pt x="25" y="261"/>
                      </a:lnTo>
                      <a:lnTo>
                        <a:pt x="28" y="256"/>
                      </a:lnTo>
                      <a:lnTo>
                        <a:pt x="31" y="253"/>
                      </a:lnTo>
                      <a:lnTo>
                        <a:pt x="32" y="252"/>
                      </a:lnTo>
                      <a:lnTo>
                        <a:pt x="32" y="250"/>
                      </a:lnTo>
                      <a:lnTo>
                        <a:pt x="33" y="249"/>
                      </a:lnTo>
                      <a:lnTo>
                        <a:pt x="35" y="248"/>
                      </a:lnTo>
                      <a:lnTo>
                        <a:pt x="36" y="247"/>
                      </a:lnTo>
                      <a:lnTo>
                        <a:pt x="38" y="246"/>
                      </a:lnTo>
                      <a:lnTo>
                        <a:pt x="39" y="246"/>
                      </a:lnTo>
                      <a:lnTo>
                        <a:pt x="41" y="246"/>
                      </a:lnTo>
                      <a:lnTo>
                        <a:pt x="43" y="246"/>
                      </a:lnTo>
                      <a:lnTo>
                        <a:pt x="48" y="246"/>
                      </a:lnTo>
                      <a:lnTo>
                        <a:pt x="53" y="245"/>
                      </a:lnTo>
                      <a:lnTo>
                        <a:pt x="57" y="243"/>
                      </a:lnTo>
                      <a:lnTo>
                        <a:pt x="60" y="243"/>
                      </a:lnTo>
                      <a:lnTo>
                        <a:pt x="61" y="243"/>
                      </a:lnTo>
                      <a:lnTo>
                        <a:pt x="62" y="242"/>
                      </a:lnTo>
                      <a:lnTo>
                        <a:pt x="63" y="241"/>
                      </a:lnTo>
                      <a:lnTo>
                        <a:pt x="63" y="240"/>
                      </a:lnTo>
                      <a:lnTo>
                        <a:pt x="64" y="238"/>
                      </a:lnTo>
                      <a:lnTo>
                        <a:pt x="64" y="236"/>
                      </a:lnTo>
                      <a:lnTo>
                        <a:pt x="68" y="234"/>
                      </a:lnTo>
                      <a:lnTo>
                        <a:pt x="70" y="232"/>
                      </a:lnTo>
                      <a:lnTo>
                        <a:pt x="74" y="231"/>
                      </a:lnTo>
                      <a:lnTo>
                        <a:pt x="77" y="228"/>
                      </a:lnTo>
                      <a:lnTo>
                        <a:pt x="81" y="227"/>
                      </a:lnTo>
                      <a:lnTo>
                        <a:pt x="83" y="226"/>
                      </a:lnTo>
                      <a:lnTo>
                        <a:pt x="86" y="225"/>
                      </a:lnTo>
                      <a:lnTo>
                        <a:pt x="89" y="225"/>
                      </a:lnTo>
                      <a:lnTo>
                        <a:pt x="92" y="224"/>
                      </a:lnTo>
                      <a:lnTo>
                        <a:pt x="93" y="224"/>
                      </a:lnTo>
                      <a:lnTo>
                        <a:pt x="96" y="222"/>
                      </a:lnTo>
                      <a:lnTo>
                        <a:pt x="97" y="222"/>
                      </a:lnTo>
                      <a:lnTo>
                        <a:pt x="99" y="222"/>
                      </a:lnTo>
                      <a:lnTo>
                        <a:pt x="100" y="222"/>
                      </a:lnTo>
                      <a:lnTo>
                        <a:pt x="103" y="222"/>
                      </a:lnTo>
                      <a:lnTo>
                        <a:pt x="104" y="224"/>
                      </a:lnTo>
                      <a:lnTo>
                        <a:pt x="105" y="224"/>
                      </a:lnTo>
                      <a:lnTo>
                        <a:pt x="107" y="224"/>
                      </a:lnTo>
                      <a:lnTo>
                        <a:pt x="109" y="224"/>
                      </a:lnTo>
                      <a:lnTo>
                        <a:pt x="111" y="224"/>
                      </a:lnTo>
                      <a:lnTo>
                        <a:pt x="112" y="224"/>
                      </a:lnTo>
                      <a:lnTo>
                        <a:pt x="113" y="224"/>
                      </a:lnTo>
                      <a:lnTo>
                        <a:pt x="116" y="224"/>
                      </a:lnTo>
                      <a:lnTo>
                        <a:pt x="117" y="224"/>
                      </a:lnTo>
                      <a:lnTo>
                        <a:pt x="119" y="224"/>
                      </a:lnTo>
                      <a:lnTo>
                        <a:pt x="120" y="225"/>
                      </a:lnTo>
                      <a:lnTo>
                        <a:pt x="121" y="225"/>
                      </a:lnTo>
                      <a:lnTo>
                        <a:pt x="124" y="225"/>
                      </a:lnTo>
                      <a:lnTo>
                        <a:pt x="125" y="225"/>
                      </a:lnTo>
                      <a:lnTo>
                        <a:pt x="127" y="225"/>
                      </a:lnTo>
                      <a:lnTo>
                        <a:pt x="128" y="225"/>
                      </a:lnTo>
                      <a:lnTo>
                        <a:pt x="131" y="221"/>
                      </a:lnTo>
                      <a:lnTo>
                        <a:pt x="132" y="220"/>
                      </a:lnTo>
                      <a:lnTo>
                        <a:pt x="135" y="215"/>
                      </a:lnTo>
                      <a:lnTo>
                        <a:pt x="139" y="212"/>
                      </a:lnTo>
                      <a:lnTo>
                        <a:pt x="142" y="208"/>
                      </a:lnTo>
                      <a:lnTo>
                        <a:pt x="146" y="205"/>
                      </a:lnTo>
                      <a:lnTo>
                        <a:pt x="149" y="201"/>
                      </a:lnTo>
                      <a:lnTo>
                        <a:pt x="153" y="198"/>
                      </a:lnTo>
                      <a:lnTo>
                        <a:pt x="156" y="193"/>
                      </a:lnTo>
                      <a:lnTo>
                        <a:pt x="160" y="190"/>
                      </a:lnTo>
                      <a:lnTo>
                        <a:pt x="162" y="189"/>
                      </a:lnTo>
                      <a:lnTo>
                        <a:pt x="163" y="186"/>
                      </a:lnTo>
                      <a:lnTo>
                        <a:pt x="166" y="184"/>
                      </a:lnTo>
                      <a:lnTo>
                        <a:pt x="168" y="183"/>
                      </a:lnTo>
                      <a:lnTo>
                        <a:pt x="169" y="180"/>
                      </a:lnTo>
                      <a:lnTo>
                        <a:pt x="171" y="178"/>
                      </a:lnTo>
                      <a:lnTo>
                        <a:pt x="174" y="176"/>
                      </a:lnTo>
                      <a:lnTo>
                        <a:pt x="175" y="175"/>
                      </a:lnTo>
                      <a:lnTo>
                        <a:pt x="177" y="173"/>
                      </a:lnTo>
                      <a:lnTo>
                        <a:pt x="177" y="172"/>
                      </a:lnTo>
                      <a:lnTo>
                        <a:pt x="178" y="172"/>
                      </a:lnTo>
                      <a:lnTo>
                        <a:pt x="180" y="170"/>
                      </a:lnTo>
                      <a:lnTo>
                        <a:pt x="181" y="169"/>
                      </a:lnTo>
                      <a:lnTo>
                        <a:pt x="182" y="169"/>
                      </a:lnTo>
                      <a:lnTo>
                        <a:pt x="183" y="166"/>
                      </a:lnTo>
                      <a:lnTo>
                        <a:pt x="184" y="165"/>
                      </a:lnTo>
                      <a:lnTo>
                        <a:pt x="186" y="164"/>
                      </a:lnTo>
                      <a:lnTo>
                        <a:pt x="188" y="163"/>
                      </a:lnTo>
                      <a:lnTo>
                        <a:pt x="190" y="161"/>
                      </a:lnTo>
                      <a:lnTo>
                        <a:pt x="191" y="159"/>
                      </a:lnTo>
                      <a:lnTo>
                        <a:pt x="192" y="158"/>
                      </a:lnTo>
                      <a:lnTo>
                        <a:pt x="195" y="157"/>
                      </a:lnTo>
                      <a:lnTo>
                        <a:pt x="196" y="155"/>
                      </a:lnTo>
                      <a:lnTo>
                        <a:pt x="197" y="154"/>
                      </a:lnTo>
                      <a:lnTo>
                        <a:pt x="199" y="152"/>
                      </a:lnTo>
                      <a:lnTo>
                        <a:pt x="200" y="151"/>
                      </a:lnTo>
                      <a:lnTo>
                        <a:pt x="202" y="149"/>
                      </a:lnTo>
                      <a:lnTo>
                        <a:pt x="204" y="148"/>
                      </a:lnTo>
                      <a:lnTo>
                        <a:pt x="205" y="147"/>
                      </a:lnTo>
                      <a:lnTo>
                        <a:pt x="206" y="144"/>
                      </a:lnTo>
                      <a:lnTo>
                        <a:pt x="209" y="143"/>
                      </a:lnTo>
                      <a:lnTo>
                        <a:pt x="210" y="142"/>
                      </a:lnTo>
                      <a:lnTo>
                        <a:pt x="211" y="141"/>
                      </a:lnTo>
                      <a:lnTo>
                        <a:pt x="213" y="138"/>
                      </a:lnTo>
                      <a:lnTo>
                        <a:pt x="214" y="137"/>
                      </a:lnTo>
                      <a:lnTo>
                        <a:pt x="216" y="136"/>
                      </a:lnTo>
                      <a:lnTo>
                        <a:pt x="218" y="135"/>
                      </a:lnTo>
                      <a:lnTo>
                        <a:pt x="219" y="133"/>
                      </a:lnTo>
                      <a:lnTo>
                        <a:pt x="220" y="131"/>
                      </a:lnTo>
                      <a:lnTo>
                        <a:pt x="223" y="130"/>
                      </a:lnTo>
                      <a:lnTo>
                        <a:pt x="224" y="128"/>
                      </a:lnTo>
                      <a:lnTo>
                        <a:pt x="225" y="127"/>
                      </a:lnTo>
                      <a:lnTo>
                        <a:pt x="220" y="127"/>
                      </a:lnTo>
                      <a:lnTo>
                        <a:pt x="214" y="127"/>
                      </a:lnTo>
                      <a:lnTo>
                        <a:pt x="211" y="127"/>
                      </a:lnTo>
                      <a:lnTo>
                        <a:pt x="206" y="127"/>
                      </a:lnTo>
                      <a:lnTo>
                        <a:pt x="200" y="127"/>
                      </a:lnTo>
                      <a:lnTo>
                        <a:pt x="196" y="127"/>
                      </a:lnTo>
                      <a:lnTo>
                        <a:pt x="193" y="127"/>
                      </a:lnTo>
                      <a:lnTo>
                        <a:pt x="191" y="126"/>
                      </a:lnTo>
                      <a:lnTo>
                        <a:pt x="190" y="126"/>
                      </a:lnTo>
                      <a:lnTo>
                        <a:pt x="186" y="124"/>
                      </a:lnTo>
                      <a:lnTo>
                        <a:pt x="184" y="123"/>
                      </a:lnTo>
                      <a:lnTo>
                        <a:pt x="182" y="122"/>
                      </a:lnTo>
                      <a:lnTo>
                        <a:pt x="180" y="121"/>
                      </a:lnTo>
                      <a:lnTo>
                        <a:pt x="176" y="121"/>
                      </a:lnTo>
                      <a:lnTo>
                        <a:pt x="174" y="120"/>
                      </a:lnTo>
                      <a:lnTo>
                        <a:pt x="171" y="119"/>
                      </a:lnTo>
                      <a:lnTo>
                        <a:pt x="168" y="117"/>
                      </a:lnTo>
                      <a:lnTo>
                        <a:pt x="166" y="116"/>
                      </a:lnTo>
                      <a:lnTo>
                        <a:pt x="163" y="116"/>
                      </a:lnTo>
                      <a:lnTo>
                        <a:pt x="161" y="115"/>
                      </a:lnTo>
                      <a:lnTo>
                        <a:pt x="157" y="114"/>
                      </a:lnTo>
                      <a:lnTo>
                        <a:pt x="155" y="113"/>
                      </a:lnTo>
                      <a:lnTo>
                        <a:pt x="153" y="112"/>
                      </a:lnTo>
                      <a:lnTo>
                        <a:pt x="149" y="112"/>
                      </a:lnTo>
                      <a:lnTo>
                        <a:pt x="147" y="110"/>
                      </a:lnTo>
                      <a:lnTo>
                        <a:pt x="145" y="109"/>
                      </a:lnTo>
                      <a:lnTo>
                        <a:pt x="141" y="108"/>
                      </a:lnTo>
                      <a:lnTo>
                        <a:pt x="139" y="107"/>
                      </a:lnTo>
                      <a:lnTo>
                        <a:pt x="136" y="107"/>
                      </a:lnTo>
                      <a:lnTo>
                        <a:pt x="133" y="106"/>
                      </a:lnTo>
                      <a:lnTo>
                        <a:pt x="131" y="105"/>
                      </a:lnTo>
                      <a:lnTo>
                        <a:pt x="127" y="103"/>
                      </a:lnTo>
                      <a:lnTo>
                        <a:pt x="125" y="102"/>
                      </a:lnTo>
                      <a:lnTo>
                        <a:pt x="122" y="101"/>
                      </a:lnTo>
                      <a:lnTo>
                        <a:pt x="119" y="101"/>
                      </a:lnTo>
                      <a:lnTo>
                        <a:pt x="117" y="100"/>
                      </a:lnTo>
                      <a:lnTo>
                        <a:pt x="113" y="99"/>
                      </a:lnTo>
                      <a:lnTo>
                        <a:pt x="111" y="98"/>
                      </a:lnTo>
                      <a:lnTo>
                        <a:pt x="109" y="96"/>
                      </a:lnTo>
                      <a:lnTo>
                        <a:pt x="105" y="96"/>
                      </a:lnTo>
                      <a:lnTo>
                        <a:pt x="103" y="95"/>
                      </a:lnTo>
                      <a:lnTo>
                        <a:pt x="100" y="94"/>
                      </a:lnTo>
                      <a:lnTo>
                        <a:pt x="98" y="93"/>
                      </a:lnTo>
                      <a:lnTo>
                        <a:pt x="97" y="92"/>
                      </a:lnTo>
                      <a:lnTo>
                        <a:pt x="92" y="87"/>
                      </a:lnTo>
                      <a:lnTo>
                        <a:pt x="90" y="85"/>
                      </a:lnTo>
                      <a:lnTo>
                        <a:pt x="88" y="82"/>
                      </a:lnTo>
                      <a:lnTo>
                        <a:pt x="86" y="82"/>
                      </a:lnTo>
                      <a:lnTo>
                        <a:pt x="85" y="82"/>
                      </a:lnTo>
                      <a:lnTo>
                        <a:pt x="83" y="81"/>
                      </a:lnTo>
                      <a:lnTo>
                        <a:pt x="81" y="80"/>
                      </a:lnTo>
                      <a:lnTo>
                        <a:pt x="81" y="79"/>
                      </a:lnTo>
                      <a:lnTo>
                        <a:pt x="81" y="78"/>
                      </a:lnTo>
                      <a:lnTo>
                        <a:pt x="79" y="78"/>
                      </a:lnTo>
                      <a:lnTo>
                        <a:pt x="79" y="77"/>
                      </a:lnTo>
                      <a:lnTo>
                        <a:pt x="79" y="75"/>
                      </a:lnTo>
                      <a:lnTo>
                        <a:pt x="78" y="75"/>
                      </a:lnTo>
                      <a:lnTo>
                        <a:pt x="78" y="74"/>
                      </a:lnTo>
                      <a:lnTo>
                        <a:pt x="77" y="74"/>
                      </a:lnTo>
                      <a:lnTo>
                        <a:pt x="77" y="73"/>
                      </a:lnTo>
                      <a:lnTo>
                        <a:pt x="76" y="73"/>
                      </a:lnTo>
                      <a:lnTo>
                        <a:pt x="75" y="71"/>
                      </a:lnTo>
                      <a:lnTo>
                        <a:pt x="74" y="66"/>
                      </a:lnTo>
                      <a:lnTo>
                        <a:pt x="74" y="65"/>
                      </a:lnTo>
                      <a:lnTo>
                        <a:pt x="72" y="65"/>
                      </a:lnTo>
                      <a:lnTo>
                        <a:pt x="71" y="64"/>
                      </a:lnTo>
                      <a:lnTo>
                        <a:pt x="70" y="64"/>
                      </a:lnTo>
                      <a:lnTo>
                        <a:pt x="69" y="63"/>
                      </a:lnTo>
                      <a:lnTo>
                        <a:pt x="68" y="61"/>
                      </a:lnTo>
                      <a:lnTo>
                        <a:pt x="68" y="60"/>
                      </a:lnTo>
                      <a:lnTo>
                        <a:pt x="68" y="59"/>
                      </a:lnTo>
                      <a:lnTo>
                        <a:pt x="67" y="58"/>
                      </a:lnTo>
                      <a:lnTo>
                        <a:pt x="63" y="56"/>
                      </a:lnTo>
                      <a:lnTo>
                        <a:pt x="62" y="54"/>
                      </a:lnTo>
                      <a:lnTo>
                        <a:pt x="62" y="52"/>
                      </a:lnTo>
                      <a:lnTo>
                        <a:pt x="61" y="51"/>
                      </a:lnTo>
                      <a:lnTo>
                        <a:pt x="61" y="47"/>
                      </a:lnTo>
                      <a:lnTo>
                        <a:pt x="61" y="46"/>
                      </a:lnTo>
                      <a:lnTo>
                        <a:pt x="60" y="46"/>
                      </a:lnTo>
                      <a:lnTo>
                        <a:pt x="58" y="44"/>
                      </a:lnTo>
                      <a:lnTo>
                        <a:pt x="57" y="43"/>
                      </a:lnTo>
                      <a:lnTo>
                        <a:pt x="56" y="42"/>
                      </a:lnTo>
                      <a:lnTo>
                        <a:pt x="56" y="40"/>
                      </a:lnTo>
                      <a:lnTo>
                        <a:pt x="57" y="40"/>
                      </a:lnTo>
                      <a:lnTo>
                        <a:pt x="58" y="40"/>
                      </a:lnTo>
                      <a:lnTo>
                        <a:pt x="58" y="39"/>
                      </a:lnTo>
                      <a:lnTo>
                        <a:pt x="60" y="37"/>
                      </a:lnTo>
                      <a:lnTo>
                        <a:pt x="60" y="36"/>
                      </a:lnTo>
                      <a:lnTo>
                        <a:pt x="61" y="36"/>
                      </a:lnTo>
                      <a:lnTo>
                        <a:pt x="62" y="35"/>
                      </a:lnTo>
                      <a:lnTo>
                        <a:pt x="62" y="33"/>
                      </a:lnTo>
                      <a:lnTo>
                        <a:pt x="63" y="32"/>
                      </a:lnTo>
                      <a:lnTo>
                        <a:pt x="64" y="32"/>
                      </a:lnTo>
                      <a:lnTo>
                        <a:pt x="64" y="31"/>
                      </a:lnTo>
                      <a:lnTo>
                        <a:pt x="65" y="30"/>
                      </a:lnTo>
                      <a:lnTo>
                        <a:pt x="65" y="29"/>
                      </a:lnTo>
                      <a:lnTo>
                        <a:pt x="74" y="16"/>
                      </a:lnTo>
                      <a:lnTo>
                        <a:pt x="76" y="14"/>
                      </a:lnTo>
                      <a:lnTo>
                        <a:pt x="77" y="15"/>
                      </a:lnTo>
                      <a:lnTo>
                        <a:pt x="77" y="12"/>
                      </a:lnTo>
                      <a:lnTo>
                        <a:pt x="77" y="14"/>
                      </a:lnTo>
                      <a:lnTo>
                        <a:pt x="78" y="15"/>
                      </a:lnTo>
                      <a:lnTo>
                        <a:pt x="78" y="16"/>
                      </a:lnTo>
                      <a:lnTo>
                        <a:pt x="79" y="16"/>
                      </a:lnTo>
                      <a:lnTo>
                        <a:pt x="81" y="17"/>
                      </a:lnTo>
                      <a:lnTo>
                        <a:pt x="82" y="17"/>
                      </a:lnTo>
                      <a:lnTo>
                        <a:pt x="83" y="18"/>
                      </a:lnTo>
                      <a:lnTo>
                        <a:pt x="83" y="17"/>
                      </a:lnTo>
                      <a:lnTo>
                        <a:pt x="84" y="17"/>
                      </a:lnTo>
                      <a:lnTo>
                        <a:pt x="83" y="21"/>
                      </a:lnTo>
                      <a:lnTo>
                        <a:pt x="83" y="22"/>
                      </a:lnTo>
                      <a:lnTo>
                        <a:pt x="84" y="23"/>
                      </a:lnTo>
                      <a:lnTo>
                        <a:pt x="85" y="23"/>
                      </a:lnTo>
                      <a:lnTo>
                        <a:pt x="85" y="24"/>
                      </a:lnTo>
                      <a:lnTo>
                        <a:pt x="86" y="24"/>
                      </a:lnTo>
                      <a:lnTo>
                        <a:pt x="86" y="25"/>
                      </a:lnTo>
                      <a:lnTo>
                        <a:pt x="88" y="26"/>
                      </a:lnTo>
                      <a:lnTo>
                        <a:pt x="89" y="30"/>
                      </a:lnTo>
                      <a:lnTo>
                        <a:pt x="92" y="32"/>
                      </a:lnTo>
                      <a:lnTo>
                        <a:pt x="95" y="36"/>
                      </a:lnTo>
                      <a:lnTo>
                        <a:pt x="97" y="38"/>
                      </a:lnTo>
                      <a:lnTo>
                        <a:pt x="100" y="40"/>
                      </a:lnTo>
                      <a:lnTo>
                        <a:pt x="103" y="43"/>
                      </a:lnTo>
                      <a:lnTo>
                        <a:pt x="104" y="44"/>
                      </a:lnTo>
                      <a:lnTo>
                        <a:pt x="109" y="47"/>
                      </a:lnTo>
                      <a:lnTo>
                        <a:pt x="110" y="47"/>
                      </a:lnTo>
                      <a:lnTo>
                        <a:pt x="111" y="49"/>
                      </a:lnTo>
                      <a:lnTo>
                        <a:pt x="112" y="49"/>
                      </a:lnTo>
                      <a:lnTo>
                        <a:pt x="114" y="49"/>
                      </a:lnTo>
                      <a:lnTo>
                        <a:pt x="117" y="49"/>
                      </a:lnTo>
                      <a:lnTo>
                        <a:pt x="118" y="50"/>
                      </a:lnTo>
                      <a:lnTo>
                        <a:pt x="119" y="49"/>
                      </a:lnTo>
                      <a:lnTo>
                        <a:pt x="120" y="49"/>
                      </a:lnTo>
                      <a:lnTo>
                        <a:pt x="122" y="49"/>
                      </a:lnTo>
                      <a:lnTo>
                        <a:pt x="124" y="47"/>
                      </a:lnTo>
                      <a:lnTo>
                        <a:pt x="125" y="49"/>
                      </a:lnTo>
                      <a:lnTo>
                        <a:pt x="127" y="49"/>
                      </a:lnTo>
                      <a:lnTo>
                        <a:pt x="128" y="49"/>
                      </a:lnTo>
                      <a:lnTo>
                        <a:pt x="131" y="49"/>
                      </a:lnTo>
                      <a:lnTo>
                        <a:pt x="131" y="47"/>
                      </a:lnTo>
                      <a:lnTo>
                        <a:pt x="132" y="47"/>
                      </a:lnTo>
                      <a:lnTo>
                        <a:pt x="135" y="45"/>
                      </a:lnTo>
                      <a:lnTo>
                        <a:pt x="136" y="44"/>
                      </a:lnTo>
                      <a:lnTo>
                        <a:pt x="140" y="43"/>
                      </a:lnTo>
                      <a:lnTo>
                        <a:pt x="141" y="40"/>
                      </a:lnTo>
                      <a:lnTo>
                        <a:pt x="142" y="40"/>
                      </a:lnTo>
                      <a:lnTo>
                        <a:pt x="143" y="40"/>
                      </a:lnTo>
                      <a:lnTo>
                        <a:pt x="145" y="40"/>
                      </a:lnTo>
                      <a:lnTo>
                        <a:pt x="146" y="40"/>
                      </a:lnTo>
                      <a:lnTo>
                        <a:pt x="147" y="40"/>
                      </a:lnTo>
                      <a:lnTo>
                        <a:pt x="148" y="39"/>
                      </a:lnTo>
                      <a:lnTo>
                        <a:pt x="149" y="39"/>
                      </a:lnTo>
                      <a:lnTo>
                        <a:pt x="149" y="38"/>
                      </a:lnTo>
                      <a:lnTo>
                        <a:pt x="150" y="37"/>
                      </a:lnTo>
                      <a:lnTo>
                        <a:pt x="153" y="37"/>
                      </a:lnTo>
                      <a:lnTo>
                        <a:pt x="153" y="36"/>
                      </a:lnTo>
                      <a:lnTo>
                        <a:pt x="154" y="36"/>
                      </a:lnTo>
                      <a:lnTo>
                        <a:pt x="155" y="35"/>
                      </a:lnTo>
                      <a:lnTo>
                        <a:pt x="155" y="33"/>
                      </a:lnTo>
                      <a:lnTo>
                        <a:pt x="156" y="33"/>
                      </a:lnTo>
                      <a:lnTo>
                        <a:pt x="157" y="33"/>
                      </a:lnTo>
                      <a:lnTo>
                        <a:pt x="157" y="35"/>
                      </a:lnTo>
                      <a:lnTo>
                        <a:pt x="159" y="35"/>
                      </a:lnTo>
                      <a:lnTo>
                        <a:pt x="159" y="36"/>
                      </a:lnTo>
                      <a:lnTo>
                        <a:pt x="160" y="36"/>
                      </a:lnTo>
                      <a:lnTo>
                        <a:pt x="159" y="35"/>
                      </a:lnTo>
                      <a:lnTo>
                        <a:pt x="160" y="35"/>
                      </a:lnTo>
                      <a:lnTo>
                        <a:pt x="162" y="37"/>
                      </a:lnTo>
                      <a:lnTo>
                        <a:pt x="163" y="37"/>
                      </a:lnTo>
                      <a:lnTo>
                        <a:pt x="164" y="37"/>
                      </a:lnTo>
                      <a:lnTo>
                        <a:pt x="166" y="37"/>
                      </a:lnTo>
                      <a:lnTo>
                        <a:pt x="167" y="37"/>
                      </a:lnTo>
                      <a:lnTo>
                        <a:pt x="168" y="37"/>
                      </a:lnTo>
                      <a:lnTo>
                        <a:pt x="170" y="37"/>
                      </a:lnTo>
                      <a:lnTo>
                        <a:pt x="171" y="37"/>
                      </a:lnTo>
                      <a:lnTo>
                        <a:pt x="173" y="39"/>
                      </a:lnTo>
                      <a:lnTo>
                        <a:pt x="174" y="39"/>
                      </a:lnTo>
                      <a:lnTo>
                        <a:pt x="175" y="39"/>
                      </a:lnTo>
                      <a:lnTo>
                        <a:pt x="176" y="40"/>
                      </a:lnTo>
                      <a:lnTo>
                        <a:pt x="177" y="40"/>
                      </a:lnTo>
                      <a:lnTo>
                        <a:pt x="178" y="39"/>
                      </a:lnTo>
                      <a:lnTo>
                        <a:pt x="180" y="39"/>
                      </a:lnTo>
                      <a:lnTo>
                        <a:pt x="181" y="39"/>
                      </a:lnTo>
                      <a:lnTo>
                        <a:pt x="182" y="38"/>
                      </a:lnTo>
                      <a:lnTo>
                        <a:pt x="183" y="38"/>
                      </a:lnTo>
                      <a:lnTo>
                        <a:pt x="184" y="38"/>
                      </a:lnTo>
                      <a:lnTo>
                        <a:pt x="185" y="37"/>
                      </a:lnTo>
                      <a:lnTo>
                        <a:pt x="188" y="36"/>
                      </a:lnTo>
                      <a:lnTo>
                        <a:pt x="190" y="35"/>
                      </a:lnTo>
                      <a:lnTo>
                        <a:pt x="191" y="35"/>
                      </a:lnTo>
                      <a:lnTo>
                        <a:pt x="191" y="33"/>
                      </a:lnTo>
                      <a:lnTo>
                        <a:pt x="192" y="33"/>
                      </a:lnTo>
                      <a:lnTo>
                        <a:pt x="196" y="32"/>
                      </a:lnTo>
                      <a:lnTo>
                        <a:pt x="198" y="30"/>
                      </a:lnTo>
                      <a:lnTo>
                        <a:pt x="199" y="29"/>
                      </a:lnTo>
                      <a:lnTo>
                        <a:pt x="200" y="28"/>
                      </a:lnTo>
                      <a:lnTo>
                        <a:pt x="203" y="28"/>
                      </a:lnTo>
                      <a:lnTo>
                        <a:pt x="204" y="26"/>
                      </a:lnTo>
                      <a:lnTo>
                        <a:pt x="207" y="25"/>
                      </a:lnTo>
                      <a:lnTo>
                        <a:pt x="207" y="24"/>
                      </a:lnTo>
                      <a:lnTo>
                        <a:pt x="209" y="24"/>
                      </a:lnTo>
                      <a:lnTo>
                        <a:pt x="211" y="24"/>
                      </a:lnTo>
                      <a:lnTo>
                        <a:pt x="212" y="24"/>
                      </a:lnTo>
                      <a:lnTo>
                        <a:pt x="217" y="26"/>
                      </a:lnTo>
                      <a:lnTo>
                        <a:pt x="218" y="28"/>
                      </a:lnTo>
                      <a:lnTo>
                        <a:pt x="219" y="26"/>
                      </a:lnTo>
                      <a:lnTo>
                        <a:pt x="224" y="26"/>
                      </a:lnTo>
                      <a:lnTo>
                        <a:pt x="225" y="26"/>
                      </a:lnTo>
                      <a:lnTo>
                        <a:pt x="231" y="26"/>
                      </a:lnTo>
                      <a:lnTo>
                        <a:pt x="232" y="26"/>
                      </a:lnTo>
                      <a:lnTo>
                        <a:pt x="233" y="25"/>
                      </a:lnTo>
                      <a:lnTo>
                        <a:pt x="233" y="24"/>
                      </a:lnTo>
                      <a:lnTo>
                        <a:pt x="234" y="24"/>
                      </a:lnTo>
                      <a:lnTo>
                        <a:pt x="235" y="24"/>
                      </a:lnTo>
                      <a:lnTo>
                        <a:pt x="237" y="23"/>
                      </a:lnTo>
                      <a:lnTo>
                        <a:pt x="238" y="23"/>
                      </a:lnTo>
                      <a:lnTo>
                        <a:pt x="238" y="22"/>
                      </a:lnTo>
                      <a:lnTo>
                        <a:pt x="239" y="22"/>
                      </a:lnTo>
                      <a:lnTo>
                        <a:pt x="241" y="22"/>
                      </a:lnTo>
                      <a:lnTo>
                        <a:pt x="242" y="21"/>
                      </a:lnTo>
                      <a:lnTo>
                        <a:pt x="244" y="21"/>
                      </a:lnTo>
                      <a:lnTo>
                        <a:pt x="246" y="21"/>
                      </a:lnTo>
                      <a:lnTo>
                        <a:pt x="247" y="21"/>
                      </a:lnTo>
                      <a:lnTo>
                        <a:pt x="248" y="21"/>
                      </a:lnTo>
                      <a:lnTo>
                        <a:pt x="250" y="21"/>
                      </a:lnTo>
                      <a:lnTo>
                        <a:pt x="252" y="21"/>
                      </a:lnTo>
                      <a:lnTo>
                        <a:pt x="253" y="22"/>
                      </a:lnTo>
                      <a:lnTo>
                        <a:pt x="255" y="23"/>
                      </a:lnTo>
                      <a:lnTo>
                        <a:pt x="256" y="23"/>
                      </a:lnTo>
                      <a:lnTo>
                        <a:pt x="257" y="23"/>
                      </a:lnTo>
                      <a:lnTo>
                        <a:pt x="259" y="23"/>
                      </a:lnTo>
                      <a:lnTo>
                        <a:pt x="262" y="22"/>
                      </a:lnTo>
                      <a:lnTo>
                        <a:pt x="267" y="22"/>
                      </a:lnTo>
                      <a:lnTo>
                        <a:pt x="268" y="21"/>
                      </a:lnTo>
                      <a:lnTo>
                        <a:pt x="269" y="19"/>
                      </a:lnTo>
                      <a:lnTo>
                        <a:pt x="269" y="21"/>
                      </a:lnTo>
                      <a:lnTo>
                        <a:pt x="271" y="21"/>
                      </a:lnTo>
                      <a:lnTo>
                        <a:pt x="273" y="19"/>
                      </a:lnTo>
                      <a:lnTo>
                        <a:pt x="275" y="18"/>
                      </a:lnTo>
                      <a:lnTo>
                        <a:pt x="276" y="18"/>
                      </a:lnTo>
                      <a:lnTo>
                        <a:pt x="276" y="17"/>
                      </a:lnTo>
                      <a:lnTo>
                        <a:pt x="277" y="16"/>
                      </a:lnTo>
                      <a:lnTo>
                        <a:pt x="278" y="16"/>
                      </a:lnTo>
                      <a:lnTo>
                        <a:pt x="280" y="16"/>
                      </a:lnTo>
                      <a:lnTo>
                        <a:pt x="281" y="16"/>
                      </a:lnTo>
                      <a:lnTo>
                        <a:pt x="282" y="16"/>
                      </a:lnTo>
                      <a:lnTo>
                        <a:pt x="284" y="16"/>
                      </a:lnTo>
                      <a:lnTo>
                        <a:pt x="287" y="16"/>
                      </a:lnTo>
                      <a:lnTo>
                        <a:pt x="288" y="16"/>
                      </a:lnTo>
                      <a:lnTo>
                        <a:pt x="288" y="15"/>
                      </a:lnTo>
                      <a:lnTo>
                        <a:pt x="289" y="15"/>
                      </a:lnTo>
                      <a:lnTo>
                        <a:pt x="290" y="15"/>
                      </a:lnTo>
                      <a:lnTo>
                        <a:pt x="292" y="15"/>
                      </a:lnTo>
                      <a:lnTo>
                        <a:pt x="294" y="15"/>
                      </a:lnTo>
                      <a:lnTo>
                        <a:pt x="295" y="14"/>
                      </a:lnTo>
                      <a:lnTo>
                        <a:pt x="296" y="14"/>
                      </a:lnTo>
                      <a:lnTo>
                        <a:pt x="297" y="14"/>
                      </a:lnTo>
                      <a:lnTo>
                        <a:pt x="298" y="12"/>
                      </a:lnTo>
                      <a:lnTo>
                        <a:pt x="299" y="12"/>
                      </a:lnTo>
                      <a:lnTo>
                        <a:pt x="301" y="12"/>
                      </a:lnTo>
                      <a:lnTo>
                        <a:pt x="303" y="10"/>
                      </a:lnTo>
                      <a:lnTo>
                        <a:pt x="304" y="10"/>
                      </a:lnTo>
                      <a:lnTo>
                        <a:pt x="305" y="9"/>
                      </a:lnTo>
                      <a:lnTo>
                        <a:pt x="306" y="8"/>
                      </a:lnTo>
                      <a:lnTo>
                        <a:pt x="306" y="7"/>
                      </a:lnTo>
                      <a:lnTo>
                        <a:pt x="308" y="7"/>
                      </a:lnTo>
                      <a:lnTo>
                        <a:pt x="308" y="5"/>
                      </a:lnTo>
                      <a:lnTo>
                        <a:pt x="308" y="4"/>
                      </a:lnTo>
                      <a:lnTo>
                        <a:pt x="308" y="3"/>
                      </a:lnTo>
                      <a:lnTo>
                        <a:pt x="309" y="2"/>
                      </a:lnTo>
                      <a:lnTo>
                        <a:pt x="310" y="2"/>
                      </a:lnTo>
                      <a:lnTo>
                        <a:pt x="311" y="1"/>
                      </a:lnTo>
                      <a:lnTo>
                        <a:pt x="312" y="1"/>
                      </a:lnTo>
                      <a:lnTo>
                        <a:pt x="314" y="0"/>
                      </a:lnTo>
                      <a:lnTo>
                        <a:pt x="316" y="0"/>
                      </a:lnTo>
                      <a:lnTo>
                        <a:pt x="317"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8" name="Freeform 115">
                  <a:extLst>
                    <a:ext uri="{FF2B5EF4-FFF2-40B4-BE49-F238E27FC236}">
                      <a16:creationId xmlns:a16="http://schemas.microsoft.com/office/drawing/2014/main" id="{01DBF7E8-0DC5-71A8-C30B-28EB6F19E85A}"/>
                    </a:ext>
                  </a:extLst>
                </p:cNvPr>
                <p:cNvSpPr>
                  <a:spLocks noEditPoints="1"/>
                </p:cNvSpPr>
                <p:nvPr/>
              </p:nvSpPr>
              <p:spPr bwMode="auto">
                <a:xfrm>
                  <a:off x="6450855" y="3742365"/>
                  <a:ext cx="33534" cy="58413"/>
                </a:xfrm>
                <a:custGeom>
                  <a:avLst/>
                  <a:gdLst>
                    <a:gd name="T0" fmla="*/ 4 w 31"/>
                    <a:gd name="T1" fmla="*/ 51 h 54"/>
                    <a:gd name="T2" fmla="*/ 3 w 31"/>
                    <a:gd name="T3" fmla="*/ 53 h 54"/>
                    <a:gd name="T4" fmla="*/ 3 w 31"/>
                    <a:gd name="T5" fmla="*/ 53 h 54"/>
                    <a:gd name="T6" fmla="*/ 2 w 31"/>
                    <a:gd name="T7" fmla="*/ 54 h 54"/>
                    <a:gd name="T8" fmla="*/ 2 w 31"/>
                    <a:gd name="T9" fmla="*/ 53 h 54"/>
                    <a:gd name="T10" fmla="*/ 2 w 31"/>
                    <a:gd name="T11" fmla="*/ 51 h 54"/>
                    <a:gd name="T12" fmla="*/ 2 w 31"/>
                    <a:gd name="T13" fmla="*/ 51 h 54"/>
                    <a:gd name="T14" fmla="*/ 2 w 31"/>
                    <a:gd name="T15" fmla="*/ 51 h 54"/>
                    <a:gd name="T16" fmla="*/ 1 w 31"/>
                    <a:gd name="T17" fmla="*/ 48 h 54"/>
                    <a:gd name="T18" fmla="*/ 1 w 31"/>
                    <a:gd name="T19" fmla="*/ 47 h 54"/>
                    <a:gd name="T20" fmla="*/ 1 w 31"/>
                    <a:gd name="T21" fmla="*/ 46 h 54"/>
                    <a:gd name="T22" fmla="*/ 1 w 31"/>
                    <a:gd name="T23" fmla="*/ 44 h 54"/>
                    <a:gd name="T24" fmla="*/ 1 w 31"/>
                    <a:gd name="T25" fmla="*/ 44 h 54"/>
                    <a:gd name="T26" fmla="*/ 2 w 31"/>
                    <a:gd name="T27" fmla="*/ 43 h 54"/>
                    <a:gd name="T28" fmla="*/ 4 w 31"/>
                    <a:gd name="T29" fmla="*/ 42 h 54"/>
                    <a:gd name="T30" fmla="*/ 5 w 31"/>
                    <a:gd name="T31" fmla="*/ 41 h 54"/>
                    <a:gd name="T32" fmla="*/ 8 w 31"/>
                    <a:gd name="T33" fmla="*/ 42 h 54"/>
                    <a:gd name="T34" fmla="*/ 9 w 31"/>
                    <a:gd name="T35" fmla="*/ 43 h 54"/>
                    <a:gd name="T36" fmla="*/ 10 w 31"/>
                    <a:gd name="T37" fmla="*/ 46 h 54"/>
                    <a:gd name="T38" fmla="*/ 9 w 31"/>
                    <a:gd name="T39" fmla="*/ 46 h 54"/>
                    <a:gd name="T40" fmla="*/ 9 w 31"/>
                    <a:gd name="T41" fmla="*/ 47 h 54"/>
                    <a:gd name="T42" fmla="*/ 8 w 31"/>
                    <a:gd name="T43" fmla="*/ 48 h 54"/>
                    <a:gd name="T44" fmla="*/ 7 w 31"/>
                    <a:gd name="T45" fmla="*/ 50 h 54"/>
                    <a:gd name="T46" fmla="*/ 7 w 31"/>
                    <a:gd name="T47" fmla="*/ 50 h 54"/>
                    <a:gd name="T48" fmla="*/ 7 w 31"/>
                    <a:gd name="T49" fmla="*/ 50 h 54"/>
                    <a:gd name="T50" fmla="*/ 5 w 31"/>
                    <a:gd name="T51" fmla="*/ 51 h 54"/>
                    <a:gd name="T52" fmla="*/ 5 w 31"/>
                    <a:gd name="T53" fmla="*/ 51 h 54"/>
                    <a:gd name="T54" fmla="*/ 31 w 31"/>
                    <a:gd name="T55" fmla="*/ 4 h 54"/>
                    <a:gd name="T56" fmla="*/ 30 w 31"/>
                    <a:gd name="T57" fmla="*/ 5 h 54"/>
                    <a:gd name="T58" fmla="*/ 30 w 31"/>
                    <a:gd name="T59" fmla="*/ 5 h 54"/>
                    <a:gd name="T60" fmla="*/ 30 w 31"/>
                    <a:gd name="T61" fmla="*/ 5 h 54"/>
                    <a:gd name="T62" fmla="*/ 30 w 31"/>
                    <a:gd name="T63" fmla="*/ 6 h 54"/>
                    <a:gd name="T64" fmla="*/ 29 w 31"/>
                    <a:gd name="T65" fmla="*/ 5 h 54"/>
                    <a:gd name="T66" fmla="*/ 29 w 31"/>
                    <a:gd name="T67" fmla="*/ 5 h 54"/>
                    <a:gd name="T68" fmla="*/ 29 w 31"/>
                    <a:gd name="T69" fmla="*/ 5 h 54"/>
                    <a:gd name="T70" fmla="*/ 28 w 31"/>
                    <a:gd name="T71" fmla="*/ 5 h 54"/>
                    <a:gd name="T72" fmla="*/ 28 w 31"/>
                    <a:gd name="T73" fmla="*/ 2 h 54"/>
                    <a:gd name="T74" fmla="*/ 28 w 31"/>
                    <a:gd name="T75" fmla="*/ 2 h 54"/>
                    <a:gd name="T76" fmla="*/ 29 w 31"/>
                    <a:gd name="T77" fmla="*/ 2 h 54"/>
                    <a:gd name="T78" fmla="*/ 29 w 31"/>
                    <a:gd name="T79" fmla="*/ 1 h 54"/>
                    <a:gd name="T80" fmla="*/ 30 w 31"/>
                    <a:gd name="T81" fmla="*/ 0 h 54"/>
                    <a:gd name="T82" fmla="*/ 31 w 31"/>
                    <a:gd name="T83" fmla="*/ 0 h 54"/>
                    <a:gd name="T84" fmla="*/ 31 w 31"/>
                    <a:gd name="T85" fmla="*/ 1 h 54"/>
                    <a:gd name="T86" fmla="*/ 31 w 31"/>
                    <a:gd name="T87" fmla="*/ 1 h 54"/>
                    <a:gd name="T88" fmla="*/ 30 w 31"/>
                    <a:gd name="T89" fmla="*/ 1 h 54"/>
                    <a:gd name="T90" fmla="*/ 31 w 31"/>
                    <a:gd name="T91" fmla="*/ 2 h 54"/>
                    <a:gd name="T92" fmla="*/ 31 w 31"/>
                    <a:gd name="T93" fmla="*/ 2 h 54"/>
                    <a:gd name="T94" fmla="*/ 31 w 31"/>
                    <a:gd name="T95"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 h="54">
                      <a:moveTo>
                        <a:pt x="5" y="51"/>
                      </a:moveTo>
                      <a:lnTo>
                        <a:pt x="4" y="51"/>
                      </a:lnTo>
                      <a:lnTo>
                        <a:pt x="4" y="51"/>
                      </a:lnTo>
                      <a:lnTo>
                        <a:pt x="3" y="53"/>
                      </a:lnTo>
                      <a:lnTo>
                        <a:pt x="3" y="53"/>
                      </a:lnTo>
                      <a:lnTo>
                        <a:pt x="3" y="53"/>
                      </a:lnTo>
                      <a:lnTo>
                        <a:pt x="2" y="54"/>
                      </a:lnTo>
                      <a:lnTo>
                        <a:pt x="2" y="54"/>
                      </a:lnTo>
                      <a:lnTo>
                        <a:pt x="2" y="53"/>
                      </a:lnTo>
                      <a:lnTo>
                        <a:pt x="2" y="53"/>
                      </a:lnTo>
                      <a:lnTo>
                        <a:pt x="2" y="53"/>
                      </a:lnTo>
                      <a:lnTo>
                        <a:pt x="2" y="51"/>
                      </a:lnTo>
                      <a:lnTo>
                        <a:pt x="2" y="51"/>
                      </a:lnTo>
                      <a:lnTo>
                        <a:pt x="2" y="51"/>
                      </a:lnTo>
                      <a:lnTo>
                        <a:pt x="2" y="51"/>
                      </a:lnTo>
                      <a:lnTo>
                        <a:pt x="2" y="51"/>
                      </a:lnTo>
                      <a:lnTo>
                        <a:pt x="2" y="51"/>
                      </a:lnTo>
                      <a:lnTo>
                        <a:pt x="1" y="48"/>
                      </a:lnTo>
                      <a:lnTo>
                        <a:pt x="0" y="47"/>
                      </a:lnTo>
                      <a:lnTo>
                        <a:pt x="1" y="47"/>
                      </a:lnTo>
                      <a:lnTo>
                        <a:pt x="1" y="47"/>
                      </a:lnTo>
                      <a:lnTo>
                        <a:pt x="1" y="46"/>
                      </a:lnTo>
                      <a:lnTo>
                        <a:pt x="1" y="46"/>
                      </a:lnTo>
                      <a:lnTo>
                        <a:pt x="1" y="44"/>
                      </a:lnTo>
                      <a:lnTo>
                        <a:pt x="1" y="44"/>
                      </a:lnTo>
                      <a:lnTo>
                        <a:pt x="1" y="44"/>
                      </a:lnTo>
                      <a:lnTo>
                        <a:pt x="1" y="44"/>
                      </a:lnTo>
                      <a:lnTo>
                        <a:pt x="2" y="43"/>
                      </a:lnTo>
                      <a:lnTo>
                        <a:pt x="3" y="43"/>
                      </a:lnTo>
                      <a:lnTo>
                        <a:pt x="4" y="42"/>
                      </a:lnTo>
                      <a:lnTo>
                        <a:pt x="4" y="42"/>
                      </a:lnTo>
                      <a:lnTo>
                        <a:pt x="5" y="41"/>
                      </a:lnTo>
                      <a:lnTo>
                        <a:pt x="7" y="41"/>
                      </a:lnTo>
                      <a:lnTo>
                        <a:pt x="8" y="42"/>
                      </a:lnTo>
                      <a:lnTo>
                        <a:pt x="9" y="42"/>
                      </a:lnTo>
                      <a:lnTo>
                        <a:pt x="9" y="43"/>
                      </a:lnTo>
                      <a:lnTo>
                        <a:pt x="9" y="44"/>
                      </a:lnTo>
                      <a:lnTo>
                        <a:pt x="10" y="46"/>
                      </a:lnTo>
                      <a:lnTo>
                        <a:pt x="10" y="46"/>
                      </a:lnTo>
                      <a:lnTo>
                        <a:pt x="9" y="46"/>
                      </a:lnTo>
                      <a:lnTo>
                        <a:pt x="9" y="47"/>
                      </a:lnTo>
                      <a:lnTo>
                        <a:pt x="9" y="47"/>
                      </a:lnTo>
                      <a:lnTo>
                        <a:pt x="8" y="48"/>
                      </a:lnTo>
                      <a:lnTo>
                        <a:pt x="8" y="48"/>
                      </a:lnTo>
                      <a:lnTo>
                        <a:pt x="7" y="50"/>
                      </a:lnTo>
                      <a:lnTo>
                        <a:pt x="7" y="50"/>
                      </a:lnTo>
                      <a:lnTo>
                        <a:pt x="7" y="50"/>
                      </a:lnTo>
                      <a:lnTo>
                        <a:pt x="7" y="50"/>
                      </a:lnTo>
                      <a:lnTo>
                        <a:pt x="7" y="50"/>
                      </a:lnTo>
                      <a:lnTo>
                        <a:pt x="7" y="50"/>
                      </a:lnTo>
                      <a:lnTo>
                        <a:pt x="5" y="50"/>
                      </a:lnTo>
                      <a:lnTo>
                        <a:pt x="5" y="51"/>
                      </a:lnTo>
                      <a:lnTo>
                        <a:pt x="5" y="51"/>
                      </a:lnTo>
                      <a:lnTo>
                        <a:pt x="5" y="51"/>
                      </a:lnTo>
                      <a:close/>
                      <a:moveTo>
                        <a:pt x="31" y="2"/>
                      </a:moveTo>
                      <a:lnTo>
                        <a:pt x="31" y="4"/>
                      </a:lnTo>
                      <a:lnTo>
                        <a:pt x="30" y="5"/>
                      </a:lnTo>
                      <a:lnTo>
                        <a:pt x="30" y="5"/>
                      </a:lnTo>
                      <a:lnTo>
                        <a:pt x="30" y="5"/>
                      </a:lnTo>
                      <a:lnTo>
                        <a:pt x="30" y="5"/>
                      </a:lnTo>
                      <a:lnTo>
                        <a:pt x="30" y="5"/>
                      </a:lnTo>
                      <a:lnTo>
                        <a:pt x="30" y="5"/>
                      </a:lnTo>
                      <a:lnTo>
                        <a:pt x="30" y="6"/>
                      </a:lnTo>
                      <a:lnTo>
                        <a:pt x="30" y="6"/>
                      </a:lnTo>
                      <a:lnTo>
                        <a:pt x="30" y="5"/>
                      </a:lnTo>
                      <a:lnTo>
                        <a:pt x="29" y="5"/>
                      </a:lnTo>
                      <a:lnTo>
                        <a:pt x="29" y="5"/>
                      </a:lnTo>
                      <a:lnTo>
                        <a:pt x="29" y="5"/>
                      </a:lnTo>
                      <a:lnTo>
                        <a:pt x="29" y="5"/>
                      </a:lnTo>
                      <a:lnTo>
                        <a:pt x="29" y="5"/>
                      </a:lnTo>
                      <a:lnTo>
                        <a:pt x="28" y="5"/>
                      </a:lnTo>
                      <a:lnTo>
                        <a:pt x="28" y="5"/>
                      </a:lnTo>
                      <a:lnTo>
                        <a:pt x="28" y="4"/>
                      </a:lnTo>
                      <a:lnTo>
                        <a:pt x="28" y="2"/>
                      </a:lnTo>
                      <a:lnTo>
                        <a:pt x="28" y="2"/>
                      </a:lnTo>
                      <a:lnTo>
                        <a:pt x="28" y="2"/>
                      </a:lnTo>
                      <a:lnTo>
                        <a:pt x="29" y="2"/>
                      </a:lnTo>
                      <a:lnTo>
                        <a:pt x="29" y="2"/>
                      </a:lnTo>
                      <a:lnTo>
                        <a:pt x="29" y="1"/>
                      </a:lnTo>
                      <a:lnTo>
                        <a:pt x="29" y="1"/>
                      </a:lnTo>
                      <a:lnTo>
                        <a:pt x="29" y="0"/>
                      </a:lnTo>
                      <a:lnTo>
                        <a:pt x="30" y="0"/>
                      </a:lnTo>
                      <a:lnTo>
                        <a:pt x="30" y="0"/>
                      </a:lnTo>
                      <a:lnTo>
                        <a:pt x="31" y="0"/>
                      </a:lnTo>
                      <a:lnTo>
                        <a:pt x="31" y="0"/>
                      </a:lnTo>
                      <a:lnTo>
                        <a:pt x="31" y="1"/>
                      </a:lnTo>
                      <a:lnTo>
                        <a:pt x="31" y="1"/>
                      </a:lnTo>
                      <a:lnTo>
                        <a:pt x="31" y="1"/>
                      </a:lnTo>
                      <a:lnTo>
                        <a:pt x="31" y="1"/>
                      </a:lnTo>
                      <a:lnTo>
                        <a:pt x="30" y="1"/>
                      </a:lnTo>
                      <a:lnTo>
                        <a:pt x="31" y="2"/>
                      </a:lnTo>
                      <a:lnTo>
                        <a:pt x="31" y="2"/>
                      </a:lnTo>
                      <a:lnTo>
                        <a:pt x="31" y="2"/>
                      </a:lnTo>
                      <a:lnTo>
                        <a:pt x="31" y="2"/>
                      </a:lnTo>
                      <a:lnTo>
                        <a:pt x="31" y="2"/>
                      </a:lnTo>
                      <a:lnTo>
                        <a:pt x="31" y="2"/>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39" name="Freeform 116">
                  <a:extLst>
                    <a:ext uri="{FF2B5EF4-FFF2-40B4-BE49-F238E27FC236}">
                      <a16:creationId xmlns:a16="http://schemas.microsoft.com/office/drawing/2014/main" id="{1893A4C0-6DFC-7180-E50B-BCA0C61C6A53}"/>
                    </a:ext>
                  </a:extLst>
                </p:cNvPr>
                <p:cNvSpPr>
                  <a:spLocks/>
                </p:cNvSpPr>
                <p:nvPr/>
              </p:nvSpPr>
              <p:spPr bwMode="auto">
                <a:xfrm>
                  <a:off x="7281625" y="4701861"/>
                  <a:ext cx="45433" cy="60578"/>
                </a:xfrm>
                <a:custGeom>
                  <a:avLst/>
                  <a:gdLst>
                    <a:gd name="T0" fmla="*/ 37 w 42"/>
                    <a:gd name="T1" fmla="*/ 9 h 56"/>
                    <a:gd name="T2" fmla="*/ 40 w 42"/>
                    <a:gd name="T3" fmla="*/ 10 h 56"/>
                    <a:gd name="T4" fmla="*/ 40 w 42"/>
                    <a:gd name="T5" fmla="*/ 12 h 56"/>
                    <a:gd name="T6" fmla="*/ 40 w 42"/>
                    <a:gd name="T7" fmla="*/ 15 h 56"/>
                    <a:gd name="T8" fmla="*/ 39 w 42"/>
                    <a:gd name="T9" fmla="*/ 18 h 56"/>
                    <a:gd name="T10" fmla="*/ 39 w 42"/>
                    <a:gd name="T11" fmla="*/ 23 h 56"/>
                    <a:gd name="T12" fmla="*/ 42 w 42"/>
                    <a:gd name="T13" fmla="*/ 26 h 56"/>
                    <a:gd name="T14" fmla="*/ 42 w 42"/>
                    <a:gd name="T15" fmla="*/ 38 h 56"/>
                    <a:gd name="T16" fmla="*/ 40 w 42"/>
                    <a:gd name="T17" fmla="*/ 37 h 56"/>
                    <a:gd name="T18" fmla="*/ 38 w 42"/>
                    <a:gd name="T19" fmla="*/ 37 h 56"/>
                    <a:gd name="T20" fmla="*/ 37 w 42"/>
                    <a:gd name="T21" fmla="*/ 42 h 56"/>
                    <a:gd name="T22" fmla="*/ 36 w 42"/>
                    <a:gd name="T23" fmla="*/ 47 h 56"/>
                    <a:gd name="T24" fmla="*/ 36 w 42"/>
                    <a:gd name="T25" fmla="*/ 51 h 56"/>
                    <a:gd name="T26" fmla="*/ 36 w 42"/>
                    <a:gd name="T27" fmla="*/ 53 h 56"/>
                    <a:gd name="T28" fmla="*/ 37 w 42"/>
                    <a:gd name="T29" fmla="*/ 54 h 56"/>
                    <a:gd name="T30" fmla="*/ 37 w 42"/>
                    <a:gd name="T31" fmla="*/ 56 h 56"/>
                    <a:gd name="T32" fmla="*/ 31 w 42"/>
                    <a:gd name="T33" fmla="*/ 54 h 56"/>
                    <a:gd name="T34" fmla="*/ 23 w 42"/>
                    <a:gd name="T35" fmla="*/ 54 h 56"/>
                    <a:gd name="T36" fmla="*/ 17 w 42"/>
                    <a:gd name="T37" fmla="*/ 53 h 56"/>
                    <a:gd name="T38" fmla="*/ 14 w 42"/>
                    <a:gd name="T39" fmla="*/ 52 h 56"/>
                    <a:gd name="T40" fmla="*/ 11 w 42"/>
                    <a:gd name="T41" fmla="*/ 51 h 56"/>
                    <a:gd name="T42" fmla="*/ 9 w 42"/>
                    <a:gd name="T43" fmla="*/ 49 h 56"/>
                    <a:gd name="T44" fmla="*/ 5 w 42"/>
                    <a:gd name="T45" fmla="*/ 44 h 56"/>
                    <a:gd name="T46" fmla="*/ 5 w 42"/>
                    <a:gd name="T47" fmla="*/ 42 h 56"/>
                    <a:gd name="T48" fmla="*/ 5 w 42"/>
                    <a:gd name="T49" fmla="*/ 40 h 56"/>
                    <a:gd name="T50" fmla="*/ 4 w 42"/>
                    <a:gd name="T51" fmla="*/ 38 h 56"/>
                    <a:gd name="T52" fmla="*/ 3 w 42"/>
                    <a:gd name="T53" fmla="*/ 37 h 56"/>
                    <a:gd name="T54" fmla="*/ 2 w 42"/>
                    <a:gd name="T55" fmla="*/ 37 h 56"/>
                    <a:gd name="T56" fmla="*/ 2 w 42"/>
                    <a:gd name="T57" fmla="*/ 37 h 56"/>
                    <a:gd name="T58" fmla="*/ 1 w 42"/>
                    <a:gd name="T59" fmla="*/ 37 h 56"/>
                    <a:gd name="T60" fmla="*/ 0 w 42"/>
                    <a:gd name="T61" fmla="*/ 35 h 56"/>
                    <a:gd name="T62" fmla="*/ 0 w 42"/>
                    <a:gd name="T63" fmla="*/ 25 h 56"/>
                    <a:gd name="T64" fmla="*/ 3 w 42"/>
                    <a:gd name="T65" fmla="*/ 19 h 56"/>
                    <a:gd name="T66" fmla="*/ 5 w 42"/>
                    <a:gd name="T67" fmla="*/ 16 h 56"/>
                    <a:gd name="T68" fmla="*/ 9 w 42"/>
                    <a:gd name="T69" fmla="*/ 9 h 56"/>
                    <a:gd name="T70" fmla="*/ 10 w 42"/>
                    <a:gd name="T71" fmla="*/ 5 h 56"/>
                    <a:gd name="T72" fmla="*/ 16 w 42"/>
                    <a:gd name="T73" fmla="*/ 1 h 56"/>
                    <a:gd name="T74" fmla="*/ 18 w 42"/>
                    <a:gd name="T75" fmla="*/ 0 h 56"/>
                    <a:gd name="T76" fmla="*/ 21 w 42"/>
                    <a:gd name="T77" fmla="*/ 1 h 56"/>
                    <a:gd name="T78" fmla="*/ 26 w 42"/>
                    <a:gd name="T79" fmla="*/ 4 h 56"/>
                    <a:gd name="T80" fmla="*/ 30 w 42"/>
                    <a:gd name="T81" fmla="*/ 7 h 56"/>
                    <a:gd name="T82" fmla="*/ 33 w 42"/>
                    <a:gd name="T83" fmla="*/ 9 h 56"/>
                    <a:gd name="T84" fmla="*/ 37 w 42"/>
                    <a:gd name="T85"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56">
                      <a:moveTo>
                        <a:pt x="37" y="8"/>
                      </a:moveTo>
                      <a:lnTo>
                        <a:pt x="37" y="9"/>
                      </a:lnTo>
                      <a:lnTo>
                        <a:pt x="38" y="9"/>
                      </a:lnTo>
                      <a:lnTo>
                        <a:pt x="40" y="10"/>
                      </a:lnTo>
                      <a:lnTo>
                        <a:pt x="39" y="10"/>
                      </a:lnTo>
                      <a:lnTo>
                        <a:pt x="40" y="12"/>
                      </a:lnTo>
                      <a:lnTo>
                        <a:pt x="40" y="14"/>
                      </a:lnTo>
                      <a:lnTo>
                        <a:pt x="40" y="15"/>
                      </a:lnTo>
                      <a:lnTo>
                        <a:pt x="40" y="15"/>
                      </a:lnTo>
                      <a:lnTo>
                        <a:pt x="39" y="18"/>
                      </a:lnTo>
                      <a:lnTo>
                        <a:pt x="39" y="19"/>
                      </a:lnTo>
                      <a:lnTo>
                        <a:pt x="39" y="23"/>
                      </a:lnTo>
                      <a:lnTo>
                        <a:pt x="39" y="24"/>
                      </a:lnTo>
                      <a:lnTo>
                        <a:pt x="42" y="26"/>
                      </a:lnTo>
                      <a:lnTo>
                        <a:pt x="42" y="30"/>
                      </a:lnTo>
                      <a:lnTo>
                        <a:pt x="42" y="38"/>
                      </a:lnTo>
                      <a:lnTo>
                        <a:pt x="40" y="38"/>
                      </a:lnTo>
                      <a:lnTo>
                        <a:pt x="40" y="37"/>
                      </a:lnTo>
                      <a:lnTo>
                        <a:pt x="39" y="37"/>
                      </a:lnTo>
                      <a:lnTo>
                        <a:pt x="38" y="37"/>
                      </a:lnTo>
                      <a:lnTo>
                        <a:pt x="38" y="38"/>
                      </a:lnTo>
                      <a:lnTo>
                        <a:pt x="37" y="42"/>
                      </a:lnTo>
                      <a:lnTo>
                        <a:pt x="37" y="44"/>
                      </a:lnTo>
                      <a:lnTo>
                        <a:pt x="36" y="47"/>
                      </a:lnTo>
                      <a:lnTo>
                        <a:pt x="36" y="50"/>
                      </a:lnTo>
                      <a:lnTo>
                        <a:pt x="36" y="51"/>
                      </a:lnTo>
                      <a:lnTo>
                        <a:pt x="36" y="53"/>
                      </a:lnTo>
                      <a:lnTo>
                        <a:pt x="36" y="53"/>
                      </a:lnTo>
                      <a:lnTo>
                        <a:pt x="37" y="54"/>
                      </a:lnTo>
                      <a:lnTo>
                        <a:pt x="37" y="54"/>
                      </a:lnTo>
                      <a:lnTo>
                        <a:pt x="37" y="54"/>
                      </a:lnTo>
                      <a:lnTo>
                        <a:pt x="37" y="56"/>
                      </a:lnTo>
                      <a:lnTo>
                        <a:pt x="33" y="56"/>
                      </a:lnTo>
                      <a:lnTo>
                        <a:pt x="31" y="54"/>
                      </a:lnTo>
                      <a:lnTo>
                        <a:pt x="26" y="54"/>
                      </a:lnTo>
                      <a:lnTo>
                        <a:pt x="23" y="54"/>
                      </a:lnTo>
                      <a:lnTo>
                        <a:pt x="21" y="54"/>
                      </a:lnTo>
                      <a:lnTo>
                        <a:pt x="17" y="53"/>
                      </a:lnTo>
                      <a:lnTo>
                        <a:pt x="15" y="52"/>
                      </a:lnTo>
                      <a:lnTo>
                        <a:pt x="14" y="52"/>
                      </a:lnTo>
                      <a:lnTo>
                        <a:pt x="11" y="51"/>
                      </a:lnTo>
                      <a:lnTo>
                        <a:pt x="11" y="51"/>
                      </a:lnTo>
                      <a:lnTo>
                        <a:pt x="10" y="50"/>
                      </a:lnTo>
                      <a:lnTo>
                        <a:pt x="9" y="49"/>
                      </a:lnTo>
                      <a:lnTo>
                        <a:pt x="5" y="45"/>
                      </a:lnTo>
                      <a:lnTo>
                        <a:pt x="5" y="44"/>
                      </a:lnTo>
                      <a:lnTo>
                        <a:pt x="5" y="43"/>
                      </a:lnTo>
                      <a:lnTo>
                        <a:pt x="5" y="42"/>
                      </a:lnTo>
                      <a:lnTo>
                        <a:pt x="5" y="40"/>
                      </a:lnTo>
                      <a:lnTo>
                        <a:pt x="5" y="40"/>
                      </a:lnTo>
                      <a:lnTo>
                        <a:pt x="4" y="39"/>
                      </a:lnTo>
                      <a:lnTo>
                        <a:pt x="4" y="38"/>
                      </a:lnTo>
                      <a:lnTo>
                        <a:pt x="3" y="38"/>
                      </a:lnTo>
                      <a:lnTo>
                        <a:pt x="3" y="37"/>
                      </a:lnTo>
                      <a:lnTo>
                        <a:pt x="3" y="36"/>
                      </a:lnTo>
                      <a:lnTo>
                        <a:pt x="2" y="37"/>
                      </a:lnTo>
                      <a:lnTo>
                        <a:pt x="2" y="37"/>
                      </a:lnTo>
                      <a:lnTo>
                        <a:pt x="2" y="37"/>
                      </a:lnTo>
                      <a:lnTo>
                        <a:pt x="1" y="37"/>
                      </a:lnTo>
                      <a:lnTo>
                        <a:pt x="1" y="37"/>
                      </a:lnTo>
                      <a:lnTo>
                        <a:pt x="0" y="37"/>
                      </a:lnTo>
                      <a:lnTo>
                        <a:pt x="0" y="35"/>
                      </a:lnTo>
                      <a:lnTo>
                        <a:pt x="0" y="29"/>
                      </a:lnTo>
                      <a:lnTo>
                        <a:pt x="0" y="25"/>
                      </a:lnTo>
                      <a:lnTo>
                        <a:pt x="1" y="23"/>
                      </a:lnTo>
                      <a:lnTo>
                        <a:pt x="3" y="19"/>
                      </a:lnTo>
                      <a:lnTo>
                        <a:pt x="3" y="19"/>
                      </a:lnTo>
                      <a:lnTo>
                        <a:pt x="5" y="16"/>
                      </a:lnTo>
                      <a:lnTo>
                        <a:pt x="8" y="12"/>
                      </a:lnTo>
                      <a:lnTo>
                        <a:pt x="9" y="9"/>
                      </a:lnTo>
                      <a:lnTo>
                        <a:pt x="10" y="7"/>
                      </a:lnTo>
                      <a:lnTo>
                        <a:pt x="10" y="5"/>
                      </a:lnTo>
                      <a:lnTo>
                        <a:pt x="14" y="3"/>
                      </a:lnTo>
                      <a:lnTo>
                        <a:pt x="16" y="1"/>
                      </a:lnTo>
                      <a:lnTo>
                        <a:pt x="17" y="1"/>
                      </a:lnTo>
                      <a:lnTo>
                        <a:pt x="18" y="0"/>
                      </a:lnTo>
                      <a:lnTo>
                        <a:pt x="19" y="0"/>
                      </a:lnTo>
                      <a:lnTo>
                        <a:pt x="21" y="1"/>
                      </a:lnTo>
                      <a:lnTo>
                        <a:pt x="23" y="2"/>
                      </a:lnTo>
                      <a:lnTo>
                        <a:pt x="26" y="4"/>
                      </a:lnTo>
                      <a:lnTo>
                        <a:pt x="30" y="7"/>
                      </a:lnTo>
                      <a:lnTo>
                        <a:pt x="30" y="7"/>
                      </a:lnTo>
                      <a:lnTo>
                        <a:pt x="32" y="9"/>
                      </a:lnTo>
                      <a:lnTo>
                        <a:pt x="33" y="9"/>
                      </a:lnTo>
                      <a:lnTo>
                        <a:pt x="35" y="9"/>
                      </a:lnTo>
                      <a:lnTo>
                        <a:pt x="37" y="8"/>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0" name="Freeform 118">
                  <a:extLst>
                    <a:ext uri="{FF2B5EF4-FFF2-40B4-BE49-F238E27FC236}">
                      <a16:creationId xmlns:a16="http://schemas.microsoft.com/office/drawing/2014/main" id="{50AD9FA7-C744-70C3-FDCF-C68836B10D2B}"/>
                    </a:ext>
                  </a:extLst>
                </p:cNvPr>
                <p:cNvSpPr>
                  <a:spLocks/>
                </p:cNvSpPr>
                <p:nvPr/>
              </p:nvSpPr>
              <p:spPr bwMode="auto">
                <a:xfrm>
                  <a:off x="6686672" y="2971092"/>
                  <a:ext cx="364544" cy="572236"/>
                </a:xfrm>
                <a:custGeom>
                  <a:avLst/>
                  <a:gdLst>
                    <a:gd name="T0" fmla="*/ 337 w 337"/>
                    <a:gd name="T1" fmla="*/ 236 h 529"/>
                    <a:gd name="T2" fmla="*/ 309 w 337"/>
                    <a:gd name="T3" fmla="*/ 262 h 529"/>
                    <a:gd name="T4" fmla="*/ 302 w 337"/>
                    <a:gd name="T5" fmla="*/ 280 h 529"/>
                    <a:gd name="T6" fmla="*/ 288 w 337"/>
                    <a:gd name="T7" fmla="*/ 297 h 529"/>
                    <a:gd name="T8" fmla="*/ 291 w 337"/>
                    <a:gd name="T9" fmla="*/ 312 h 529"/>
                    <a:gd name="T10" fmla="*/ 277 w 337"/>
                    <a:gd name="T11" fmla="*/ 328 h 529"/>
                    <a:gd name="T12" fmla="*/ 272 w 337"/>
                    <a:gd name="T13" fmla="*/ 348 h 529"/>
                    <a:gd name="T14" fmla="*/ 279 w 337"/>
                    <a:gd name="T15" fmla="*/ 361 h 529"/>
                    <a:gd name="T16" fmla="*/ 292 w 337"/>
                    <a:gd name="T17" fmla="*/ 381 h 529"/>
                    <a:gd name="T18" fmla="*/ 302 w 337"/>
                    <a:gd name="T19" fmla="*/ 402 h 529"/>
                    <a:gd name="T20" fmla="*/ 295 w 337"/>
                    <a:gd name="T21" fmla="*/ 416 h 529"/>
                    <a:gd name="T22" fmla="*/ 281 w 337"/>
                    <a:gd name="T23" fmla="*/ 418 h 529"/>
                    <a:gd name="T24" fmla="*/ 267 w 337"/>
                    <a:gd name="T25" fmla="*/ 426 h 529"/>
                    <a:gd name="T26" fmla="*/ 263 w 337"/>
                    <a:gd name="T27" fmla="*/ 439 h 529"/>
                    <a:gd name="T28" fmla="*/ 251 w 337"/>
                    <a:gd name="T29" fmla="*/ 448 h 529"/>
                    <a:gd name="T30" fmla="*/ 240 w 337"/>
                    <a:gd name="T31" fmla="*/ 461 h 529"/>
                    <a:gd name="T32" fmla="*/ 228 w 337"/>
                    <a:gd name="T33" fmla="*/ 469 h 529"/>
                    <a:gd name="T34" fmla="*/ 217 w 337"/>
                    <a:gd name="T35" fmla="*/ 474 h 529"/>
                    <a:gd name="T36" fmla="*/ 206 w 337"/>
                    <a:gd name="T37" fmla="*/ 477 h 529"/>
                    <a:gd name="T38" fmla="*/ 190 w 337"/>
                    <a:gd name="T39" fmla="*/ 479 h 529"/>
                    <a:gd name="T40" fmla="*/ 174 w 337"/>
                    <a:gd name="T41" fmla="*/ 484 h 529"/>
                    <a:gd name="T42" fmla="*/ 171 w 337"/>
                    <a:gd name="T43" fmla="*/ 503 h 529"/>
                    <a:gd name="T44" fmla="*/ 135 w 337"/>
                    <a:gd name="T45" fmla="*/ 511 h 529"/>
                    <a:gd name="T46" fmla="*/ 119 w 337"/>
                    <a:gd name="T47" fmla="*/ 521 h 529"/>
                    <a:gd name="T48" fmla="*/ 107 w 337"/>
                    <a:gd name="T49" fmla="*/ 526 h 529"/>
                    <a:gd name="T50" fmla="*/ 98 w 337"/>
                    <a:gd name="T51" fmla="*/ 518 h 529"/>
                    <a:gd name="T52" fmla="*/ 83 w 337"/>
                    <a:gd name="T53" fmla="*/ 525 h 529"/>
                    <a:gd name="T54" fmla="*/ 69 w 337"/>
                    <a:gd name="T55" fmla="*/ 518 h 529"/>
                    <a:gd name="T56" fmla="*/ 50 w 337"/>
                    <a:gd name="T57" fmla="*/ 490 h 529"/>
                    <a:gd name="T58" fmla="*/ 18 w 337"/>
                    <a:gd name="T59" fmla="*/ 460 h 529"/>
                    <a:gd name="T60" fmla="*/ 53 w 337"/>
                    <a:gd name="T61" fmla="*/ 449 h 529"/>
                    <a:gd name="T62" fmla="*/ 60 w 337"/>
                    <a:gd name="T63" fmla="*/ 437 h 529"/>
                    <a:gd name="T64" fmla="*/ 53 w 337"/>
                    <a:gd name="T65" fmla="*/ 420 h 529"/>
                    <a:gd name="T66" fmla="*/ 55 w 337"/>
                    <a:gd name="T67" fmla="*/ 398 h 529"/>
                    <a:gd name="T68" fmla="*/ 53 w 337"/>
                    <a:gd name="T69" fmla="*/ 383 h 529"/>
                    <a:gd name="T70" fmla="*/ 47 w 337"/>
                    <a:gd name="T71" fmla="*/ 377 h 529"/>
                    <a:gd name="T72" fmla="*/ 43 w 337"/>
                    <a:gd name="T73" fmla="*/ 362 h 529"/>
                    <a:gd name="T74" fmla="*/ 34 w 337"/>
                    <a:gd name="T75" fmla="*/ 354 h 529"/>
                    <a:gd name="T76" fmla="*/ 42 w 337"/>
                    <a:gd name="T77" fmla="*/ 348 h 529"/>
                    <a:gd name="T78" fmla="*/ 33 w 337"/>
                    <a:gd name="T79" fmla="*/ 343 h 529"/>
                    <a:gd name="T80" fmla="*/ 28 w 337"/>
                    <a:gd name="T81" fmla="*/ 348 h 529"/>
                    <a:gd name="T82" fmla="*/ 3 w 337"/>
                    <a:gd name="T83" fmla="*/ 315 h 529"/>
                    <a:gd name="T84" fmla="*/ 7 w 337"/>
                    <a:gd name="T85" fmla="*/ 300 h 529"/>
                    <a:gd name="T86" fmla="*/ 13 w 337"/>
                    <a:gd name="T87" fmla="*/ 285 h 529"/>
                    <a:gd name="T88" fmla="*/ 26 w 337"/>
                    <a:gd name="T89" fmla="*/ 266 h 529"/>
                    <a:gd name="T90" fmla="*/ 47 w 337"/>
                    <a:gd name="T91" fmla="*/ 242 h 529"/>
                    <a:gd name="T92" fmla="*/ 66 w 337"/>
                    <a:gd name="T93" fmla="*/ 220 h 529"/>
                    <a:gd name="T94" fmla="*/ 67 w 337"/>
                    <a:gd name="T95" fmla="*/ 198 h 529"/>
                    <a:gd name="T96" fmla="*/ 69 w 337"/>
                    <a:gd name="T97" fmla="*/ 177 h 529"/>
                    <a:gd name="T98" fmla="*/ 70 w 337"/>
                    <a:gd name="T99" fmla="*/ 156 h 529"/>
                    <a:gd name="T100" fmla="*/ 73 w 337"/>
                    <a:gd name="T101" fmla="*/ 133 h 529"/>
                    <a:gd name="T102" fmla="*/ 80 w 337"/>
                    <a:gd name="T103" fmla="*/ 109 h 529"/>
                    <a:gd name="T104" fmla="*/ 67 w 337"/>
                    <a:gd name="T105" fmla="*/ 89 h 529"/>
                    <a:gd name="T106" fmla="*/ 63 w 337"/>
                    <a:gd name="T107" fmla="*/ 76 h 529"/>
                    <a:gd name="T108" fmla="*/ 55 w 337"/>
                    <a:gd name="T109" fmla="*/ 55 h 529"/>
                    <a:gd name="T110" fmla="*/ 50 w 337"/>
                    <a:gd name="T111" fmla="*/ 26 h 529"/>
                    <a:gd name="T112" fmla="*/ 63 w 337"/>
                    <a:gd name="T113" fmla="*/ 9 h 529"/>
                    <a:gd name="T114" fmla="*/ 96 w 337"/>
                    <a:gd name="T115" fmla="*/ 7 h 529"/>
                    <a:gd name="T116" fmla="*/ 151 w 337"/>
                    <a:gd name="T117" fmla="*/ 38 h 529"/>
                    <a:gd name="T118" fmla="*/ 202 w 337"/>
                    <a:gd name="T119" fmla="*/ 65 h 529"/>
                    <a:gd name="T120" fmla="*/ 258 w 337"/>
                    <a:gd name="T121" fmla="*/ 94 h 529"/>
                    <a:gd name="T122" fmla="*/ 312 w 337"/>
                    <a:gd name="T123" fmla="*/ 123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7" h="529">
                      <a:moveTo>
                        <a:pt x="337" y="135"/>
                      </a:moveTo>
                      <a:lnTo>
                        <a:pt x="337" y="143"/>
                      </a:lnTo>
                      <a:lnTo>
                        <a:pt x="337" y="151"/>
                      </a:lnTo>
                      <a:lnTo>
                        <a:pt x="337" y="158"/>
                      </a:lnTo>
                      <a:lnTo>
                        <a:pt x="337" y="166"/>
                      </a:lnTo>
                      <a:lnTo>
                        <a:pt x="337" y="174"/>
                      </a:lnTo>
                      <a:lnTo>
                        <a:pt x="337" y="181"/>
                      </a:lnTo>
                      <a:lnTo>
                        <a:pt x="337" y="189"/>
                      </a:lnTo>
                      <a:lnTo>
                        <a:pt x="337" y="198"/>
                      </a:lnTo>
                      <a:lnTo>
                        <a:pt x="337" y="205"/>
                      </a:lnTo>
                      <a:lnTo>
                        <a:pt x="337" y="213"/>
                      </a:lnTo>
                      <a:lnTo>
                        <a:pt x="337" y="220"/>
                      </a:lnTo>
                      <a:lnTo>
                        <a:pt x="337" y="228"/>
                      </a:lnTo>
                      <a:lnTo>
                        <a:pt x="337" y="236"/>
                      </a:lnTo>
                      <a:lnTo>
                        <a:pt x="337" y="243"/>
                      </a:lnTo>
                      <a:lnTo>
                        <a:pt x="337" y="251"/>
                      </a:lnTo>
                      <a:lnTo>
                        <a:pt x="337" y="258"/>
                      </a:lnTo>
                      <a:lnTo>
                        <a:pt x="337" y="260"/>
                      </a:lnTo>
                      <a:lnTo>
                        <a:pt x="337" y="262"/>
                      </a:lnTo>
                      <a:lnTo>
                        <a:pt x="336" y="262"/>
                      </a:lnTo>
                      <a:lnTo>
                        <a:pt x="332" y="260"/>
                      </a:lnTo>
                      <a:lnTo>
                        <a:pt x="327" y="259"/>
                      </a:lnTo>
                      <a:lnTo>
                        <a:pt x="324" y="259"/>
                      </a:lnTo>
                      <a:lnTo>
                        <a:pt x="322" y="260"/>
                      </a:lnTo>
                      <a:lnTo>
                        <a:pt x="318" y="262"/>
                      </a:lnTo>
                      <a:lnTo>
                        <a:pt x="316" y="262"/>
                      </a:lnTo>
                      <a:lnTo>
                        <a:pt x="311" y="260"/>
                      </a:lnTo>
                      <a:lnTo>
                        <a:pt x="309" y="262"/>
                      </a:lnTo>
                      <a:lnTo>
                        <a:pt x="308" y="262"/>
                      </a:lnTo>
                      <a:lnTo>
                        <a:pt x="305" y="264"/>
                      </a:lnTo>
                      <a:lnTo>
                        <a:pt x="303" y="266"/>
                      </a:lnTo>
                      <a:lnTo>
                        <a:pt x="302" y="266"/>
                      </a:lnTo>
                      <a:lnTo>
                        <a:pt x="302" y="267"/>
                      </a:lnTo>
                      <a:lnTo>
                        <a:pt x="302" y="269"/>
                      </a:lnTo>
                      <a:lnTo>
                        <a:pt x="303" y="270"/>
                      </a:lnTo>
                      <a:lnTo>
                        <a:pt x="304" y="271"/>
                      </a:lnTo>
                      <a:lnTo>
                        <a:pt x="304" y="272"/>
                      </a:lnTo>
                      <a:lnTo>
                        <a:pt x="304" y="273"/>
                      </a:lnTo>
                      <a:lnTo>
                        <a:pt x="304" y="277"/>
                      </a:lnTo>
                      <a:lnTo>
                        <a:pt x="304" y="278"/>
                      </a:lnTo>
                      <a:lnTo>
                        <a:pt x="303" y="280"/>
                      </a:lnTo>
                      <a:lnTo>
                        <a:pt x="302" y="280"/>
                      </a:lnTo>
                      <a:lnTo>
                        <a:pt x="301" y="281"/>
                      </a:lnTo>
                      <a:lnTo>
                        <a:pt x="299" y="281"/>
                      </a:lnTo>
                      <a:lnTo>
                        <a:pt x="297" y="285"/>
                      </a:lnTo>
                      <a:lnTo>
                        <a:pt x="297" y="286"/>
                      </a:lnTo>
                      <a:lnTo>
                        <a:pt x="296" y="286"/>
                      </a:lnTo>
                      <a:lnTo>
                        <a:pt x="296" y="287"/>
                      </a:lnTo>
                      <a:lnTo>
                        <a:pt x="296" y="288"/>
                      </a:lnTo>
                      <a:lnTo>
                        <a:pt x="295" y="290"/>
                      </a:lnTo>
                      <a:lnTo>
                        <a:pt x="294" y="290"/>
                      </a:lnTo>
                      <a:lnTo>
                        <a:pt x="294" y="291"/>
                      </a:lnTo>
                      <a:lnTo>
                        <a:pt x="295" y="292"/>
                      </a:lnTo>
                      <a:lnTo>
                        <a:pt x="295" y="293"/>
                      </a:lnTo>
                      <a:lnTo>
                        <a:pt x="295" y="294"/>
                      </a:lnTo>
                      <a:lnTo>
                        <a:pt x="288" y="297"/>
                      </a:lnTo>
                      <a:lnTo>
                        <a:pt x="287" y="298"/>
                      </a:lnTo>
                      <a:lnTo>
                        <a:pt x="286" y="298"/>
                      </a:lnTo>
                      <a:lnTo>
                        <a:pt x="286" y="299"/>
                      </a:lnTo>
                      <a:lnTo>
                        <a:pt x="286" y="300"/>
                      </a:lnTo>
                      <a:lnTo>
                        <a:pt x="287" y="301"/>
                      </a:lnTo>
                      <a:lnTo>
                        <a:pt x="288" y="305"/>
                      </a:lnTo>
                      <a:lnTo>
                        <a:pt x="288" y="306"/>
                      </a:lnTo>
                      <a:lnTo>
                        <a:pt x="287" y="306"/>
                      </a:lnTo>
                      <a:lnTo>
                        <a:pt x="287" y="307"/>
                      </a:lnTo>
                      <a:lnTo>
                        <a:pt x="287" y="308"/>
                      </a:lnTo>
                      <a:lnTo>
                        <a:pt x="288" y="309"/>
                      </a:lnTo>
                      <a:lnTo>
                        <a:pt x="290" y="309"/>
                      </a:lnTo>
                      <a:lnTo>
                        <a:pt x="290" y="311"/>
                      </a:lnTo>
                      <a:lnTo>
                        <a:pt x="291" y="312"/>
                      </a:lnTo>
                      <a:lnTo>
                        <a:pt x="291" y="313"/>
                      </a:lnTo>
                      <a:lnTo>
                        <a:pt x="290" y="313"/>
                      </a:lnTo>
                      <a:lnTo>
                        <a:pt x="289" y="314"/>
                      </a:lnTo>
                      <a:lnTo>
                        <a:pt x="288" y="314"/>
                      </a:lnTo>
                      <a:lnTo>
                        <a:pt x="287" y="315"/>
                      </a:lnTo>
                      <a:lnTo>
                        <a:pt x="281" y="318"/>
                      </a:lnTo>
                      <a:lnTo>
                        <a:pt x="281" y="319"/>
                      </a:lnTo>
                      <a:lnTo>
                        <a:pt x="280" y="320"/>
                      </a:lnTo>
                      <a:lnTo>
                        <a:pt x="276" y="323"/>
                      </a:lnTo>
                      <a:lnTo>
                        <a:pt x="276" y="325"/>
                      </a:lnTo>
                      <a:lnTo>
                        <a:pt x="276" y="326"/>
                      </a:lnTo>
                      <a:lnTo>
                        <a:pt x="277" y="326"/>
                      </a:lnTo>
                      <a:lnTo>
                        <a:pt x="277" y="327"/>
                      </a:lnTo>
                      <a:lnTo>
                        <a:pt x="277" y="328"/>
                      </a:lnTo>
                      <a:lnTo>
                        <a:pt x="277" y="329"/>
                      </a:lnTo>
                      <a:lnTo>
                        <a:pt x="280" y="330"/>
                      </a:lnTo>
                      <a:lnTo>
                        <a:pt x="280" y="332"/>
                      </a:lnTo>
                      <a:lnTo>
                        <a:pt x="280" y="334"/>
                      </a:lnTo>
                      <a:lnTo>
                        <a:pt x="281" y="335"/>
                      </a:lnTo>
                      <a:lnTo>
                        <a:pt x="282" y="336"/>
                      </a:lnTo>
                      <a:lnTo>
                        <a:pt x="282" y="337"/>
                      </a:lnTo>
                      <a:lnTo>
                        <a:pt x="282" y="339"/>
                      </a:lnTo>
                      <a:lnTo>
                        <a:pt x="281" y="341"/>
                      </a:lnTo>
                      <a:lnTo>
                        <a:pt x="279" y="343"/>
                      </a:lnTo>
                      <a:lnTo>
                        <a:pt x="277" y="344"/>
                      </a:lnTo>
                      <a:lnTo>
                        <a:pt x="274" y="346"/>
                      </a:lnTo>
                      <a:lnTo>
                        <a:pt x="273" y="347"/>
                      </a:lnTo>
                      <a:lnTo>
                        <a:pt x="272" y="348"/>
                      </a:lnTo>
                      <a:lnTo>
                        <a:pt x="269" y="353"/>
                      </a:lnTo>
                      <a:lnTo>
                        <a:pt x="268" y="355"/>
                      </a:lnTo>
                      <a:lnTo>
                        <a:pt x="268" y="356"/>
                      </a:lnTo>
                      <a:lnTo>
                        <a:pt x="267" y="356"/>
                      </a:lnTo>
                      <a:lnTo>
                        <a:pt x="268" y="357"/>
                      </a:lnTo>
                      <a:lnTo>
                        <a:pt x="268" y="358"/>
                      </a:lnTo>
                      <a:lnTo>
                        <a:pt x="269" y="361"/>
                      </a:lnTo>
                      <a:lnTo>
                        <a:pt x="270" y="361"/>
                      </a:lnTo>
                      <a:lnTo>
                        <a:pt x="272" y="362"/>
                      </a:lnTo>
                      <a:lnTo>
                        <a:pt x="273" y="362"/>
                      </a:lnTo>
                      <a:lnTo>
                        <a:pt x="274" y="362"/>
                      </a:lnTo>
                      <a:lnTo>
                        <a:pt x="275" y="362"/>
                      </a:lnTo>
                      <a:lnTo>
                        <a:pt x="277" y="361"/>
                      </a:lnTo>
                      <a:lnTo>
                        <a:pt x="279" y="361"/>
                      </a:lnTo>
                      <a:lnTo>
                        <a:pt x="280" y="360"/>
                      </a:lnTo>
                      <a:lnTo>
                        <a:pt x="280" y="358"/>
                      </a:lnTo>
                      <a:lnTo>
                        <a:pt x="284" y="361"/>
                      </a:lnTo>
                      <a:lnTo>
                        <a:pt x="288" y="362"/>
                      </a:lnTo>
                      <a:lnTo>
                        <a:pt x="287" y="367"/>
                      </a:lnTo>
                      <a:lnTo>
                        <a:pt x="286" y="368"/>
                      </a:lnTo>
                      <a:lnTo>
                        <a:pt x="287" y="369"/>
                      </a:lnTo>
                      <a:lnTo>
                        <a:pt x="289" y="377"/>
                      </a:lnTo>
                      <a:lnTo>
                        <a:pt x="289" y="378"/>
                      </a:lnTo>
                      <a:lnTo>
                        <a:pt x="288" y="382"/>
                      </a:lnTo>
                      <a:lnTo>
                        <a:pt x="289" y="381"/>
                      </a:lnTo>
                      <a:lnTo>
                        <a:pt x="291" y="381"/>
                      </a:lnTo>
                      <a:lnTo>
                        <a:pt x="292" y="379"/>
                      </a:lnTo>
                      <a:lnTo>
                        <a:pt x="292" y="381"/>
                      </a:lnTo>
                      <a:lnTo>
                        <a:pt x="292" y="379"/>
                      </a:lnTo>
                      <a:lnTo>
                        <a:pt x="294" y="381"/>
                      </a:lnTo>
                      <a:lnTo>
                        <a:pt x="292" y="381"/>
                      </a:lnTo>
                      <a:lnTo>
                        <a:pt x="292" y="383"/>
                      </a:lnTo>
                      <a:lnTo>
                        <a:pt x="290" y="392"/>
                      </a:lnTo>
                      <a:lnTo>
                        <a:pt x="291" y="395"/>
                      </a:lnTo>
                      <a:lnTo>
                        <a:pt x="291" y="396"/>
                      </a:lnTo>
                      <a:lnTo>
                        <a:pt x="292" y="397"/>
                      </a:lnTo>
                      <a:lnTo>
                        <a:pt x="294" y="398"/>
                      </a:lnTo>
                      <a:lnTo>
                        <a:pt x="295" y="399"/>
                      </a:lnTo>
                      <a:lnTo>
                        <a:pt x="297" y="399"/>
                      </a:lnTo>
                      <a:lnTo>
                        <a:pt x="298" y="400"/>
                      </a:lnTo>
                      <a:lnTo>
                        <a:pt x="298" y="402"/>
                      </a:lnTo>
                      <a:lnTo>
                        <a:pt x="302" y="402"/>
                      </a:lnTo>
                      <a:lnTo>
                        <a:pt x="303" y="402"/>
                      </a:lnTo>
                      <a:lnTo>
                        <a:pt x="303" y="404"/>
                      </a:lnTo>
                      <a:lnTo>
                        <a:pt x="304" y="406"/>
                      </a:lnTo>
                      <a:lnTo>
                        <a:pt x="304" y="407"/>
                      </a:lnTo>
                      <a:lnTo>
                        <a:pt x="304" y="409"/>
                      </a:lnTo>
                      <a:lnTo>
                        <a:pt x="303" y="410"/>
                      </a:lnTo>
                      <a:lnTo>
                        <a:pt x="303" y="411"/>
                      </a:lnTo>
                      <a:lnTo>
                        <a:pt x="303" y="412"/>
                      </a:lnTo>
                      <a:lnTo>
                        <a:pt x="302" y="413"/>
                      </a:lnTo>
                      <a:lnTo>
                        <a:pt x="301" y="417"/>
                      </a:lnTo>
                      <a:lnTo>
                        <a:pt x="299" y="417"/>
                      </a:lnTo>
                      <a:lnTo>
                        <a:pt x="297" y="417"/>
                      </a:lnTo>
                      <a:lnTo>
                        <a:pt x="296" y="416"/>
                      </a:lnTo>
                      <a:lnTo>
                        <a:pt x="295" y="416"/>
                      </a:lnTo>
                      <a:lnTo>
                        <a:pt x="294" y="416"/>
                      </a:lnTo>
                      <a:lnTo>
                        <a:pt x="292" y="416"/>
                      </a:lnTo>
                      <a:lnTo>
                        <a:pt x="291" y="416"/>
                      </a:lnTo>
                      <a:lnTo>
                        <a:pt x="290" y="416"/>
                      </a:lnTo>
                      <a:lnTo>
                        <a:pt x="290" y="414"/>
                      </a:lnTo>
                      <a:lnTo>
                        <a:pt x="289" y="414"/>
                      </a:lnTo>
                      <a:lnTo>
                        <a:pt x="288" y="414"/>
                      </a:lnTo>
                      <a:lnTo>
                        <a:pt x="287" y="416"/>
                      </a:lnTo>
                      <a:lnTo>
                        <a:pt x="286" y="416"/>
                      </a:lnTo>
                      <a:lnTo>
                        <a:pt x="284" y="417"/>
                      </a:lnTo>
                      <a:lnTo>
                        <a:pt x="283" y="417"/>
                      </a:lnTo>
                      <a:lnTo>
                        <a:pt x="283" y="418"/>
                      </a:lnTo>
                      <a:lnTo>
                        <a:pt x="282" y="418"/>
                      </a:lnTo>
                      <a:lnTo>
                        <a:pt x="281" y="418"/>
                      </a:lnTo>
                      <a:lnTo>
                        <a:pt x="280" y="419"/>
                      </a:lnTo>
                      <a:lnTo>
                        <a:pt x="280" y="420"/>
                      </a:lnTo>
                      <a:lnTo>
                        <a:pt x="279" y="420"/>
                      </a:lnTo>
                      <a:lnTo>
                        <a:pt x="277" y="420"/>
                      </a:lnTo>
                      <a:lnTo>
                        <a:pt x="275" y="420"/>
                      </a:lnTo>
                      <a:lnTo>
                        <a:pt x="274" y="420"/>
                      </a:lnTo>
                      <a:lnTo>
                        <a:pt x="274" y="421"/>
                      </a:lnTo>
                      <a:lnTo>
                        <a:pt x="274" y="423"/>
                      </a:lnTo>
                      <a:lnTo>
                        <a:pt x="272" y="424"/>
                      </a:lnTo>
                      <a:lnTo>
                        <a:pt x="270" y="425"/>
                      </a:lnTo>
                      <a:lnTo>
                        <a:pt x="269" y="425"/>
                      </a:lnTo>
                      <a:lnTo>
                        <a:pt x="268" y="425"/>
                      </a:lnTo>
                      <a:lnTo>
                        <a:pt x="267" y="425"/>
                      </a:lnTo>
                      <a:lnTo>
                        <a:pt x="267" y="426"/>
                      </a:lnTo>
                      <a:lnTo>
                        <a:pt x="266" y="426"/>
                      </a:lnTo>
                      <a:lnTo>
                        <a:pt x="265" y="426"/>
                      </a:lnTo>
                      <a:lnTo>
                        <a:pt x="265" y="427"/>
                      </a:lnTo>
                      <a:lnTo>
                        <a:pt x="265" y="428"/>
                      </a:lnTo>
                      <a:lnTo>
                        <a:pt x="265" y="430"/>
                      </a:lnTo>
                      <a:lnTo>
                        <a:pt x="265" y="431"/>
                      </a:lnTo>
                      <a:lnTo>
                        <a:pt x="265" y="432"/>
                      </a:lnTo>
                      <a:lnTo>
                        <a:pt x="266" y="432"/>
                      </a:lnTo>
                      <a:lnTo>
                        <a:pt x="266" y="433"/>
                      </a:lnTo>
                      <a:lnTo>
                        <a:pt x="265" y="435"/>
                      </a:lnTo>
                      <a:lnTo>
                        <a:pt x="265" y="437"/>
                      </a:lnTo>
                      <a:lnTo>
                        <a:pt x="265" y="438"/>
                      </a:lnTo>
                      <a:lnTo>
                        <a:pt x="263" y="438"/>
                      </a:lnTo>
                      <a:lnTo>
                        <a:pt x="263" y="439"/>
                      </a:lnTo>
                      <a:lnTo>
                        <a:pt x="262" y="439"/>
                      </a:lnTo>
                      <a:lnTo>
                        <a:pt x="262" y="440"/>
                      </a:lnTo>
                      <a:lnTo>
                        <a:pt x="261" y="440"/>
                      </a:lnTo>
                      <a:lnTo>
                        <a:pt x="260" y="440"/>
                      </a:lnTo>
                      <a:lnTo>
                        <a:pt x="259" y="440"/>
                      </a:lnTo>
                      <a:lnTo>
                        <a:pt x="258" y="440"/>
                      </a:lnTo>
                      <a:lnTo>
                        <a:pt x="258" y="441"/>
                      </a:lnTo>
                      <a:lnTo>
                        <a:pt x="255" y="446"/>
                      </a:lnTo>
                      <a:lnTo>
                        <a:pt x="255" y="447"/>
                      </a:lnTo>
                      <a:lnTo>
                        <a:pt x="254" y="448"/>
                      </a:lnTo>
                      <a:lnTo>
                        <a:pt x="253" y="448"/>
                      </a:lnTo>
                      <a:lnTo>
                        <a:pt x="252" y="448"/>
                      </a:lnTo>
                      <a:lnTo>
                        <a:pt x="251" y="447"/>
                      </a:lnTo>
                      <a:lnTo>
                        <a:pt x="251" y="448"/>
                      </a:lnTo>
                      <a:lnTo>
                        <a:pt x="248" y="449"/>
                      </a:lnTo>
                      <a:lnTo>
                        <a:pt x="248" y="451"/>
                      </a:lnTo>
                      <a:lnTo>
                        <a:pt x="246" y="452"/>
                      </a:lnTo>
                      <a:lnTo>
                        <a:pt x="246" y="453"/>
                      </a:lnTo>
                      <a:lnTo>
                        <a:pt x="245" y="454"/>
                      </a:lnTo>
                      <a:lnTo>
                        <a:pt x="244" y="455"/>
                      </a:lnTo>
                      <a:lnTo>
                        <a:pt x="244" y="454"/>
                      </a:lnTo>
                      <a:lnTo>
                        <a:pt x="242" y="455"/>
                      </a:lnTo>
                      <a:lnTo>
                        <a:pt x="241" y="456"/>
                      </a:lnTo>
                      <a:lnTo>
                        <a:pt x="241" y="458"/>
                      </a:lnTo>
                      <a:lnTo>
                        <a:pt x="241" y="459"/>
                      </a:lnTo>
                      <a:lnTo>
                        <a:pt x="241" y="460"/>
                      </a:lnTo>
                      <a:lnTo>
                        <a:pt x="240" y="460"/>
                      </a:lnTo>
                      <a:lnTo>
                        <a:pt x="240" y="461"/>
                      </a:lnTo>
                      <a:lnTo>
                        <a:pt x="239" y="461"/>
                      </a:lnTo>
                      <a:lnTo>
                        <a:pt x="238" y="463"/>
                      </a:lnTo>
                      <a:lnTo>
                        <a:pt x="237" y="463"/>
                      </a:lnTo>
                      <a:lnTo>
                        <a:pt x="237" y="465"/>
                      </a:lnTo>
                      <a:lnTo>
                        <a:pt x="237" y="466"/>
                      </a:lnTo>
                      <a:lnTo>
                        <a:pt x="235" y="466"/>
                      </a:lnTo>
                      <a:lnTo>
                        <a:pt x="234" y="466"/>
                      </a:lnTo>
                      <a:lnTo>
                        <a:pt x="234" y="467"/>
                      </a:lnTo>
                      <a:lnTo>
                        <a:pt x="233" y="467"/>
                      </a:lnTo>
                      <a:lnTo>
                        <a:pt x="232" y="467"/>
                      </a:lnTo>
                      <a:lnTo>
                        <a:pt x="231" y="468"/>
                      </a:lnTo>
                      <a:lnTo>
                        <a:pt x="231" y="469"/>
                      </a:lnTo>
                      <a:lnTo>
                        <a:pt x="230" y="469"/>
                      </a:lnTo>
                      <a:lnTo>
                        <a:pt x="228" y="469"/>
                      </a:lnTo>
                      <a:lnTo>
                        <a:pt x="227" y="469"/>
                      </a:lnTo>
                      <a:lnTo>
                        <a:pt x="227" y="470"/>
                      </a:lnTo>
                      <a:lnTo>
                        <a:pt x="226" y="470"/>
                      </a:lnTo>
                      <a:lnTo>
                        <a:pt x="226" y="472"/>
                      </a:lnTo>
                      <a:lnTo>
                        <a:pt x="226" y="473"/>
                      </a:lnTo>
                      <a:lnTo>
                        <a:pt x="225" y="473"/>
                      </a:lnTo>
                      <a:lnTo>
                        <a:pt x="225" y="474"/>
                      </a:lnTo>
                      <a:lnTo>
                        <a:pt x="224" y="475"/>
                      </a:lnTo>
                      <a:lnTo>
                        <a:pt x="223" y="475"/>
                      </a:lnTo>
                      <a:lnTo>
                        <a:pt x="222" y="475"/>
                      </a:lnTo>
                      <a:lnTo>
                        <a:pt x="219" y="475"/>
                      </a:lnTo>
                      <a:lnTo>
                        <a:pt x="218" y="475"/>
                      </a:lnTo>
                      <a:lnTo>
                        <a:pt x="217" y="475"/>
                      </a:lnTo>
                      <a:lnTo>
                        <a:pt x="217" y="474"/>
                      </a:lnTo>
                      <a:lnTo>
                        <a:pt x="217" y="475"/>
                      </a:lnTo>
                      <a:lnTo>
                        <a:pt x="216" y="475"/>
                      </a:lnTo>
                      <a:lnTo>
                        <a:pt x="215" y="475"/>
                      </a:lnTo>
                      <a:lnTo>
                        <a:pt x="213" y="474"/>
                      </a:lnTo>
                      <a:lnTo>
                        <a:pt x="213" y="475"/>
                      </a:lnTo>
                      <a:lnTo>
                        <a:pt x="212" y="475"/>
                      </a:lnTo>
                      <a:lnTo>
                        <a:pt x="211" y="475"/>
                      </a:lnTo>
                      <a:lnTo>
                        <a:pt x="211" y="476"/>
                      </a:lnTo>
                      <a:lnTo>
                        <a:pt x="210" y="475"/>
                      </a:lnTo>
                      <a:lnTo>
                        <a:pt x="210" y="476"/>
                      </a:lnTo>
                      <a:lnTo>
                        <a:pt x="209" y="476"/>
                      </a:lnTo>
                      <a:lnTo>
                        <a:pt x="209" y="477"/>
                      </a:lnTo>
                      <a:lnTo>
                        <a:pt x="208" y="477"/>
                      </a:lnTo>
                      <a:lnTo>
                        <a:pt x="206" y="477"/>
                      </a:lnTo>
                      <a:lnTo>
                        <a:pt x="204" y="477"/>
                      </a:lnTo>
                      <a:lnTo>
                        <a:pt x="203" y="477"/>
                      </a:lnTo>
                      <a:lnTo>
                        <a:pt x="202" y="477"/>
                      </a:lnTo>
                      <a:lnTo>
                        <a:pt x="201" y="479"/>
                      </a:lnTo>
                      <a:lnTo>
                        <a:pt x="199" y="479"/>
                      </a:lnTo>
                      <a:lnTo>
                        <a:pt x="198" y="479"/>
                      </a:lnTo>
                      <a:lnTo>
                        <a:pt x="197" y="479"/>
                      </a:lnTo>
                      <a:lnTo>
                        <a:pt x="196" y="479"/>
                      </a:lnTo>
                      <a:lnTo>
                        <a:pt x="195" y="479"/>
                      </a:lnTo>
                      <a:lnTo>
                        <a:pt x="192" y="479"/>
                      </a:lnTo>
                      <a:lnTo>
                        <a:pt x="191" y="479"/>
                      </a:lnTo>
                      <a:lnTo>
                        <a:pt x="190" y="479"/>
                      </a:lnTo>
                      <a:lnTo>
                        <a:pt x="190" y="480"/>
                      </a:lnTo>
                      <a:lnTo>
                        <a:pt x="190" y="479"/>
                      </a:lnTo>
                      <a:lnTo>
                        <a:pt x="189" y="479"/>
                      </a:lnTo>
                      <a:lnTo>
                        <a:pt x="188" y="479"/>
                      </a:lnTo>
                      <a:lnTo>
                        <a:pt x="187" y="479"/>
                      </a:lnTo>
                      <a:lnTo>
                        <a:pt x="185" y="479"/>
                      </a:lnTo>
                      <a:lnTo>
                        <a:pt x="184" y="479"/>
                      </a:lnTo>
                      <a:lnTo>
                        <a:pt x="183" y="479"/>
                      </a:lnTo>
                      <a:lnTo>
                        <a:pt x="182" y="479"/>
                      </a:lnTo>
                      <a:lnTo>
                        <a:pt x="181" y="479"/>
                      </a:lnTo>
                      <a:lnTo>
                        <a:pt x="178" y="480"/>
                      </a:lnTo>
                      <a:lnTo>
                        <a:pt x="177" y="481"/>
                      </a:lnTo>
                      <a:lnTo>
                        <a:pt x="176" y="482"/>
                      </a:lnTo>
                      <a:lnTo>
                        <a:pt x="175" y="482"/>
                      </a:lnTo>
                      <a:lnTo>
                        <a:pt x="174" y="483"/>
                      </a:lnTo>
                      <a:lnTo>
                        <a:pt x="174" y="484"/>
                      </a:lnTo>
                      <a:lnTo>
                        <a:pt x="175" y="484"/>
                      </a:lnTo>
                      <a:lnTo>
                        <a:pt x="176" y="486"/>
                      </a:lnTo>
                      <a:lnTo>
                        <a:pt x="180" y="488"/>
                      </a:lnTo>
                      <a:lnTo>
                        <a:pt x="181" y="488"/>
                      </a:lnTo>
                      <a:lnTo>
                        <a:pt x="182" y="489"/>
                      </a:lnTo>
                      <a:lnTo>
                        <a:pt x="181" y="490"/>
                      </a:lnTo>
                      <a:lnTo>
                        <a:pt x="181" y="491"/>
                      </a:lnTo>
                      <a:lnTo>
                        <a:pt x="178" y="494"/>
                      </a:lnTo>
                      <a:lnTo>
                        <a:pt x="176" y="497"/>
                      </a:lnTo>
                      <a:lnTo>
                        <a:pt x="175" y="498"/>
                      </a:lnTo>
                      <a:lnTo>
                        <a:pt x="175" y="500"/>
                      </a:lnTo>
                      <a:lnTo>
                        <a:pt x="174" y="501"/>
                      </a:lnTo>
                      <a:lnTo>
                        <a:pt x="173" y="502"/>
                      </a:lnTo>
                      <a:lnTo>
                        <a:pt x="171" y="503"/>
                      </a:lnTo>
                      <a:lnTo>
                        <a:pt x="169" y="504"/>
                      </a:lnTo>
                      <a:lnTo>
                        <a:pt x="168" y="504"/>
                      </a:lnTo>
                      <a:lnTo>
                        <a:pt x="167" y="505"/>
                      </a:lnTo>
                      <a:lnTo>
                        <a:pt x="167" y="507"/>
                      </a:lnTo>
                      <a:lnTo>
                        <a:pt x="167" y="509"/>
                      </a:lnTo>
                      <a:lnTo>
                        <a:pt x="166" y="510"/>
                      </a:lnTo>
                      <a:lnTo>
                        <a:pt x="163" y="510"/>
                      </a:lnTo>
                      <a:lnTo>
                        <a:pt x="149" y="511"/>
                      </a:lnTo>
                      <a:lnTo>
                        <a:pt x="146" y="511"/>
                      </a:lnTo>
                      <a:lnTo>
                        <a:pt x="144" y="512"/>
                      </a:lnTo>
                      <a:lnTo>
                        <a:pt x="142" y="512"/>
                      </a:lnTo>
                      <a:lnTo>
                        <a:pt x="141" y="512"/>
                      </a:lnTo>
                      <a:lnTo>
                        <a:pt x="137" y="512"/>
                      </a:lnTo>
                      <a:lnTo>
                        <a:pt x="135" y="511"/>
                      </a:lnTo>
                      <a:lnTo>
                        <a:pt x="135" y="512"/>
                      </a:lnTo>
                      <a:lnTo>
                        <a:pt x="134" y="512"/>
                      </a:lnTo>
                      <a:lnTo>
                        <a:pt x="133" y="514"/>
                      </a:lnTo>
                      <a:lnTo>
                        <a:pt x="132" y="514"/>
                      </a:lnTo>
                      <a:lnTo>
                        <a:pt x="131" y="514"/>
                      </a:lnTo>
                      <a:lnTo>
                        <a:pt x="130" y="515"/>
                      </a:lnTo>
                      <a:lnTo>
                        <a:pt x="128" y="515"/>
                      </a:lnTo>
                      <a:lnTo>
                        <a:pt x="127" y="515"/>
                      </a:lnTo>
                      <a:lnTo>
                        <a:pt x="127" y="516"/>
                      </a:lnTo>
                      <a:lnTo>
                        <a:pt x="123" y="517"/>
                      </a:lnTo>
                      <a:lnTo>
                        <a:pt x="121" y="518"/>
                      </a:lnTo>
                      <a:lnTo>
                        <a:pt x="121" y="519"/>
                      </a:lnTo>
                      <a:lnTo>
                        <a:pt x="120" y="519"/>
                      </a:lnTo>
                      <a:lnTo>
                        <a:pt x="119" y="521"/>
                      </a:lnTo>
                      <a:lnTo>
                        <a:pt x="119" y="522"/>
                      </a:lnTo>
                      <a:lnTo>
                        <a:pt x="118" y="522"/>
                      </a:lnTo>
                      <a:lnTo>
                        <a:pt x="117" y="521"/>
                      </a:lnTo>
                      <a:lnTo>
                        <a:pt x="117" y="522"/>
                      </a:lnTo>
                      <a:lnTo>
                        <a:pt x="116" y="522"/>
                      </a:lnTo>
                      <a:lnTo>
                        <a:pt x="114" y="522"/>
                      </a:lnTo>
                      <a:lnTo>
                        <a:pt x="114" y="523"/>
                      </a:lnTo>
                      <a:lnTo>
                        <a:pt x="113" y="523"/>
                      </a:lnTo>
                      <a:lnTo>
                        <a:pt x="112" y="523"/>
                      </a:lnTo>
                      <a:lnTo>
                        <a:pt x="111" y="523"/>
                      </a:lnTo>
                      <a:lnTo>
                        <a:pt x="110" y="524"/>
                      </a:lnTo>
                      <a:lnTo>
                        <a:pt x="110" y="525"/>
                      </a:lnTo>
                      <a:lnTo>
                        <a:pt x="109" y="526"/>
                      </a:lnTo>
                      <a:lnTo>
                        <a:pt x="107" y="526"/>
                      </a:lnTo>
                      <a:lnTo>
                        <a:pt x="106" y="525"/>
                      </a:lnTo>
                      <a:lnTo>
                        <a:pt x="105" y="523"/>
                      </a:lnTo>
                      <a:lnTo>
                        <a:pt x="104" y="523"/>
                      </a:lnTo>
                      <a:lnTo>
                        <a:pt x="103" y="522"/>
                      </a:lnTo>
                      <a:lnTo>
                        <a:pt x="103" y="521"/>
                      </a:lnTo>
                      <a:lnTo>
                        <a:pt x="103" y="519"/>
                      </a:lnTo>
                      <a:lnTo>
                        <a:pt x="102" y="519"/>
                      </a:lnTo>
                      <a:lnTo>
                        <a:pt x="100" y="518"/>
                      </a:lnTo>
                      <a:lnTo>
                        <a:pt x="100" y="517"/>
                      </a:lnTo>
                      <a:lnTo>
                        <a:pt x="100" y="516"/>
                      </a:lnTo>
                      <a:lnTo>
                        <a:pt x="99" y="516"/>
                      </a:lnTo>
                      <a:lnTo>
                        <a:pt x="98" y="516"/>
                      </a:lnTo>
                      <a:lnTo>
                        <a:pt x="98" y="517"/>
                      </a:lnTo>
                      <a:lnTo>
                        <a:pt x="98" y="518"/>
                      </a:lnTo>
                      <a:lnTo>
                        <a:pt x="97" y="518"/>
                      </a:lnTo>
                      <a:lnTo>
                        <a:pt x="96" y="518"/>
                      </a:lnTo>
                      <a:lnTo>
                        <a:pt x="96" y="519"/>
                      </a:lnTo>
                      <a:lnTo>
                        <a:pt x="96" y="522"/>
                      </a:lnTo>
                      <a:lnTo>
                        <a:pt x="95" y="522"/>
                      </a:lnTo>
                      <a:lnTo>
                        <a:pt x="92" y="523"/>
                      </a:lnTo>
                      <a:lnTo>
                        <a:pt x="91" y="523"/>
                      </a:lnTo>
                      <a:lnTo>
                        <a:pt x="90" y="523"/>
                      </a:lnTo>
                      <a:lnTo>
                        <a:pt x="90" y="524"/>
                      </a:lnTo>
                      <a:lnTo>
                        <a:pt x="89" y="524"/>
                      </a:lnTo>
                      <a:lnTo>
                        <a:pt x="88" y="524"/>
                      </a:lnTo>
                      <a:lnTo>
                        <a:pt x="85" y="524"/>
                      </a:lnTo>
                      <a:lnTo>
                        <a:pt x="84" y="525"/>
                      </a:lnTo>
                      <a:lnTo>
                        <a:pt x="83" y="525"/>
                      </a:lnTo>
                      <a:lnTo>
                        <a:pt x="83" y="526"/>
                      </a:lnTo>
                      <a:lnTo>
                        <a:pt x="82" y="528"/>
                      </a:lnTo>
                      <a:lnTo>
                        <a:pt x="81" y="528"/>
                      </a:lnTo>
                      <a:lnTo>
                        <a:pt x="76" y="529"/>
                      </a:lnTo>
                      <a:lnTo>
                        <a:pt x="74" y="529"/>
                      </a:lnTo>
                      <a:lnTo>
                        <a:pt x="73" y="528"/>
                      </a:lnTo>
                      <a:lnTo>
                        <a:pt x="71" y="526"/>
                      </a:lnTo>
                      <a:lnTo>
                        <a:pt x="69" y="528"/>
                      </a:lnTo>
                      <a:lnTo>
                        <a:pt x="68" y="528"/>
                      </a:lnTo>
                      <a:lnTo>
                        <a:pt x="67" y="526"/>
                      </a:lnTo>
                      <a:lnTo>
                        <a:pt x="68" y="525"/>
                      </a:lnTo>
                      <a:lnTo>
                        <a:pt x="69" y="523"/>
                      </a:lnTo>
                      <a:lnTo>
                        <a:pt x="69" y="522"/>
                      </a:lnTo>
                      <a:lnTo>
                        <a:pt x="69" y="518"/>
                      </a:lnTo>
                      <a:lnTo>
                        <a:pt x="68" y="518"/>
                      </a:lnTo>
                      <a:lnTo>
                        <a:pt x="67" y="518"/>
                      </a:lnTo>
                      <a:lnTo>
                        <a:pt x="66" y="517"/>
                      </a:lnTo>
                      <a:lnTo>
                        <a:pt x="64" y="514"/>
                      </a:lnTo>
                      <a:lnTo>
                        <a:pt x="62" y="508"/>
                      </a:lnTo>
                      <a:lnTo>
                        <a:pt x="57" y="498"/>
                      </a:lnTo>
                      <a:lnTo>
                        <a:pt x="57" y="496"/>
                      </a:lnTo>
                      <a:lnTo>
                        <a:pt x="56" y="496"/>
                      </a:lnTo>
                      <a:lnTo>
                        <a:pt x="55" y="494"/>
                      </a:lnTo>
                      <a:lnTo>
                        <a:pt x="54" y="491"/>
                      </a:lnTo>
                      <a:lnTo>
                        <a:pt x="53" y="491"/>
                      </a:lnTo>
                      <a:lnTo>
                        <a:pt x="53" y="490"/>
                      </a:lnTo>
                      <a:lnTo>
                        <a:pt x="52" y="490"/>
                      </a:lnTo>
                      <a:lnTo>
                        <a:pt x="50" y="490"/>
                      </a:lnTo>
                      <a:lnTo>
                        <a:pt x="49" y="490"/>
                      </a:lnTo>
                      <a:lnTo>
                        <a:pt x="49" y="489"/>
                      </a:lnTo>
                      <a:lnTo>
                        <a:pt x="49" y="488"/>
                      </a:lnTo>
                      <a:lnTo>
                        <a:pt x="48" y="488"/>
                      </a:lnTo>
                      <a:lnTo>
                        <a:pt x="48" y="487"/>
                      </a:lnTo>
                      <a:lnTo>
                        <a:pt x="47" y="486"/>
                      </a:lnTo>
                      <a:lnTo>
                        <a:pt x="46" y="486"/>
                      </a:lnTo>
                      <a:lnTo>
                        <a:pt x="45" y="486"/>
                      </a:lnTo>
                      <a:lnTo>
                        <a:pt x="38" y="480"/>
                      </a:lnTo>
                      <a:lnTo>
                        <a:pt x="31" y="474"/>
                      </a:lnTo>
                      <a:lnTo>
                        <a:pt x="30" y="474"/>
                      </a:lnTo>
                      <a:lnTo>
                        <a:pt x="30" y="472"/>
                      </a:lnTo>
                      <a:lnTo>
                        <a:pt x="20" y="461"/>
                      </a:lnTo>
                      <a:lnTo>
                        <a:pt x="18" y="460"/>
                      </a:lnTo>
                      <a:lnTo>
                        <a:pt x="18" y="459"/>
                      </a:lnTo>
                      <a:lnTo>
                        <a:pt x="19" y="456"/>
                      </a:lnTo>
                      <a:lnTo>
                        <a:pt x="23" y="454"/>
                      </a:lnTo>
                      <a:lnTo>
                        <a:pt x="23" y="453"/>
                      </a:lnTo>
                      <a:lnTo>
                        <a:pt x="25" y="449"/>
                      </a:lnTo>
                      <a:lnTo>
                        <a:pt x="25" y="448"/>
                      </a:lnTo>
                      <a:lnTo>
                        <a:pt x="26" y="448"/>
                      </a:lnTo>
                      <a:lnTo>
                        <a:pt x="33" y="448"/>
                      </a:lnTo>
                      <a:lnTo>
                        <a:pt x="42" y="451"/>
                      </a:lnTo>
                      <a:lnTo>
                        <a:pt x="43" y="451"/>
                      </a:lnTo>
                      <a:lnTo>
                        <a:pt x="48" y="449"/>
                      </a:lnTo>
                      <a:lnTo>
                        <a:pt x="49" y="449"/>
                      </a:lnTo>
                      <a:lnTo>
                        <a:pt x="52" y="449"/>
                      </a:lnTo>
                      <a:lnTo>
                        <a:pt x="53" y="449"/>
                      </a:lnTo>
                      <a:lnTo>
                        <a:pt x="54" y="448"/>
                      </a:lnTo>
                      <a:lnTo>
                        <a:pt x="56" y="448"/>
                      </a:lnTo>
                      <a:lnTo>
                        <a:pt x="57" y="448"/>
                      </a:lnTo>
                      <a:lnTo>
                        <a:pt x="63" y="449"/>
                      </a:lnTo>
                      <a:lnTo>
                        <a:pt x="64" y="449"/>
                      </a:lnTo>
                      <a:lnTo>
                        <a:pt x="73" y="448"/>
                      </a:lnTo>
                      <a:lnTo>
                        <a:pt x="71" y="447"/>
                      </a:lnTo>
                      <a:lnTo>
                        <a:pt x="70" y="446"/>
                      </a:lnTo>
                      <a:lnTo>
                        <a:pt x="68" y="445"/>
                      </a:lnTo>
                      <a:lnTo>
                        <a:pt x="67" y="444"/>
                      </a:lnTo>
                      <a:lnTo>
                        <a:pt x="66" y="444"/>
                      </a:lnTo>
                      <a:lnTo>
                        <a:pt x="64" y="441"/>
                      </a:lnTo>
                      <a:lnTo>
                        <a:pt x="61" y="438"/>
                      </a:lnTo>
                      <a:lnTo>
                        <a:pt x="60" y="437"/>
                      </a:lnTo>
                      <a:lnTo>
                        <a:pt x="60" y="435"/>
                      </a:lnTo>
                      <a:lnTo>
                        <a:pt x="60" y="434"/>
                      </a:lnTo>
                      <a:lnTo>
                        <a:pt x="59" y="434"/>
                      </a:lnTo>
                      <a:lnTo>
                        <a:pt x="59" y="433"/>
                      </a:lnTo>
                      <a:lnTo>
                        <a:pt x="59" y="432"/>
                      </a:lnTo>
                      <a:lnTo>
                        <a:pt x="57" y="432"/>
                      </a:lnTo>
                      <a:lnTo>
                        <a:pt x="57" y="431"/>
                      </a:lnTo>
                      <a:lnTo>
                        <a:pt x="56" y="431"/>
                      </a:lnTo>
                      <a:lnTo>
                        <a:pt x="55" y="431"/>
                      </a:lnTo>
                      <a:lnTo>
                        <a:pt x="55" y="430"/>
                      </a:lnTo>
                      <a:lnTo>
                        <a:pt x="55" y="428"/>
                      </a:lnTo>
                      <a:lnTo>
                        <a:pt x="55" y="427"/>
                      </a:lnTo>
                      <a:lnTo>
                        <a:pt x="53" y="423"/>
                      </a:lnTo>
                      <a:lnTo>
                        <a:pt x="53" y="420"/>
                      </a:lnTo>
                      <a:lnTo>
                        <a:pt x="53" y="419"/>
                      </a:lnTo>
                      <a:lnTo>
                        <a:pt x="54" y="419"/>
                      </a:lnTo>
                      <a:lnTo>
                        <a:pt x="53" y="418"/>
                      </a:lnTo>
                      <a:lnTo>
                        <a:pt x="52" y="416"/>
                      </a:lnTo>
                      <a:lnTo>
                        <a:pt x="52" y="413"/>
                      </a:lnTo>
                      <a:lnTo>
                        <a:pt x="52" y="410"/>
                      </a:lnTo>
                      <a:lnTo>
                        <a:pt x="52" y="407"/>
                      </a:lnTo>
                      <a:lnTo>
                        <a:pt x="53" y="406"/>
                      </a:lnTo>
                      <a:lnTo>
                        <a:pt x="53" y="405"/>
                      </a:lnTo>
                      <a:lnTo>
                        <a:pt x="53" y="404"/>
                      </a:lnTo>
                      <a:lnTo>
                        <a:pt x="53" y="402"/>
                      </a:lnTo>
                      <a:lnTo>
                        <a:pt x="53" y="400"/>
                      </a:lnTo>
                      <a:lnTo>
                        <a:pt x="55" y="399"/>
                      </a:lnTo>
                      <a:lnTo>
                        <a:pt x="55" y="398"/>
                      </a:lnTo>
                      <a:lnTo>
                        <a:pt x="55" y="397"/>
                      </a:lnTo>
                      <a:lnTo>
                        <a:pt x="54" y="396"/>
                      </a:lnTo>
                      <a:lnTo>
                        <a:pt x="53" y="393"/>
                      </a:lnTo>
                      <a:lnTo>
                        <a:pt x="53" y="392"/>
                      </a:lnTo>
                      <a:lnTo>
                        <a:pt x="54" y="392"/>
                      </a:lnTo>
                      <a:lnTo>
                        <a:pt x="54" y="391"/>
                      </a:lnTo>
                      <a:lnTo>
                        <a:pt x="54" y="390"/>
                      </a:lnTo>
                      <a:lnTo>
                        <a:pt x="54" y="388"/>
                      </a:lnTo>
                      <a:lnTo>
                        <a:pt x="53" y="388"/>
                      </a:lnTo>
                      <a:lnTo>
                        <a:pt x="52" y="386"/>
                      </a:lnTo>
                      <a:lnTo>
                        <a:pt x="53" y="386"/>
                      </a:lnTo>
                      <a:lnTo>
                        <a:pt x="53" y="385"/>
                      </a:lnTo>
                      <a:lnTo>
                        <a:pt x="53" y="384"/>
                      </a:lnTo>
                      <a:lnTo>
                        <a:pt x="53" y="383"/>
                      </a:lnTo>
                      <a:lnTo>
                        <a:pt x="53" y="382"/>
                      </a:lnTo>
                      <a:lnTo>
                        <a:pt x="52" y="382"/>
                      </a:lnTo>
                      <a:lnTo>
                        <a:pt x="52" y="381"/>
                      </a:lnTo>
                      <a:lnTo>
                        <a:pt x="53" y="381"/>
                      </a:lnTo>
                      <a:lnTo>
                        <a:pt x="52" y="379"/>
                      </a:lnTo>
                      <a:lnTo>
                        <a:pt x="50" y="379"/>
                      </a:lnTo>
                      <a:lnTo>
                        <a:pt x="49" y="381"/>
                      </a:lnTo>
                      <a:lnTo>
                        <a:pt x="49" y="379"/>
                      </a:lnTo>
                      <a:lnTo>
                        <a:pt x="48" y="379"/>
                      </a:lnTo>
                      <a:lnTo>
                        <a:pt x="48" y="378"/>
                      </a:lnTo>
                      <a:lnTo>
                        <a:pt x="47" y="378"/>
                      </a:lnTo>
                      <a:lnTo>
                        <a:pt x="47" y="377"/>
                      </a:lnTo>
                      <a:lnTo>
                        <a:pt x="48" y="377"/>
                      </a:lnTo>
                      <a:lnTo>
                        <a:pt x="47" y="377"/>
                      </a:lnTo>
                      <a:lnTo>
                        <a:pt x="47" y="376"/>
                      </a:lnTo>
                      <a:lnTo>
                        <a:pt x="48" y="376"/>
                      </a:lnTo>
                      <a:lnTo>
                        <a:pt x="48" y="375"/>
                      </a:lnTo>
                      <a:lnTo>
                        <a:pt x="48" y="372"/>
                      </a:lnTo>
                      <a:lnTo>
                        <a:pt x="47" y="370"/>
                      </a:lnTo>
                      <a:lnTo>
                        <a:pt x="47" y="369"/>
                      </a:lnTo>
                      <a:lnTo>
                        <a:pt x="46" y="368"/>
                      </a:lnTo>
                      <a:lnTo>
                        <a:pt x="46" y="369"/>
                      </a:lnTo>
                      <a:lnTo>
                        <a:pt x="46" y="368"/>
                      </a:lnTo>
                      <a:lnTo>
                        <a:pt x="46" y="367"/>
                      </a:lnTo>
                      <a:lnTo>
                        <a:pt x="46" y="363"/>
                      </a:lnTo>
                      <a:lnTo>
                        <a:pt x="45" y="362"/>
                      </a:lnTo>
                      <a:lnTo>
                        <a:pt x="43" y="363"/>
                      </a:lnTo>
                      <a:lnTo>
                        <a:pt x="43" y="362"/>
                      </a:lnTo>
                      <a:lnTo>
                        <a:pt x="42" y="361"/>
                      </a:lnTo>
                      <a:lnTo>
                        <a:pt x="41" y="362"/>
                      </a:lnTo>
                      <a:lnTo>
                        <a:pt x="41" y="361"/>
                      </a:lnTo>
                      <a:lnTo>
                        <a:pt x="41" y="360"/>
                      </a:lnTo>
                      <a:lnTo>
                        <a:pt x="40" y="360"/>
                      </a:lnTo>
                      <a:lnTo>
                        <a:pt x="39" y="360"/>
                      </a:lnTo>
                      <a:lnTo>
                        <a:pt x="39" y="358"/>
                      </a:lnTo>
                      <a:lnTo>
                        <a:pt x="38" y="358"/>
                      </a:lnTo>
                      <a:lnTo>
                        <a:pt x="36" y="358"/>
                      </a:lnTo>
                      <a:lnTo>
                        <a:pt x="36" y="357"/>
                      </a:lnTo>
                      <a:lnTo>
                        <a:pt x="36" y="356"/>
                      </a:lnTo>
                      <a:lnTo>
                        <a:pt x="35" y="356"/>
                      </a:lnTo>
                      <a:lnTo>
                        <a:pt x="34" y="355"/>
                      </a:lnTo>
                      <a:lnTo>
                        <a:pt x="34" y="354"/>
                      </a:lnTo>
                      <a:lnTo>
                        <a:pt x="35" y="353"/>
                      </a:lnTo>
                      <a:lnTo>
                        <a:pt x="35" y="351"/>
                      </a:lnTo>
                      <a:lnTo>
                        <a:pt x="34" y="351"/>
                      </a:lnTo>
                      <a:lnTo>
                        <a:pt x="35" y="351"/>
                      </a:lnTo>
                      <a:lnTo>
                        <a:pt x="36" y="351"/>
                      </a:lnTo>
                      <a:lnTo>
                        <a:pt x="38" y="351"/>
                      </a:lnTo>
                      <a:lnTo>
                        <a:pt x="38" y="350"/>
                      </a:lnTo>
                      <a:lnTo>
                        <a:pt x="39" y="351"/>
                      </a:lnTo>
                      <a:lnTo>
                        <a:pt x="40" y="351"/>
                      </a:lnTo>
                      <a:lnTo>
                        <a:pt x="40" y="350"/>
                      </a:lnTo>
                      <a:lnTo>
                        <a:pt x="41" y="350"/>
                      </a:lnTo>
                      <a:lnTo>
                        <a:pt x="41" y="349"/>
                      </a:lnTo>
                      <a:lnTo>
                        <a:pt x="43" y="348"/>
                      </a:lnTo>
                      <a:lnTo>
                        <a:pt x="42" y="348"/>
                      </a:lnTo>
                      <a:lnTo>
                        <a:pt x="41" y="347"/>
                      </a:lnTo>
                      <a:lnTo>
                        <a:pt x="41" y="346"/>
                      </a:lnTo>
                      <a:lnTo>
                        <a:pt x="40" y="346"/>
                      </a:lnTo>
                      <a:lnTo>
                        <a:pt x="40" y="344"/>
                      </a:lnTo>
                      <a:lnTo>
                        <a:pt x="40" y="343"/>
                      </a:lnTo>
                      <a:lnTo>
                        <a:pt x="39" y="343"/>
                      </a:lnTo>
                      <a:lnTo>
                        <a:pt x="38" y="343"/>
                      </a:lnTo>
                      <a:lnTo>
                        <a:pt x="38" y="344"/>
                      </a:lnTo>
                      <a:lnTo>
                        <a:pt x="36" y="343"/>
                      </a:lnTo>
                      <a:lnTo>
                        <a:pt x="36" y="342"/>
                      </a:lnTo>
                      <a:lnTo>
                        <a:pt x="35" y="342"/>
                      </a:lnTo>
                      <a:lnTo>
                        <a:pt x="33" y="343"/>
                      </a:lnTo>
                      <a:lnTo>
                        <a:pt x="34" y="343"/>
                      </a:lnTo>
                      <a:lnTo>
                        <a:pt x="33" y="343"/>
                      </a:lnTo>
                      <a:lnTo>
                        <a:pt x="31" y="344"/>
                      </a:lnTo>
                      <a:lnTo>
                        <a:pt x="31" y="346"/>
                      </a:lnTo>
                      <a:lnTo>
                        <a:pt x="30" y="346"/>
                      </a:lnTo>
                      <a:lnTo>
                        <a:pt x="28" y="346"/>
                      </a:lnTo>
                      <a:lnTo>
                        <a:pt x="28" y="344"/>
                      </a:lnTo>
                      <a:lnTo>
                        <a:pt x="28" y="346"/>
                      </a:lnTo>
                      <a:lnTo>
                        <a:pt x="30" y="347"/>
                      </a:lnTo>
                      <a:lnTo>
                        <a:pt x="31" y="347"/>
                      </a:lnTo>
                      <a:lnTo>
                        <a:pt x="31" y="348"/>
                      </a:lnTo>
                      <a:lnTo>
                        <a:pt x="30" y="348"/>
                      </a:lnTo>
                      <a:lnTo>
                        <a:pt x="28" y="347"/>
                      </a:lnTo>
                      <a:lnTo>
                        <a:pt x="27" y="347"/>
                      </a:lnTo>
                      <a:lnTo>
                        <a:pt x="28" y="347"/>
                      </a:lnTo>
                      <a:lnTo>
                        <a:pt x="28" y="348"/>
                      </a:lnTo>
                      <a:lnTo>
                        <a:pt x="20" y="348"/>
                      </a:lnTo>
                      <a:lnTo>
                        <a:pt x="13" y="337"/>
                      </a:lnTo>
                      <a:lnTo>
                        <a:pt x="6" y="328"/>
                      </a:lnTo>
                      <a:lnTo>
                        <a:pt x="6" y="327"/>
                      </a:lnTo>
                      <a:lnTo>
                        <a:pt x="5" y="326"/>
                      </a:lnTo>
                      <a:lnTo>
                        <a:pt x="5" y="325"/>
                      </a:lnTo>
                      <a:lnTo>
                        <a:pt x="5" y="323"/>
                      </a:lnTo>
                      <a:lnTo>
                        <a:pt x="5" y="322"/>
                      </a:lnTo>
                      <a:lnTo>
                        <a:pt x="5" y="321"/>
                      </a:lnTo>
                      <a:lnTo>
                        <a:pt x="4" y="320"/>
                      </a:lnTo>
                      <a:lnTo>
                        <a:pt x="4" y="319"/>
                      </a:lnTo>
                      <a:lnTo>
                        <a:pt x="4" y="318"/>
                      </a:lnTo>
                      <a:lnTo>
                        <a:pt x="4" y="316"/>
                      </a:lnTo>
                      <a:lnTo>
                        <a:pt x="3" y="315"/>
                      </a:lnTo>
                      <a:lnTo>
                        <a:pt x="3" y="314"/>
                      </a:lnTo>
                      <a:lnTo>
                        <a:pt x="3" y="313"/>
                      </a:lnTo>
                      <a:lnTo>
                        <a:pt x="3" y="312"/>
                      </a:lnTo>
                      <a:lnTo>
                        <a:pt x="3" y="311"/>
                      </a:lnTo>
                      <a:lnTo>
                        <a:pt x="2" y="309"/>
                      </a:lnTo>
                      <a:lnTo>
                        <a:pt x="2" y="308"/>
                      </a:lnTo>
                      <a:lnTo>
                        <a:pt x="0" y="306"/>
                      </a:lnTo>
                      <a:lnTo>
                        <a:pt x="0" y="304"/>
                      </a:lnTo>
                      <a:lnTo>
                        <a:pt x="2" y="302"/>
                      </a:lnTo>
                      <a:lnTo>
                        <a:pt x="3" y="302"/>
                      </a:lnTo>
                      <a:lnTo>
                        <a:pt x="4" y="301"/>
                      </a:lnTo>
                      <a:lnTo>
                        <a:pt x="5" y="301"/>
                      </a:lnTo>
                      <a:lnTo>
                        <a:pt x="6" y="301"/>
                      </a:lnTo>
                      <a:lnTo>
                        <a:pt x="7" y="300"/>
                      </a:lnTo>
                      <a:lnTo>
                        <a:pt x="7" y="299"/>
                      </a:lnTo>
                      <a:lnTo>
                        <a:pt x="7" y="298"/>
                      </a:lnTo>
                      <a:lnTo>
                        <a:pt x="7" y="297"/>
                      </a:lnTo>
                      <a:lnTo>
                        <a:pt x="9" y="295"/>
                      </a:lnTo>
                      <a:lnTo>
                        <a:pt x="10" y="295"/>
                      </a:lnTo>
                      <a:lnTo>
                        <a:pt x="10" y="294"/>
                      </a:lnTo>
                      <a:lnTo>
                        <a:pt x="11" y="294"/>
                      </a:lnTo>
                      <a:lnTo>
                        <a:pt x="11" y="293"/>
                      </a:lnTo>
                      <a:lnTo>
                        <a:pt x="11" y="292"/>
                      </a:lnTo>
                      <a:lnTo>
                        <a:pt x="11" y="291"/>
                      </a:lnTo>
                      <a:lnTo>
                        <a:pt x="11" y="290"/>
                      </a:lnTo>
                      <a:lnTo>
                        <a:pt x="11" y="288"/>
                      </a:lnTo>
                      <a:lnTo>
                        <a:pt x="12" y="286"/>
                      </a:lnTo>
                      <a:lnTo>
                        <a:pt x="13" y="285"/>
                      </a:lnTo>
                      <a:lnTo>
                        <a:pt x="14" y="284"/>
                      </a:lnTo>
                      <a:lnTo>
                        <a:pt x="14" y="281"/>
                      </a:lnTo>
                      <a:lnTo>
                        <a:pt x="16" y="280"/>
                      </a:lnTo>
                      <a:lnTo>
                        <a:pt x="17" y="279"/>
                      </a:lnTo>
                      <a:lnTo>
                        <a:pt x="18" y="278"/>
                      </a:lnTo>
                      <a:lnTo>
                        <a:pt x="19" y="277"/>
                      </a:lnTo>
                      <a:lnTo>
                        <a:pt x="20" y="276"/>
                      </a:lnTo>
                      <a:lnTo>
                        <a:pt x="20" y="274"/>
                      </a:lnTo>
                      <a:lnTo>
                        <a:pt x="21" y="272"/>
                      </a:lnTo>
                      <a:lnTo>
                        <a:pt x="23" y="271"/>
                      </a:lnTo>
                      <a:lnTo>
                        <a:pt x="24" y="270"/>
                      </a:lnTo>
                      <a:lnTo>
                        <a:pt x="25" y="269"/>
                      </a:lnTo>
                      <a:lnTo>
                        <a:pt x="25" y="267"/>
                      </a:lnTo>
                      <a:lnTo>
                        <a:pt x="26" y="266"/>
                      </a:lnTo>
                      <a:lnTo>
                        <a:pt x="27" y="264"/>
                      </a:lnTo>
                      <a:lnTo>
                        <a:pt x="28" y="263"/>
                      </a:lnTo>
                      <a:lnTo>
                        <a:pt x="30" y="262"/>
                      </a:lnTo>
                      <a:lnTo>
                        <a:pt x="30" y="260"/>
                      </a:lnTo>
                      <a:lnTo>
                        <a:pt x="32" y="258"/>
                      </a:lnTo>
                      <a:lnTo>
                        <a:pt x="34" y="257"/>
                      </a:lnTo>
                      <a:lnTo>
                        <a:pt x="35" y="256"/>
                      </a:lnTo>
                      <a:lnTo>
                        <a:pt x="36" y="253"/>
                      </a:lnTo>
                      <a:lnTo>
                        <a:pt x="39" y="251"/>
                      </a:lnTo>
                      <a:lnTo>
                        <a:pt x="40" y="250"/>
                      </a:lnTo>
                      <a:lnTo>
                        <a:pt x="42" y="248"/>
                      </a:lnTo>
                      <a:lnTo>
                        <a:pt x="43" y="245"/>
                      </a:lnTo>
                      <a:lnTo>
                        <a:pt x="46" y="244"/>
                      </a:lnTo>
                      <a:lnTo>
                        <a:pt x="47" y="242"/>
                      </a:lnTo>
                      <a:lnTo>
                        <a:pt x="49" y="239"/>
                      </a:lnTo>
                      <a:lnTo>
                        <a:pt x="50" y="238"/>
                      </a:lnTo>
                      <a:lnTo>
                        <a:pt x="53" y="236"/>
                      </a:lnTo>
                      <a:lnTo>
                        <a:pt x="54" y="234"/>
                      </a:lnTo>
                      <a:lnTo>
                        <a:pt x="56" y="232"/>
                      </a:lnTo>
                      <a:lnTo>
                        <a:pt x="57" y="230"/>
                      </a:lnTo>
                      <a:lnTo>
                        <a:pt x="60" y="228"/>
                      </a:lnTo>
                      <a:lnTo>
                        <a:pt x="62" y="227"/>
                      </a:lnTo>
                      <a:lnTo>
                        <a:pt x="63" y="224"/>
                      </a:lnTo>
                      <a:lnTo>
                        <a:pt x="64" y="223"/>
                      </a:lnTo>
                      <a:lnTo>
                        <a:pt x="64" y="222"/>
                      </a:lnTo>
                      <a:lnTo>
                        <a:pt x="66" y="222"/>
                      </a:lnTo>
                      <a:lnTo>
                        <a:pt x="66" y="221"/>
                      </a:lnTo>
                      <a:lnTo>
                        <a:pt x="66" y="220"/>
                      </a:lnTo>
                      <a:lnTo>
                        <a:pt x="66" y="217"/>
                      </a:lnTo>
                      <a:lnTo>
                        <a:pt x="66" y="216"/>
                      </a:lnTo>
                      <a:lnTo>
                        <a:pt x="66" y="215"/>
                      </a:lnTo>
                      <a:lnTo>
                        <a:pt x="66" y="214"/>
                      </a:lnTo>
                      <a:lnTo>
                        <a:pt x="66" y="211"/>
                      </a:lnTo>
                      <a:lnTo>
                        <a:pt x="66" y="210"/>
                      </a:lnTo>
                      <a:lnTo>
                        <a:pt x="66" y="209"/>
                      </a:lnTo>
                      <a:lnTo>
                        <a:pt x="67" y="207"/>
                      </a:lnTo>
                      <a:lnTo>
                        <a:pt x="67" y="206"/>
                      </a:lnTo>
                      <a:lnTo>
                        <a:pt x="67" y="205"/>
                      </a:lnTo>
                      <a:lnTo>
                        <a:pt x="67" y="202"/>
                      </a:lnTo>
                      <a:lnTo>
                        <a:pt x="67" y="201"/>
                      </a:lnTo>
                      <a:lnTo>
                        <a:pt x="67" y="200"/>
                      </a:lnTo>
                      <a:lnTo>
                        <a:pt x="67" y="198"/>
                      </a:lnTo>
                      <a:lnTo>
                        <a:pt x="67" y="196"/>
                      </a:lnTo>
                      <a:lnTo>
                        <a:pt x="67" y="195"/>
                      </a:lnTo>
                      <a:lnTo>
                        <a:pt x="67" y="194"/>
                      </a:lnTo>
                      <a:lnTo>
                        <a:pt x="68" y="192"/>
                      </a:lnTo>
                      <a:lnTo>
                        <a:pt x="68" y="191"/>
                      </a:lnTo>
                      <a:lnTo>
                        <a:pt x="68" y="189"/>
                      </a:lnTo>
                      <a:lnTo>
                        <a:pt x="68" y="187"/>
                      </a:lnTo>
                      <a:lnTo>
                        <a:pt x="68" y="186"/>
                      </a:lnTo>
                      <a:lnTo>
                        <a:pt x="68" y="185"/>
                      </a:lnTo>
                      <a:lnTo>
                        <a:pt x="68" y="182"/>
                      </a:lnTo>
                      <a:lnTo>
                        <a:pt x="68" y="181"/>
                      </a:lnTo>
                      <a:lnTo>
                        <a:pt x="68" y="180"/>
                      </a:lnTo>
                      <a:lnTo>
                        <a:pt x="69" y="178"/>
                      </a:lnTo>
                      <a:lnTo>
                        <a:pt x="69" y="177"/>
                      </a:lnTo>
                      <a:lnTo>
                        <a:pt x="69" y="175"/>
                      </a:lnTo>
                      <a:lnTo>
                        <a:pt x="69" y="174"/>
                      </a:lnTo>
                      <a:lnTo>
                        <a:pt x="69" y="172"/>
                      </a:lnTo>
                      <a:lnTo>
                        <a:pt x="69" y="171"/>
                      </a:lnTo>
                      <a:lnTo>
                        <a:pt x="69" y="170"/>
                      </a:lnTo>
                      <a:lnTo>
                        <a:pt x="69" y="167"/>
                      </a:lnTo>
                      <a:lnTo>
                        <a:pt x="69" y="166"/>
                      </a:lnTo>
                      <a:lnTo>
                        <a:pt x="69" y="165"/>
                      </a:lnTo>
                      <a:lnTo>
                        <a:pt x="70" y="163"/>
                      </a:lnTo>
                      <a:lnTo>
                        <a:pt x="70" y="161"/>
                      </a:lnTo>
                      <a:lnTo>
                        <a:pt x="70" y="160"/>
                      </a:lnTo>
                      <a:lnTo>
                        <a:pt x="70" y="158"/>
                      </a:lnTo>
                      <a:lnTo>
                        <a:pt x="70" y="157"/>
                      </a:lnTo>
                      <a:lnTo>
                        <a:pt x="70" y="156"/>
                      </a:lnTo>
                      <a:lnTo>
                        <a:pt x="70" y="153"/>
                      </a:lnTo>
                      <a:lnTo>
                        <a:pt x="70" y="152"/>
                      </a:lnTo>
                      <a:lnTo>
                        <a:pt x="70" y="151"/>
                      </a:lnTo>
                      <a:lnTo>
                        <a:pt x="70" y="150"/>
                      </a:lnTo>
                      <a:lnTo>
                        <a:pt x="71" y="147"/>
                      </a:lnTo>
                      <a:lnTo>
                        <a:pt x="71" y="146"/>
                      </a:lnTo>
                      <a:lnTo>
                        <a:pt x="71" y="145"/>
                      </a:lnTo>
                      <a:lnTo>
                        <a:pt x="71" y="143"/>
                      </a:lnTo>
                      <a:lnTo>
                        <a:pt x="71" y="142"/>
                      </a:lnTo>
                      <a:lnTo>
                        <a:pt x="71" y="140"/>
                      </a:lnTo>
                      <a:lnTo>
                        <a:pt x="71" y="138"/>
                      </a:lnTo>
                      <a:lnTo>
                        <a:pt x="71" y="137"/>
                      </a:lnTo>
                      <a:lnTo>
                        <a:pt x="71" y="136"/>
                      </a:lnTo>
                      <a:lnTo>
                        <a:pt x="73" y="133"/>
                      </a:lnTo>
                      <a:lnTo>
                        <a:pt x="73" y="132"/>
                      </a:lnTo>
                      <a:lnTo>
                        <a:pt x="73" y="131"/>
                      </a:lnTo>
                      <a:lnTo>
                        <a:pt x="73" y="129"/>
                      </a:lnTo>
                      <a:lnTo>
                        <a:pt x="73" y="128"/>
                      </a:lnTo>
                      <a:lnTo>
                        <a:pt x="73" y="126"/>
                      </a:lnTo>
                      <a:lnTo>
                        <a:pt x="73" y="124"/>
                      </a:lnTo>
                      <a:lnTo>
                        <a:pt x="73" y="123"/>
                      </a:lnTo>
                      <a:lnTo>
                        <a:pt x="73" y="122"/>
                      </a:lnTo>
                      <a:lnTo>
                        <a:pt x="74" y="119"/>
                      </a:lnTo>
                      <a:lnTo>
                        <a:pt x="75" y="118"/>
                      </a:lnTo>
                      <a:lnTo>
                        <a:pt x="76" y="116"/>
                      </a:lnTo>
                      <a:lnTo>
                        <a:pt x="77" y="114"/>
                      </a:lnTo>
                      <a:lnTo>
                        <a:pt x="78" y="111"/>
                      </a:lnTo>
                      <a:lnTo>
                        <a:pt x="80" y="109"/>
                      </a:lnTo>
                      <a:lnTo>
                        <a:pt x="81" y="108"/>
                      </a:lnTo>
                      <a:lnTo>
                        <a:pt x="81" y="107"/>
                      </a:lnTo>
                      <a:lnTo>
                        <a:pt x="80" y="105"/>
                      </a:lnTo>
                      <a:lnTo>
                        <a:pt x="80" y="104"/>
                      </a:lnTo>
                      <a:lnTo>
                        <a:pt x="77" y="103"/>
                      </a:lnTo>
                      <a:lnTo>
                        <a:pt x="75" y="101"/>
                      </a:lnTo>
                      <a:lnTo>
                        <a:pt x="74" y="98"/>
                      </a:lnTo>
                      <a:lnTo>
                        <a:pt x="71" y="96"/>
                      </a:lnTo>
                      <a:lnTo>
                        <a:pt x="70" y="95"/>
                      </a:lnTo>
                      <a:lnTo>
                        <a:pt x="68" y="94"/>
                      </a:lnTo>
                      <a:lnTo>
                        <a:pt x="68" y="93"/>
                      </a:lnTo>
                      <a:lnTo>
                        <a:pt x="67" y="93"/>
                      </a:lnTo>
                      <a:lnTo>
                        <a:pt x="67" y="91"/>
                      </a:lnTo>
                      <a:lnTo>
                        <a:pt x="67" y="89"/>
                      </a:lnTo>
                      <a:lnTo>
                        <a:pt x="67" y="88"/>
                      </a:lnTo>
                      <a:lnTo>
                        <a:pt x="68" y="87"/>
                      </a:lnTo>
                      <a:lnTo>
                        <a:pt x="69" y="86"/>
                      </a:lnTo>
                      <a:lnTo>
                        <a:pt x="68" y="86"/>
                      </a:lnTo>
                      <a:lnTo>
                        <a:pt x="68" y="84"/>
                      </a:lnTo>
                      <a:lnTo>
                        <a:pt x="67" y="83"/>
                      </a:lnTo>
                      <a:lnTo>
                        <a:pt x="67" y="82"/>
                      </a:lnTo>
                      <a:lnTo>
                        <a:pt x="66" y="82"/>
                      </a:lnTo>
                      <a:lnTo>
                        <a:pt x="66" y="81"/>
                      </a:lnTo>
                      <a:lnTo>
                        <a:pt x="66" y="80"/>
                      </a:lnTo>
                      <a:lnTo>
                        <a:pt x="64" y="80"/>
                      </a:lnTo>
                      <a:lnTo>
                        <a:pt x="64" y="79"/>
                      </a:lnTo>
                      <a:lnTo>
                        <a:pt x="63" y="77"/>
                      </a:lnTo>
                      <a:lnTo>
                        <a:pt x="63" y="76"/>
                      </a:lnTo>
                      <a:lnTo>
                        <a:pt x="62" y="76"/>
                      </a:lnTo>
                      <a:lnTo>
                        <a:pt x="62" y="75"/>
                      </a:lnTo>
                      <a:lnTo>
                        <a:pt x="61" y="74"/>
                      </a:lnTo>
                      <a:lnTo>
                        <a:pt x="60" y="73"/>
                      </a:lnTo>
                      <a:lnTo>
                        <a:pt x="60" y="72"/>
                      </a:lnTo>
                      <a:lnTo>
                        <a:pt x="59" y="70"/>
                      </a:lnTo>
                      <a:lnTo>
                        <a:pt x="57" y="69"/>
                      </a:lnTo>
                      <a:lnTo>
                        <a:pt x="55" y="68"/>
                      </a:lnTo>
                      <a:lnTo>
                        <a:pt x="55" y="67"/>
                      </a:lnTo>
                      <a:lnTo>
                        <a:pt x="55" y="66"/>
                      </a:lnTo>
                      <a:lnTo>
                        <a:pt x="55" y="63"/>
                      </a:lnTo>
                      <a:lnTo>
                        <a:pt x="55" y="61"/>
                      </a:lnTo>
                      <a:lnTo>
                        <a:pt x="55" y="59"/>
                      </a:lnTo>
                      <a:lnTo>
                        <a:pt x="55" y="55"/>
                      </a:lnTo>
                      <a:lnTo>
                        <a:pt x="55" y="53"/>
                      </a:lnTo>
                      <a:lnTo>
                        <a:pt x="55" y="51"/>
                      </a:lnTo>
                      <a:lnTo>
                        <a:pt x="54" y="49"/>
                      </a:lnTo>
                      <a:lnTo>
                        <a:pt x="54" y="47"/>
                      </a:lnTo>
                      <a:lnTo>
                        <a:pt x="54" y="46"/>
                      </a:lnTo>
                      <a:lnTo>
                        <a:pt x="54" y="44"/>
                      </a:lnTo>
                      <a:lnTo>
                        <a:pt x="53" y="41"/>
                      </a:lnTo>
                      <a:lnTo>
                        <a:pt x="53" y="40"/>
                      </a:lnTo>
                      <a:lnTo>
                        <a:pt x="53" y="38"/>
                      </a:lnTo>
                      <a:lnTo>
                        <a:pt x="52" y="35"/>
                      </a:lnTo>
                      <a:lnTo>
                        <a:pt x="52" y="33"/>
                      </a:lnTo>
                      <a:lnTo>
                        <a:pt x="52" y="31"/>
                      </a:lnTo>
                      <a:lnTo>
                        <a:pt x="50" y="28"/>
                      </a:lnTo>
                      <a:lnTo>
                        <a:pt x="50" y="26"/>
                      </a:lnTo>
                      <a:lnTo>
                        <a:pt x="50" y="25"/>
                      </a:lnTo>
                      <a:lnTo>
                        <a:pt x="49" y="23"/>
                      </a:lnTo>
                      <a:lnTo>
                        <a:pt x="49" y="20"/>
                      </a:lnTo>
                      <a:lnTo>
                        <a:pt x="49" y="18"/>
                      </a:lnTo>
                      <a:lnTo>
                        <a:pt x="48" y="16"/>
                      </a:lnTo>
                      <a:lnTo>
                        <a:pt x="49" y="16"/>
                      </a:lnTo>
                      <a:lnTo>
                        <a:pt x="50" y="14"/>
                      </a:lnTo>
                      <a:lnTo>
                        <a:pt x="53" y="13"/>
                      </a:lnTo>
                      <a:lnTo>
                        <a:pt x="54" y="13"/>
                      </a:lnTo>
                      <a:lnTo>
                        <a:pt x="56" y="12"/>
                      </a:lnTo>
                      <a:lnTo>
                        <a:pt x="59" y="11"/>
                      </a:lnTo>
                      <a:lnTo>
                        <a:pt x="60" y="10"/>
                      </a:lnTo>
                      <a:lnTo>
                        <a:pt x="62" y="9"/>
                      </a:lnTo>
                      <a:lnTo>
                        <a:pt x="63" y="9"/>
                      </a:lnTo>
                      <a:lnTo>
                        <a:pt x="66" y="7"/>
                      </a:lnTo>
                      <a:lnTo>
                        <a:pt x="68" y="6"/>
                      </a:lnTo>
                      <a:lnTo>
                        <a:pt x="69" y="5"/>
                      </a:lnTo>
                      <a:lnTo>
                        <a:pt x="71" y="4"/>
                      </a:lnTo>
                      <a:lnTo>
                        <a:pt x="73" y="4"/>
                      </a:lnTo>
                      <a:lnTo>
                        <a:pt x="75" y="3"/>
                      </a:lnTo>
                      <a:lnTo>
                        <a:pt x="76" y="2"/>
                      </a:lnTo>
                      <a:lnTo>
                        <a:pt x="78" y="0"/>
                      </a:lnTo>
                      <a:lnTo>
                        <a:pt x="80" y="0"/>
                      </a:lnTo>
                      <a:lnTo>
                        <a:pt x="81" y="0"/>
                      </a:lnTo>
                      <a:lnTo>
                        <a:pt x="83" y="2"/>
                      </a:lnTo>
                      <a:lnTo>
                        <a:pt x="88" y="4"/>
                      </a:lnTo>
                      <a:lnTo>
                        <a:pt x="91" y="6"/>
                      </a:lnTo>
                      <a:lnTo>
                        <a:pt x="96" y="7"/>
                      </a:lnTo>
                      <a:lnTo>
                        <a:pt x="99" y="10"/>
                      </a:lnTo>
                      <a:lnTo>
                        <a:pt x="103" y="12"/>
                      </a:lnTo>
                      <a:lnTo>
                        <a:pt x="107" y="14"/>
                      </a:lnTo>
                      <a:lnTo>
                        <a:pt x="111" y="17"/>
                      </a:lnTo>
                      <a:lnTo>
                        <a:pt x="116" y="18"/>
                      </a:lnTo>
                      <a:lnTo>
                        <a:pt x="119" y="20"/>
                      </a:lnTo>
                      <a:lnTo>
                        <a:pt x="123" y="23"/>
                      </a:lnTo>
                      <a:lnTo>
                        <a:pt x="127" y="25"/>
                      </a:lnTo>
                      <a:lnTo>
                        <a:pt x="131" y="27"/>
                      </a:lnTo>
                      <a:lnTo>
                        <a:pt x="135" y="28"/>
                      </a:lnTo>
                      <a:lnTo>
                        <a:pt x="139" y="31"/>
                      </a:lnTo>
                      <a:lnTo>
                        <a:pt x="142" y="33"/>
                      </a:lnTo>
                      <a:lnTo>
                        <a:pt x="147" y="35"/>
                      </a:lnTo>
                      <a:lnTo>
                        <a:pt x="151" y="38"/>
                      </a:lnTo>
                      <a:lnTo>
                        <a:pt x="155" y="39"/>
                      </a:lnTo>
                      <a:lnTo>
                        <a:pt x="159" y="41"/>
                      </a:lnTo>
                      <a:lnTo>
                        <a:pt x="162" y="44"/>
                      </a:lnTo>
                      <a:lnTo>
                        <a:pt x="167" y="46"/>
                      </a:lnTo>
                      <a:lnTo>
                        <a:pt x="170" y="47"/>
                      </a:lnTo>
                      <a:lnTo>
                        <a:pt x="175" y="49"/>
                      </a:lnTo>
                      <a:lnTo>
                        <a:pt x="178" y="52"/>
                      </a:lnTo>
                      <a:lnTo>
                        <a:pt x="182" y="54"/>
                      </a:lnTo>
                      <a:lnTo>
                        <a:pt x="183" y="54"/>
                      </a:lnTo>
                      <a:lnTo>
                        <a:pt x="187" y="56"/>
                      </a:lnTo>
                      <a:lnTo>
                        <a:pt x="190" y="58"/>
                      </a:lnTo>
                      <a:lnTo>
                        <a:pt x="195" y="60"/>
                      </a:lnTo>
                      <a:lnTo>
                        <a:pt x="198" y="62"/>
                      </a:lnTo>
                      <a:lnTo>
                        <a:pt x="202" y="65"/>
                      </a:lnTo>
                      <a:lnTo>
                        <a:pt x="206" y="67"/>
                      </a:lnTo>
                      <a:lnTo>
                        <a:pt x="210" y="68"/>
                      </a:lnTo>
                      <a:lnTo>
                        <a:pt x="215" y="70"/>
                      </a:lnTo>
                      <a:lnTo>
                        <a:pt x="218" y="73"/>
                      </a:lnTo>
                      <a:lnTo>
                        <a:pt x="222" y="75"/>
                      </a:lnTo>
                      <a:lnTo>
                        <a:pt x="226" y="76"/>
                      </a:lnTo>
                      <a:lnTo>
                        <a:pt x="230" y="79"/>
                      </a:lnTo>
                      <a:lnTo>
                        <a:pt x="234" y="81"/>
                      </a:lnTo>
                      <a:lnTo>
                        <a:pt x="238" y="83"/>
                      </a:lnTo>
                      <a:lnTo>
                        <a:pt x="241" y="86"/>
                      </a:lnTo>
                      <a:lnTo>
                        <a:pt x="246" y="87"/>
                      </a:lnTo>
                      <a:lnTo>
                        <a:pt x="249" y="89"/>
                      </a:lnTo>
                      <a:lnTo>
                        <a:pt x="254" y="91"/>
                      </a:lnTo>
                      <a:lnTo>
                        <a:pt x="258" y="94"/>
                      </a:lnTo>
                      <a:lnTo>
                        <a:pt x="261" y="95"/>
                      </a:lnTo>
                      <a:lnTo>
                        <a:pt x="266" y="97"/>
                      </a:lnTo>
                      <a:lnTo>
                        <a:pt x="269" y="100"/>
                      </a:lnTo>
                      <a:lnTo>
                        <a:pt x="274" y="102"/>
                      </a:lnTo>
                      <a:lnTo>
                        <a:pt x="277" y="104"/>
                      </a:lnTo>
                      <a:lnTo>
                        <a:pt x="281" y="105"/>
                      </a:lnTo>
                      <a:lnTo>
                        <a:pt x="286" y="108"/>
                      </a:lnTo>
                      <a:lnTo>
                        <a:pt x="289" y="110"/>
                      </a:lnTo>
                      <a:lnTo>
                        <a:pt x="294" y="112"/>
                      </a:lnTo>
                      <a:lnTo>
                        <a:pt x="297" y="114"/>
                      </a:lnTo>
                      <a:lnTo>
                        <a:pt x="301" y="116"/>
                      </a:lnTo>
                      <a:lnTo>
                        <a:pt x="305" y="118"/>
                      </a:lnTo>
                      <a:lnTo>
                        <a:pt x="309" y="121"/>
                      </a:lnTo>
                      <a:lnTo>
                        <a:pt x="312" y="123"/>
                      </a:lnTo>
                      <a:lnTo>
                        <a:pt x="317" y="124"/>
                      </a:lnTo>
                      <a:lnTo>
                        <a:pt x="320" y="126"/>
                      </a:lnTo>
                      <a:lnTo>
                        <a:pt x="325" y="129"/>
                      </a:lnTo>
                      <a:lnTo>
                        <a:pt x="329" y="131"/>
                      </a:lnTo>
                      <a:lnTo>
                        <a:pt x="332" y="132"/>
                      </a:lnTo>
                      <a:lnTo>
                        <a:pt x="337" y="135"/>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1" name="Freeform 119">
                  <a:extLst>
                    <a:ext uri="{FF2B5EF4-FFF2-40B4-BE49-F238E27FC236}">
                      <a16:creationId xmlns:a16="http://schemas.microsoft.com/office/drawing/2014/main" id="{1FF171E9-499D-E1B9-FDB4-AA5A93300070}"/>
                    </a:ext>
                  </a:extLst>
                </p:cNvPr>
                <p:cNvSpPr>
                  <a:spLocks/>
                </p:cNvSpPr>
                <p:nvPr/>
              </p:nvSpPr>
              <p:spPr bwMode="auto">
                <a:xfrm>
                  <a:off x="6220445" y="3418928"/>
                  <a:ext cx="68150" cy="174160"/>
                </a:xfrm>
                <a:custGeom>
                  <a:avLst/>
                  <a:gdLst>
                    <a:gd name="T0" fmla="*/ 32 w 63"/>
                    <a:gd name="T1" fmla="*/ 11 h 161"/>
                    <a:gd name="T2" fmla="*/ 29 w 63"/>
                    <a:gd name="T3" fmla="*/ 21 h 161"/>
                    <a:gd name="T4" fmla="*/ 44 w 63"/>
                    <a:gd name="T5" fmla="*/ 35 h 161"/>
                    <a:gd name="T6" fmla="*/ 49 w 63"/>
                    <a:gd name="T7" fmla="*/ 48 h 161"/>
                    <a:gd name="T8" fmla="*/ 47 w 63"/>
                    <a:gd name="T9" fmla="*/ 53 h 161"/>
                    <a:gd name="T10" fmla="*/ 53 w 63"/>
                    <a:gd name="T11" fmla="*/ 62 h 161"/>
                    <a:gd name="T12" fmla="*/ 57 w 63"/>
                    <a:gd name="T13" fmla="*/ 82 h 161"/>
                    <a:gd name="T14" fmla="*/ 57 w 63"/>
                    <a:gd name="T15" fmla="*/ 88 h 161"/>
                    <a:gd name="T16" fmla="*/ 57 w 63"/>
                    <a:gd name="T17" fmla="*/ 96 h 161"/>
                    <a:gd name="T18" fmla="*/ 58 w 63"/>
                    <a:gd name="T19" fmla="*/ 129 h 161"/>
                    <a:gd name="T20" fmla="*/ 57 w 63"/>
                    <a:gd name="T21" fmla="*/ 137 h 161"/>
                    <a:gd name="T22" fmla="*/ 57 w 63"/>
                    <a:gd name="T23" fmla="*/ 142 h 161"/>
                    <a:gd name="T24" fmla="*/ 57 w 63"/>
                    <a:gd name="T25" fmla="*/ 145 h 161"/>
                    <a:gd name="T26" fmla="*/ 59 w 63"/>
                    <a:gd name="T27" fmla="*/ 146 h 161"/>
                    <a:gd name="T28" fmla="*/ 60 w 63"/>
                    <a:gd name="T29" fmla="*/ 150 h 161"/>
                    <a:gd name="T30" fmla="*/ 58 w 63"/>
                    <a:gd name="T31" fmla="*/ 157 h 161"/>
                    <a:gd name="T32" fmla="*/ 44 w 63"/>
                    <a:gd name="T33" fmla="*/ 161 h 161"/>
                    <a:gd name="T34" fmla="*/ 39 w 63"/>
                    <a:gd name="T35" fmla="*/ 158 h 161"/>
                    <a:gd name="T36" fmla="*/ 33 w 63"/>
                    <a:gd name="T37" fmla="*/ 153 h 161"/>
                    <a:gd name="T38" fmla="*/ 29 w 63"/>
                    <a:gd name="T39" fmla="*/ 147 h 161"/>
                    <a:gd name="T40" fmla="*/ 28 w 63"/>
                    <a:gd name="T41" fmla="*/ 146 h 161"/>
                    <a:gd name="T42" fmla="*/ 25 w 63"/>
                    <a:gd name="T43" fmla="*/ 142 h 161"/>
                    <a:gd name="T44" fmla="*/ 23 w 63"/>
                    <a:gd name="T45" fmla="*/ 137 h 161"/>
                    <a:gd name="T46" fmla="*/ 24 w 63"/>
                    <a:gd name="T47" fmla="*/ 133 h 161"/>
                    <a:gd name="T48" fmla="*/ 26 w 63"/>
                    <a:gd name="T49" fmla="*/ 123 h 161"/>
                    <a:gd name="T50" fmla="*/ 22 w 63"/>
                    <a:gd name="T51" fmla="*/ 117 h 161"/>
                    <a:gd name="T52" fmla="*/ 24 w 63"/>
                    <a:gd name="T53" fmla="*/ 114 h 161"/>
                    <a:gd name="T54" fmla="*/ 25 w 63"/>
                    <a:gd name="T55" fmla="*/ 105 h 161"/>
                    <a:gd name="T56" fmla="*/ 24 w 63"/>
                    <a:gd name="T57" fmla="*/ 97 h 161"/>
                    <a:gd name="T58" fmla="*/ 24 w 63"/>
                    <a:gd name="T59" fmla="*/ 95 h 161"/>
                    <a:gd name="T60" fmla="*/ 28 w 63"/>
                    <a:gd name="T61" fmla="*/ 91 h 161"/>
                    <a:gd name="T62" fmla="*/ 28 w 63"/>
                    <a:gd name="T63" fmla="*/ 89 h 161"/>
                    <a:gd name="T64" fmla="*/ 19 w 63"/>
                    <a:gd name="T65" fmla="*/ 82 h 161"/>
                    <a:gd name="T66" fmla="*/ 18 w 63"/>
                    <a:gd name="T67" fmla="*/ 77 h 161"/>
                    <a:gd name="T68" fmla="*/ 21 w 63"/>
                    <a:gd name="T69" fmla="*/ 76 h 161"/>
                    <a:gd name="T70" fmla="*/ 19 w 63"/>
                    <a:gd name="T71" fmla="*/ 69 h 161"/>
                    <a:gd name="T72" fmla="*/ 21 w 63"/>
                    <a:gd name="T73" fmla="*/ 65 h 161"/>
                    <a:gd name="T74" fmla="*/ 22 w 63"/>
                    <a:gd name="T75" fmla="*/ 60 h 161"/>
                    <a:gd name="T76" fmla="*/ 21 w 63"/>
                    <a:gd name="T77" fmla="*/ 55 h 161"/>
                    <a:gd name="T78" fmla="*/ 16 w 63"/>
                    <a:gd name="T79" fmla="*/ 54 h 161"/>
                    <a:gd name="T80" fmla="*/ 12 w 63"/>
                    <a:gd name="T81" fmla="*/ 56 h 161"/>
                    <a:gd name="T82" fmla="*/ 15 w 63"/>
                    <a:gd name="T83" fmla="*/ 53 h 161"/>
                    <a:gd name="T84" fmla="*/ 12 w 63"/>
                    <a:gd name="T85" fmla="*/ 52 h 161"/>
                    <a:gd name="T86" fmla="*/ 17 w 63"/>
                    <a:gd name="T87" fmla="*/ 51 h 161"/>
                    <a:gd name="T88" fmla="*/ 14 w 63"/>
                    <a:gd name="T89" fmla="*/ 47 h 161"/>
                    <a:gd name="T90" fmla="*/ 16 w 63"/>
                    <a:gd name="T91" fmla="*/ 46 h 161"/>
                    <a:gd name="T92" fmla="*/ 16 w 63"/>
                    <a:gd name="T93" fmla="*/ 40 h 161"/>
                    <a:gd name="T94" fmla="*/ 16 w 63"/>
                    <a:gd name="T95" fmla="*/ 37 h 161"/>
                    <a:gd name="T96" fmla="*/ 17 w 63"/>
                    <a:gd name="T97" fmla="*/ 35 h 161"/>
                    <a:gd name="T98" fmla="*/ 16 w 63"/>
                    <a:gd name="T99" fmla="*/ 30 h 161"/>
                    <a:gd name="T100" fmla="*/ 15 w 63"/>
                    <a:gd name="T101" fmla="*/ 26 h 161"/>
                    <a:gd name="T102" fmla="*/ 12 w 63"/>
                    <a:gd name="T103" fmla="*/ 25 h 161"/>
                    <a:gd name="T104" fmla="*/ 10 w 63"/>
                    <a:gd name="T105" fmla="*/ 25 h 161"/>
                    <a:gd name="T106" fmla="*/ 6 w 63"/>
                    <a:gd name="T107" fmla="*/ 19 h 161"/>
                    <a:gd name="T108" fmla="*/ 2 w 63"/>
                    <a:gd name="T109" fmla="*/ 17 h 161"/>
                    <a:gd name="T110" fmla="*/ 3 w 63"/>
                    <a:gd name="T111" fmla="*/ 12 h 161"/>
                    <a:gd name="T112" fmla="*/ 4 w 63"/>
                    <a:gd name="T113" fmla="*/ 6 h 161"/>
                    <a:gd name="T114" fmla="*/ 2 w 63"/>
                    <a:gd name="T115" fmla="*/ 3 h 161"/>
                    <a:gd name="T116" fmla="*/ 7 w 63"/>
                    <a:gd name="T117" fmla="*/ 3 h 161"/>
                    <a:gd name="T118" fmla="*/ 21 w 63"/>
                    <a:gd name="T119" fmla="*/ 5 h 161"/>
                    <a:gd name="T120" fmla="*/ 33 w 63"/>
                    <a:gd name="T121" fmla="*/ 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3" h="161">
                      <a:moveTo>
                        <a:pt x="33" y="5"/>
                      </a:moveTo>
                      <a:lnTo>
                        <a:pt x="32" y="7"/>
                      </a:lnTo>
                      <a:lnTo>
                        <a:pt x="32" y="7"/>
                      </a:lnTo>
                      <a:lnTo>
                        <a:pt x="32" y="9"/>
                      </a:lnTo>
                      <a:lnTo>
                        <a:pt x="32" y="9"/>
                      </a:lnTo>
                      <a:lnTo>
                        <a:pt x="32" y="10"/>
                      </a:lnTo>
                      <a:lnTo>
                        <a:pt x="32" y="10"/>
                      </a:lnTo>
                      <a:lnTo>
                        <a:pt x="32" y="11"/>
                      </a:lnTo>
                      <a:lnTo>
                        <a:pt x="32" y="11"/>
                      </a:lnTo>
                      <a:lnTo>
                        <a:pt x="32" y="12"/>
                      </a:lnTo>
                      <a:lnTo>
                        <a:pt x="31" y="12"/>
                      </a:lnTo>
                      <a:lnTo>
                        <a:pt x="30" y="13"/>
                      </a:lnTo>
                      <a:lnTo>
                        <a:pt x="30" y="14"/>
                      </a:lnTo>
                      <a:lnTo>
                        <a:pt x="30" y="18"/>
                      </a:lnTo>
                      <a:lnTo>
                        <a:pt x="30" y="19"/>
                      </a:lnTo>
                      <a:lnTo>
                        <a:pt x="29" y="21"/>
                      </a:lnTo>
                      <a:lnTo>
                        <a:pt x="29" y="24"/>
                      </a:lnTo>
                      <a:lnTo>
                        <a:pt x="29" y="25"/>
                      </a:lnTo>
                      <a:lnTo>
                        <a:pt x="29" y="25"/>
                      </a:lnTo>
                      <a:lnTo>
                        <a:pt x="31" y="27"/>
                      </a:lnTo>
                      <a:lnTo>
                        <a:pt x="35" y="28"/>
                      </a:lnTo>
                      <a:lnTo>
                        <a:pt x="37" y="31"/>
                      </a:lnTo>
                      <a:lnTo>
                        <a:pt x="39" y="32"/>
                      </a:lnTo>
                      <a:lnTo>
                        <a:pt x="44" y="35"/>
                      </a:lnTo>
                      <a:lnTo>
                        <a:pt x="47" y="37"/>
                      </a:lnTo>
                      <a:lnTo>
                        <a:pt x="47" y="38"/>
                      </a:lnTo>
                      <a:lnTo>
                        <a:pt x="47" y="39"/>
                      </a:lnTo>
                      <a:lnTo>
                        <a:pt x="47" y="41"/>
                      </a:lnTo>
                      <a:lnTo>
                        <a:pt x="47" y="45"/>
                      </a:lnTo>
                      <a:lnTo>
                        <a:pt x="47" y="47"/>
                      </a:lnTo>
                      <a:lnTo>
                        <a:pt x="49" y="48"/>
                      </a:lnTo>
                      <a:lnTo>
                        <a:pt x="49" y="48"/>
                      </a:lnTo>
                      <a:lnTo>
                        <a:pt x="49" y="49"/>
                      </a:lnTo>
                      <a:lnTo>
                        <a:pt x="49" y="49"/>
                      </a:lnTo>
                      <a:lnTo>
                        <a:pt x="49" y="51"/>
                      </a:lnTo>
                      <a:lnTo>
                        <a:pt x="47" y="51"/>
                      </a:lnTo>
                      <a:lnTo>
                        <a:pt x="47" y="52"/>
                      </a:lnTo>
                      <a:lnTo>
                        <a:pt x="47" y="52"/>
                      </a:lnTo>
                      <a:lnTo>
                        <a:pt x="47" y="53"/>
                      </a:lnTo>
                      <a:lnTo>
                        <a:pt x="47" y="53"/>
                      </a:lnTo>
                      <a:lnTo>
                        <a:pt x="49" y="54"/>
                      </a:lnTo>
                      <a:lnTo>
                        <a:pt x="49" y="53"/>
                      </a:lnTo>
                      <a:lnTo>
                        <a:pt x="49" y="54"/>
                      </a:lnTo>
                      <a:lnTo>
                        <a:pt x="50" y="58"/>
                      </a:lnTo>
                      <a:lnTo>
                        <a:pt x="50" y="59"/>
                      </a:lnTo>
                      <a:lnTo>
                        <a:pt x="51" y="60"/>
                      </a:lnTo>
                      <a:lnTo>
                        <a:pt x="51" y="60"/>
                      </a:lnTo>
                      <a:lnTo>
                        <a:pt x="53" y="62"/>
                      </a:lnTo>
                      <a:lnTo>
                        <a:pt x="56" y="65"/>
                      </a:lnTo>
                      <a:lnTo>
                        <a:pt x="56" y="66"/>
                      </a:lnTo>
                      <a:lnTo>
                        <a:pt x="56" y="67"/>
                      </a:lnTo>
                      <a:lnTo>
                        <a:pt x="57" y="67"/>
                      </a:lnTo>
                      <a:lnTo>
                        <a:pt x="57" y="72"/>
                      </a:lnTo>
                      <a:lnTo>
                        <a:pt x="57" y="75"/>
                      </a:lnTo>
                      <a:lnTo>
                        <a:pt x="57" y="77"/>
                      </a:lnTo>
                      <a:lnTo>
                        <a:pt x="57" y="82"/>
                      </a:lnTo>
                      <a:lnTo>
                        <a:pt x="57" y="83"/>
                      </a:lnTo>
                      <a:lnTo>
                        <a:pt x="57" y="83"/>
                      </a:lnTo>
                      <a:lnTo>
                        <a:pt x="57" y="84"/>
                      </a:lnTo>
                      <a:lnTo>
                        <a:pt x="58" y="84"/>
                      </a:lnTo>
                      <a:lnTo>
                        <a:pt x="58" y="86"/>
                      </a:lnTo>
                      <a:lnTo>
                        <a:pt x="58" y="86"/>
                      </a:lnTo>
                      <a:lnTo>
                        <a:pt x="57" y="88"/>
                      </a:lnTo>
                      <a:lnTo>
                        <a:pt x="57" y="88"/>
                      </a:lnTo>
                      <a:lnTo>
                        <a:pt x="57" y="88"/>
                      </a:lnTo>
                      <a:lnTo>
                        <a:pt x="57" y="89"/>
                      </a:lnTo>
                      <a:lnTo>
                        <a:pt x="57" y="89"/>
                      </a:lnTo>
                      <a:lnTo>
                        <a:pt x="57" y="89"/>
                      </a:lnTo>
                      <a:lnTo>
                        <a:pt x="57" y="89"/>
                      </a:lnTo>
                      <a:lnTo>
                        <a:pt x="57" y="89"/>
                      </a:lnTo>
                      <a:lnTo>
                        <a:pt x="57" y="93"/>
                      </a:lnTo>
                      <a:lnTo>
                        <a:pt x="57" y="96"/>
                      </a:lnTo>
                      <a:lnTo>
                        <a:pt x="57" y="101"/>
                      </a:lnTo>
                      <a:lnTo>
                        <a:pt x="57" y="107"/>
                      </a:lnTo>
                      <a:lnTo>
                        <a:pt x="58" y="112"/>
                      </a:lnTo>
                      <a:lnTo>
                        <a:pt x="58" y="114"/>
                      </a:lnTo>
                      <a:lnTo>
                        <a:pt x="58" y="116"/>
                      </a:lnTo>
                      <a:lnTo>
                        <a:pt x="58" y="119"/>
                      </a:lnTo>
                      <a:lnTo>
                        <a:pt x="58" y="124"/>
                      </a:lnTo>
                      <a:lnTo>
                        <a:pt x="58" y="129"/>
                      </a:lnTo>
                      <a:lnTo>
                        <a:pt x="58" y="133"/>
                      </a:lnTo>
                      <a:lnTo>
                        <a:pt x="57" y="133"/>
                      </a:lnTo>
                      <a:lnTo>
                        <a:pt x="54" y="133"/>
                      </a:lnTo>
                      <a:lnTo>
                        <a:pt x="56" y="136"/>
                      </a:lnTo>
                      <a:lnTo>
                        <a:pt x="56" y="136"/>
                      </a:lnTo>
                      <a:lnTo>
                        <a:pt x="56" y="136"/>
                      </a:lnTo>
                      <a:lnTo>
                        <a:pt x="57" y="137"/>
                      </a:lnTo>
                      <a:lnTo>
                        <a:pt x="57" y="137"/>
                      </a:lnTo>
                      <a:lnTo>
                        <a:pt x="57" y="137"/>
                      </a:lnTo>
                      <a:lnTo>
                        <a:pt x="57" y="138"/>
                      </a:lnTo>
                      <a:lnTo>
                        <a:pt x="57" y="139"/>
                      </a:lnTo>
                      <a:lnTo>
                        <a:pt x="57" y="139"/>
                      </a:lnTo>
                      <a:lnTo>
                        <a:pt x="57" y="140"/>
                      </a:lnTo>
                      <a:lnTo>
                        <a:pt x="57" y="142"/>
                      </a:lnTo>
                      <a:lnTo>
                        <a:pt x="57" y="142"/>
                      </a:lnTo>
                      <a:lnTo>
                        <a:pt x="57" y="142"/>
                      </a:lnTo>
                      <a:lnTo>
                        <a:pt x="57" y="143"/>
                      </a:lnTo>
                      <a:lnTo>
                        <a:pt x="56" y="143"/>
                      </a:lnTo>
                      <a:lnTo>
                        <a:pt x="56" y="144"/>
                      </a:lnTo>
                      <a:lnTo>
                        <a:pt x="57" y="144"/>
                      </a:lnTo>
                      <a:lnTo>
                        <a:pt x="57" y="145"/>
                      </a:lnTo>
                      <a:lnTo>
                        <a:pt x="57" y="145"/>
                      </a:lnTo>
                      <a:lnTo>
                        <a:pt x="57" y="145"/>
                      </a:lnTo>
                      <a:lnTo>
                        <a:pt x="57" y="145"/>
                      </a:lnTo>
                      <a:lnTo>
                        <a:pt x="57" y="146"/>
                      </a:lnTo>
                      <a:lnTo>
                        <a:pt x="57" y="146"/>
                      </a:lnTo>
                      <a:lnTo>
                        <a:pt x="58" y="146"/>
                      </a:lnTo>
                      <a:lnTo>
                        <a:pt x="58" y="146"/>
                      </a:lnTo>
                      <a:lnTo>
                        <a:pt x="58" y="146"/>
                      </a:lnTo>
                      <a:lnTo>
                        <a:pt x="58" y="146"/>
                      </a:lnTo>
                      <a:lnTo>
                        <a:pt x="59" y="146"/>
                      </a:lnTo>
                      <a:lnTo>
                        <a:pt x="59" y="146"/>
                      </a:lnTo>
                      <a:lnTo>
                        <a:pt x="59" y="147"/>
                      </a:lnTo>
                      <a:lnTo>
                        <a:pt x="59" y="147"/>
                      </a:lnTo>
                      <a:lnTo>
                        <a:pt x="59" y="147"/>
                      </a:lnTo>
                      <a:lnTo>
                        <a:pt x="59" y="147"/>
                      </a:lnTo>
                      <a:lnTo>
                        <a:pt x="59" y="149"/>
                      </a:lnTo>
                      <a:lnTo>
                        <a:pt x="59" y="149"/>
                      </a:lnTo>
                      <a:lnTo>
                        <a:pt x="59" y="150"/>
                      </a:lnTo>
                      <a:lnTo>
                        <a:pt x="60" y="150"/>
                      </a:lnTo>
                      <a:lnTo>
                        <a:pt x="60" y="150"/>
                      </a:lnTo>
                      <a:lnTo>
                        <a:pt x="61" y="150"/>
                      </a:lnTo>
                      <a:lnTo>
                        <a:pt x="61" y="151"/>
                      </a:lnTo>
                      <a:lnTo>
                        <a:pt x="63" y="153"/>
                      </a:lnTo>
                      <a:lnTo>
                        <a:pt x="63" y="156"/>
                      </a:lnTo>
                      <a:lnTo>
                        <a:pt x="63" y="156"/>
                      </a:lnTo>
                      <a:lnTo>
                        <a:pt x="58" y="157"/>
                      </a:lnTo>
                      <a:lnTo>
                        <a:pt x="58" y="157"/>
                      </a:lnTo>
                      <a:lnTo>
                        <a:pt x="58" y="158"/>
                      </a:lnTo>
                      <a:lnTo>
                        <a:pt x="58" y="158"/>
                      </a:lnTo>
                      <a:lnTo>
                        <a:pt x="58" y="158"/>
                      </a:lnTo>
                      <a:lnTo>
                        <a:pt x="52" y="159"/>
                      </a:lnTo>
                      <a:lnTo>
                        <a:pt x="46" y="160"/>
                      </a:lnTo>
                      <a:lnTo>
                        <a:pt x="44" y="161"/>
                      </a:lnTo>
                      <a:lnTo>
                        <a:pt x="44" y="161"/>
                      </a:lnTo>
                      <a:lnTo>
                        <a:pt x="44" y="161"/>
                      </a:lnTo>
                      <a:lnTo>
                        <a:pt x="44" y="160"/>
                      </a:lnTo>
                      <a:lnTo>
                        <a:pt x="44" y="160"/>
                      </a:lnTo>
                      <a:lnTo>
                        <a:pt x="42" y="160"/>
                      </a:lnTo>
                      <a:lnTo>
                        <a:pt x="40" y="159"/>
                      </a:lnTo>
                      <a:lnTo>
                        <a:pt x="40" y="159"/>
                      </a:lnTo>
                      <a:lnTo>
                        <a:pt x="40" y="159"/>
                      </a:lnTo>
                      <a:lnTo>
                        <a:pt x="39" y="158"/>
                      </a:lnTo>
                      <a:lnTo>
                        <a:pt x="39" y="158"/>
                      </a:lnTo>
                      <a:lnTo>
                        <a:pt x="39" y="158"/>
                      </a:lnTo>
                      <a:lnTo>
                        <a:pt x="39" y="158"/>
                      </a:lnTo>
                      <a:lnTo>
                        <a:pt x="38" y="157"/>
                      </a:lnTo>
                      <a:lnTo>
                        <a:pt x="37" y="154"/>
                      </a:lnTo>
                      <a:lnTo>
                        <a:pt x="35" y="154"/>
                      </a:lnTo>
                      <a:lnTo>
                        <a:pt x="35" y="154"/>
                      </a:lnTo>
                      <a:lnTo>
                        <a:pt x="33" y="154"/>
                      </a:lnTo>
                      <a:lnTo>
                        <a:pt x="33" y="153"/>
                      </a:lnTo>
                      <a:lnTo>
                        <a:pt x="32" y="152"/>
                      </a:lnTo>
                      <a:lnTo>
                        <a:pt x="31" y="152"/>
                      </a:lnTo>
                      <a:lnTo>
                        <a:pt x="30" y="151"/>
                      </a:lnTo>
                      <a:lnTo>
                        <a:pt x="30" y="150"/>
                      </a:lnTo>
                      <a:lnTo>
                        <a:pt x="29" y="150"/>
                      </a:lnTo>
                      <a:lnTo>
                        <a:pt x="29" y="149"/>
                      </a:lnTo>
                      <a:lnTo>
                        <a:pt x="29" y="149"/>
                      </a:lnTo>
                      <a:lnTo>
                        <a:pt x="29" y="147"/>
                      </a:lnTo>
                      <a:lnTo>
                        <a:pt x="29" y="147"/>
                      </a:lnTo>
                      <a:lnTo>
                        <a:pt x="29" y="147"/>
                      </a:lnTo>
                      <a:lnTo>
                        <a:pt x="29" y="147"/>
                      </a:lnTo>
                      <a:lnTo>
                        <a:pt x="29" y="146"/>
                      </a:lnTo>
                      <a:lnTo>
                        <a:pt x="29" y="146"/>
                      </a:lnTo>
                      <a:lnTo>
                        <a:pt x="28" y="146"/>
                      </a:lnTo>
                      <a:lnTo>
                        <a:pt x="28" y="146"/>
                      </a:lnTo>
                      <a:lnTo>
                        <a:pt x="28" y="146"/>
                      </a:lnTo>
                      <a:lnTo>
                        <a:pt x="26" y="145"/>
                      </a:lnTo>
                      <a:lnTo>
                        <a:pt x="26" y="145"/>
                      </a:lnTo>
                      <a:lnTo>
                        <a:pt x="26" y="145"/>
                      </a:lnTo>
                      <a:lnTo>
                        <a:pt x="26" y="143"/>
                      </a:lnTo>
                      <a:lnTo>
                        <a:pt x="26" y="143"/>
                      </a:lnTo>
                      <a:lnTo>
                        <a:pt x="26" y="142"/>
                      </a:lnTo>
                      <a:lnTo>
                        <a:pt x="25" y="142"/>
                      </a:lnTo>
                      <a:lnTo>
                        <a:pt x="25" y="142"/>
                      </a:lnTo>
                      <a:lnTo>
                        <a:pt x="24" y="142"/>
                      </a:lnTo>
                      <a:lnTo>
                        <a:pt x="24" y="140"/>
                      </a:lnTo>
                      <a:lnTo>
                        <a:pt x="23" y="139"/>
                      </a:lnTo>
                      <a:lnTo>
                        <a:pt x="23" y="139"/>
                      </a:lnTo>
                      <a:lnTo>
                        <a:pt x="23" y="139"/>
                      </a:lnTo>
                      <a:lnTo>
                        <a:pt x="23" y="138"/>
                      </a:lnTo>
                      <a:lnTo>
                        <a:pt x="23" y="138"/>
                      </a:lnTo>
                      <a:lnTo>
                        <a:pt x="23" y="137"/>
                      </a:lnTo>
                      <a:lnTo>
                        <a:pt x="23" y="136"/>
                      </a:lnTo>
                      <a:lnTo>
                        <a:pt x="23" y="136"/>
                      </a:lnTo>
                      <a:lnTo>
                        <a:pt x="22" y="135"/>
                      </a:lnTo>
                      <a:lnTo>
                        <a:pt x="22" y="135"/>
                      </a:lnTo>
                      <a:lnTo>
                        <a:pt x="22" y="135"/>
                      </a:lnTo>
                      <a:lnTo>
                        <a:pt x="23" y="135"/>
                      </a:lnTo>
                      <a:lnTo>
                        <a:pt x="24" y="133"/>
                      </a:lnTo>
                      <a:lnTo>
                        <a:pt x="24" y="133"/>
                      </a:lnTo>
                      <a:lnTo>
                        <a:pt x="25" y="132"/>
                      </a:lnTo>
                      <a:lnTo>
                        <a:pt x="25" y="131"/>
                      </a:lnTo>
                      <a:lnTo>
                        <a:pt x="25" y="130"/>
                      </a:lnTo>
                      <a:lnTo>
                        <a:pt x="25" y="129"/>
                      </a:lnTo>
                      <a:lnTo>
                        <a:pt x="25" y="126"/>
                      </a:lnTo>
                      <a:lnTo>
                        <a:pt x="26" y="125"/>
                      </a:lnTo>
                      <a:lnTo>
                        <a:pt x="26" y="124"/>
                      </a:lnTo>
                      <a:lnTo>
                        <a:pt x="26" y="123"/>
                      </a:lnTo>
                      <a:lnTo>
                        <a:pt x="26" y="121"/>
                      </a:lnTo>
                      <a:lnTo>
                        <a:pt x="25" y="121"/>
                      </a:lnTo>
                      <a:lnTo>
                        <a:pt x="24" y="121"/>
                      </a:lnTo>
                      <a:lnTo>
                        <a:pt x="24" y="122"/>
                      </a:lnTo>
                      <a:lnTo>
                        <a:pt x="23" y="121"/>
                      </a:lnTo>
                      <a:lnTo>
                        <a:pt x="22" y="121"/>
                      </a:lnTo>
                      <a:lnTo>
                        <a:pt x="22" y="119"/>
                      </a:lnTo>
                      <a:lnTo>
                        <a:pt x="22" y="117"/>
                      </a:lnTo>
                      <a:lnTo>
                        <a:pt x="22" y="116"/>
                      </a:lnTo>
                      <a:lnTo>
                        <a:pt x="22" y="115"/>
                      </a:lnTo>
                      <a:lnTo>
                        <a:pt x="22" y="115"/>
                      </a:lnTo>
                      <a:lnTo>
                        <a:pt x="22" y="115"/>
                      </a:lnTo>
                      <a:lnTo>
                        <a:pt x="23" y="115"/>
                      </a:lnTo>
                      <a:lnTo>
                        <a:pt x="23" y="114"/>
                      </a:lnTo>
                      <a:lnTo>
                        <a:pt x="24" y="114"/>
                      </a:lnTo>
                      <a:lnTo>
                        <a:pt x="24" y="114"/>
                      </a:lnTo>
                      <a:lnTo>
                        <a:pt x="24" y="112"/>
                      </a:lnTo>
                      <a:lnTo>
                        <a:pt x="24" y="111"/>
                      </a:lnTo>
                      <a:lnTo>
                        <a:pt x="24" y="111"/>
                      </a:lnTo>
                      <a:lnTo>
                        <a:pt x="25" y="111"/>
                      </a:lnTo>
                      <a:lnTo>
                        <a:pt x="25" y="110"/>
                      </a:lnTo>
                      <a:lnTo>
                        <a:pt x="25" y="109"/>
                      </a:lnTo>
                      <a:lnTo>
                        <a:pt x="25" y="107"/>
                      </a:lnTo>
                      <a:lnTo>
                        <a:pt x="25" y="105"/>
                      </a:lnTo>
                      <a:lnTo>
                        <a:pt x="25" y="104"/>
                      </a:lnTo>
                      <a:lnTo>
                        <a:pt x="24" y="103"/>
                      </a:lnTo>
                      <a:lnTo>
                        <a:pt x="24" y="102"/>
                      </a:lnTo>
                      <a:lnTo>
                        <a:pt x="24" y="101"/>
                      </a:lnTo>
                      <a:lnTo>
                        <a:pt x="24" y="100"/>
                      </a:lnTo>
                      <a:lnTo>
                        <a:pt x="24" y="98"/>
                      </a:lnTo>
                      <a:lnTo>
                        <a:pt x="24" y="97"/>
                      </a:lnTo>
                      <a:lnTo>
                        <a:pt x="24" y="97"/>
                      </a:lnTo>
                      <a:lnTo>
                        <a:pt x="24" y="97"/>
                      </a:lnTo>
                      <a:lnTo>
                        <a:pt x="24" y="96"/>
                      </a:lnTo>
                      <a:lnTo>
                        <a:pt x="24" y="96"/>
                      </a:lnTo>
                      <a:lnTo>
                        <a:pt x="24" y="96"/>
                      </a:lnTo>
                      <a:lnTo>
                        <a:pt x="24" y="96"/>
                      </a:lnTo>
                      <a:lnTo>
                        <a:pt x="24" y="95"/>
                      </a:lnTo>
                      <a:lnTo>
                        <a:pt x="24" y="95"/>
                      </a:lnTo>
                      <a:lnTo>
                        <a:pt x="24" y="95"/>
                      </a:lnTo>
                      <a:lnTo>
                        <a:pt x="24" y="95"/>
                      </a:lnTo>
                      <a:lnTo>
                        <a:pt x="24" y="95"/>
                      </a:lnTo>
                      <a:lnTo>
                        <a:pt x="25" y="94"/>
                      </a:lnTo>
                      <a:lnTo>
                        <a:pt x="26" y="94"/>
                      </a:lnTo>
                      <a:lnTo>
                        <a:pt x="28" y="93"/>
                      </a:lnTo>
                      <a:lnTo>
                        <a:pt x="28" y="93"/>
                      </a:lnTo>
                      <a:lnTo>
                        <a:pt x="28" y="91"/>
                      </a:lnTo>
                      <a:lnTo>
                        <a:pt x="28" y="91"/>
                      </a:lnTo>
                      <a:lnTo>
                        <a:pt x="28" y="91"/>
                      </a:lnTo>
                      <a:lnTo>
                        <a:pt x="28" y="91"/>
                      </a:lnTo>
                      <a:lnTo>
                        <a:pt x="28" y="90"/>
                      </a:lnTo>
                      <a:lnTo>
                        <a:pt x="28" y="90"/>
                      </a:lnTo>
                      <a:lnTo>
                        <a:pt x="28" y="90"/>
                      </a:lnTo>
                      <a:lnTo>
                        <a:pt x="28" y="90"/>
                      </a:lnTo>
                      <a:lnTo>
                        <a:pt x="28" y="89"/>
                      </a:lnTo>
                      <a:lnTo>
                        <a:pt x="28" y="89"/>
                      </a:lnTo>
                      <a:lnTo>
                        <a:pt x="26" y="88"/>
                      </a:lnTo>
                      <a:lnTo>
                        <a:pt x="25" y="87"/>
                      </a:lnTo>
                      <a:lnTo>
                        <a:pt x="25" y="86"/>
                      </a:lnTo>
                      <a:lnTo>
                        <a:pt x="23" y="84"/>
                      </a:lnTo>
                      <a:lnTo>
                        <a:pt x="22" y="84"/>
                      </a:lnTo>
                      <a:lnTo>
                        <a:pt x="22" y="83"/>
                      </a:lnTo>
                      <a:lnTo>
                        <a:pt x="21" y="83"/>
                      </a:lnTo>
                      <a:lnTo>
                        <a:pt x="19" y="82"/>
                      </a:lnTo>
                      <a:lnTo>
                        <a:pt x="18" y="80"/>
                      </a:lnTo>
                      <a:lnTo>
                        <a:pt x="17" y="79"/>
                      </a:lnTo>
                      <a:lnTo>
                        <a:pt x="17" y="77"/>
                      </a:lnTo>
                      <a:lnTo>
                        <a:pt x="17" y="76"/>
                      </a:lnTo>
                      <a:lnTo>
                        <a:pt x="17" y="76"/>
                      </a:lnTo>
                      <a:lnTo>
                        <a:pt x="17" y="76"/>
                      </a:lnTo>
                      <a:lnTo>
                        <a:pt x="18" y="76"/>
                      </a:lnTo>
                      <a:lnTo>
                        <a:pt x="18" y="77"/>
                      </a:lnTo>
                      <a:lnTo>
                        <a:pt x="18" y="76"/>
                      </a:lnTo>
                      <a:lnTo>
                        <a:pt x="18" y="76"/>
                      </a:lnTo>
                      <a:lnTo>
                        <a:pt x="18" y="76"/>
                      </a:lnTo>
                      <a:lnTo>
                        <a:pt x="19" y="76"/>
                      </a:lnTo>
                      <a:lnTo>
                        <a:pt x="19" y="76"/>
                      </a:lnTo>
                      <a:lnTo>
                        <a:pt x="19" y="76"/>
                      </a:lnTo>
                      <a:lnTo>
                        <a:pt x="21" y="76"/>
                      </a:lnTo>
                      <a:lnTo>
                        <a:pt x="21" y="76"/>
                      </a:lnTo>
                      <a:lnTo>
                        <a:pt x="21" y="75"/>
                      </a:lnTo>
                      <a:lnTo>
                        <a:pt x="21" y="75"/>
                      </a:lnTo>
                      <a:lnTo>
                        <a:pt x="21" y="75"/>
                      </a:lnTo>
                      <a:lnTo>
                        <a:pt x="21" y="75"/>
                      </a:lnTo>
                      <a:lnTo>
                        <a:pt x="22" y="74"/>
                      </a:lnTo>
                      <a:lnTo>
                        <a:pt x="21" y="72"/>
                      </a:lnTo>
                      <a:lnTo>
                        <a:pt x="19" y="69"/>
                      </a:lnTo>
                      <a:lnTo>
                        <a:pt x="19" y="69"/>
                      </a:lnTo>
                      <a:lnTo>
                        <a:pt x="19" y="69"/>
                      </a:lnTo>
                      <a:lnTo>
                        <a:pt x="19" y="68"/>
                      </a:lnTo>
                      <a:lnTo>
                        <a:pt x="19" y="68"/>
                      </a:lnTo>
                      <a:lnTo>
                        <a:pt x="19" y="67"/>
                      </a:lnTo>
                      <a:lnTo>
                        <a:pt x="19" y="66"/>
                      </a:lnTo>
                      <a:lnTo>
                        <a:pt x="19" y="65"/>
                      </a:lnTo>
                      <a:lnTo>
                        <a:pt x="21" y="65"/>
                      </a:lnTo>
                      <a:lnTo>
                        <a:pt x="21" y="65"/>
                      </a:lnTo>
                      <a:lnTo>
                        <a:pt x="22" y="63"/>
                      </a:lnTo>
                      <a:lnTo>
                        <a:pt x="22" y="63"/>
                      </a:lnTo>
                      <a:lnTo>
                        <a:pt x="21" y="62"/>
                      </a:lnTo>
                      <a:lnTo>
                        <a:pt x="21" y="61"/>
                      </a:lnTo>
                      <a:lnTo>
                        <a:pt x="21" y="61"/>
                      </a:lnTo>
                      <a:lnTo>
                        <a:pt x="22" y="61"/>
                      </a:lnTo>
                      <a:lnTo>
                        <a:pt x="22" y="60"/>
                      </a:lnTo>
                      <a:lnTo>
                        <a:pt x="22" y="60"/>
                      </a:lnTo>
                      <a:lnTo>
                        <a:pt x="22" y="59"/>
                      </a:lnTo>
                      <a:lnTo>
                        <a:pt x="22" y="58"/>
                      </a:lnTo>
                      <a:lnTo>
                        <a:pt x="22" y="56"/>
                      </a:lnTo>
                      <a:lnTo>
                        <a:pt x="22" y="56"/>
                      </a:lnTo>
                      <a:lnTo>
                        <a:pt x="21" y="55"/>
                      </a:lnTo>
                      <a:lnTo>
                        <a:pt x="21" y="55"/>
                      </a:lnTo>
                      <a:lnTo>
                        <a:pt x="21" y="55"/>
                      </a:lnTo>
                      <a:lnTo>
                        <a:pt x="21" y="55"/>
                      </a:lnTo>
                      <a:lnTo>
                        <a:pt x="21" y="55"/>
                      </a:lnTo>
                      <a:lnTo>
                        <a:pt x="21" y="55"/>
                      </a:lnTo>
                      <a:lnTo>
                        <a:pt x="21" y="54"/>
                      </a:lnTo>
                      <a:lnTo>
                        <a:pt x="21" y="54"/>
                      </a:lnTo>
                      <a:lnTo>
                        <a:pt x="18" y="54"/>
                      </a:lnTo>
                      <a:lnTo>
                        <a:pt x="18" y="54"/>
                      </a:lnTo>
                      <a:lnTo>
                        <a:pt x="17" y="54"/>
                      </a:lnTo>
                      <a:lnTo>
                        <a:pt x="16" y="54"/>
                      </a:lnTo>
                      <a:lnTo>
                        <a:pt x="16" y="54"/>
                      </a:lnTo>
                      <a:lnTo>
                        <a:pt x="16" y="54"/>
                      </a:lnTo>
                      <a:lnTo>
                        <a:pt x="16" y="55"/>
                      </a:lnTo>
                      <a:lnTo>
                        <a:pt x="15" y="55"/>
                      </a:lnTo>
                      <a:lnTo>
                        <a:pt x="15" y="55"/>
                      </a:lnTo>
                      <a:lnTo>
                        <a:pt x="14" y="56"/>
                      </a:lnTo>
                      <a:lnTo>
                        <a:pt x="12" y="56"/>
                      </a:lnTo>
                      <a:lnTo>
                        <a:pt x="12" y="56"/>
                      </a:lnTo>
                      <a:lnTo>
                        <a:pt x="12" y="55"/>
                      </a:lnTo>
                      <a:lnTo>
                        <a:pt x="12" y="55"/>
                      </a:lnTo>
                      <a:lnTo>
                        <a:pt x="12" y="55"/>
                      </a:lnTo>
                      <a:lnTo>
                        <a:pt x="12" y="54"/>
                      </a:lnTo>
                      <a:lnTo>
                        <a:pt x="14" y="54"/>
                      </a:lnTo>
                      <a:lnTo>
                        <a:pt x="14" y="54"/>
                      </a:lnTo>
                      <a:lnTo>
                        <a:pt x="15" y="54"/>
                      </a:lnTo>
                      <a:lnTo>
                        <a:pt x="15" y="53"/>
                      </a:lnTo>
                      <a:lnTo>
                        <a:pt x="15" y="53"/>
                      </a:lnTo>
                      <a:lnTo>
                        <a:pt x="14" y="53"/>
                      </a:lnTo>
                      <a:lnTo>
                        <a:pt x="14" y="53"/>
                      </a:lnTo>
                      <a:lnTo>
                        <a:pt x="12" y="53"/>
                      </a:lnTo>
                      <a:lnTo>
                        <a:pt x="12" y="53"/>
                      </a:lnTo>
                      <a:lnTo>
                        <a:pt x="12" y="53"/>
                      </a:lnTo>
                      <a:lnTo>
                        <a:pt x="12" y="53"/>
                      </a:lnTo>
                      <a:lnTo>
                        <a:pt x="12" y="52"/>
                      </a:lnTo>
                      <a:lnTo>
                        <a:pt x="12" y="52"/>
                      </a:lnTo>
                      <a:lnTo>
                        <a:pt x="12" y="51"/>
                      </a:lnTo>
                      <a:lnTo>
                        <a:pt x="14" y="52"/>
                      </a:lnTo>
                      <a:lnTo>
                        <a:pt x="15" y="51"/>
                      </a:lnTo>
                      <a:lnTo>
                        <a:pt x="15" y="51"/>
                      </a:lnTo>
                      <a:lnTo>
                        <a:pt x="16" y="51"/>
                      </a:lnTo>
                      <a:lnTo>
                        <a:pt x="16" y="51"/>
                      </a:lnTo>
                      <a:lnTo>
                        <a:pt x="17" y="51"/>
                      </a:lnTo>
                      <a:lnTo>
                        <a:pt x="17" y="51"/>
                      </a:lnTo>
                      <a:lnTo>
                        <a:pt x="17" y="49"/>
                      </a:lnTo>
                      <a:lnTo>
                        <a:pt x="16" y="49"/>
                      </a:lnTo>
                      <a:lnTo>
                        <a:pt x="15" y="51"/>
                      </a:lnTo>
                      <a:lnTo>
                        <a:pt x="14" y="51"/>
                      </a:lnTo>
                      <a:lnTo>
                        <a:pt x="14" y="49"/>
                      </a:lnTo>
                      <a:lnTo>
                        <a:pt x="14" y="48"/>
                      </a:lnTo>
                      <a:lnTo>
                        <a:pt x="14" y="47"/>
                      </a:lnTo>
                      <a:lnTo>
                        <a:pt x="15" y="48"/>
                      </a:lnTo>
                      <a:lnTo>
                        <a:pt x="15" y="48"/>
                      </a:lnTo>
                      <a:lnTo>
                        <a:pt x="16" y="48"/>
                      </a:lnTo>
                      <a:lnTo>
                        <a:pt x="16" y="48"/>
                      </a:lnTo>
                      <a:lnTo>
                        <a:pt x="16" y="47"/>
                      </a:lnTo>
                      <a:lnTo>
                        <a:pt x="16" y="47"/>
                      </a:lnTo>
                      <a:lnTo>
                        <a:pt x="16" y="47"/>
                      </a:lnTo>
                      <a:lnTo>
                        <a:pt x="16" y="46"/>
                      </a:lnTo>
                      <a:lnTo>
                        <a:pt x="16" y="46"/>
                      </a:lnTo>
                      <a:lnTo>
                        <a:pt x="15" y="46"/>
                      </a:lnTo>
                      <a:lnTo>
                        <a:pt x="15" y="45"/>
                      </a:lnTo>
                      <a:lnTo>
                        <a:pt x="16" y="42"/>
                      </a:lnTo>
                      <a:lnTo>
                        <a:pt x="16" y="42"/>
                      </a:lnTo>
                      <a:lnTo>
                        <a:pt x="16" y="41"/>
                      </a:lnTo>
                      <a:lnTo>
                        <a:pt x="16" y="40"/>
                      </a:lnTo>
                      <a:lnTo>
                        <a:pt x="16" y="40"/>
                      </a:lnTo>
                      <a:lnTo>
                        <a:pt x="16" y="40"/>
                      </a:lnTo>
                      <a:lnTo>
                        <a:pt x="17" y="39"/>
                      </a:lnTo>
                      <a:lnTo>
                        <a:pt x="17" y="39"/>
                      </a:lnTo>
                      <a:lnTo>
                        <a:pt x="16" y="39"/>
                      </a:lnTo>
                      <a:lnTo>
                        <a:pt x="16" y="38"/>
                      </a:lnTo>
                      <a:lnTo>
                        <a:pt x="16" y="38"/>
                      </a:lnTo>
                      <a:lnTo>
                        <a:pt x="16" y="38"/>
                      </a:lnTo>
                      <a:lnTo>
                        <a:pt x="16" y="37"/>
                      </a:lnTo>
                      <a:lnTo>
                        <a:pt x="16" y="37"/>
                      </a:lnTo>
                      <a:lnTo>
                        <a:pt x="16" y="37"/>
                      </a:lnTo>
                      <a:lnTo>
                        <a:pt x="17" y="37"/>
                      </a:lnTo>
                      <a:lnTo>
                        <a:pt x="17" y="37"/>
                      </a:lnTo>
                      <a:lnTo>
                        <a:pt x="17" y="37"/>
                      </a:lnTo>
                      <a:lnTo>
                        <a:pt x="17" y="37"/>
                      </a:lnTo>
                      <a:lnTo>
                        <a:pt x="17" y="35"/>
                      </a:lnTo>
                      <a:lnTo>
                        <a:pt x="17" y="35"/>
                      </a:lnTo>
                      <a:lnTo>
                        <a:pt x="17" y="34"/>
                      </a:lnTo>
                      <a:lnTo>
                        <a:pt x="17" y="34"/>
                      </a:lnTo>
                      <a:lnTo>
                        <a:pt x="16" y="34"/>
                      </a:lnTo>
                      <a:lnTo>
                        <a:pt x="16" y="33"/>
                      </a:lnTo>
                      <a:lnTo>
                        <a:pt x="16" y="32"/>
                      </a:lnTo>
                      <a:lnTo>
                        <a:pt x="16" y="31"/>
                      </a:lnTo>
                      <a:lnTo>
                        <a:pt x="16" y="30"/>
                      </a:lnTo>
                      <a:lnTo>
                        <a:pt x="16" y="30"/>
                      </a:lnTo>
                      <a:lnTo>
                        <a:pt x="17" y="28"/>
                      </a:lnTo>
                      <a:lnTo>
                        <a:pt x="17" y="28"/>
                      </a:lnTo>
                      <a:lnTo>
                        <a:pt x="17" y="27"/>
                      </a:lnTo>
                      <a:lnTo>
                        <a:pt x="16" y="27"/>
                      </a:lnTo>
                      <a:lnTo>
                        <a:pt x="15" y="27"/>
                      </a:lnTo>
                      <a:lnTo>
                        <a:pt x="15" y="27"/>
                      </a:lnTo>
                      <a:lnTo>
                        <a:pt x="15" y="27"/>
                      </a:lnTo>
                      <a:lnTo>
                        <a:pt x="15" y="26"/>
                      </a:lnTo>
                      <a:lnTo>
                        <a:pt x="14" y="26"/>
                      </a:lnTo>
                      <a:lnTo>
                        <a:pt x="14" y="26"/>
                      </a:lnTo>
                      <a:lnTo>
                        <a:pt x="14" y="25"/>
                      </a:lnTo>
                      <a:lnTo>
                        <a:pt x="14" y="25"/>
                      </a:lnTo>
                      <a:lnTo>
                        <a:pt x="14" y="25"/>
                      </a:lnTo>
                      <a:lnTo>
                        <a:pt x="14" y="24"/>
                      </a:lnTo>
                      <a:lnTo>
                        <a:pt x="14" y="24"/>
                      </a:lnTo>
                      <a:lnTo>
                        <a:pt x="12" y="25"/>
                      </a:lnTo>
                      <a:lnTo>
                        <a:pt x="12" y="25"/>
                      </a:lnTo>
                      <a:lnTo>
                        <a:pt x="12" y="25"/>
                      </a:lnTo>
                      <a:lnTo>
                        <a:pt x="11" y="25"/>
                      </a:lnTo>
                      <a:lnTo>
                        <a:pt x="11" y="24"/>
                      </a:lnTo>
                      <a:lnTo>
                        <a:pt x="11" y="24"/>
                      </a:lnTo>
                      <a:lnTo>
                        <a:pt x="11" y="25"/>
                      </a:lnTo>
                      <a:lnTo>
                        <a:pt x="10" y="25"/>
                      </a:lnTo>
                      <a:lnTo>
                        <a:pt x="10" y="25"/>
                      </a:lnTo>
                      <a:lnTo>
                        <a:pt x="10" y="25"/>
                      </a:lnTo>
                      <a:lnTo>
                        <a:pt x="9" y="21"/>
                      </a:lnTo>
                      <a:lnTo>
                        <a:pt x="8" y="21"/>
                      </a:lnTo>
                      <a:lnTo>
                        <a:pt x="7" y="20"/>
                      </a:lnTo>
                      <a:lnTo>
                        <a:pt x="7" y="20"/>
                      </a:lnTo>
                      <a:lnTo>
                        <a:pt x="6" y="19"/>
                      </a:lnTo>
                      <a:lnTo>
                        <a:pt x="6" y="19"/>
                      </a:lnTo>
                      <a:lnTo>
                        <a:pt x="6" y="19"/>
                      </a:lnTo>
                      <a:lnTo>
                        <a:pt x="4" y="18"/>
                      </a:lnTo>
                      <a:lnTo>
                        <a:pt x="4" y="18"/>
                      </a:lnTo>
                      <a:lnTo>
                        <a:pt x="4" y="18"/>
                      </a:lnTo>
                      <a:lnTo>
                        <a:pt x="3" y="18"/>
                      </a:lnTo>
                      <a:lnTo>
                        <a:pt x="3" y="18"/>
                      </a:lnTo>
                      <a:lnTo>
                        <a:pt x="2" y="18"/>
                      </a:lnTo>
                      <a:lnTo>
                        <a:pt x="2" y="18"/>
                      </a:lnTo>
                      <a:lnTo>
                        <a:pt x="2" y="17"/>
                      </a:lnTo>
                      <a:lnTo>
                        <a:pt x="2" y="17"/>
                      </a:lnTo>
                      <a:lnTo>
                        <a:pt x="2" y="16"/>
                      </a:lnTo>
                      <a:lnTo>
                        <a:pt x="2" y="14"/>
                      </a:lnTo>
                      <a:lnTo>
                        <a:pt x="2" y="14"/>
                      </a:lnTo>
                      <a:lnTo>
                        <a:pt x="2" y="13"/>
                      </a:lnTo>
                      <a:lnTo>
                        <a:pt x="2" y="12"/>
                      </a:lnTo>
                      <a:lnTo>
                        <a:pt x="3" y="12"/>
                      </a:lnTo>
                      <a:lnTo>
                        <a:pt x="3" y="12"/>
                      </a:lnTo>
                      <a:lnTo>
                        <a:pt x="3" y="11"/>
                      </a:lnTo>
                      <a:lnTo>
                        <a:pt x="3" y="11"/>
                      </a:lnTo>
                      <a:lnTo>
                        <a:pt x="3" y="11"/>
                      </a:lnTo>
                      <a:lnTo>
                        <a:pt x="3" y="10"/>
                      </a:lnTo>
                      <a:lnTo>
                        <a:pt x="4" y="6"/>
                      </a:lnTo>
                      <a:lnTo>
                        <a:pt x="4" y="6"/>
                      </a:lnTo>
                      <a:lnTo>
                        <a:pt x="4" y="6"/>
                      </a:lnTo>
                      <a:lnTo>
                        <a:pt x="4" y="6"/>
                      </a:lnTo>
                      <a:lnTo>
                        <a:pt x="6" y="6"/>
                      </a:lnTo>
                      <a:lnTo>
                        <a:pt x="6" y="5"/>
                      </a:lnTo>
                      <a:lnTo>
                        <a:pt x="6" y="4"/>
                      </a:lnTo>
                      <a:lnTo>
                        <a:pt x="6" y="3"/>
                      </a:lnTo>
                      <a:lnTo>
                        <a:pt x="4" y="3"/>
                      </a:lnTo>
                      <a:lnTo>
                        <a:pt x="3" y="2"/>
                      </a:lnTo>
                      <a:lnTo>
                        <a:pt x="3" y="2"/>
                      </a:lnTo>
                      <a:lnTo>
                        <a:pt x="2" y="3"/>
                      </a:lnTo>
                      <a:lnTo>
                        <a:pt x="1" y="3"/>
                      </a:lnTo>
                      <a:lnTo>
                        <a:pt x="1" y="3"/>
                      </a:lnTo>
                      <a:lnTo>
                        <a:pt x="0" y="2"/>
                      </a:lnTo>
                      <a:lnTo>
                        <a:pt x="0" y="2"/>
                      </a:lnTo>
                      <a:lnTo>
                        <a:pt x="0" y="0"/>
                      </a:lnTo>
                      <a:lnTo>
                        <a:pt x="1" y="2"/>
                      </a:lnTo>
                      <a:lnTo>
                        <a:pt x="2" y="2"/>
                      </a:lnTo>
                      <a:lnTo>
                        <a:pt x="7" y="3"/>
                      </a:lnTo>
                      <a:lnTo>
                        <a:pt x="14" y="4"/>
                      </a:lnTo>
                      <a:lnTo>
                        <a:pt x="16" y="4"/>
                      </a:lnTo>
                      <a:lnTo>
                        <a:pt x="19" y="5"/>
                      </a:lnTo>
                      <a:lnTo>
                        <a:pt x="21" y="5"/>
                      </a:lnTo>
                      <a:lnTo>
                        <a:pt x="21" y="5"/>
                      </a:lnTo>
                      <a:lnTo>
                        <a:pt x="21" y="5"/>
                      </a:lnTo>
                      <a:lnTo>
                        <a:pt x="21" y="5"/>
                      </a:lnTo>
                      <a:lnTo>
                        <a:pt x="21" y="5"/>
                      </a:lnTo>
                      <a:lnTo>
                        <a:pt x="19" y="5"/>
                      </a:lnTo>
                      <a:lnTo>
                        <a:pt x="19" y="6"/>
                      </a:lnTo>
                      <a:lnTo>
                        <a:pt x="21" y="6"/>
                      </a:lnTo>
                      <a:lnTo>
                        <a:pt x="21" y="7"/>
                      </a:lnTo>
                      <a:lnTo>
                        <a:pt x="24" y="6"/>
                      </a:lnTo>
                      <a:lnTo>
                        <a:pt x="26" y="5"/>
                      </a:lnTo>
                      <a:lnTo>
                        <a:pt x="29" y="5"/>
                      </a:lnTo>
                      <a:lnTo>
                        <a:pt x="33" y="5"/>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2" name="Freeform 124">
                  <a:extLst>
                    <a:ext uri="{FF2B5EF4-FFF2-40B4-BE49-F238E27FC236}">
                      <a16:creationId xmlns:a16="http://schemas.microsoft.com/office/drawing/2014/main" id="{63887EE3-2280-7DE1-4465-41671AFF5661}"/>
                    </a:ext>
                  </a:extLst>
                </p:cNvPr>
                <p:cNvSpPr>
                  <a:spLocks/>
                </p:cNvSpPr>
                <p:nvPr/>
              </p:nvSpPr>
              <p:spPr bwMode="auto">
                <a:xfrm>
                  <a:off x="6983067" y="4079865"/>
                  <a:ext cx="399160" cy="342909"/>
                </a:xfrm>
                <a:custGeom>
                  <a:avLst/>
                  <a:gdLst>
                    <a:gd name="T0" fmla="*/ 307 w 369"/>
                    <a:gd name="T1" fmla="*/ 22 h 317"/>
                    <a:gd name="T2" fmla="*/ 329 w 369"/>
                    <a:gd name="T3" fmla="*/ 29 h 317"/>
                    <a:gd name="T4" fmla="*/ 348 w 369"/>
                    <a:gd name="T5" fmla="*/ 44 h 317"/>
                    <a:gd name="T6" fmla="*/ 358 w 369"/>
                    <a:gd name="T7" fmla="*/ 53 h 317"/>
                    <a:gd name="T8" fmla="*/ 369 w 369"/>
                    <a:gd name="T9" fmla="*/ 74 h 317"/>
                    <a:gd name="T10" fmla="*/ 356 w 369"/>
                    <a:gd name="T11" fmla="*/ 85 h 317"/>
                    <a:gd name="T12" fmla="*/ 355 w 369"/>
                    <a:gd name="T13" fmla="*/ 107 h 317"/>
                    <a:gd name="T14" fmla="*/ 357 w 369"/>
                    <a:gd name="T15" fmla="*/ 130 h 317"/>
                    <a:gd name="T16" fmla="*/ 352 w 369"/>
                    <a:gd name="T17" fmla="*/ 139 h 317"/>
                    <a:gd name="T18" fmla="*/ 345 w 369"/>
                    <a:gd name="T19" fmla="*/ 156 h 317"/>
                    <a:gd name="T20" fmla="*/ 337 w 369"/>
                    <a:gd name="T21" fmla="*/ 171 h 317"/>
                    <a:gd name="T22" fmla="*/ 345 w 369"/>
                    <a:gd name="T23" fmla="*/ 183 h 317"/>
                    <a:gd name="T24" fmla="*/ 326 w 369"/>
                    <a:gd name="T25" fmla="*/ 194 h 317"/>
                    <a:gd name="T26" fmla="*/ 271 w 369"/>
                    <a:gd name="T27" fmla="*/ 212 h 317"/>
                    <a:gd name="T28" fmla="*/ 264 w 369"/>
                    <a:gd name="T29" fmla="*/ 235 h 317"/>
                    <a:gd name="T30" fmla="*/ 245 w 369"/>
                    <a:gd name="T31" fmla="*/ 237 h 317"/>
                    <a:gd name="T32" fmla="*/ 216 w 369"/>
                    <a:gd name="T33" fmla="*/ 251 h 317"/>
                    <a:gd name="T34" fmla="*/ 207 w 369"/>
                    <a:gd name="T35" fmla="*/ 265 h 317"/>
                    <a:gd name="T36" fmla="*/ 199 w 369"/>
                    <a:gd name="T37" fmla="*/ 268 h 317"/>
                    <a:gd name="T38" fmla="*/ 188 w 369"/>
                    <a:gd name="T39" fmla="*/ 276 h 317"/>
                    <a:gd name="T40" fmla="*/ 180 w 369"/>
                    <a:gd name="T41" fmla="*/ 279 h 317"/>
                    <a:gd name="T42" fmla="*/ 174 w 369"/>
                    <a:gd name="T43" fmla="*/ 288 h 317"/>
                    <a:gd name="T44" fmla="*/ 170 w 369"/>
                    <a:gd name="T45" fmla="*/ 298 h 317"/>
                    <a:gd name="T46" fmla="*/ 160 w 369"/>
                    <a:gd name="T47" fmla="*/ 309 h 317"/>
                    <a:gd name="T48" fmla="*/ 145 w 369"/>
                    <a:gd name="T49" fmla="*/ 316 h 317"/>
                    <a:gd name="T50" fmla="*/ 126 w 369"/>
                    <a:gd name="T51" fmla="*/ 314 h 317"/>
                    <a:gd name="T52" fmla="*/ 105 w 369"/>
                    <a:gd name="T53" fmla="*/ 307 h 317"/>
                    <a:gd name="T54" fmla="*/ 89 w 369"/>
                    <a:gd name="T55" fmla="*/ 298 h 317"/>
                    <a:gd name="T56" fmla="*/ 71 w 369"/>
                    <a:gd name="T57" fmla="*/ 297 h 317"/>
                    <a:gd name="T58" fmla="*/ 48 w 369"/>
                    <a:gd name="T59" fmla="*/ 302 h 317"/>
                    <a:gd name="T60" fmla="*/ 34 w 369"/>
                    <a:gd name="T61" fmla="*/ 292 h 317"/>
                    <a:gd name="T62" fmla="*/ 17 w 369"/>
                    <a:gd name="T63" fmla="*/ 278 h 317"/>
                    <a:gd name="T64" fmla="*/ 5 w 369"/>
                    <a:gd name="T65" fmla="*/ 261 h 317"/>
                    <a:gd name="T66" fmla="*/ 0 w 369"/>
                    <a:gd name="T67" fmla="*/ 233 h 317"/>
                    <a:gd name="T68" fmla="*/ 0 w 369"/>
                    <a:gd name="T69" fmla="*/ 162 h 317"/>
                    <a:gd name="T70" fmla="*/ 63 w 369"/>
                    <a:gd name="T71" fmla="*/ 151 h 317"/>
                    <a:gd name="T72" fmla="*/ 63 w 369"/>
                    <a:gd name="T73" fmla="*/ 125 h 317"/>
                    <a:gd name="T74" fmla="*/ 64 w 369"/>
                    <a:gd name="T75" fmla="*/ 92 h 317"/>
                    <a:gd name="T76" fmla="*/ 70 w 369"/>
                    <a:gd name="T77" fmla="*/ 88 h 317"/>
                    <a:gd name="T78" fmla="*/ 76 w 369"/>
                    <a:gd name="T79" fmla="*/ 101 h 317"/>
                    <a:gd name="T80" fmla="*/ 101 w 369"/>
                    <a:gd name="T81" fmla="*/ 95 h 317"/>
                    <a:gd name="T82" fmla="*/ 109 w 369"/>
                    <a:gd name="T83" fmla="*/ 110 h 317"/>
                    <a:gd name="T84" fmla="*/ 126 w 369"/>
                    <a:gd name="T85" fmla="*/ 116 h 317"/>
                    <a:gd name="T86" fmla="*/ 150 w 369"/>
                    <a:gd name="T87" fmla="*/ 120 h 317"/>
                    <a:gd name="T88" fmla="*/ 163 w 369"/>
                    <a:gd name="T89" fmla="*/ 106 h 317"/>
                    <a:gd name="T90" fmla="*/ 184 w 369"/>
                    <a:gd name="T91" fmla="*/ 128 h 317"/>
                    <a:gd name="T92" fmla="*/ 202 w 369"/>
                    <a:gd name="T93" fmla="*/ 136 h 317"/>
                    <a:gd name="T94" fmla="*/ 215 w 369"/>
                    <a:gd name="T95" fmla="*/ 152 h 317"/>
                    <a:gd name="T96" fmla="*/ 227 w 369"/>
                    <a:gd name="T97" fmla="*/ 166 h 317"/>
                    <a:gd name="T98" fmla="*/ 241 w 369"/>
                    <a:gd name="T99" fmla="*/ 165 h 317"/>
                    <a:gd name="T100" fmla="*/ 242 w 369"/>
                    <a:gd name="T101" fmla="*/ 127 h 317"/>
                    <a:gd name="T102" fmla="*/ 233 w 369"/>
                    <a:gd name="T103" fmla="*/ 132 h 317"/>
                    <a:gd name="T104" fmla="*/ 213 w 369"/>
                    <a:gd name="T105" fmla="*/ 121 h 317"/>
                    <a:gd name="T106" fmla="*/ 201 w 369"/>
                    <a:gd name="T107" fmla="*/ 102 h 317"/>
                    <a:gd name="T108" fmla="*/ 207 w 369"/>
                    <a:gd name="T109" fmla="*/ 81 h 317"/>
                    <a:gd name="T110" fmla="*/ 209 w 369"/>
                    <a:gd name="T111" fmla="*/ 66 h 317"/>
                    <a:gd name="T112" fmla="*/ 209 w 369"/>
                    <a:gd name="T113" fmla="*/ 46 h 317"/>
                    <a:gd name="T114" fmla="*/ 212 w 369"/>
                    <a:gd name="T115" fmla="*/ 38 h 317"/>
                    <a:gd name="T116" fmla="*/ 220 w 369"/>
                    <a:gd name="T117" fmla="*/ 25 h 317"/>
                    <a:gd name="T118" fmla="*/ 248 w 369"/>
                    <a:gd name="T119" fmla="*/ 3 h 317"/>
                    <a:gd name="T120" fmla="*/ 270 w 369"/>
                    <a:gd name="T121" fmla="*/ 10 h 317"/>
                    <a:gd name="T122" fmla="*/ 285 w 369"/>
                    <a:gd name="T123" fmla="*/ 18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9" h="317">
                      <a:moveTo>
                        <a:pt x="290" y="11"/>
                      </a:moveTo>
                      <a:lnTo>
                        <a:pt x="291" y="11"/>
                      </a:lnTo>
                      <a:lnTo>
                        <a:pt x="292" y="12"/>
                      </a:lnTo>
                      <a:lnTo>
                        <a:pt x="293" y="12"/>
                      </a:lnTo>
                      <a:lnTo>
                        <a:pt x="294" y="11"/>
                      </a:lnTo>
                      <a:lnTo>
                        <a:pt x="295" y="11"/>
                      </a:lnTo>
                      <a:lnTo>
                        <a:pt x="295" y="12"/>
                      </a:lnTo>
                      <a:lnTo>
                        <a:pt x="297" y="12"/>
                      </a:lnTo>
                      <a:lnTo>
                        <a:pt x="298" y="12"/>
                      </a:lnTo>
                      <a:lnTo>
                        <a:pt x="299" y="14"/>
                      </a:lnTo>
                      <a:lnTo>
                        <a:pt x="300" y="15"/>
                      </a:lnTo>
                      <a:lnTo>
                        <a:pt x="301" y="15"/>
                      </a:lnTo>
                      <a:lnTo>
                        <a:pt x="301" y="16"/>
                      </a:lnTo>
                      <a:lnTo>
                        <a:pt x="301" y="17"/>
                      </a:lnTo>
                      <a:lnTo>
                        <a:pt x="301" y="18"/>
                      </a:lnTo>
                      <a:lnTo>
                        <a:pt x="302" y="19"/>
                      </a:lnTo>
                      <a:lnTo>
                        <a:pt x="306" y="22"/>
                      </a:lnTo>
                      <a:lnTo>
                        <a:pt x="307" y="22"/>
                      </a:lnTo>
                      <a:lnTo>
                        <a:pt x="308" y="21"/>
                      </a:lnTo>
                      <a:lnTo>
                        <a:pt x="309" y="21"/>
                      </a:lnTo>
                      <a:lnTo>
                        <a:pt x="314" y="22"/>
                      </a:lnTo>
                      <a:lnTo>
                        <a:pt x="313" y="23"/>
                      </a:lnTo>
                      <a:lnTo>
                        <a:pt x="313" y="25"/>
                      </a:lnTo>
                      <a:lnTo>
                        <a:pt x="314" y="26"/>
                      </a:lnTo>
                      <a:lnTo>
                        <a:pt x="315" y="26"/>
                      </a:lnTo>
                      <a:lnTo>
                        <a:pt x="316" y="26"/>
                      </a:lnTo>
                      <a:lnTo>
                        <a:pt x="316" y="25"/>
                      </a:lnTo>
                      <a:lnTo>
                        <a:pt x="318" y="25"/>
                      </a:lnTo>
                      <a:lnTo>
                        <a:pt x="319" y="26"/>
                      </a:lnTo>
                      <a:lnTo>
                        <a:pt x="320" y="26"/>
                      </a:lnTo>
                      <a:lnTo>
                        <a:pt x="321" y="26"/>
                      </a:lnTo>
                      <a:lnTo>
                        <a:pt x="322" y="28"/>
                      </a:lnTo>
                      <a:lnTo>
                        <a:pt x="322" y="29"/>
                      </a:lnTo>
                      <a:lnTo>
                        <a:pt x="323" y="29"/>
                      </a:lnTo>
                      <a:lnTo>
                        <a:pt x="328" y="29"/>
                      </a:lnTo>
                      <a:lnTo>
                        <a:pt x="329" y="29"/>
                      </a:lnTo>
                      <a:lnTo>
                        <a:pt x="330" y="30"/>
                      </a:lnTo>
                      <a:lnTo>
                        <a:pt x="332" y="31"/>
                      </a:lnTo>
                      <a:lnTo>
                        <a:pt x="332" y="32"/>
                      </a:lnTo>
                      <a:lnTo>
                        <a:pt x="333" y="32"/>
                      </a:lnTo>
                      <a:lnTo>
                        <a:pt x="336" y="33"/>
                      </a:lnTo>
                      <a:lnTo>
                        <a:pt x="338" y="33"/>
                      </a:lnTo>
                      <a:lnTo>
                        <a:pt x="338" y="35"/>
                      </a:lnTo>
                      <a:lnTo>
                        <a:pt x="340" y="35"/>
                      </a:lnTo>
                      <a:lnTo>
                        <a:pt x="341" y="35"/>
                      </a:lnTo>
                      <a:lnTo>
                        <a:pt x="342" y="36"/>
                      </a:lnTo>
                      <a:lnTo>
                        <a:pt x="344" y="37"/>
                      </a:lnTo>
                      <a:lnTo>
                        <a:pt x="344" y="39"/>
                      </a:lnTo>
                      <a:lnTo>
                        <a:pt x="345" y="39"/>
                      </a:lnTo>
                      <a:lnTo>
                        <a:pt x="347" y="39"/>
                      </a:lnTo>
                      <a:lnTo>
                        <a:pt x="347" y="40"/>
                      </a:lnTo>
                      <a:lnTo>
                        <a:pt x="347" y="42"/>
                      </a:lnTo>
                      <a:lnTo>
                        <a:pt x="347" y="44"/>
                      </a:lnTo>
                      <a:lnTo>
                        <a:pt x="348" y="44"/>
                      </a:lnTo>
                      <a:lnTo>
                        <a:pt x="349" y="44"/>
                      </a:lnTo>
                      <a:lnTo>
                        <a:pt x="349" y="45"/>
                      </a:lnTo>
                      <a:lnTo>
                        <a:pt x="350" y="45"/>
                      </a:lnTo>
                      <a:lnTo>
                        <a:pt x="350" y="44"/>
                      </a:lnTo>
                      <a:lnTo>
                        <a:pt x="350" y="43"/>
                      </a:lnTo>
                      <a:lnTo>
                        <a:pt x="351" y="44"/>
                      </a:lnTo>
                      <a:lnTo>
                        <a:pt x="352" y="44"/>
                      </a:lnTo>
                      <a:lnTo>
                        <a:pt x="354" y="44"/>
                      </a:lnTo>
                      <a:lnTo>
                        <a:pt x="354" y="45"/>
                      </a:lnTo>
                      <a:lnTo>
                        <a:pt x="354" y="46"/>
                      </a:lnTo>
                      <a:lnTo>
                        <a:pt x="354" y="47"/>
                      </a:lnTo>
                      <a:lnTo>
                        <a:pt x="355" y="47"/>
                      </a:lnTo>
                      <a:lnTo>
                        <a:pt x="355" y="49"/>
                      </a:lnTo>
                      <a:lnTo>
                        <a:pt x="356" y="50"/>
                      </a:lnTo>
                      <a:lnTo>
                        <a:pt x="357" y="50"/>
                      </a:lnTo>
                      <a:lnTo>
                        <a:pt x="358" y="51"/>
                      </a:lnTo>
                      <a:lnTo>
                        <a:pt x="358" y="52"/>
                      </a:lnTo>
                      <a:lnTo>
                        <a:pt x="358" y="53"/>
                      </a:lnTo>
                      <a:lnTo>
                        <a:pt x="357" y="56"/>
                      </a:lnTo>
                      <a:lnTo>
                        <a:pt x="357" y="57"/>
                      </a:lnTo>
                      <a:lnTo>
                        <a:pt x="357" y="58"/>
                      </a:lnTo>
                      <a:lnTo>
                        <a:pt x="357" y="59"/>
                      </a:lnTo>
                      <a:lnTo>
                        <a:pt x="359" y="60"/>
                      </a:lnTo>
                      <a:lnTo>
                        <a:pt x="361" y="60"/>
                      </a:lnTo>
                      <a:lnTo>
                        <a:pt x="361" y="61"/>
                      </a:lnTo>
                      <a:lnTo>
                        <a:pt x="362" y="61"/>
                      </a:lnTo>
                      <a:lnTo>
                        <a:pt x="363" y="63"/>
                      </a:lnTo>
                      <a:lnTo>
                        <a:pt x="364" y="64"/>
                      </a:lnTo>
                      <a:lnTo>
                        <a:pt x="364" y="65"/>
                      </a:lnTo>
                      <a:lnTo>
                        <a:pt x="364" y="66"/>
                      </a:lnTo>
                      <a:lnTo>
                        <a:pt x="364" y="67"/>
                      </a:lnTo>
                      <a:lnTo>
                        <a:pt x="365" y="70"/>
                      </a:lnTo>
                      <a:lnTo>
                        <a:pt x="366" y="71"/>
                      </a:lnTo>
                      <a:lnTo>
                        <a:pt x="366" y="72"/>
                      </a:lnTo>
                      <a:lnTo>
                        <a:pt x="368" y="73"/>
                      </a:lnTo>
                      <a:lnTo>
                        <a:pt x="369" y="74"/>
                      </a:lnTo>
                      <a:lnTo>
                        <a:pt x="368" y="75"/>
                      </a:lnTo>
                      <a:lnTo>
                        <a:pt x="366" y="77"/>
                      </a:lnTo>
                      <a:lnTo>
                        <a:pt x="365" y="77"/>
                      </a:lnTo>
                      <a:lnTo>
                        <a:pt x="365" y="78"/>
                      </a:lnTo>
                      <a:lnTo>
                        <a:pt x="364" y="79"/>
                      </a:lnTo>
                      <a:lnTo>
                        <a:pt x="363" y="80"/>
                      </a:lnTo>
                      <a:lnTo>
                        <a:pt x="363" y="81"/>
                      </a:lnTo>
                      <a:lnTo>
                        <a:pt x="362" y="81"/>
                      </a:lnTo>
                      <a:lnTo>
                        <a:pt x="361" y="81"/>
                      </a:lnTo>
                      <a:lnTo>
                        <a:pt x="361" y="82"/>
                      </a:lnTo>
                      <a:lnTo>
                        <a:pt x="359" y="81"/>
                      </a:lnTo>
                      <a:lnTo>
                        <a:pt x="358" y="81"/>
                      </a:lnTo>
                      <a:lnTo>
                        <a:pt x="358" y="82"/>
                      </a:lnTo>
                      <a:lnTo>
                        <a:pt x="357" y="82"/>
                      </a:lnTo>
                      <a:lnTo>
                        <a:pt x="356" y="84"/>
                      </a:lnTo>
                      <a:lnTo>
                        <a:pt x="355" y="84"/>
                      </a:lnTo>
                      <a:lnTo>
                        <a:pt x="355" y="85"/>
                      </a:lnTo>
                      <a:lnTo>
                        <a:pt x="356" y="85"/>
                      </a:lnTo>
                      <a:lnTo>
                        <a:pt x="356" y="86"/>
                      </a:lnTo>
                      <a:lnTo>
                        <a:pt x="356" y="87"/>
                      </a:lnTo>
                      <a:lnTo>
                        <a:pt x="356" y="88"/>
                      </a:lnTo>
                      <a:lnTo>
                        <a:pt x="357" y="89"/>
                      </a:lnTo>
                      <a:lnTo>
                        <a:pt x="357" y="90"/>
                      </a:lnTo>
                      <a:lnTo>
                        <a:pt x="358" y="92"/>
                      </a:lnTo>
                      <a:lnTo>
                        <a:pt x="359" y="93"/>
                      </a:lnTo>
                      <a:lnTo>
                        <a:pt x="359" y="94"/>
                      </a:lnTo>
                      <a:lnTo>
                        <a:pt x="358" y="95"/>
                      </a:lnTo>
                      <a:lnTo>
                        <a:pt x="356" y="99"/>
                      </a:lnTo>
                      <a:lnTo>
                        <a:pt x="356" y="100"/>
                      </a:lnTo>
                      <a:lnTo>
                        <a:pt x="356" y="101"/>
                      </a:lnTo>
                      <a:lnTo>
                        <a:pt x="355" y="101"/>
                      </a:lnTo>
                      <a:lnTo>
                        <a:pt x="355" y="104"/>
                      </a:lnTo>
                      <a:lnTo>
                        <a:pt x="354" y="104"/>
                      </a:lnTo>
                      <a:lnTo>
                        <a:pt x="354" y="106"/>
                      </a:lnTo>
                      <a:lnTo>
                        <a:pt x="354" y="107"/>
                      </a:lnTo>
                      <a:lnTo>
                        <a:pt x="355" y="107"/>
                      </a:lnTo>
                      <a:lnTo>
                        <a:pt x="356" y="107"/>
                      </a:lnTo>
                      <a:lnTo>
                        <a:pt x="356" y="108"/>
                      </a:lnTo>
                      <a:lnTo>
                        <a:pt x="357" y="113"/>
                      </a:lnTo>
                      <a:lnTo>
                        <a:pt x="357" y="114"/>
                      </a:lnTo>
                      <a:lnTo>
                        <a:pt x="356" y="115"/>
                      </a:lnTo>
                      <a:lnTo>
                        <a:pt x="356" y="116"/>
                      </a:lnTo>
                      <a:lnTo>
                        <a:pt x="357" y="116"/>
                      </a:lnTo>
                      <a:lnTo>
                        <a:pt x="357" y="117"/>
                      </a:lnTo>
                      <a:lnTo>
                        <a:pt x="356" y="117"/>
                      </a:lnTo>
                      <a:lnTo>
                        <a:pt x="356" y="120"/>
                      </a:lnTo>
                      <a:lnTo>
                        <a:pt x="355" y="122"/>
                      </a:lnTo>
                      <a:lnTo>
                        <a:pt x="355" y="123"/>
                      </a:lnTo>
                      <a:lnTo>
                        <a:pt x="355" y="124"/>
                      </a:lnTo>
                      <a:lnTo>
                        <a:pt x="355" y="125"/>
                      </a:lnTo>
                      <a:lnTo>
                        <a:pt x="356" y="125"/>
                      </a:lnTo>
                      <a:lnTo>
                        <a:pt x="356" y="127"/>
                      </a:lnTo>
                      <a:lnTo>
                        <a:pt x="357" y="128"/>
                      </a:lnTo>
                      <a:lnTo>
                        <a:pt x="357" y="130"/>
                      </a:lnTo>
                      <a:lnTo>
                        <a:pt x="358" y="130"/>
                      </a:lnTo>
                      <a:lnTo>
                        <a:pt x="359" y="131"/>
                      </a:lnTo>
                      <a:lnTo>
                        <a:pt x="362" y="130"/>
                      </a:lnTo>
                      <a:lnTo>
                        <a:pt x="363" y="130"/>
                      </a:lnTo>
                      <a:lnTo>
                        <a:pt x="363" y="131"/>
                      </a:lnTo>
                      <a:lnTo>
                        <a:pt x="363" y="132"/>
                      </a:lnTo>
                      <a:lnTo>
                        <a:pt x="362" y="132"/>
                      </a:lnTo>
                      <a:lnTo>
                        <a:pt x="362" y="134"/>
                      </a:lnTo>
                      <a:lnTo>
                        <a:pt x="361" y="135"/>
                      </a:lnTo>
                      <a:lnTo>
                        <a:pt x="359" y="135"/>
                      </a:lnTo>
                      <a:lnTo>
                        <a:pt x="359" y="136"/>
                      </a:lnTo>
                      <a:lnTo>
                        <a:pt x="358" y="137"/>
                      </a:lnTo>
                      <a:lnTo>
                        <a:pt x="357" y="137"/>
                      </a:lnTo>
                      <a:lnTo>
                        <a:pt x="356" y="137"/>
                      </a:lnTo>
                      <a:lnTo>
                        <a:pt x="355" y="137"/>
                      </a:lnTo>
                      <a:lnTo>
                        <a:pt x="354" y="138"/>
                      </a:lnTo>
                      <a:lnTo>
                        <a:pt x="354" y="139"/>
                      </a:lnTo>
                      <a:lnTo>
                        <a:pt x="352" y="139"/>
                      </a:lnTo>
                      <a:lnTo>
                        <a:pt x="351" y="139"/>
                      </a:lnTo>
                      <a:lnTo>
                        <a:pt x="351" y="138"/>
                      </a:lnTo>
                      <a:lnTo>
                        <a:pt x="350" y="138"/>
                      </a:lnTo>
                      <a:lnTo>
                        <a:pt x="350" y="139"/>
                      </a:lnTo>
                      <a:lnTo>
                        <a:pt x="349" y="139"/>
                      </a:lnTo>
                      <a:lnTo>
                        <a:pt x="349" y="138"/>
                      </a:lnTo>
                      <a:lnTo>
                        <a:pt x="348" y="139"/>
                      </a:lnTo>
                      <a:lnTo>
                        <a:pt x="347" y="142"/>
                      </a:lnTo>
                      <a:lnTo>
                        <a:pt x="345" y="143"/>
                      </a:lnTo>
                      <a:lnTo>
                        <a:pt x="345" y="144"/>
                      </a:lnTo>
                      <a:lnTo>
                        <a:pt x="345" y="146"/>
                      </a:lnTo>
                      <a:lnTo>
                        <a:pt x="345" y="148"/>
                      </a:lnTo>
                      <a:lnTo>
                        <a:pt x="347" y="148"/>
                      </a:lnTo>
                      <a:lnTo>
                        <a:pt x="347" y="149"/>
                      </a:lnTo>
                      <a:lnTo>
                        <a:pt x="348" y="150"/>
                      </a:lnTo>
                      <a:lnTo>
                        <a:pt x="347" y="150"/>
                      </a:lnTo>
                      <a:lnTo>
                        <a:pt x="347" y="152"/>
                      </a:lnTo>
                      <a:lnTo>
                        <a:pt x="345" y="156"/>
                      </a:lnTo>
                      <a:lnTo>
                        <a:pt x="345" y="157"/>
                      </a:lnTo>
                      <a:lnTo>
                        <a:pt x="347" y="157"/>
                      </a:lnTo>
                      <a:lnTo>
                        <a:pt x="347" y="158"/>
                      </a:lnTo>
                      <a:lnTo>
                        <a:pt x="347" y="159"/>
                      </a:lnTo>
                      <a:lnTo>
                        <a:pt x="345" y="159"/>
                      </a:lnTo>
                      <a:lnTo>
                        <a:pt x="344" y="160"/>
                      </a:lnTo>
                      <a:lnTo>
                        <a:pt x="344" y="162"/>
                      </a:lnTo>
                      <a:lnTo>
                        <a:pt x="344" y="163"/>
                      </a:lnTo>
                      <a:lnTo>
                        <a:pt x="343" y="165"/>
                      </a:lnTo>
                      <a:lnTo>
                        <a:pt x="343" y="166"/>
                      </a:lnTo>
                      <a:lnTo>
                        <a:pt x="342" y="166"/>
                      </a:lnTo>
                      <a:lnTo>
                        <a:pt x="341" y="167"/>
                      </a:lnTo>
                      <a:lnTo>
                        <a:pt x="341" y="169"/>
                      </a:lnTo>
                      <a:lnTo>
                        <a:pt x="341" y="170"/>
                      </a:lnTo>
                      <a:lnTo>
                        <a:pt x="340" y="170"/>
                      </a:lnTo>
                      <a:lnTo>
                        <a:pt x="338" y="170"/>
                      </a:lnTo>
                      <a:lnTo>
                        <a:pt x="338" y="171"/>
                      </a:lnTo>
                      <a:lnTo>
                        <a:pt x="337" y="171"/>
                      </a:lnTo>
                      <a:lnTo>
                        <a:pt x="337" y="170"/>
                      </a:lnTo>
                      <a:lnTo>
                        <a:pt x="336" y="170"/>
                      </a:lnTo>
                      <a:lnTo>
                        <a:pt x="336" y="171"/>
                      </a:lnTo>
                      <a:lnTo>
                        <a:pt x="336" y="172"/>
                      </a:lnTo>
                      <a:lnTo>
                        <a:pt x="337" y="172"/>
                      </a:lnTo>
                      <a:lnTo>
                        <a:pt x="338" y="172"/>
                      </a:lnTo>
                      <a:lnTo>
                        <a:pt x="340" y="173"/>
                      </a:lnTo>
                      <a:lnTo>
                        <a:pt x="341" y="174"/>
                      </a:lnTo>
                      <a:lnTo>
                        <a:pt x="341" y="176"/>
                      </a:lnTo>
                      <a:lnTo>
                        <a:pt x="340" y="176"/>
                      </a:lnTo>
                      <a:lnTo>
                        <a:pt x="340" y="177"/>
                      </a:lnTo>
                      <a:lnTo>
                        <a:pt x="340" y="178"/>
                      </a:lnTo>
                      <a:lnTo>
                        <a:pt x="341" y="178"/>
                      </a:lnTo>
                      <a:lnTo>
                        <a:pt x="342" y="178"/>
                      </a:lnTo>
                      <a:lnTo>
                        <a:pt x="343" y="178"/>
                      </a:lnTo>
                      <a:lnTo>
                        <a:pt x="344" y="180"/>
                      </a:lnTo>
                      <a:lnTo>
                        <a:pt x="344" y="181"/>
                      </a:lnTo>
                      <a:lnTo>
                        <a:pt x="345" y="183"/>
                      </a:lnTo>
                      <a:lnTo>
                        <a:pt x="345" y="185"/>
                      </a:lnTo>
                      <a:lnTo>
                        <a:pt x="347" y="186"/>
                      </a:lnTo>
                      <a:lnTo>
                        <a:pt x="348" y="186"/>
                      </a:lnTo>
                      <a:lnTo>
                        <a:pt x="348" y="184"/>
                      </a:lnTo>
                      <a:lnTo>
                        <a:pt x="349" y="184"/>
                      </a:lnTo>
                      <a:lnTo>
                        <a:pt x="350" y="183"/>
                      </a:lnTo>
                      <a:lnTo>
                        <a:pt x="351" y="183"/>
                      </a:lnTo>
                      <a:lnTo>
                        <a:pt x="351" y="181"/>
                      </a:lnTo>
                      <a:lnTo>
                        <a:pt x="351" y="183"/>
                      </a:lnTo>
                      <a:lnTo>
                        <a:pt x="352" y="184"/>
                      </a:lnTo>
                      <a:lnTo>
                        <a:pt x="354" y="185"/>
                      </a:lnTo>
                      <a:lnTo>
                        <a:pt x="351" y="186"/>
                      </a:lnTo>
                      <a:lnTo>
                        <a:pt x="348" y="186"/>
                      </a:lnTo>
                      <a:lnTo>
                        <a:pt x="344" y="187"/>
                      </a:lnTo>
                      <a:lnTo>
                        <a:pt x="338" y="190"/>
                      </a:lnTo>
                      <a:lnTo>
                        <a:pt x="334" y="192"/>
                      </a:lnTo>
                      <a:lnTo>
                        <a:pt x="328" y="193"/>
                      </a:lnTo>
                      <a:lnTo>
                        <a:pt x="326" y="194"/>
                      </a:lnTo>
                      <a:lnTo>
                        <a:pt x="322" y="195"/>
                      </a:lnTo>
                      <a:lnTo>
                        <a:pt x="320" y="195"/>
                      </a:lnTo>
                      <a:lnTo>
                        <a:pt x="319" y="195"/>
                      </a:lnTo>
                      <a:lnTo>
                        <a:pt x="316" y="197"/>
                      </a:lnTo>
                      <a:lnTo>
                        <a:pt x="313" y="198"/>
                      </a:lnTo>
                      <a:lnTo>
                        <a:pt x="309" y="199"/>
                      </a:lnTo>
                      <a:lnTo>
                        <a:pt x="305" y="201"/>
                      </a:lnTo>
                      <a:lnTo>
                        <a:pt x="302" y="202"/>
                      </a:lnTo>
                      <a:lnTo>
                        <a:pt x="299" y="204"/>
                      </a:lnTo>
                      <a:lnTo>
                        <a:pt x="297" y="205"/>
                      </a:lnTo>
                      <a:lnTo>
                        <a:pt x="293" y="206"/>
                      </a:lnTo>
                      <a:lnTo>
                        <a:pt x="290" y="206"/>
                      </a:lnTo>
                      <a:lnTo>
                        <a:pt x="286" y="207"/>
                      </a:lnTo>
                      <a:lnTo>
                        <a:pt x="285" y="207"/>
                      </a:lnTo>
                      <a:lnTo>
                        <a:pt x="281" y="208"/>
                      </a:lnTo>
                      <a:lnTo>
                        <a:pt x="278" y="209"/>
                      </a:lnTo>
                      <a:lnTo>
                        <a:pt x="273" y="211"/>
                      </a:lnTo>
                      <a:lnTo>
                        <a:pt x="271" y="212"/>
                      </a:lnTo>
                      <a:lnTo>
                        <a:pt x="268" y="213"/>
                      </a:lnTo>
                      <a:lnTo>
                        <a:pt x="264" y="214"/>
                      </a:lnTo>
                      <a:lnTo>
                        <a:pt x="262" y="215"/>
                      </a:lnTo>
                      <a:lnTo>
                        <a:pt x="259" y="215"/>
                      </a:lnTo>
                      <a:lnTo>
                        <a:pt x="259" y="216"/>
                      </a:lnTo>
                      <a:lnTo>
                        <a:pt x="259" y="219"/>
                      </a:lnTo>
                      <a:lnTo>
                        <a:pt x="259" y="220"/>
                      </a:lnTo>
                      <a:lnTo>
                        <a:pt x="261" y="223"/>
                      </a:lnTo>
                      <a:lnTo>
                        <a:pt x="262" y="226"/>
                      </a:lnTo>
                      <a:lnTo>
                        <a:pt x="263" y="226"/>
                      </a:lnTo>
                      <a:lnTo>
                        <a:pt x="263" y="227"/>
                      </a:lnTo>
                      <a:lnTo>
                        <a:pt x="264" y="227"/>
                      </a:lnTo>
                      <a:lnTo>
                        <a:pt x="264" y="228"/>
                      </a:lnTo>
                      <a:lnTo>
                        <a:pt x="264" y="230"/>
                      </a:lnTo>
                      <a:lnTo>
                        <a:pt x="264" y="232"/>
                      </a:lnTo>
                      <a:lnTo>
                        <a:pt x="264" y="233"/>
                      </a:lnTo>
                      <a:lnTo>
                        <a:pt x="264" y="234"/>
                      </a:lnTo>
                      <a:lnTo>
                        <a:pt x="264" y="235"/>
                      </a:lnTo>
                      <a:lnTo>
                        <a:pt x="265" y="235"/>
                      </a:lnTo>
                      <a:lnTo>
                        <a:pt x="265" y="236"/>
                      </a:lnTo>
                      <a:lnTo>
                        <a:pt x="265" y="237"/>
                      </a:lnTo>
                      <a:lnTo>
                        <a:pt x="263" y="237"/>
                      </a:lnTo>
                      <a:lnTo>
                        <a:pt x="262" y="237"/>
                      </a:lnTo>
                      <a:lnTo>
                        <a:pt x="261" y="237"/>
                      </a:lnTo>
                      <a:lnTo>
                        <a:pt x="261" y="236"/>
                      </a:lnTo>
                      <a:lnTo>
                        <a:pt x="259" y="237"/>
                      </a:lnTo>
                      <a:lnTo>
                        <a:pt x="258" y="237"/>
                      </a:lnTo>
                      <a:lnTo>
                        <a:pt x="257" y="237"/>
                      </a:lnTo>
                      <a:lnTo>
                        <a:pt x="256" y="236"/>
                      </a:lnTo>
                      <a:lnTo>
                        <a:pt x="255" y="236"/>
                      </a:lnTo>
                      <a:lnTo>
                        <a:pt x="254" y="237"/>
                      </a:lnTo>
                      <a:lnTo>
                        <a:pt x="252" y="237"/>
                      </a:lnTo>
                      <a:lnTo>
                        <a:pt x="251" y="237"/>
                      </a:lnTo>
                      <a:lnTo>
                        <a:pt x="249" y="236"/>
                      </a:lnTo>
                      <a:lnTo>
                        <a:pt x="247" y="236"/>
                      </a:lnTo>
                      <a:lnTo>
                        <a:pt x="245" y="237"/>
                      </a:lnTo>
                      <a:lnTo>
                        <a:pt x="244" y="237"/>
                      </a:lnTo>
                      <a:lnTo>
                        <a:pt x="242" y="237"/>
                      </a:lnTo>
                      <a:lnTo>
                        <a:pt x="241" y="237"/>
                      </a:lnTo>
                      <a:lnTo>
                        <a:pt x="240" y="237"/>
                      </a:lnTo>
                      <a:lnTo>
                        <a:pt x="238" y="237"/>
                      </a:lnTo>
                      <a:lnTo>
                        <a:pt x="237" y="239"/>
                      </a:lnTo>
                      <a:lnTo>
                        <a:pt x="234" y="240"/>
                      </a:lnTo>
                      <a:lnTo>
                        <a:pt x="227" y="243"/>
                      </a:lnTo>
                      <a:lnTo>
                        <a:pt x="226" y="244"/>
                      </a:lnTo>
                      <a:lnTo>
                        <a:pt x="224" y="244"/>
                      </a:lnTo>
                      <a:lnTo>
                        <a:pt x="223" y="246"/>
                      </a:lnTo>
                      <a:lnTo>
                        <a:pt x="222" y="247"/>
                      </a:lnTo>
                      <a:lnTo>
                        <a:pt x="221" y="247"/>
                      </a:lnTo>
                      <a:lnTo>
                        <a:pt x="220" y="247"/>
                      </a:lnTo>
                      <a:lnTo>
                        <a:pt x="219" y="248"/>
                      </a:lnTo>
                      <a:lnTo>
                        <a:pt x="217" y="249"/>
                      </a:lnTo>
                      <a:lnTo>
                        <a:pt x="216" y="250"/>
                      </a:lnTo>
                      <a:lnTo>
                        <a:pt x="216" y="251"/>
                      </a:lnTo>
                      <a:lnTo>
                        <a:pt x="216" y="253"/>
                      </a:lnTo>
                      <a:lnTo>
                        <a:pt x="216" y="254"/>
                      </a:lnTo>
                      <a:lnTo>
                        <a:pt x="216" y="255"/>
                      </a:lnTo>
                      <a:lnTo>
                        <a:pt x="216" y="256"/>
                      </a:lnTo>
                      <a:lnTo>
                        <a:pt x="215" y="258"/>
                      </a:lnTo>
                      <a:lnTo>
                        <a:pt x="215" y="260"/>
                      </a:lnTo>
                      <a:lnTo>
                        <a:pt x="216" y="261"/>
                      </a:lnTo>
                      <a:lnTo>
                        <a:pt x="216" y="262"/>
                      </a:lnTo>
                      <a:lnTo>
                        <a:pt x="215" y="263"/>
                      </a:lnTo>
                      <a:lnTo>
                        <a:pt x="215" y="264"/>
                      </a:lnTo>
                      <a:lnTo>
                        <a:pt x="214" y="265"/>
                      </a:lnTo>
                      <a:lnTo>
                        <a:pt x="213" y="267"/>
                      </a:lnTo>
                      <a:lnTo>
                        <a:pt x="212" y="267"/>
                      </a:lnTo>
                      <a:lnTo>
                        <a:pt x="210" y="265"/>
                      </a:lnTo>
                      <a:lnTo>
                        <a:pt x="210" y="264"/>
                      </a:lnTo>
                      <a:lnTo>
                        <a:pt x="209" y="264"/>
                      </a:lnTo>
                      <a:lnTo>
                        <a:pt x="209" y="265"/>
                      </a:lnTo>
                      <a:lnTo>
                        <a:pt x="207" y="265"/>
                      </a:lnTo>
                      <a:lnTo>
                        <a:pt x="206" y="265"/>
                      </a:lnTo>
                      <a:lnTo>
                        <a:pt x="207" y="265"/>
                      </a:lnTo>
                      <a:lnTo>
                        <a:pt x="207" y="267"/>
                      </a:lnTo>
                      <a:lnTo>
                        <a:pt x="206" y="267"/>
                      </a:lnTo>
                      <a:lnTo>
                        <a:pt x="205" y="265"/>
                      </a:lnTo>
                      <a:lnTo>
                        <a:pt x="205" y="267"/>
                      </a:lnTo>
                      <a:lnTo>
                        <a:pt x="204" y="267"/>
                      </a:lnTo>
                      <a:lnTo>
                        <a:pt x="202" y="268"/>
                      </a:lnTo>
                      <a:lnTo>
                        <a:pt x="201" y="268"/>
                      </a:lnTo>
                      <a:lnTo>
                        <a:pt x="201" y="267"/>
                      </a:lnTo>
                      <a:lnTo>
                        <a:pt x="200" y="267"/>
                      </a:lnTo>
                      <a:lnTo>
                        <a:pt x="199" y="267"/>
                      </a:lnTo>
                      <a:lnTo>
                        <a:pt x="198" y="267"/>
                      </a:lnTo>
                      <a:lnTo>
                        <a:pt x="199" y="267"/>
                      </a:lnTo>
                      <a:lnTo>
                        <a:pt x="198" y="267"/>
                      </a:lnTo>
                      <a:lnTo>
                        <a:pt x="199" y="267"/>
                      </a:lnTo>
                      <a:lnTo>
                        <a:pt x="200" y="268"/>
                      </a:lnTo>
                      <a:lnTo>
                        <a:pt x="199" y="268"/>
                      </a:lnTo>
                      <a:lnTo>
                        <a:pt x="199" y="269"/>
                      </a:lnTo>
                      <a:lnTo>
                        <a:pt x="198" y="269"/>
                      </a:lnTo>
                      <a:lnTo>
                        <a:pt x="197" y="269"/>
                      </a:lnTo>
                      <a:lnTo>
                        <a:pt x="197" y="270"/>
                      </a:lnTo>
                      <a:lnTo>
                        <a:pt x="195" y="269"/>
                      </a:lnTo>
                      <a:lnTo>
                        <a:pt x="194" y="269"/>
                      </a:lnTo>
                      <a:lnTo>
                        <a:pt x="194" y="270"/>
                      </a:lnTo>
                      <a:lnTo>
                        <a:pt x="195" y="270"/>
                      </a:lnTo>
                      <a:lnTo>
                        <a:pt x="195" y="271"/>
                      </a:lnTo>
                      <a:lnTo>
                        <a:pt x="194" y="272"/>
                      </a:lnTo>
                      <a:lnTo>
                        <a:pt x="193" y="274"/>
                      </a:lnTo>
                      <a:lnTo>
                        <a:pt x="192" y="272"/>
                      </a:lnTo>
                      <a:lnTo>
                        <a:pt x="192" y="274"/>
                      </a:lnTo>
                      <a:lnTo>
                        <a:pt x="192" y="275"/>
                      </a:lnTo>
                      <a:lnTo>
                        <a:pt x="192" y="276"/>
                      </a:lnTo>
                      <a:lnTo>
                        <a:pt x="191" y="276"/>
                      </a:lnTo>
                      <a:lnTo>
                        <a:pt x="190" y="277"/>
                      </a:lnTo>
                      <a:lnTo>
                        <a:pt x="188" y="276"/>
                      </a:lnTo>
                      <a:lnTo>
                        <a:pt x="188" y="275"/>
                      </a:lnTo>
                      <a:lnTo>
                        <a:pt x="187" y="275"/>
                      </a:lnTo>
                      <a:lnTo>
                        <a:pt x="187" y="274"/>
                      </a:lnTo>
                      <a:lnTo>
                        <a:pt x="186" y="274"/>
                      </a:lnTo>
                      <a:lnTo>
                        <a:pt x="185" y="274"/>
                      </a:lnTo>
                      <a:lnTo>
                        <a:pt x="185" y="275"/>
                      </a:lnTo>
                      <a:lnTo>
                        <a:pt x="185" y="276"/>
                      </a:lnTo>
                      <a:lnTo>
                        <a:pt x="183" y="275"/>
                      </a:lnTo>
                      <a:lnTo>
                        <a:pt x="183" y="276"/>
                      </a:lnTo>
                      <a:lnTo>
                        <a:pt x="184" y="277"/>
                      </a:lnTo>
                      <a:lnTo>
                        <a:pt x="185" y="277"/>
                      </a:lnTo>
                      <a:lnTo>
                        <a:pt x="185" y="278"/>
                      </a:lnTo>
                      <a:lnTo>
                        <a:pt x="184" y="278"/>
                      </a:lnTo>
                      <a:lnTo>
                        <a:pt x="183" y="279"/>
                      </a:lnTo>
                      <a:lnTo>
                        <a:pt x="181" y="279"/>
                      </a:lnTo>
                      <a:lnTo>
                        <a:pt x="181" y="278"/>
                      </a:lnTo>
                      <a:lnTo>
                        <a:pt x="180" y="278"/>
                      </a:lnTo>
                      <a:lnTo>
                        <a:pt x="180" y="279"/>
                      </a:lnTo>
                      <a:lnTo>
                        <a:pt x="179" y="279"/>
                      </a:lnTo>
                      <a:lnTo>
                        <a:pt x="180" y="279"/>
                      </a:lnTo>
                      <a:lnTo>
                        <a:pt x="181" y="281"/>
                      </a:lnTo>
                      <a:lnTo>
                        <a:pt x="180" y="282"/>
                      </a:lnTo>
                      <a:lnTo>
                        <a:pt x="179" y="282"/>
                      </a:lnTo>
                      <a:lnTo>
                        <a:pt x="179" y="283"/>
                      </a:lnTo>
                      <a:lnTo>
                        <a:pt x="180" y="283"/>
                      </a:lnTo>
                      <a:lnTo>
                        <a:pt x="179" y="284"/>
                      </a:lnTo>
                      <a:lnTo>
                        <a:pt x="178" y="284"/>
                      </a:lnTo>
                      <a:lnTo>
                        <a:pt x="179" y="284"/>
                      </a:lnTo>
                      <a:lnTo>
                        <a:pt x="179" y="283"/>
                      </a:lnTo>
                      <a:lnTo>
                        <a:pt x="178" y="283"/>
                      </a:lnTo>
                      <a:lnTo>
                        <a:pt x="177" y="284"/>
                      </a:lnTo>
                      <a:lnTo>
                        <a:pt x="176" y="284"/>
                      </a:lnTo>
                      <a:lnTo>
                        <a:pt x="176" y="285"/>
                      </a:lnTo>
                      <a:lnTo>
                        <a:pt x="176" y="286"/>
                      </a:lnTo>
                      <a:lnTo>
                        <a:pt x="174" y="286"/>
                      </a:lnTo>
                      <a:lnTo>
                        <a:pt x="174" y="288"/>
                      </a:lnTo>
                      <a:lnTo>
                        <a:pt x="174" y="289"/>
                      </a:lnTo>
                      <a:lnTo>
                        <a:pt x="173" y="289"/>
                      </a:lnTo>
                      <a:lnTo>
                        <a:pt x="173" y="290"/>
                      </a:lnTo>
                      <a:lnTo>
                        <a:pt x="172" y="290"/>
                      </a:lnTo>
                      <a:lnTo>
                        <a:pt x="171" y="290"/>
                      </a:lnTo>
                      <a:lnTo>
                        <a:pt x="172" y="291"/>
                      </a:lnTo>
                      <a:lnTo>
                        <a:pt x="171" y="291"/>
                      </a:lnTo>
                      <a:lnTo>
                        <a:pt x="172" y="291"/>
                      </a:lnTo>
                      <a:lnTo>
                        <a:pt x="172" y="292"/>
                      </a:lnTo>
                      <a:lnTo>
                        <a:pt x="170" y="293"/>
                      </a:lnTo>
                      <a:lnTo>
                        <a:pt x="169" y="295"/>
                      </a:lnTo>
                      <a:lnTo>
                        <a:pt x="167" y="296"/>
                      </a:lnTo>
                      <a:lnTo>
                        <a:pt x="167" y="297"/>
                      </a:lnTo>
                      <a:lnTo>
                        <a:pt x="169" y="297"/>
                      </a:lnTo>
                      <a:lnTo>
                        <a:pt x="169" y="296"/>
                      </a:lnTo>
                      <a:lnTo>
                        <a:pt x="170" y="296"/>
                      </a:lnTo>
                      <a:lnTo>
                        <a:pt x="170" y="297"/>
                      </a:lnTo>
                      <a:lnTo>
                        <a:pt x="170" y="298"/>
                      </a:lnTo>
                      <a:lnTo>
                        <a:pt x="170" y="299"/>
                      </a:lnTo>
                      <a:lnTo>
                        <a:pt x="169" y="299"/>
                      </a:lnTo>
                      <a:lnTo>
                        <a:pt x="169" y="300"/>
                      </a:lnTo>
                      <a:lnTo>
                        <a:pt x="167" y="299"/>
                      </a:lnTo>
                      <a:lnTo>
                        <a:pt x="167" y="300"/>
                      </a:lnTo>
                      <a:lnTo>
                        <a:pt x="166" y="302"/>
                      </a:lnTo>
                      <a:lnTo>
                        <a:pt x="165" y="300"/>
                      </a:lnTo>
                      <a:lnTo>
                        <a:pt x="165" y="302"/>
                      </a:lnTo>
                      <a:lnTo>
                        <a:pt x="165" y="303"/>
                      </a:lnTo>
                      <a:lnTo>
                        <a:pt x="164" y="303"/>
                      </a:lnTo>
                      <a:lnTo>
                        <a:pt x="164" y="304"/>
                      </a:lnTo>
                      <a:lnTo>
                        <a:pt x="163" y="304"/>
                      </a:lnTo>
                      <a:lnTo>
                        <a:pt x="163" y="305"/>
                      </a:lnTo>
                      <a:lnTo>
                        <a:pt x="162" y="306"/>
                      </a:lnTo>
                      <a:lnTo>
                        <a:pt x="160" y="307"/>
                      </a:lnTo>
                      <a:lnTo>
                        <a:pt x="162" y="307"/>
                      </a:lnTo>
                      <a:lnTo>
                        <a:pt x="160" y="307"/>
                      </a:lnTo>
                      <a:lnTo>
                        <a:pt x="160" y="309"/>
                      </a:lnTo>
                      <a:lnTo>
                        <a:pt x="162" y="309"/>
                      </a:lnTo>
                      <a:lnTo>
                        <a:pt x="162" y="310"/>
                      </a:lnTo>
                      <a:lnTo>
                        <a:pt x="160" y="310"/>
                      </a:lnTo>
                      <a:lnTo>
                        <a:pt x="160" y="311"/>
                      </a:lnTo>
                      <a:lnTo>
                        <a:pt x="159" y="311"/>
                      </a:lnTo>
                      <a:lnTo>
                        <a:pt x="158" y="312"/>
                      </a:lnTo>
                      <a:lnTo>
                        <a:pt x="158" y="313"/>
                      </a:lnTo>
                      <a:lnTo>
                        <a:pt x="157" y="313"/>
                      </a:lnTo>
                      <a:lnTo>
                        <a:pt x="156" y="313"/>
                      </a:lnTo>
                      <a:lnTo>
                        <a:pt x="155" y="314"/>
                      </a:lnTo>
                      <a:lnTo>
                        <a:pt x="155" y="313"/>
                      </a:lnTo>
                      <a:lnTo>
                        <a:pt x="151" y="314"/>
                      </a:lnTo>
                      <a:lnTo>
                        <a:pt x="151" y="316"/>
                      </a:lnTo>
                      <a:lnTo>
                        <a:pt x="150" y="316"/>
                      </a:lnTo>
                      <a:lnTo>
                        <a:pt x="149" y="317"/>
                      </a:lnTo>
                      <a:lnTo>
                        <a:pt x="148" y="317"/>
                      </a:lnTo>
                      <a:lnTo>
                        <a:pt x="146" y="316"/>
                      </a:lnTo>
                      <a:lnTo>
                        <a:pt x="145" y="316"/>
                      </a:lnTo>
                      <a:lnTo>
                        <a:pt x="145" y="314"/>
                      </a:lnTo>
                      <a:lnTo>
                        <a:pt x="144" y="314"/>
                      </a:lnTo>
                      <a:lnTo>
                        <a:pt x="143" y="314"/>
                      </a:lnTo>
                      <a:lnTo>
                        <a:pt x="142" y="313"/>
                      </a:lnTo>
                      <a:lnTo>
                        <a:pt x="140" y="312"/>
                      </a:lnTo>
                      <a:lnTo>
                        <a:pt x="138" y="312"/>
                      </a:lnTo>
                      <a:lnTo>
                        <a:pt x="137" y="312"/>
                      </a:lnTo>
                      <a:lnTo>
                        <a:pt x="136" y="312"/>
                      </a:lnTo>
                      <a:lnTo>
                        <a:pt x="136" y="311"/>
                      </a:lnTo>
                      <a:lnTo>
                        <a:pt x="134" y="311"/>
                      </a:lnTo>
                      <a:lnTo>
                        <a:pt x="134" y="310"/>
                      </a:lnTo>
                      <a:lnTo>
                        <a:pt x="133" y="311"/>
                      </a:lnTo>
                      <a:lnTo>
                        <a:pt x="131" y="311"/>
                      </a:lnTo>
                      <a:lnTo>
                        <a:pt x="130" y="312"/>
                      </a:lnTo>
                      <a:lnTo>
                        <a:pt x="129" y="312"/>
                      </a:lnTo>
                      <a:lnTo>
                        <a:pt x="129" y="313"/>
                      </a:lnTo>
                      <a:lnTo>
                        <a:pt x="128" y="313"/>
                      </a:lnTo>
                      <a:lnTo>
                        <a:pt x="126" y="314"/>
                      </a:lnTo>
                      <a:lnTo>
                        <a:pt x="124" y="314"/>
                      </a:lnTo>
                      <a:lnTo>
                        <a:pt x="122" y="313"/>
                      </a:lnTo>
                      <a:lnTo>
                        <a:pt x="122" y="312"/>
                      </a:lnTo>
                      <a:lnTo>
                        <a:pt x="122" y="311"/>
                      </a:lnTo>
                      <a:lnTo>
                        <a:pt x="121" y="311"/>
                      </a:lnTo>
                      <a:lnTo>
                        <a:pt x="120" y="310"/>
                      </a:lnTo>
                      <a:lnTo>
                        <a:pt x="119" y="309"/>
                      </a:lnTo>
                      <a:lnTo>
                        <a:pt x="117" y="309"/>
                      </a:lnTo>
                      <a:lnTo>
                        <a:pt x="116" y="307"/>
                      </a:lnTo>
                      <a:lnTo>
                        <a:pt x="114" y="309"/>
                      </a:lnTo>
                      <a:lnTo>
                        <a:pt x="112" y="309"/>
                      </a:lnTo>
                      <a:lnTo>
                        <a:pt x="112" y="310"/>
                      </a:lnTo>
                      <a:lnTo>
                        <a:pt x="110" y="310"/>
                      </a:lnTo>
                      <a:lnTo>
                        <a:pt x="108" y="310"/>
                      </a:lnTo>
                      <a:lnTo>
                        <a:pt x="107" y="309"/>
                      </a:lnTo>
                      <a:lnTo>
                        <a:pt x="106" y="309"/>
                      </a:lnTo>
                      <a:lnTo>
                        <a:pt x="105" y="309"/>
                      </a:lnTo>
                      <a:lnTo>
                        <a:pt x="105" y="307"/>
                      </a:lnTo>
                      <a:lnTo>
                        <a:pt x="103" y="307"/>
                      </a:lnTo>
                      <a:lnTo>
                        <a:pt x="102" y="306"/>
                      </a:lnTo>
                      <a:lnTo>
                        <a:pt x="101" y="306"/>
                      </a:lnTo>
                      <a:lnTo>
                        <a:pt x="101" y="305"/>
                      </a:lnTo>
                      <a:lnTo>
                        <a:pt x="100" y="305"/>
                      </a:lnTo>
                      <a:lnTo>
                        <a:pt x="100" y="304"/>
                      </a:lnTo>
                      <a:lnTo>
                        <a:pt x="99" y="304"/>
                      </a:lnTo>
                      <a:lnTo>
                        <a:pt x="98" y="304"/>
                      </a:lnTo>
                      <a:lnTo>
                        <a:pt x="98" y="303"/>
                      </a:lnTo>
                      <a:lnTo>
                        <a:pt x="98" y="302"/>
                      </a:lnTo>
                      <a:lnTo>
                        <a:pt x="96" y="302"/>
                      </a:lnTo>
                      <a:lnTo>
                        <a:pt x="96" y="300"/>
                      </a:lnTo>
                      <a:lnTo>
                        <a:pt x="95" y="300"/>
                      </a:lnTo>
                      <a:lnTo>
                        <a:pt x="94" y="300"/>
                      </a:lnTo>
                      <a:lnTo>
                        <a:pt x="94" y="299"/>
                      </a:lnTo>
                      <a:lnTo>
                        <a:pt x="93" y="299"/>
                      </a:lnTo>
                      <a:lnTo>
                        <a:pt x="92" y="299"/>
                      </a:lnTo>
                      <a:lnTo>
                        <a:pt x="89" y="298"/>
                      </a:lnTo>
                      <a:lnTo>
                        <a:pt x="88" y="298"/>
                      </a:lnTo>
                      <a:lnTo>
                        <a:pt x="85" y="297"/>
                      </a:lnTo>
                      <a:lnTo>
                        <a:pt x="84" y="297"/>
                      </a:lnTo>
                      <a:lnTo>
                        <a:pt x="84" y="298"/>
                      </a:lnTo>
                      <a:lnTo>
                        <a:pt x="82" y="298"/>
                      </a:lnTo>
                      <a:lnTo>
                        <a:pt x="82" y="299"/>
                      </a:lnTo>
                      <a:lnTo>
                        <a:pt x="81" y="299"/>
                      </a:lnTo>
                      <a:lnTo>
                        <a:pt x="81" y="298"/>
                      </a:lnTo>
                      <a:lnTo>
                        <a:pt x="80" y="298"/>
                      </a:lnTo>
                      <a:lnTo>
                        <a:pt x="79" y="298"/>
                      </a:lnTo>
                      <a:lnTo>
                        <a:pt x="79" y="297"/>
                      </a:lnTo>
                      <a:lnTo>
                        <a:pt x="78" y="297"/>
                      </a:lnTo>
                      <a:lnTo>
                        <a:pt x="77" y="297"/>
                      </a:lnTo>
                      <a:lnTo>
                        <a:pt x="76" y="297"/>
                      </a:lnTo>
                      <a:lnTo>
                        <a:pt x="74" y="297"/>
                      </a:lnTo>
                      <a:lnTo>
                        <a:pt x="73" y="297"/>
                      </a:lnTo>
                      <a:lnTo>
                        <a:pt x="72" y="297"/>
                      </a:lnTo>
                      <a:lnTo>
                        <a:pt x="71" y="297"/>
                      </a:lnTo>
                      <a:lnTo>
                        <a:pt x="70" y="297"/>
                      </a:lnTo>
                      <a:lnTo>
                        <a:pt x="69" y="297"/>
                      </a:lnTo>
                      <a:lnTo>
                        <a:pt x="67" y="298"/>
                      </a:lnTo>
                      <a:lnTo>
                        <a:pt x="66" y="298"/>
                      </a:lnTo>
                      <a:lnTo>
                        <a:pt x="64" y="298"/>
                      </a:lnTo>
                      <a:lnTo>
                        <a:pt x="63" y="298"/>
                      </a:lnTo>
                      <a:lnTo>
                        <a:pt x="62" y="299"/>
                      </a:lnTo>
                      <a:lnTo>
                        <a:pt x="60" y="299"/>
                      </a:lnTo>
                      <a:lnTo>
                        <a:pt x="59" y="299"/>
                      </a:lnTo>
                      <a:lnTo>
                        <a:pt x="58" y="299"/>
                      </a:lnTo>
                      <a:lnTo>
                        <a:pt x="56" y="300"/>
                      </a:lnTo>
                      <a:lnTo>
                        <a:pt x="55" y="300"/>
                      </a:lnTo>
                      <a:lnTo>
                        <a:pt x="53" y="300"/>
                      </a:lnTo>
                      <a:lnTo>
                        <a:pt x="52" y="300"/>
                      </a:lnTo>
                      <a:lnTo>
                        <a:pt x="51" y="302"/>
                      </a:lnTo>
                      <a:lnTo>
                        <a:pt x="50" y="302"/>
                      </a:lnTo>
                      <a:lnTo>
                        <a:pt x="49" y="302"/>
                      </a:lnTo>
                      <a:lnTo>
                        <a:pt x="48" y="302"/>
                      </a:lnTo>
                      <a:lnTo>
                        <a:pt x="46" y="302"/>
                      </a:lnTo>
                      <a:lnTo>
                        <a:pt x="45" y="302"/>
                      </a:lnTo>
                      <a:lnTo>
                        <a:pt x="44" y="303"/>
                      </a:lnTo>
                      <a:lnTo>
                        <a:pt x="44" y="302"/>
                      </a:lnTo>
                      <a:lnTo>
                        <a:pt x="44" y="300"/>
                      </a:lnTo>
                      <a:lnTo>
                        <a:pt x="43" y="299"/>
                      </a:lnTo>
                      <a:lnTo>
                        <a:pt x="42" y="299"/>
                      </a:lnTo>
                      <a:lnTo>
                        <a:pt x="41" y="299"/>
                      </a:lnTo>
                      <a:lnTo>
                        <a:pt x="39" y="299"/>
                      </a:lnTo>
                      <a:lnTo>
                        <a:pt x="38" y="299"/>
                      </a:lnTo>
                      <a:lnTo>
                        <a:pt x="38" y="298"/>
                      </a:lnTo>
                      <a:lnTo>
                        <a:pt x="38" y="297"/>
                      </a:lnTo>
                      <a:lnTo>
                        <a:pt x="37" y="297"/>
                      </a:lnTo>
                      <a:lnTo>
                        <a:pt x="36" y="296"/>
                      </a:lnTo>
                      <a:lnTo>
                        <a:pt x="35" y="296"/>
                      </a:lnTo>
                      <a:lnTo>
                        <a:pt x="35" y="295"/>
                      </a:lnTo>
                      <a:lnTo>
                        <a:pt x="34" y="293"/>
                      </a:lnTo>
                      <a:lnTo>
                        <a:pt x="34" y="292"/>
                      </a:lnTo>
                      <a:lnTo>
                        <a:pt x="32" y="291"/>
                      </a:lnTo>
                      <a:lnTo>
                        <a:pt x="31" y="291"/>
                      </a:lnTo>
                      <a:lnTo>
                        <a:pt x="30" y="290"/>
                      </a:lnTo>
                      <a:lnTo>
                        <a:pt x="29" y="290"/>
                      </a:lnTo>
                      <a:lnTo>
                        <a:pt x="28" y="289"/>
                      </a:lnTo>
                      <a:lnTo>
                        <a:pt x="27" y="288"/>
                      </a:lnTo>
                      <a:lnTo>
                        <a:pt x="25" y="288"/>
                      </a:lnTo>
                      <a:lnTo>
                        <a:pt x="25" y="286"/>
                      </a:lnTo>
                      <a:lnTo>
                        <a:pt x="24" y="286"/>
                      </a:lnTo>
                      <a:lnTo>
                        <a:pt x="24" y="285"/>
                      </a:lnTo>
                      <a:lnTo>
                        <a:pt x="24" y="284"/>
                      </a:lnTo>
                      <a:lnTo>
                        <a:pt x="23" y="283"/>
                      </a:lnTo>
                      <a:lnTo>
                        <a:pt x="22" y="282"/>
                      </a:lnTo>
                      <a:lnTo>
                        <a:pt x="21" y="282"/>
                      </a:lnTo>
                      <a:lnTo>
                        <a:pt x="20" y="281"/>
                      </a:lnTo>
                      <a:lnTo>
                        <a:pt x="18" y="281"/>
                      </a:lnTo>
                      <a:lnTo>
                        <a:pt x="18" y="279"/>
                      </a:lnTo>
                      <a:lnTo>
                        <a:pt x="17" y="278"/>
                      </a:lnTo>
                      <a:lnTo>
                        <a:pt x="16" y="278"/>
                      </a:lnTo>
                      <a:lnTo>
                        <a:pt x="16" y="277"/>
                      </a:lnTo>
                      <a:lnTo>
                        <a:pt x="14" y="274"/>
                      </a:lnTo>
                      <a:lnTo>
                        <a:pt x="14" y="272"/>
                      </a:lnTo>
                      <a:lnTo>
                        <a:pt x="13" y="272"/>
                      </a:lnTo>
                      <a:lnTo>
                        <a:pt x="12" y="271"/>
                      </a:lnTo>
                      <a:lnTo>
                        <a:pt x="10" y="270"/>
                      </a:lnTo>
                      <a:lnTo>
                        <a:pt x="9" y="270"/>
                      </a:lnTo>
                      <a:lnTo>
                        <a:pt x="8" y="270"/>
                      </a:lnTo>
                      <a:lnTo>
                        <a:pt x="6" y="268"/>
                      </a:lnTo>
                      <a:lnTo>
                        <a:pt x="6" y="267"/>
                      </a:lnTo>
                      <a:lnTo>
                        <a:pt x="5" y="267"/>
                      </a:lnTo>
                      <a:lnTo>
                        <a:pt x="5" y="265"/>
                      </a:lnTo>
                      <a:lnTo>
                        <a:pt x="3" y="264"/>
                      </a:lnTo>
                      <a:lnTo>
                        <a:pt x="3" y="263"/>
                      </a:lnTo>
                      <a:lnTo>
                        <a:pt x="3" y="262"/>
                      </a:lnTo>
                      <a:lnTo>
                        <a:pt x="5" y="262"/>
                      </a:lnTo>
                      <a:lnTo>
                        <a:pt x="5" y="261"/>
                      </a:lnTo>
                      <a:lnTo>
                        <a:pt x="3" y="261"/>
                      </a:lnTo>
                      <a:lnTo>
                        <a:pt x="2" y="261"/>
                      </a:lnTo>
                      <a:lnTo>
                        <a:pt x="2" y="260"/>
                      </a:lnTo>
                      <a:lnTo>
                        <a:pt x="2" y="258"/>
                      </a:lnTo>
                      <a:lnTo>
                        <a:pt x="2" y="257"/>
                      </a:lnTo>
                      <a:lnTo>
                        <a:pt x="1" y="257"/>
                      </a:lnTo>
                      <a:lnTo>
                        <a:pt x="2" y="257"/>
                      </a:lnTo>
                      <a:lnTo>
                        <a:pt x="1" y="255"/>
                      </a:lnTo>
                      <a:lnTo>
                        <a:pt x="0" y="254"/>
                      </a:lnTo>
                      <a:lnTo>
                        <a:pt x="0" y="253"/>
                      </a:lnTo>
                      <a:lnTo>
                        <a:pt x="0" y="251"/>
                      </a:lnTo>
                      <a:lnTo>
                        <a:pt x="0" y="249"/>
                      </a:lnTo>
                      <a:lnTo>
                        <a:pt x="0" y="247"/>
                      </a:lnTo>
                      <a:lnTo>
                        <a:pt x="0" y="244"/>
                      </a:lnTo>
                      <a:lnTo>
                        <a:pt x="0" y="241"/>
                      </a:lnTo>
                      <a:lnTo>
                        <a:pt x="0" y="237"/>
                      </a:lnTo>
                      <a:lnTo>
                        <a:pt x="0" y="234"/>
                      </a:lnTo>
                      <a:lnTo>
                        <a:pt x="0" y="233"/>
                      </a:lnTo>
                      <a:lnTo>
                        <a:pt x="0" y="232"/>
                      </a:lnTo>
                      <a:lnTo>
                        <a:pt x="0" y="230"/>
                      </a:lnTo>
                      <a:lnTo>
                        <a:pt x="0" y="229"/>
                      </a:lnTo>
                      <a:lnTo>
                        <a:pt x="0" y="225"/>
                      </a:lnTo>
                      <a:lnTo>
                        <a:pt x="0" y="220"/>
                      </a:lnTo>
                      <a:lnTo>
                        <a:pt x="0" y="215"/>
                      </a:lnTo>
                      <a:lnTo>
                        <a:pt x="0" y="211"/>
                      </a:lnTo>
                      <a:lnTo>
                        <a:pt x="0" y="205"/>
                      </a:lnTo>
                      <a:lnTo>
                        <a:pt x="0" y="200"/>
                      </a:lnTo>
                      <a:lnTo>
                        <a:pt x="0" y="195"/>
                      </a:lnTo>
                      <a:lnTo>
                        <a:pt x="0" y="191"/>
                      </a:lnTo>
                      <a:lnTo>
                        <a:pt x="0" y="186"/>
                      </a:lnTo>
                      <a:lnTo>
                        <a:pt x="0" y="180"/>
                      </a:lnTo>
                      <a:lnTo>
                        <a:pt x="0" y="176"/>
                      </a:lnTo>
                      <a:lnTo>
                        <a:pt x="0" y="174"/>
                      </a:lnTo>
                      <a:lnTo>
                        <a:pt x="0" y="171"/>
                      </a:lnTo>
                      <a:lnTo>
                        <a:pt x="0" y="166"/>
                      </a:lnTo>
                      <a:lnTo>
                        <a:pt x="0" y="162"/>
                      </a:lnTo>
                      <a:lnTo>
                        <a:pt x="0" y="157"/>
                      </a:lnTo>
                      <a:lnTo>
                        <a:pt x="0" y="152"/>
                      </a:lnTo>
                      <a:lnTo>
                        <a:pt x="5" y="151"/>
                      </a:lnTo>
                      <a:lnTo>
                        <a:pt x="8" y="151"/>
                      </a:lnTo>
                      <a:lnTo>
                        <a:pt x="12" y="151"/>
                      </a:lnTo>
                      <a:lnTo>
                        <a:pt x="16" y="151"/>
                      </a:lnTo>
                      <a:lnTo>
                        <a:pt x="20" y="151"/>
                      </a:lnTo>
                      <a:lnTo>
                        <a:pt x="23" y="151"/>
                      </a:lnTo>
                      <a:lnTo>
                        <a:pt x="28" y="151"/>
                      </a:lnTo>
                      <a:lnTo>
                        <a:pt x="31" y="151"/>
                      </a:lnTo>
                      <a:lnTo>
                        <a:pt x="35" y="151"/>
                      </a:lnTo>
                      <a:lnTo>
                        <a:pt x="39" y="151"/>
                      </a:lnTo>
                      <a:lnTo>
                        <a:pt x="43" y="151"/>
                      </a:lnTo>
                      <a:lnTo>
                        <a:pt x="46" y="151"/>
                      </a:lnTo>
                      <a:lnTo>
                        <a:pt x="51" y="151"/>
                      </a:lnTo>
                      <a:lnTo>
                        <a:pt x="55" y="151"/>
                      </a:lnTo>
                      <a:lnTo>
                        <a:pt x="59" y="151"/>
                      </a:lnTo>
                      <a:lnTo>
                        <a:pt x="63" y="151"/>
                      </a:lnTo>
                      <a:lnTo>
                        <a:pt x="64" y="151"/>
                      </a:lnTo>
                      <a:lnTo>
                        <a:pt x="63" y="150"/>
                      </a:lnTo>
                      <a:lnTo>
                        <a:pt x="62" y="149"/>
                      </a:lnTo>
                      <a:lnTo>
                        <a:pt x="60" y="146"/>
                      </a:lnTo>
                      <a:lnTo>
                        <a:pt x="59" y="145"/>
                      </a:lnTo>
                      <a:lnTo>
                        <a:pt x="59" y="144"/>
                      </a:lnTo>
                      <a:lnTo>
                        <a:pt x="60" y="142"/>
                      </a:lnTo>
                      <a:lnTo>
                        <a:pt x="60" y="139"/>
                      </a:lnTo>
                      <a:lnTo>
                        <a:pt x="62" y="137"/>
                      </a:lnTo>
                      <a:lnTo>
                        <a:pt x="63" y="135"/>
                      </a:lnTo>
                      <a:lnTo>
                        <a:pt x="64" y="132"/>
                      </a:lnTo>
                      <a:lnTo>
                        <a:pt x="65" y="132"/>
                      </a:lnTo>
                      <a:lnTo>
                        <a:pt x="65" y="131"/>
                      </a:lnTo>
                      <a:lnTo>
                        <a:pt x="64" y="130"/>
                      </a:lnTo>
                      <a:lnTo>
                        <a:pt x="64" y="129"/>
                      </a:lnTo>
                      <a:lnTo>
                        <a:pt x="64" y="128"/>
                      </a:lnTo>
                      <a:lnTo>
                        <a:pt x="63" y="127"/>
                      </a:lnTo>
                      <a:lnTo>
                        <a:pt x="63" y="125"/>
                      </a:lnTo>
                      <a:lnTo>
                        <a:pt x="63" y="124"/>
                      </a:lnTo>
                      <a:lnTo>
                        <a:pt x="63" y="120"/>
                      </a:lnTo>
                      <a:lnTo>
                        <a:pt x="63" y="116"/>
                      </a:lnTo>
                      <a:lnTo>
                        <a:pt x="63" y="114"/>
                      </a:lnTo>
                      <a:lnTo>
                        <a:pt x="63" y="113"/>
                      </a:lnTo>
                      <a:lnTo>
                        <a:pt x="63" y="110"/>
                      </a:lnTo>
                      <a:lnTo>
                        <a:pt x="63" y="109"/>
                      </a:lnTo>
                      <a:lnTo>
                        <a:pt x="63" y="108"/>
                      </a:lnTo>
                      <a:lnTo>
                        <a:pt x="63" y="107"/>
                      </a:lnTo>
                      <a:lnTo>
                        <a:pt x="63" y="106"/>
                      </a:lnTo>
                      <a:lnTo>
                        <a:pt x="64" y="104"/>
                      </a:lnTo>
                      <a:lnTo>
                        <a:pt x="64" y="103"/>
                      </a:lnTo>
                      <a:lnTo>
                        <a:pt x="64" y="102"/>
                      </a:lnTo>
                      <a:lnTo>
                        <a:pt x="65" y="101"/>
                      </a:lnTo>
                      <a:lnTo>
                        <a:pt x="65" y="100"/>
                      </a:lnTo>
                      <a:lnTo>
                        <a:pt x="64" y="97"/>
                      </a:lnTo>
                      <a:lnTo>
                        <a:pt x="64" y="96"/>
                      </a:lnTo>
                      <a:lnTo>
                        <a:pt x="64" y="92"/>
                      </a:lnTo>
                      <a:lnTo>
                        <a:pt x="63" y="92"/>
                      </a:lnTo>
                      <a:lnTo>
                        <a:pt x="64" y="89"/>
                      </a:lnTo>
                      <a:lnTo>
                        <a:pt x="64" y="88"/>
                      </a:lnTo>
                      <a:lnTo>
                        <a:pt x="64" y="87"/>
                      </a:lnTo>
                      <a:lnTo>
                        <a:pt x="63" y="86"/>
                      </a:lnTo>
                      <a:lnTo>
                        <a:pt x="63" y="85"/>
                      </a:lnTo>
                      <a:lnTo>
                        <a:pt x="63" y="84"/>
                      </a:lnTo>
                      <a:lnTo>
                        <a:pt x="64" y="84"/>
                      </a:lnTo>
                      <a:lnTo>
                        <a:pt x="65" y="84"/>
                      </a:lnTo>
                      <a:lnTo>
                        <a:pt x="66" y="85"/>
                      </a:lnTo>
                      <a:lnTo>
                        <a:pt x="67" y="85"/>
                      </a:lnTo>
                      <a:lnTo>
                        <a:pt x="67" y="86"/>
                      </a:lnTo>
                      <a:lnTo>
                        <a:pt x="67" y="87"/>
                      </a:lnTo>
                      <a:lnTo>
                        <a:pt x="67" y="88"/>
                      </a:lnTo>
                      <a:lnTo>
                        <a:pt x="67" y="89"/>
                      </a:lnTo>
                      <a:lnTo>
                        <a:pt x="69" y="89"/>
                      </a:lnTo>
                      <a:lnTo>
                        <a:pt x="69" y="88"/>
                      </a:lnTo>
                      <a:lnTo>
                        <a:pt x="70" y="88"/>
                      </a:lnTo>
                      <a:lnTo>
                        <a:pt x="71" y="89"/>
                      </a:lnTo>
                      <a:lnTo>
                        <a:pt x="72" y="89"/>
                      </a:lnTo>
                      <a:lnTo>
                        <a:pt x="73" y="89"/>
                      </a:lnTo>
                      <a:lnTo>
                        <a:pt x="74" y="90"/>
                      </a:lnTo>
                      <a:lnTo>
                        <a:pt x="76" y="90"/>
                      </a:lnTo>
                      <a:lnTo>
                        <a:pt x="76" y="92"/>
                      </a:lnTo>
                      <a:lnTo>
                        <a:pt x="76" y="93"/>
                      </a:lnTo>
                      <a:lnTo>
                        <a:pt x="76" y="94"/>
                      </a:lnTo>
                      <a:lnTo>
                        <a:pt x="77" y="95"/>
                      </a:lnTo>
                      <a:lnTo>
                        <a:pt x="76" y="96"/>
                      </a:lnTo>
                      <a:lnTo>
                        <a:pt x="76" y="97"/>
                      </a:lnTo>
                      <a:lnTo>
                        <a:pt x="74" y="99"/>
                      </a:lnTo>
                      <a:lnTo>
                        <a:pt x="73" y="100"/>
                      </a:lnTo>
                      <a:lnTo>
                        <a:pt x="72" y="100"/>
                      </a:lnTo>
                      <a:lnTo>
                        <a:pt x="73" y="100"/>
                      </a:lnTo>
                      <a:lnTo>
                        <a:pt x="73" y="101"/>
                      </a:lnTo>
                      <a:lnTo>
                        <a:pt x="74" y="101"/>
                      </a:lnTo>
                      <a:lnTo>
                        <a:pt x="76" y="101"/>
                      </a:lnTo>
                      <a:lnTo>
                        <a:pt x="77" y="102"/>
                      </a:lnTo>
                      <a:lnTo>
                        <a:pt x="78" y="102"/>
                      </a:lnTo>
                      <a:lnTo>
                        <a:pt x="79" y="102"/>
                      </a:lnTo>
                      <a:lnTo>
                        <a:pt x="80" y="102"/>
                      </a:lnTo>
                      <a:lnTo>
                        <a:pt x="81" y="102"/>
                      </a:lnTo>
                      <a:lnTo>
                        <a:pt x="81" y="101"/>
                      </a:lnTo>
                      <a:lnTo>
                        <a:pt x="82" y="101"/>
                      </a:lnTo>
                      <a:lnTo>
                        <a:pt x="82" y="100"/>
                      </a:lnTo>
                      <a:lnTo>
                        <a:pt x="84" y="100"/>
                      </a:lnTo>
                      <a:lnTo>
                        <a:pt x="85" y="99"/>
                      </a:lnTo>
                      <a:lnTo>
                        <a:pt x="86" y="97"/>
                      </a:lnTo>
                      <a:lnTo>
                        <a:pt x="88" y="97"/>
                      </a:lnTo>
                      <a:lnTo>
                        <a:pt x="89" y="97"/>
                      </a:lnTo>
                      <a:lnTo>
                        <a:pt x="92" y="96"/>
                      </a:lnTo>
                      <a:lnTo>
                        <a:pt x="93" y="96"/>
                      </a:lnTo>
                      <a:lnTo>
                        <a:pt x="94" y="96"/>
                      </a:lnTo>
                      <a:lnTo>
                        <a:pt x="99" y="96"/>
                      </a:lnTo>
                      <a:lnTo>
                        <a:pt x="101" y="95"/>
                      </a:lnTo>
                      <a:lnTo>
                        <a:pt x="103" y="94"/>
                      </a:lnTo>
                      <a:lnTo>
                        <a:pt x="105" y="94"/>
                      </a:lnTo>
                      <a:lnTo>
                        <a:pt x="106" y="94"/>
                      </a:lnTo>
                      <a:lnTo>
                        <a:pt x="106" y="95"/>
                      </a:lnTo>
                      <a:lnTo>
                        <a:pt x="106" y="96"/>
                      </a:lnTo>
                      <a:lnTo>
                        <a:pt x="105" y="96"/>
                      </a:lnTo>
                      <a:lnTo>
                        <a:pt x="105" y="97"/>
                      </a:lnTo>
                      <a:lnTo>
                        <a:pt x="105" y="99"/>
                      </a:lnTo>
                      <a:lnTo>
                        <a:pt x="103" y="100"/>
                      </a:lnTo>
                      <a:lnTo>
                        <a:pt x="105" y="101"/>
                      </a:lnTo>
                      <a:lnTo>
                        <a:pt x="105" y="102"/>
                      </a:lnTo>
                      <a:lnTo>
                        <a:pt x="105" y="103"/>
                      </a:lnTo>
                      <a:lnTo>
                        <a:pt x="105" y="104"/>
                      </a:lnTo>
                      <a:lnTo>
                        <a:pt x="106" y="107"/>
                      </a:lnTo>
                      <a:lnTo>
                        <a:pt x="106" y="108"/>
                      </a:lnTo>
                      <a:lnTo>
                        <a:pt x="107" y="108"/>
                      </a:lnTo>
                      <a:lnTo>
                        <a:pt x="108" y="109"/>
                      </a:lnTo>
                      <a:lnTo>
                        <a:pt x="109" y="110"/>
                      </a:lnTo>
                      <a:lnTo>
                        <a:pt x="110" y="110"/>
                      </a:lnTo>
                      <a:lnTo>
                        <a:pt x="110" y="111"/>
                      </a:lnTo>
                      <a:lnTo>
                        <a:pt x="110" y="113"/>
                      </a:lnTo>
                      <a:lnTo>
                        <a:pt x="112" y="113"/>
                      </a:lnTo>
                      <a:lnTo>
                        <a:pt x="112" y="111"/>
                      </a:lnTo>
                      <a:lnTo>
                        <a:pt x="113" y="111"/>
                      </a:lnTo>
                      <a:lnTo>
                        <a:pt x="113" y="110"/>
                      </a:lnTo>
                      <a:lnTo>
                        <a:pt x="115" y="110"/>
                      </a:lnTo>
                      <a:lnTo>
                        <a:pt x="116" y="111"/>
                      </a:lnTo>
                      <a:lnTo>
                        <a:pt x="116" y="113"/>
                      </a:lnTo>
                      <a:lnTo>
                        <a:pt x="117" y="113"/>
                      </a:lnTo>
                      <a:lnTo>
                        <a:pt x="119" y="113"/>
                      </a:lnTo>
                      <a:lnTo>
                        <a:pt x="121" y="114"/>
                      </a:lnTo>
                      <a:lnTo>
                        <a:pt x="121" y="113"/>
                      </a:lnTo>
                      <a:lnTo>
                        <a:pt x="122" y="113"/>
                      </a:lnTo>
                      <a:lnTo>
                        <a:pt x="124" y="115"/>
                      </a:lnTo>
                      <a:lnTo>
                        <a:pt x="126" y="115"/>
                      </a:lnTo>
                      <a:lnTo>
                        <a:pt x="126" y="116"/>
                      </a:lnTo>
                      <a:lnTo>
                        <a:pt x="127" y="116"/>
                      </a:lnTo>
                      <a:lnTo>
                        <a:pt x="131" y="116"/>
                      </a:lnTo>
                      <a:lnTo>
                        <a:pt x="133" y="116"/>
                      </a:lnTo>
                      <a:lnTo>
                        <a:pt x="134" y="117"/>
                      </a:lnTo>
                      <a:lnTo>
                        <a:pt x="135" y="117"/>
                      </a:lnTo>
                      <a:lnTo>
                        <a:pt x="136" y="117"/>
                      </a:lnTo>
                      <a:lnTo>
                        <a:pt x="137" y="117"/>
                      </a:lnTo>
                      <a:lnTo>
                        <a:pt x="138" y="116"/>
                      </a:lnTo>
                      <a:lnTo>
                        <a:pt x="140" y="116"/>
                      </a:lnTo>
                      <a:lnTo>
                        <a:pt x="141" y="117"/>
                      </a:lnTo>
                      <a:lnTo>
                        <a:pt x="142" y="117"/>
                      </a:lnTo>
                      <a:lnTo>
                        <a:pt x="142" y="118"/>
                      </a:lnTo>
                      <a:lnTo>
                        <a:pt x="143" y="118"/>
                      </a:lnTo>
                      <a:lnTo>
                        <a:pt x="145" y="118"/>
                      </a:lnTo>
                      <a:lnTo>
                        <a:pt x="146" y="118"/>
                      </a:lnTo>
                      <a:lnTo>
                        <a:pt x="148" y="120"/>
                      </a:lnTo>
                      <a:lnTo>
                        <a:pt x="149" y="120"/>
                      </a:lnTo>
                      <a:lnTo>
                        <a:pt x="150" y="120"/>
                      </a:lnTo>
                      <a:lnTo>
                        <a:pt x="150" y="118"/>
                      </a:lnTo>
                      <a:lnTo>
                        <a:pt x="151" y="118"/>
                      </a:lnTo>
                      <a:lnTo>
                        <a:pt x="152" y="118"/>
                      </a:lnTo>
                      <a:lnTo>
                        <a:pt x="155" y="118"/>
                      </a:lnTo>
                      <a:lnTo>
                        <a:pt x="156" y="117"/>
                      </a:lnTo>
                      <a:lnTo>
                        <a:pt x="157" y="116"/>
                      </a:lnTo>
                      <a:lnTo>
                        <a:pt x="157" y="115"/>
                      </a:lnTo>
                      <a:lnTo>
                        <a:pt x="157" y="113"/>
                      </a:lnTo>
                      <a:lnTo>
                        <a:pt x="157" y="111"/>
                      </a:lnTo>
                      <a:lnTo>
                        <a:pt x="158" y="110"/>
                      </a:lnTo>
                      <a:lnTo>
                        <a:pt x="159" y="110"/>
                      </a:lnTo>
                      <a:lnTo>
                        <a:pt x="159" y="109"/>
                      </a:lnTo>
                      <a:lnTo>
                        <a:pt x="158" y="108"/>
                      </a:lnTo>
                      <a:lnTo>
                        <a:pt x="158" y="107"/>
                      </a:lnTo>
                      <a:lnTo>
                        <a:pt x="159" y="107"/>
                      </a:lnTo>
                      <a:lnTo>
                        <a:pt x="160" y="107"/>
                      </a:lnTo>
                      <a:lnTo>
                        <a:pt x="162" y="107"/>
                      </a:lnTo>
                      <a:lnTo>
                        <a:pt x="163" y="106"/>
                      </a:lnTo>
                      <a:lnTo>
                        <a:pt x="164" y="106"/>
                      </a:lnTo>
                      <a:lnTo>
                        <a:pt x="164" y="107"/>
                      </a:lnTo>
                      <a:lnTo>
                        <a:pt x="165" y="108"/>
                      </a:lnTo>
                      <a:lnTo>
                        <a:pt x="165" y="109"/>
                      </a:lnTo>
                      <a:lnTo>
                        <a:pt x="165" y="110"/>
                      </a:lnTo>
                      <a:lnTo>
                        <a:pt x="165" y="114"/>
                      </a:lnTo>
                      <a:lnTo>
                        <a:pt x="171" y="117"/>
                      </a:lnTo>
                      <a:lnTo>
                        <a:pt x="173" y="120"/>
                      </a:lnTo>
                      <a:lnTo>
                        <a:pt x="173" y="121"/>
                      </a:lnTo>
                      <a:lnTo>
                        <a:pt x="174" y="125"/>
                      </a:lnTo>
                      <a:lnTo>
                        <a:pt x="177" y="128"/>
                      </a:lnTo>
                      <a:lnTo>
                        <a:pt x="178" y="129"/>
                      </a:lnTo>
                      <a:lnTo>
                        <a:pt x="179" y="129"/>
                      </a:lnTo>
                      <a:lnTo>
                        <a:pt x="180" y="129"/>
                      </a:lnTo>
                      <a:lnTo>
                        <a:pt x="181" y="129"/>
                      </a:lnTo>
                      <a:lnTo>
                        <a:pt x="183" y="129"/>
                      </a:lnTo>
                      <a:lnTo>
                        <a:pt x="184" y="129"/>
                      </a:lnTo>
                      <a:lnTo>
                        <a:pt x="184" y="128"/>
                      </a:lnTo>
                      <a:lnTo>
                        <a:pt x="185" y="128"/>
                      </a:lnTo>
                      <a:lnTo>
                        <a:pt x="186" y="128"/>
                      </a:lnTo>
                      <a:lnTo>
                        <a:pt x="187" y="129"/>
                      </a:lnTo>
                      <a:lnTo>
                        <a:pt x="188" y="130"/>
                      </a:lnTo>
                      <a:lnTo>
                        <a:pt x="188" y="131"/>
                      </a:lnTo>
                      <a:lnTo>
                        <a:pt x="190" y="131"/>
                      </a:lnTo>
                      <a:lnTo>
                        <a:pt x="192" y="131"/>
                      </a:lnTo>
                      <a:lnTo>
                        <a:pt x="193" y="131"/>
                      </a:lnTo>
                      <a:lnTo>
                        <a:pt x="193" y="132"/>
                      </a:lnTo>
                      <a:lnTo>
                        <a:pt x="194" y="134"/>
                      </a:lnTo>
                      <a:lnTo>
                        <a:pt x="194" y="132"/>
                      </a:lnTo>
                      <a:lnTo>
                        <a:pt x="195" y="132"/>
                      </a:lnTo>
                      <a:lnTo>
                        <a:pt x="197" y="132"/>
                      </a:lnTo>
                      <a:lnTo>
                        <a:pt x="197" y="134"/>
                      </a:lnTo>
                      <a:lnTo>
                        <a:pt x="198" y="134"/>
                      </a:lnTo>
                      <a:lnTo>
                        <a:pt x="199" y="134"/>
                      </a:lnTo>
                      <a:lnTo>
                        <a:pt x="200" y="134"/>
                      </a:lnTo>
                      <a:lnTo>
                        <a:pt x="202" y="136"/>
                      </a:lnTo>
                      <a:lnTo>
                        <a:pt x="204" y="137"/>
                      </a:lnTo>
                      <a:lnTo>
                        <a:pt x="204" y="138"/>
                      </a:lnTo>
                      <a:lnTo>
                        <a:pt x="205" y="139"/>
                      </a:lnTo>
                      <a:lnTo>
                        <a:pt x="206" y="141"/>
                      </a:lnTo>
                      <a:lnTo>
                        <a:pt x="206" y="142"/>
                      </a:lnTo>
                      <a:lnTo>
                        <a:pt x="205" y="143"/>
                      </a:lnTo>
                      <a:lnTo>
                        <a:pt x="205" y="144"/>
                      </a:lnTo>
                      <a:lnTo>
                        <a:pt x="206" y="145"/>
                      </a:lnTo>
                      <a:lnTo>
                        <a:pt x="207" y="146"/>
                      </a:lnTo>
                      <a:lnTo>
                        <a:pt x="207" y="148"/>
                      </a:lnTo>
                      <a:lnTo>
                        <a:pt x="207" y="149"/>
                      </a:lnTo>
                      <a:lnTo>
                        <a:pt x="208" y="148"/>
                      </a:lnTo>
                      <a:lnTo>
                        <a:pt x="208" y="146"/>
                      </a:lnTo>
                      <a:lnTo>
                        <a:pt x="209" y="146"/>
                      </a:lnTo>
                      <a:lnTo>
                        <a:pt x="210" y="146"/>
                      </a:lnTo>
                      <a:lnTo>
                        <a:pt x="212" y="148"/>
                      </a:lnTo>
                      <a:lnTo>
                        <a:pt x="214" y="151"/>
                      </a:lnTo>
                      <a:lnTo>
                        <a:pt x="215" y="152"/>
                      </a:lnTo>
                      <a:lnTo>
                        <a:pt x="215" y="153"/>
                      </a:lnTo>
                      <a:lnTo>
                        <a:pt x="215" y="155"/>
                      </a:lnTo>
                      <a:lnTo>
                        <a:pt x="216" y="155"/>
                      </a:lnTo>
                      <a:lnTo>
                        <a:pt x="216" y="156"/>
                      </a:lnTo>
                      <a:lnTo>
                        <a:pt x="217" y="156"/>
                      </a:lnTo>
                      <a:lnTo>
                        <a:pt x="217" y="157"/>
                      </a:lnTo>
                      <a:lnTo>
                        <a:pt x="219" y="162"/>
                      </a:lnTo>
                      <a:lnTo>
                        <a:pt x="220" y="163"/>
                      </a:lnTo>
                      <a:lnTo>
                        <a:pt x="220" y="164"/>
                      </a:lnTo>
                      <a:lnTo>
                        <a:pt x="221" y="164"/>
                      </a:lnTo>
                      <a:lnTo>
                        <a:pt x="221" y="165"/>
                      </a:lnTo>
                      <a:lnTo>
                        <a:pt x="222" y="164"/>
                      </a:lnTo>
                      <a:lnTo>
                        <a:pt x="223" y="164"/>
                      </a:lnTo>
                      <a:lnTo>
                        <a:pt x="224" y="164"/>
                      </a:lnTo>
                      <a:lnTo>
                        <a:pt x="226" y="164"/>
                      </a:lnTo>
                      <a:lnTo>
                        <a:pt x="226" y="165"/>
                      </a:lnTo>
                      <a:lnTo>
                        <a:pt x="227" y="165"/>
                      </a:lnTo>
                      <a:lnTo>
                        <a:pt x="227" y="166"/>
                      </a:lnTo>
                      <a:lnTo>
                        <a:pt x="227" y="165"/>
                      </a:lnTo>
                      <a:lnTo>
                        <a:pt x="228" y="165"/>
                      </a:lnTo>
                      <a:lnTo>
                        <a:pt x="229" y="164"/>
                      </a:lnTo>
                      <a:lnTo>
                        <a:pt x="230" y="163"/>
                      </a:lnTo>
                      <a:lnTo>
                        <a:pt x="235" y="162"/>
                      </a:lnTo>
                      <a:lnTo>
                        <a:pt x="236" y="160"/>
                      </a:lnTo>
                      <a:lnTo>
                        <a:pt x="237" y="159"/>
                      </a:lnTo>
                      <a:lnTo>
                        <a:pt x="238" y="159"/>
                      </a:lnTo>
                      <a:lnTo>
                        <a:pt x="240" y="159"/>
                      </a:lnTo>
                      <a:lnTo>
                        <a:pt x="241" y="160"/>
                      </a:lnTo>
                      <a:lnTo>
                        <a:pt x="242" y="160"/>
                      </a:lnTo>
                      <a:lnTo>
                        <a:pt x="242" y="162"/>
                      </a:lnTo>
                      <a:lnTo>
                        <a:pt x="241" y="162"/>
                      </a:lnTo>
                      <a:lnTo>
                        <a:pt x="241" y="163"/>
                      </a:lnTo>
                      <a:lnTo>
                        <a:pt x="241" y="164"/>
                      </a:lnTo>
                      <a:lnTo>
                        <a:pt x="240" y="164"/>
                      </a:lnTo>
                      <a:lnTo>
                        <a:pt x="240" y="165"/>
                      </a:lnTo>
                      <a:lnTo>
                        <a:pt x="241" y="165"/>
                      </a:lnTo>
                      <a:lnTo>
                        <a:pt x="241" y="166"/>
                      </a:lnTo>
                      <a:lnTo>
                        <a:pt x="242" y="166"/>
                      </a:lnTo>
                      <a:lnTo>
                        <a:pt x="243" y="166"/>
                      </a:lnTo>
                      <a:lnTo>
                        <a:pt x="245" y="166"/>
                      </a:lnTo>
                      <a:lnTo>
                        <a:pt x="247" y="165"/>
                      </a:lnTo>
                      <a:lnTo>
                        <a:pt x="247" y="162"/>
                      </a:lnTo>
                      <a:lnTo>
                        <a:pt x="247" y="157"/>
                      </a:lnTo>
                      <a:lnTo>
                        <a:pt x="247" y="152"/>
                      </a:lnTo>
                      <a:lnTo>
                        <a:pt x="247" y="148"/>
                      </a:lnTo>
                      <a:lnTo>
                        <a:pt x="247" y="142"/>
                      </a:lnTo>
                      <a:lnTo>
                        <a:pt x="247" y="137"/>
                      </a:lnTo>
                      <a:lnTo>
                        <a:pt x="247" y="132"/>
                      </a:lnTo>
                      <a:lnTo>
                        <a:pt x="247" y="128"/>
                      </a:lnTo>
                      <a:lnTo>
                        <a:pt x="247" y="124"/>
                      </a:lnTo>
                      <a:lnTo>
                        <a:pt x="244" y="124"/>
                      </a:lnTo>
                      <a:lnTo>
                        <a:pt x="244" y="125"/>
                      </a:lnTo>
                      <a:lnTo>
                        <a:pt x="243" y="125"/>
                      </a:lnTo>
                      <a:lnTo>
                        <a:pt x="242" y="127"/>
                      </a:lnTo>
                      <a:lnTo>
                        <a:pt x="241" y="127"/>
                      </a:lnTo>
                      <a:lnTo>
                        <a:pt x="240" y="125"/>
                      </a:lnTo>
                      <a:lnTo>
                        <a:pt x="238" y="125"/>
                      </a:lnTo>
                      <a:lnTo>
                        <a:pt x="238" y="127"/>
                      </a:lnTo>
                      <a:lnTo>
                        <a:pt x="237" y="127"/>
                      </a:lnTo>
                      <a:lnTo>
                        <a:pt x="236" y="127"/>
                      </a:lnTo>
                      <a:lnTo>
                        <a:pt x="236" y="128"/>
                      </a:lnTo>
                      <a:lnTo>
                        <a:pt x="235" y="129"/>
                      </a:lnTo>
                      <a:lnTo>
                        <a:pt x="235" y="130"/>
                      </a:lnTo>
                      <a:lnTo>
                        <a:pt x="236" y="131"/>
                      </a:lnTo>
                      <a:lnTo>
                        <a:pt x="236" y="132"/>
                      </a:lnTo>
                      <a:lnTo>
                        <a:pt x="237" y="132"/>
                      </a:lnTo>
                      <a:lnTo>
                        <a:pt x="237" y="134"/>
                      </a:lnTo>
                      <a:lnTo>
                        <a:pt x="236" y="135"/>
                      </a:lnTo>
                      <a:lnTo>
                        <a:pt x="236" y="134"/>
                      </a:lnTo>
                      <a:lnTo>
                        <a:pt x="235" y="134"/>
                      </a:lnTo>
                      <a:lnTo>
                        <a:pt x="234" y="134"/>
                      </a:lnTo>
                      <a:lnTo>
                        <a:pt x="233" y="132"/>
                      </a:lnTo>
                      <a:lnTo>
                        <a:pt x="231" y="132"/>
                      </a:lnTo>
                      <a:lnTo>
                        <a:pt x="230" y="132"/>
                      </a:lnTo>
                      <a:lnTo>
                        <a:pt x="229" y="131"/>
                      </a:lnTo>
                      <a:lnTo>
                        <a:pt x="227" y="131"/>
                      </a:lnTo>
                      <a:lnTo>
                        <a:pt x="226" y="131"/>
                      </a:lnTo>
                      <a:lnTo>
                        <a:pt x="224" y="132"/>
                      </a:lnTo>
                      <a:lnTo>
                        <a:pt x="224" y="131"/>
                      </a:lnTo>
                      <a:lnTo>
                        <a:pt x="223" y="131"/>
                      </a:lnTo>
                      <a:lnTo>
                        <a:pt x="223" y="132"/>
                      </a:lnTo>
                      <a:lnTo>
                        <a:pt x="222" y="132"/>
                      </a:lnTo>
                      <a:lnTo>
                        <a:pt x="222" y="131"/>
                      </a:lnTo>
                      <a:lnTo>
                        <a:pt x="220" y="127"/>
                      </a:lnTo>
                      <a:lnTo>
                        <a:pt x="219" y="125"/>
                      </a:lnTo>
                      <a:lnTo>
                        <a:pt x="216" y="124"/>
                      </a:lnTo>
                      <a:lnTo>
                        <a:pt x="216" y="123"/>
                      </a:lnTo>
                      <a:lnTo>
                        <a:pt x="215" y="122"/>
                      </a:lnTo>
                      <a:lnTo>
                        <a:pt x="214" y="121"/>
                      </a:lnTo>
                      <a:lnTo>
                        <a:pt x="213" y="121"/>
                      </a:lnTo>
                      <a:lnTo>
                        <a:pt x="213" y="120"/>
                      </a:lnTo>
                      <a:lnTo>
                        <a:pt x="212" y="120"/>
                      </a:lnTo>
                      <a:lnTo>
                        <a:pt x="209" y="118"/>
                      </a:lnTo>
                      <a:lnTo>
                        <a:pt x="208" y="116"/>
                      </a:lnTo>
                      <a:lnTo>
                        <a:pt x="207" y="117"/>
                      </a:lnTo>
                      <a:lnTo>
                        <a:pt x="207" y="116"/>
                      </a:lnTo>
                      <a:lnTo>
                        <a:pt x="207" y="115"/>
                      </a:lnTo>
                      <a:lnTo>
                        <a:pt x="206" y="115"/>
                      </a:lnTo>
                      <a:lnTo>
                        <a:pt x="205" y="115"/>
                      </a:lnTo>
                      <a:lnTo>
                        <a:pt x="205" y="114"/>
                      </a:lnTo>
                      <a:lnTo>
                        <a:pt x="205" y="113"/>
                      </a:lnTo>
                      <a:lnTo>
                        <a:pt x="204" y="113"/>
                      </a:lnTo>
                      <a:lnTo>
                        <a:pt x="204" y="110"/>
                      </a:lnTo>
                      <a:lnTo>
                        <a:pt x="202" y="109"/>
                      </a:lnTo>
                      <a:lnTo>
                        <a:pt x="202" y="107"/>
                      </a:lnTo>
                      <a:lnTo>
                        <a:pt x="201" y="106"/>
                      </a:lnTo>
                      <a:lnTo>
                        <a:pt x="201" y="104"/>
                      </a:lnTo>
                      <a:lnTo>
                        <a:pt x="201" y="102"/>
                      </a:lnTo>
                      <a:lnTo>
                        <a:pt x="202" y="100"/>
                      </a:lnTo>
                      <a:lnTo>
                        <a:pt x="204" y="99"/>
                      </a:lnTo>
                      <a:lnTo>
                        <a:pt x="204" y="97"/>
                      </a:lnTo>
                      <a:lnTo>
                        <a:pt x="204" y="96"/>
                      </a:lnTo>
                      <a:lnTo>
                        <a:pt x="205" y="95"/>
                      </a:lnTo>
                      <a:lnTo>
                        <a:pt x="205" y="94"/>
                      </a:lnTo>
                      <a:lnTo>
                        <a:pt x="205" y="93"/>
                      </a:lnTo>
                      <a:lnTo>
                        <a:pt x="205" y="92"/>
                      </a:lnTo>
                      <a:lnTo>
                        <a:pt x="205" y="90"/>
                      </a:lnTo>
                      <a:lnTo>
                        <a:pt x="205" y="89"/>
                      </a:lnTo>
                      <a:lnTo>
                        <a:pt x="206" y="88"/>
                      </a:lnTo>
                      <a:lnTo>
                        <a:pt x="206" y="87"/>
                      </a:lnTo>
                      <a:lnTo>
                        <a:pt x="206" y="86"/>
                      </a:lnTo>
                      <a:lnTo>
                        <a:pt x="207" y="86"/>
                      </a:lnTo>
                      <a:lnTo>
                        <a:pt x="207" y="85"/>
                      </a:lnTo>
                      <a:lnTo>
                        <a:pt x="207" y="84"/>
                      </a:lnTo>
                      <a:lnTo>
                        <a:pt x="207" y="82"/>
                      </a:lnTo>
                      <a:lnTo>
                        <a:pt x="207" y="81"/>
                      </a:lnTo>
                      <a:lnTo>
                        <a:pt x="208" y="81"/>
                      </a:lnTo>
                      <a:lnTo>
                        <a:pt x="208" y="80"/>
                      </a:lnTo>
                      <a:lnTo>
                        <a:pt x="208" y="79"/>
                      </a:lnTo>
                      <a:lnTo>
                        <a:pt x="209" y="79"/>
                      </a:lnTo>
                      <a:lnTo>
                        <a:pt x="210" y="79"/>
                      </a:lnTo>
                      <a:lnTo>
                        <a:pt x="210" y="78"/>
                      </a:lnTo>
                      <a:lnTo>
                        <a:pt x="212" y="77"/>
                      </a:lnTo>
                      <a:lnTo>
                        <a:pt x="210" y="75"/>
                      </a:lnTo>
                      <a:lnTo>
                        <a:pt x="210" y="74"/>
                      </a:lnTo>
                      <a:lnTo>
                        <a:pt x="210" y="73"/>
                      </a:lnTo>
                      <a:lnTo>
                        <a:pt x="209" y="72"/>
                      </a:lnTo>
                      <a:lnTo>
                        <a:pt x="209" y="71"/>
                      </a:lnTo>
                      <a:lnTo>
                        <a:pt x="209" y="70"/>
                      </a:lnTo>
                      <a:lnTo>
                        <a:pt x="210" y="70"/>
                      </a:lnTo>
                      <a:lnTo>
                        <a:pt x="209" y="70"/>
                      </a:lnTo>
                      <a:lnTo>
                        <a:pt x="209" y="68"/>
                      </a:lnTo>
                      <a:lnTo>
                        <a:pt x="209" y="67"/>
                      </a:lnTo>
                      <a:lnTo>
                        <a:pt x="209" y="66"/>
                      </a:lnTo>
                      <a:lnTo>
                        <a:pt x="209" y="65"/>
                      </a:lnTo>
                      <a:lnTo>
                        <a:pt x="209" y="64"/>
                      </a:lnTo>
                      <a:lnTo>
                        <a:pt x="208" y="64"/>
                      </a:lnTo>
                      <a:lnTo>
                        <a:pt x="207" y="63"/>
                      </a:lnTo>
                      <a:lnTo>
                        <a:pt x="208" y="63"/>
                      </a:lnTo>
                      <a:lnTo>
                        <a:pt x="208" y="61"/>
                      </a:lnTo>
                      <a:lnTo>
                        <a:pt x="209" y="60"/>
                      </a:lnTo>
                      <a:lnTo>
                        <a:pt x="209" y="59"/>
                      </a:lnTo>
                      <a:lnTo>
                        <a:pt x="209" y="57"/>
                      </a:lnTo>
                      <a:lnTo>
                        <a:pt x="209" y="54"/>
                      </a:lnTo>
                      <a:lnTo>
                        <a:pt x="209" y="53"/>
                      </a:lnTo>
                      <a:lnTo>
                        <a:pt x="210" y="51"/>
                      </a:lnTo>
                      <a:lnTo>
                        <a:pt x="210" y="50"/>
                      </a:lnTo>
                      <a:lnTo>
                        <a:pt x="212" y="50"/>
                      </a:lnTo>
                      <a:lnTo>
                        <a:pt x="212" y="49"/>
                      </a:lnTo>
                      <a:lnTo>
                        <a:pt x="210" y="49"/>
                      </a:lnTo>
                      <a:lnTo>
                        <a:pt x="210" y="47"/>
                      </a:lnTo>
                      <a:lnTo>
                        <a:pt x="209" y="46"/>
                      </a:lnTo>
                      <a:lnTo>
                        <a:pt x="209" y="45"/>
                      </a:lnTo>
                      <a:lnTo>
                        <a:pt x="209" y="44"/>
                      </a:lnTo>
                      <a:lnTo>
                        <a:pt x="209" y="43"/>
                      </a:lnTo>
                      <a:lnTo>
                        <a:pt x="208" y="43"/>
                      </a:lnTo>
                      <a:lnTo>
                        <a:pt x="208" y="42"/>
                      </a:lnTo>
                      <a:lnTo>
                        <a:pt x="209" y="42"/>
                      </a:lnTo>
                      <a:lnTo>
                        <a:pt x="208" y="42"/>
                      </a:lnTo>
                      <a:lnTo>
                        <a:pt x="207" y="40"/>
                      </a:lnTo>
                      <a:lnTo>
                        <a:pt x="207" y="39"/>
                      </a:lnTo>
                      <a:lnTo>
                        <a:pt x="206" y="38"/>
                      </a:lnTo>
                      <a:lnTo>
                        <a:pt x="206" y="37"/>
                      </a:lnTo>
                      <a:lnTo>
                        <a:pt x="206" y="36"/>
                      </a:lnTo>
                      <a:lnTo>
                        <a:pt x="206" y="37"/>
                      </a:lnTo>
                      <a:lnTo>
                        <a:pt x="207" y="37"/>
                      </a:lnTo>
                      <a:lnTo>
                        <a:pt x="208" y="37"/>
                      </a:lnTo>
                      <a:lnTo>
                        <a:pt x="209" y="37"/>
                      </a:lnTo>
                      <a:lnTo>
                        <a:pt x="210" y="37"/>
                      </a:lnTo>
                      <a:lnTo>
                        <a:pt x="212" y="38"/>
                      </a:lnTo>
                      <a:lnTo>
                        <a:pt x="213" y="38"/>
                      </a:lnTo>
                      <a:lnTo>
                        <a:pt x="213" y="37"/>
                      </a:lnTo>
                      <a:lnTo>
                        <a:pt x="212" y="37"/>
                      </a:lnTo>
                      <a:lnTo>
                        <a:pt x="213" y="36"/>
                      </a:lnTo>
                      <a:lnTo>
                        <a:pt x="213" y="35"/>
                      </a:lnTo>
                      <a:lnTo>
                        <a:pt x="212" y="35"/>
                      </a:lnTo>
                      <a:lnTo>
                        <a:pt x="213" y="33"/>
                      </a:lnTo>
                      <a:lnTo>
                        <a:pt x="213" y="32"/>
                      </a:lnTo>
                      <a:lnTo>
                        <a:pt x="214" y="32"/>
                      </a:lnTo>
                      <a:lnTo>
                        <a:pt x="214" y="31"/>
                      </a:lnTo>
                      <a:lnTo>
                        <a:pt x="215" y="31"/>
                      </a:lnTo>
                      <a:lnTo>
                        <a:pt x="215" y="30"/>
                      </a:lnTo>
                      <a:lnTo>
                        <a:pt x="216" y="29"/>
                      </a:lnTo>
                      <a:lnTo>
                        <a:pt x="216" y="28"/>
                      </a:lnTo>
                      <a:lnTo>
                        <a:pt x="217" y="28"/>
                      </a:lnTo>
                      <a:lnTo>
                        <a:pt x="219" y="26"/>
                      </a:lnTo>
                      <a:lnTo>
                        <a:pt x="219" y="25"/>
                      </a:lnTo>
                      <a:lnTo>
                        <a:pt x="220" y="25"/>
                      </a:lnTo>
                      <a:lnTo>
                        <a:pt x="221" y="24"/>
                      </a:lnTo>
                      <a:lnTo>
                        <a:pt x="222" y="23"/>
                      </a:lnTo>
                      <a:lnTo>
                        <a:pt x="222" y="21"/>
                      </a:lnTo>
                      <a:lnTo>
                        <a:pt x="224" y="18"/>
                      </a:lnTo>
                      <a:lnTo>
                        <a:pt x="226" y="14"/>
                      </a:lnTo>
                      <a:lnTo>
                        <a:pt x="226" y="12"/>
                      </a:lnTo>
                      <a:lnTo>
                        <a:pt x="224" y="11"/>
                      </a:lnTo>
                      <a:lnTo>
                        <a:pt x="222" y="10"/>
                      </a:lnTo>
                      <a:lnTo>
                        <a:pt x="221" y="9"/>
                      </a:lnTo>
                      <a:lnTo>
                        <a:pt x="220" y="9"/>
                      </a:lnTo>
                      <a:lnTo>
                        <a:pt x="219" y="8"/>
                      </a:lnTo>
                      <a:lnTo>
                        <a:pt x="217" y="8"/>
                      </a:lnTo>
                      <a:lnTo>
                        <a:pt x="219" y="8"/>
                      </a:lnTo>
                      <a:lnTo>
                        <a:pt x="222" y="7"/>
                      </a:lnTo>
                      <a:lnTo>
                        <a:pt x="228" y="5"/>
                      </a:lnTo>
                      <a:lnTo>
                        <a:pt x="233" y="5"/>
                      </a:lnTo>
                      <a:lnTo>
                        <a:pt x="240" y="4"/>
                      </a:lnTo>
                      <a:lnTo>
                        <a:pt x="248" y="3"/>
                      </a:lnTo>
                      <a:lnTo>
                        <a:pt x="257" y="2"/>
                      </a:lnTo>
                      <a:lnTo>
                        <a:pt x="263" y="1"/>
                      </a:lnTo>
                      <a:lnTo>
                        <a:pt x="271" y="0"/>
                      </a:lnTo>
                      <a:lnTo>
                        <a:pt x="271" y="1"/>
                      </a:lnTo>
                      <a:lnTo>
                        <a:pt x="271" y="2"/>
                      </a:lnTo>
                      <a:lnTo>
                        <a:pt x="270" y="2"/>
                      </a:lnTo>
                      <a:lnTo>
                        <a:pt x="269" y="3"/>
                      </a:lnTo>
                      <a:lnTo>
                        <a:pt x="268" y="4"/>
                      </a:lnTo>
                      <a:lnTo>
                        <a:pt x="268" y="5"/>
                      </a:lnTo>
                      <a:lnTo>
                        <a:pt x="266" y="7"/>
                      </a:lnTo>
                      <a:lnTo>
                        <a:pt x="268" y="8"/>
                      </a:lnTo>
                      <a:lnTo>
                        <a:pt x="268" y="9"/>
                      </a:lnTo>
                      <a:lnTo>
                        <a:pt x="269" y="9"/>
                      </a:lnTo>
                      <a:lnTo>
                        <a:pt x="270" y="8"/>
                      </a:lnTo>
                      <a:lnTo>
                        <a:pt x="271" y="8"/>
                      </a:lnTo>
                      <a:lnTo>
                        <a:pt x="271" y="9"/>
                      </a:lnTo>
                      <a:lnTo>
                        <a:pt x="271" y="10"/>
                      </a:lnTo>
                      <a:lnTo>
                        <a:pt x="270" y="10"/>
                      </a:lnTo>
                      <a:lnTo>
                        <a:pt x="270" y="11"/>
                      </a:lnTo>
                      <a:lnTo>
                        <a:pt x="271" y="11"/>
                      </a:lnTo>
                      <a:lnTo>
                        <a:pt x="271" y="10"/>
                      </a:lnTo>
                      <a:lnTo>
                        <a:pt x="272" y="10"/>
                      </a:lnTo>
                      <a:lnTo>
                        <a:pt x="273" y="9"/>
                      </a:lnTo>
                      <a:lnTo>
                        <a:pt x="273" y="8"/>
                      </a:lnTo>
                      <a:lnTo>
                        <a:pt x="273" y="9"/>
                      </a:lnTo>
                      <a:lnTo>
                        <a:pt x="272" y="8"/>
                      </a:lnTo>
                      <a:lnTo>
                        <a:pt x="273" y="8"/>
                      </a:lnTo>
                      <a:lnTo>
                        <a:pt x="274" y="8"/>
                      </a:lnTo>
                      <a:lnTo>
                        <a:pt x="274" y="9"/>
                      </a:lnTo>
                      <a:lnTo>
                        <a:pt x="276" y="9"/>
                      </a:lnTo>
                      <a:lnTo>
                        <a:pt x="276" y="10"/>
                      </a:lnTo>
                      <a:lnTo>
                        <a:pt x="277" y="10"/>
                      </a:lnTo>
                      <a:lnTo>
                        <a:pt x="278" y="10"/>
                      </a:lnTo>
                      <a:lnTo>
                        <a:pt x="278" y="11"/>
                      </a:lnTo>
                      <a:lnTo>
                        <a:pt x="280" y="12"/>
                      </a:lnTo>
                      <a:lnTo>
                        <a:pt x="285" y="18"/>
                      </a:lnTo>
                      <a:lnTo>
                        <a:pt x="286" y="18"/>
                      </a:lnTo>
                      <a:lnTo>
                        <a:pt x="286" y="17"/>
                      </a:lnTo>
                      <a:lnTo>
                        <a:pt x="287" y="17"/>
                      </a:lnTo>
                      <a:lnTo>
                        <a:pt x="287" y="16"/>
                      </a:lnTo>
                      <a:lnTo>
                        <a:pt x="288" y="16"/>
                      </a:lnTo>
                      <a:lnTo>
                        <a:pt x="288" y="15"/>
                      </a:lnTo>
                      <a:lnTo>
                        <a:pt x="290" y="16"/>
                      </a:lnTo>
                      <a:lnTo>
                        <a:pt x="291" y="16"/>
                      </a:lnTo>
                      <a:lnTo>
                        <a:pt x="291" y="15"/>
                      </a:lnTo>
                      <a:lnTo>
                        <a:pt x="291" y="14"/>
                      </a:lnTo>
                      <a:lnTo>
                        <a:pt x="290" y="14"/>
                      </a:lnTo>
                      <a:lnTo>
                        <a:pt x="291" y="14"/>
                      </a:lnTo>
                      <a:lnTo>
                        <a:pt x="291" y="12"/>
                      </a:lnTo>
                      <a:lnTo>
                        <a:pt x="291" y="11"/>
                      </a:lnTo>
                      <a:lnTo>
                        <a:pt x="290" y="1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3" name="Freeform 125">
                  <a:extLst>
                    <a:ext uri="{FF2B5EF4-FFF2-40B4-BE49-F238E27FC236}">
                      <a16:creationId xmlns:a16="http://schemas.microsoft.com/office/drawing/2014/main" id="{6B130C9F-6144-68F0-F8DA-4FC3381E3D11}"/>
                    </a:ext>
                  </a:extLst>
                </p:cNvPr>
                <p:cNvSpPr>
                  <a:spLocks/>
                </p:cNvSpPr>
                <p:nvPr/>
              </p:nvSpPr>
              <p:spPr bwMode="auto">
                <a:xfrm>
                  <a:off x="7093403" y="4335154"/>
                  <a:ext cx="266106" cy="243390"/>
                </a:xfrm>
                <a:custGeom>
                  <a:avLst/>
                  <a:gdLst>
                    <a:gd name="T0" fmla="*/ 178 w 246"/>
                    <a:gd name="T1" fmla="*/ 13 h 225"/>
                    <a:gd name="T2" fmla="*/ 184 w 246"/>
                    <a:gd name="T3" fmla="*/ 13 h 225"/>
                    <a:gd name="T4" fmla="*/ 195 w 246"/>
                    <a:gd name="T5" fmla="*/ 18 h 225"/>
                    <a:gd name="T6" fmla="*/ 209 w 246"/>
                    <a:gd name="T7" fmla="*/ 24 h 225"/>
                    <a:gd name="T8" fmla="*/ 234 w 246"/>
                    <a:gd name="T9" fmla="*/ 33 h 225"/>
                    <a:gd name="T10" fmla="*/ 243 w 246"/>
                    <a:gd name="T11" fmla="*/ 35 h 225"/>
                    <a:gd name="T12" fmla="*/ 243 w 246"/>
                    <a:gd name="T13" fmla="*/ 55 h 225"/>
                    <a:gd name="T14" fmla="*/ 245 w 246"/>
                    <a:gd name="T15" fmla="*/ 66 h 225"/>
                    <a:gd name="T16" fmla="*/ 242 w 246"/>
                    <a:gd name="T17" fmla="*/ 76 h 225"/>
                    <a:gd name="T18" fmla="*/ 245 w 246"/>
                    <a:gd name="T19" fmla="*/ 89 h 225"/>
                    <a:gd name="T20" fmla="*/ 240 w 246"/>
                    <a:gd name="T21" fmla="*/ 96 h 225"/>
                    <a:gd name="T22" fmla="*/ 234 w 246"/>
                    <a:gd name="T23" fmla="*/ 106 h 225"/>
                    <a:gd name="T24" fmla="*/ 240 w 246"/>
                    <a:gd name="T25" fmla="*/ 115 h 225"/>
                    <a:gd name="T26" fmla="*/ 238 w 246"/>
                    <a:gd name="T27" fmla="*/ 127 h 225"/>
                    <a:gd name="T28" fmla="*/ 241 w 246"/>
                    <a:gd name="T29" fmla="*/ 133 h 225"/>
                    <a:gd name="T30" fmla="*/ 243 w 246"/>
                    <a:gd name="T31" fmla="*/ 145 h 225"/>
                    <a:gd name="T32" fmla="*/ 239 w 246"/>
                    <a:gd name="T33" fmla="*/ 154 h 225"/>
                    <a:gd name="T34" fmla="*/ 227 w 246"/>
                    <a:gd name="T35" fmla="*/ 166 h 225"/>
                    <a:gd name="T36" fmla="*/ 224 w 246"/>
                    <a:gd name="T37" fmla="*/ 183 h 225"/>
                    <a:gd name="T38" fmla="*/ 214 w 246"/>
                    <a:gd name="T39" fmla="*/ 200 h 225"/>
                    <a:gd name="T40" fmla="*/ 198 w 246"/>
                    <a:gd name="T41" fmla="*/ 218 h 225"/>
                    <a:gd name="T42" fmla="*/ 186 w 246"/>
                    <a:gd name="T43" fmla="*/ 222 h 225"/>
                    <a:gd name="T44" fmla="*/ 170 w 246"/>
                    <a:gd name="T45" fmla="*/ 222 h 225"/>
                    <a:gd name="T46" fmla="*/ 159 w 246"/>
                    <a:gd name="T47" fmla="*/ 222 h 225"/>
                    <a:gd name="T48" fmla="*/ 148 w 246"/>
                    <a:gd name="T49" fmla="*/ 218 h 225"/>
                    <a:gd name="T50" fmla="*/ 135 w 246"/>
                    <a:gd name="T51" fmla="*/ 217 h 225"/>
                    <a:gd name="T52" fmla="*/ 122 w 246"/>
                    <a:gd name="T53" fmla="*/ 214 h 225"/>
                    <a:gd name="T54" fmla="*/ 120 w 246"/>
                    <a:gd name="T55" fmla="*/ 204 h 225"/>
                    <a:gd name="T56" fmla="*/ 105 w 246"/>
                    <a:gd name="T57" fmla="*/ 200 h 225"/>
                    <a:gd name="T58" fmla="*/ 90 w 246"/>
                    <a:gd name="T59" fmla="*/ 197 h 225"/>
                    <a:gd name="T60" fmla="*/ 84 w 246"/>
                    <a:gd name="T61" fmla="*/ 188 h 225"/>
                    <a:gd name="T62" fmla="*/ 77 w 246"/>
                    <a:gd name="T63" fmla="*/ 174 h 225"/>
                    <a:gd name="T64" fmla="*/ 77 w 246"/>
                    <a:gd name="T65" fmla="*/ 160 h 225"/>
                    <a:gd name="T66" fmla="*/ 63 w 246"/>
                    <a:gd name="T67" fmla="*/ 148 h 225"/>
                    <a:gd name="T68" fmla="*/ 49 w 246"/>
                    <a:gd name="T69" fmla="*/ 143 h 225"/>
                    <a:gd name="T70" fmla="*/ 40 w 246"/>
                    <a:gd name="T71" fmla="*/ 137 h 225"/>
                    <a:gd name="T72" fmla="*/ 34 w 246"/>
                    <a:gd name="T73" fmla="*/ 131 h 225"/>
                    <a:gd name="T74" fmla="*/ 22 w 246"/>
                    <a:gd name="T75" fmla="*/ 115 h 225"/>
                    <a:gd name="T76" fmla="*/ 15 w 246"/>
                    <a:gd name="T77" fmla="*/ 97 h 225"/>
                    <a:gd name="T78" fmla="*/ 6 w 246"/>
                    <a:gd name="T79" fmla="*/ 84 h 225"/>
                    <a:gd name="T80" fmla="*/ 3 w 246"/>
                    <a:gd name="T81" fmla="*/ 71 h 225"/>
                    <a:gd name="T82" fmla="*/ 15 w 246"/>
                    <a:gd name="T83" fmla="*/ 73 h 225"/>
                    <a:gd name="T84" fmla="*/ 27 w 246"/>
                    <a:gd name="T85" fmla="*/ 77 h 225"/>
                    <a:gd name="T86" fmla="*/ 36 w 246"/>
                    <a:gd name="T87" fmla="*/ 76 h 225"/>
                    <a:gd name="T88" fmla="*/ 48 w 246"/>
                    <a:gd name="T89" fmla="*/ 80 h 225"/>
                    <a:gd name="T90" fmla="*/ 58 w 246"/>
                    <a:gd name="T91" fmla="*/ 76 h 225"/>
                    <a:gd name="T92" fmla="*/ 63 w 246"/>
                    <a:gd name="T93" fmla="*/ 70 h 225"/>
                    <a:gd name="T94" fmla="*/ 70 w 246"/>
                    <a:gd name="T95" fmla="*/ 63 h 225"/>
                    <a:gd name="T96" fmla="*/ 75 w 246"/>
                    <a:gd name="T97" fmla="*/ 57 h 225"/>
                    <a:gd name="T98" fmla="*/ 83 w 246"/>
                    <a:gd name="T99" fmla="*/ 50 h 225"/>
                    <a:gd name="T100" fmla="*/ 89 w 246"/>
                    <a:gd name="T101" fmla="*/ 48 h 225"/>
                    <a:gd name="T102" fmla="*/ 89 w 246"/>
                    <a:gd name="T103" fmla="*/ 45 h 225"/>
                    <a:gd name="T104" fmla="*/ 96 w 246"/>
                    <a:gd name="T105" fmla="*/ 39 h 225"/>
                    <a:gd name="T106" fmla="*/ 102 w 246"/>
                    <a:gd name="T107" fmla="*/ 40 h 225"/>
                    <a:gd name="T108" fmla="*/ 105 w 246"/>
                    <a:gd name="T109" fmla="*/ 36 h 225"/>
                    <a:gd name="T110" fmla="*/ 108 w 246"/>
                    <a:gd name="T111" fmla="*/ 38 h 225"/>
                    <a:gd name="T112" fmla="*/ 114 w 246"/>
                    <a:gd name="T113" fmla="*/ 34 h 225"/>
                    <a:gd name="T114" fmla="*/ 118 w 246"/>
                    <a:gd name="T115" fmla="*/ 32 h 225"/>
                    <a:gd name="T116" fmla="*/ 112 w 246"/>
                    <a:gd name="T117" fmla="*/ 31 h 225"/>
                    <a:gd name="T118" fmla="*/ 114 w 246"/>
                    <a:gd name="T119" fmla="*/ 19 h 225"/>
                    <a:gd name="T120" fmla="*/ 121 w 246"/>
                    <a:gd name="T121" fmla="*/ 10 h 225"/>
                    <a:gd name="T122" fmla="*/ 142 w 246"/>
                    <a:gd name="T123" fmla="*/ 1 h 225"/>
                    <a:gd name="T124" fmla="*/ 156 w 246"/>
                    <a:gd name="T125" fmla="*/ 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6" h="225">
                      <a:moveTo>
                        <a:pt x="163" y="1"/>
                      </a:moveTo>
                      <a:lnTo>
                        <a:pt x="163" y="4"/>
                      </a:lnTo>
                      <a:lnTo>
                        <a:pt x="163" y="7"/>
                      </a:lnTo>
                      <a:lnTo>
                        <a:pt x="163" y="11"/>
                      </a:lnTo>
                      <a:lnTo>
                        <a:pt x="163" y="13"/>
                      </a:lnTo>
                      <a:lnTo>
                        <a:pt x="167" y="13"/>
                      </a:lnTo>
                      <a:lnTo>
                        <a:pt x="169" y="13"/>
                      </a:lnTo>
                      <a:lnTo>
                        <a:pt x="174" y="13"/>
                      </a:lnTo>
                      <a:lnTo>
                        <a:pt x="177" y="13"/>
                      </a:lnTo>
                      <a:lnTo>
                        <a:pt x="178" y="13"/>
                      </a:lnTo>
                      <a:lnTo>
                        <a:pt x="179" y="14"/>
                      </a:lnTo>
                      <a:lnTo>
                        <a:pt x="181" y="14"/>
                      </a:lnTo>
                      <a:lnTo>
                        <a:pt x="181" y="15"/>
                      </a:lnTo>
                      <a:lnTo>
                        <a:pt x="182" y="15"/>
                      </a:lnTo>
                      <a:lnTo>
                        <a:pt x="182" y="14"/>
                      </a:lnTo>
                      <a:lnTo>
                        <a:pt x="183" y="14"/>
                      </a:lnTo>
                      <a:lnTo>
                        <a:pt x="183" y="13"/>
                      </a:lnTo>
                      <a:lnTo>
                        <a:pt x="184" y="13"/>
                      </a:lnTo>
                      <a:lnTo>
                        <a:pt x="184" y="14"/>
                      </a:lnTo>
                      <a:lnTo>
                        <a:pt x="184" y="13"/>
                      </a:lnTo>
                      <a:lnTo>
                        <a:pt x="185" y="13"/>
                      </a:lnTo>
                      <a:lnTo>
                        <a:pt x="186" y="13"/>
                      </a:lnTo>
                      <a:lnTo>
                        <a:pt x="190" y="14"/>
                      </a:lnTo>
                      <a:lnTo>
                        <a:pt x="191" y="14"/>
                      </a:lnTo>
                      <a:lnTo>
                        <a:pt x="191" y="15"/>
                      </a:lnTo>
                      <a:lnTo>
                        <a:pt x="192" y="15"/>
                      </a:lnTo>
                      <a:lnTo>
                        <a:pt x="192" y="17"/>
                      </a:lnTo>
                      <a:lnTo>
                        <a:pt x="193" y="17"/>
                      </a:lnTo>
                      <a:lnTo>
                        <a:pt x="193" y="18"/>
                      </a:lnTo>
                      <a:lnTo>
                        <a:pt x="195" y="18"/>
                      </a:lnTo>
                      <a:lnTo>
                        <a:pt x="196" y="18"/>
                      </a:lnTo>
                      <a:lnTo>
                        <a:pt x="196" y="19"/>
                      </a:lnTo>
                      <a:lnTo>
                        <a:pt x="197" y="19"/>
                      </a:lnTo>
                      <a:lnTo>
                        <a:pt x="198" y="19"/>
                      </a:lnTo>
                      <a:lnTo>
                        <a:pt x="203" y="20"/>
                      </a:lnTo>
                      <a:lnTo>
                        <a:pt x="204" y="20"/>
                      </a:lnTo>
                      <a:lnTo>
                        <a:pt x="205" y="21"/>
                      </a:lnTo>
                      <a:lnTo>
                        <a:pt x="206" y="22"/>
                      </a:lnTo>
                      <a:lnTo>
                        <a:pt x="207" y="24"/>
                      </a:lnTo>
                      <a:lnTo>
                        <a:pt x="209" y="24"/>
                      </a:lnTo>
                      <a:lnTo>
                        <a:pt x="209" y="25"/>
                      </a:lnTo>
                      <a:lnTo>
                        <a:pt x="210" y="25"/>
                      </a:lnTo>
                      <a:lnTo>
                        <a:pt x="210" y="26"/>
                      </a:lnTo>
                      <a:lnTo>
                        <a:pt x="210" y="27"/>
                      </a:lnTo>
                      <a:lnTo>
                        <a:pt x="213" y="27"/>
                      </a:lnTo>
                      <a:lnTo>
                        <a:pt x="220" y="27"/>
                      </a:lnTo>
                      <a:lnTo>
                        <a:pt x="223" y="28"/>
                      </a:lnTo>
                      <a:lnTo>
                        <a:pt x="225" y="29"/>
                      </a:lnTo>
                      <a:lnTo>
                        <a:pt x="231" y="31"/>
                      </a:lnTo>
                      <a:lnTo>
                        <a:pt x="234" y="33"/>
                      </a:lnTo>
                      <a:lnTo>
                        <a:pt x="234" y="34"/>
                      </a:lnTo>
                      <a:lnTo>
                        <a:pt x="235" y="35"/>
                      </a:lnTo>
                      <a:lnTo>
                        <a:pt x="235" y="36"/>
                      </a:lnTo>
                      <a:lnTo>
                        <a:pt x="236" y="36"/>
                      </a:lnTo>
                      <a:lnTo>
                        <a:pt x="238" y="35"/>
                      </a:lnTo>
                      <a:lnTo>
                        <a:pt x="238" y="36"/>
                      </a:lnTo>
                      <a:lnTo>
                        <a:pt x="240" y="36"/>
                      </a:lnTo>
                      <a:lnTo>
                        <a:pt x="241" y="36"/>
                      </a:lnTo>
                      <a:lnTo>
                        <a:pt x="242" y="35"/>
                      </a:lnTo>
                      <a:lnTo>
                        <a:pt x="243" y="35"/>
                      </a:lnTo>
                      <a:lnTo>
                        <a:pt x="243" y="36"/>
                      </a:lnTo>
                      <a:lnTo>
                        <a:pt x="242" y="40"/>
                      </a:lnTo>
                      <a:lnTo>
                        <a:pt x="241" y="41"/>
                      </a:lnTo>
                      <a:lnTo>
                        <a:pt x="239" y="43"/>
                      </a:lnTo>
                      <a:lnTo>
                        <a:pt x="241" y="47"/>
                      </a:lnTo>
                      <a:lnTo>
                        <a:pt x="242" y="49"/>
                      </a:lnTo>
                      <a:lnTo>
                        <a:pt x="242" y="52"/>
                      </a:lnTo>
                      <a:lnTo>
                        <a:pt x="243" y="53"/>
                      </a:lnTo>
                      <a:lnTo>
                        <a:pt x="243" y="54"/>
                      </a:lnTo>
                      <a:lnTo>
                        <a:pt x="243" y="55"/>
                      </a:lnTo>
                      <a:lnTo>
                        <a:pt x="243" y="56"/>
                      </a:lnTo>
                      <a:lnTo>
                        <a:pt x="245" y="56"/>
                      </a:lnTo>
                      <a:lnTo>
                        <a:pt x="245" y="57"/>
                      </a:lnTo>
                      <a:lnTo>
                        <a:pt x="245" y="59"/>
                      </a:lnTo>
                      <a:lnTo>
                        <a:pt x="243" y="61"/>
                      </a:lnTo>
                      <a:lnTo>
                        <a:pt x="242" y="62"/>
                      </a:lnTo>
                      <a:lnTo>
                        <a:pt x="242" y="63"/>
                      </a:lnTo>
                      <a:lnTo>
                        <a:pt x="243" y="64"/>
                      </a:lnTo>
                      <a:lnTo>
                        <a:pt x="245" y="64"/>
                      </a:lnTo>
                      <a:lnTo>
                        <a:pt x="245" y="66"/>
                      </a:lnTo>
                      <a:lnTo>
                        <a:pt x="245" y="67"/>
                      </a:lnTo>
                      <a:lnTo>
                        <a:pt x="245" y="68"/>
                      </a:lnTo>
                      <a:lnTo>
                        <a:pt x="245" y="69"/>
                      </a:lnTo>
                      <a:lnTo>
                        <a:pt x="245" y="70"/>
                      </a:lnTo>
                      <a:lnTo>
                        <a:pt x="245" y="71"/>
                      </a:lnTo>
                      <a:lnTo>
                        <a:pt x="243" y="73"/>
                      </a:lnTo>
                      <a:lnTo>
                        <a:pt x="242" y="73"/>
                      </a:lnTo>
                      <a:lnTo>
                        <a:pt x="242" y="74"/>
                      </a:lnTo>
                      <a:lnTo>
                        <a:pt x="242" y="75"/>
                      </a:lnTo>
                      <a:lnTo>
                        <a:pt x="242" y="76"/>
                      </a:lnTo>
                      <a:lnTo>
                        <a:pt x="242" y="77"/>
                      </a:lnTo>
                      <a:lnTo>
                        <a:pt x="242" y="78"/>
                      </a:lnTo>
                      <a:lnTo>
                        <a:pt x="242" y="80"/>
                      </a:lnTo>
                      <a:lnTo>
                        <a:pt x="243" y="83"/>
                      </a:lnTo>
                      <a:lnTo>
                        <a:pt x="243" y="84"/>
                      </a:lnTo>
                      <a:lnTo>
                        <a:pt x="243" y="85"/>
                      </a:lnTo>
                      <a:lnTo>
                        <a:pt x="242" y="85"/>
                      </a:lnTo>
                      <a:lnTo>
                        <a:pt x="242" y="87"/>
                      </a:lnTo>
                      <a:lnTo>
                        <a:pt x="243" y="88"/>
                      </a:lnTo>
                      <a:lnTo>
                        <a:pt x="245" y="89"/>
                      </a:lnTo>
                      <a:lnTo>
                        <a:pt x="246" y="90"/>
                      </a:lnTo>
                      <a:lnTo>
                        <a:pt x="245" y="91"/>
                      </a:lnTo>
                      <a:lnTo>
                        <a:pt x="243" y="92"/>
                      </a:lnTo>
                      <a:lnTo>
                        <a:pt x="245" y="92"/>
                      </a:lnTo>
                      <a:lnTo>
                        <a:pt x="245" y="94"/>
                      </a:lnTo>
                      <a:lnTo>
                        <a:pt x="243" y="94"/>
                      </a:lnTo>
                      <a:lnTo>
                        <a:pt x="243" y="95"/>
                      </a:lnTo>
                      <a:lnTo>
                        <a:pt x="242" y="95"/>
                      </a:lnTo>
                      <a:lnTo>
                        <a:pt x="241" y="96"/>
                      </a:lnTo>
                      <a:lnTo>
                        <a:pt x="240" y="96"/>
                      </a:lnTo>
                      <a:lnTo>
                        <a:pt x="240" y="97"/>
                      </a:lnTo>
                      <a:lnTo>
                        <a:pt x="240" y="98"/>
                      </a:lnTo>
                      <a:lnTo>
                        <a:pt x="241" y="101"/>
                      </a:lnTo>
                      <a:lnTo>
                        <a:pt x="241" y="102"/>
                      </a:lnTo>
                      <a:lnTo>
                        <a:pt x="241" y="103"/>
                      </a:lnTo>
                      <a:lnTo>
                        <a:pt x="241" y="104"/>
                      </a:lnTo>
                      <a:lnTo>
                        <a:pt x="240" y="104"/>
                      </a:lnTo>
                      <a:lnTo>
                        <a:pt x="239" y="104"/>
                      </a:lnTo>
                      <a:lnTo>
                        <a:pt x="238" y="104"/>
                      </a:lnTo>
                      <a:lnTo>
                        <a:pt x="234" y="106"/>
                      </a:lnTo>
                      <a:lnTo>
                        <a:pt x="234" y="108"/>
                      </a:lnTo>
                      <a:lnTo>
                        <a:pt x="235" y="109"/>
                      </a:lnTo>
                      <a:lnTo>
                        <a:pt x="234" y="110"/>
                      </a:lnTo>
                      <a:lnTo>
                        <a:pt x="234" y="111"/>
                      </a:lnTo>
                      <a:lnTo>
                        <a:pt x="234" y="112"/>
                      </a:lnTo>
                      <a:lnTo>
                        <a:pt x="235" y="112"/>
                      </a:lnTo>
                      <a:lnTo>
                        <a:pt x="238" y="112"/>
                      </a:lnTo>
                      <a:lnTo>
                        <a:pt x="239" y="112"/>
                      </a:lnTo>
                      <a:lnTo>
                        <a:pt x="239" y="113"/>
                      </a:lnTo>
                      <a:lnTo>
                        <a:pt x="240" y="115"/>
                      </a:lnTo>
                      <a:lnTo>
                        <a:pt x="240" y="116"/>
                      </a:lnTo>
                      <a:lnTo>
                        <a:pt x="239" y="119"/>
                      </a:lnTo>
                      <a:lnTo>
                        <a:pt x="239" y="120"/>
                      </a:lnTo>
                      <a:lnTo>
                        <a:pt x="239" y="122"/>
                      </a:lnTo>
                      <a:lnTo>
                        <a:pt x="238" y="123"/>
                      </a:lnTo>
                      <a:lnTo>
                        <a:pt x="236" y="124"/>
                      </a:lnTo>
                      <a:lnTo>
                        <a:pt x="236" y="125"/>
                      </a:lnTo>
                      <a:lnTo>
                        <a:pt x="236" y="126"/>
                      </a:lnTo>
                      <a:lnTo>
                        <a:pt x="236" y="127"/>
                      </a:lnTo>
                      <a:lnTo>
                        <a:pt x="238" y="127"/>
                      </a:lnTo>
                      <a:lnTo>
                        <a:pt x="239" y="127"/>
                      </a:lnTo>
                      <a:lnTo>
                        <a:pt x="239" y="129"/>
                      </a:lnTo>
                      <a:lnTo>
                        <a:pt x="239" y="131"/>
                      </a:lnTo>
                      <a:lnTo>
                        <a:pt x="239" y="132"/>
                      </a:lnTo>
                      <a:lnTo>
                        <a:pt x="239" y="133"/>
                      </a:lnTo>
                      <a:lnTo>
                        <a:pt x="238" y="133"/>
                      </a:lnTo>
                      <a:lnTo>
                        <a:pt x="239" y="134"/>
                      </a:lnTo>
                      <a:lnTo>
                        <a:pt x="240" y="134"/>
                      </a:lnTo>
                      <a:lnTo>
                        <a:pt x="241" y="134"/>
                      </a:lnTo>
                      <a:lnTo>
                        <a:pt x="241" y="133"/>
                      </a:lnTo>
                      <a:lnTo>
                        <a:pt x="242" y="133"/>
                      </a:lnTo>
                      <a:lnTo>
                        <a:pt x="242" y="134"/>
                      </a:lnTo>
                      <a:lnTo>
                        <a:pt x="242" y="136"/>
                      </a:lnTo>
                      <a:lnTo>
                        <a:pt x="243" y="137"/>
                      </a:lnTo>
                      <a:lnTo>
                        <a:pt x="245" y="137"/>
                      </a:lnTo>
                      <a:lnTo>
                        <a:pt x="245" y="138"/>
                      </a:lnTo>
                      <a:lnTo>
                        <a:pt x="245" y="139"/>
                      </a:lnTo>
                      <a:lnTo>
                        <a:pt x="245" y="140"/>
                      </a:lnTo>
                      <a:lnTo>
                        <a:pt x="243" y="143"/>
                      </a:lnTo>
                      <a:lnTo>
                        <a:pt x="243" y="145"/>
                      </a:lnTo>
                      <a:lnTo>
                        <a:pt x="245" y="146"/>
                      </a:lnTo>
                      <a:lnTo>
                        <a:pt x="242" y="146"/>
                      </a:lnTo>
                      <a:lnTo>
                        <a:pt x="242" y="147"/>
                      </a:lnTo>
                      <a:lnTo>
                        <a:pt x="241" y="147"/>
                      </a:lnTo>
                      <a:lnTo>
                        <a:pt x="240" y="148"/>
                      </a:lnTo>
                      <a:lnTo>
                        <a:pt x="240" y="150"/>
                      </a:lnTo>
                      <a:lnTo>
                        <a:pt x="240" y="151"/>
                      </a:lnTo>
                      <a:lnTo>
                        <a:pt x="240" y="152"/>
                      </a:lnTo>
                      <a:lnTo>
                        <a:pt x="240" y="153"/>
                      </a:lnTo>
                      <a:lnTo>
                        <a:pt x="239" y="154"/>
                      </a:lnTo>
                      <a:lnTo>
                        <a:pt x="238" y="155"/>
                      </a:lnTo>
                      <a:lnTo>
                        <a:pt x="235" y="159"/>
                      </a:lnTo>
                      <a:lnTo>
                        <a:pt x="234" y="160"/>
                      </a:lnTo>
                      <a:lnTo>
                        <a:pt x="234" y="162"/>
                      </a:lnTo>
                      <a:lnTo>
                        <a:pt x="233" y="164"/>
                      </a:lnTo>
                      <a:lnTo>
                        <a:pt x="232" y="164"/>
                      </a:lnTo>
                      <a:lnTo>
                        <a:pt x="230" y="164"/>
                      </a:lnTo>
                      <a:lnTo>
                        <a:pt x="228" y="164"/>
                      </a:lnTo>
                      <a:lnTo>
                        <a:pt x="227" y="165"/>
                      </a:lnTo>
                      <a:lnTo>
                        <a:pt x="227" y="166"/>
                      </a:lnTo>
                      <a:lnTo>
                        <a:pt x="227" y="167"/>
                      </a:lnTo>
                      <a:lnTo>
                        <a:pt x="227" y="171"/>
                      </a:lnTo>
                      <a:lnTo>
                        <a:pt x="228" y="174"/>
                      </a:lnTo>
                      <a:lnTo>
                        <a:pt x="228" y="176"/>
                      </a:lnTo>
                      <a:lnTo>
                        <a:pt x="227" y="178"/>
                      </a:lnTo>
                      <a:lnTo>
                        <a:pt x="226" y="180"/>
                      </a:lnTo>
                      <a:lnTo>
                        <a:pt x="224" y="182"/>
                      </a:lnTo>
                      <a:lnTo>
                        <a:pt x="224" y="183"/>
                      </a:lnTo>
                      <a:lnTo>
                        <a:pt x="225" y="183"/>
                      </a:lnTo>
                      <a:lnTo>
                        <a:pt x="224" y="183"/>
                      </a:lnTo>
                      <a:lnTo>
                        <a:pt x="224" y="185"/>
                      </a:lnTo>
                      <a:lnTo>
                        <a:pt x="226" y="188"/>
                      </a:lnTo>
                      <a:lnTo>
                        <a:pt x="225" y="188"/>
                      </a:lnTo>
                      <a:lnTo>
                        <a:pt x="224" y="189"/>
                      </a:lnTo>
                      <a:lnTo>
                        <a:pt x="223" y="190"/>
                      </a:lnTo>
                      <a:lnTo>
                        <a:pt x="221" y="193"/>
                      </a:lnTo>
                      <a:lnTo>
                        <a:pt x="219" y="194"/>
                      </a:lnTo>
                      <a:lnTo>
                        <a:pt x="218" y="196"/>
                      </a:lnTo>
                      <a:lnTo>
                        <a:pt x="216" y="197"/>
                      </a:lnTo>
                      <a:lnTo>
                        <a:pt x="214" y="200"/>
                      </a:lnTo>
                      <a:lnTo>
                        <a:pt x="213" y="202"/>
                      </a:lnTo>
                      <a:lnTo>
                        <a:pt x="211" y="203"/>
                      </a:lnTo>
                      <a:lnTo>
                        <a:pt x="210" y="206"/>
                      </a:lnTo>
                      <a:lnTo>
                        <a:pt x="207" y="207"/>
                      </a:lnTo>
                      <a:lnTo>
                        <a:pt x="206" y="209"/>
                      </a:lnTo>
                      <a:lnTo>
                        <a:pt x="204" y="210"/>
                      </a:lnTo>
                      <a:lnTo>
                        <a:pt x="203" y="213"/>
                      </a:lnTo>
                      <a:lnTo>
                        <a:pt x="202" y="215"/>
                      </a:lnTo>
                      <a:lnTo>
                        <a:pt x="199" y="216"/>
                      </a:lnTo>
                      <a:lnTo>
                        <a:pt x="198" y="218"/>
                      </a:lnTo>
                      <a:lnTo>
                        <a:pt x="196" y="220"/>
                      </a:lnTo>
                      <a:lnTo>
                        <a:pt x="195" y="222"/>
                      </a:lnTo>
                      <a:lnTo>
                        <a:pt x="192" y="223"/>
                      </a:lnTo>
                      <a:lnTo>
                        <a:pt x="190" y="225"/>
                      </a:lnTo>
                      <a:lnTo>
                        <a:pt x="189" y="224"/>
                      </a:lnTo>
                      <a:lnTo>
                        <a:pt x="189" y="223"/>
                      </a:lnTo>
                      <a:lnTo>
                        <a:pt x="188" y="224"/>
                      </a:lnTo>
                      <a:lnTo>
                        <a:pt x="188" y="223"/>
                      </a:lnTo>
                      <a:lnTo>
                        <a:pt x="186" y="223"/>
                      </a:lnTo>
                      <a:lnTo>
                        <a:pt x="186" y="222"/>
                      </a:lnTo>
                      <a:lnTo>
                        <a:pt x="185" y="222"/>
                      </a:lnTo>
                      <a:lnTo>
                        <a:pt x="184" y="223"/>
                      </a:lnTo>
                      <a:lnTo>
                        <a:pt x="183" y="223"/>
                      </a:lnTo>
                      <a:lnTo>
                        <a:pt x="182" y="222"/>
                      </a:lnTo>
                      <a:lnTo>
                        <a:pt x="178" y="222"/>
                      </a:lnTo>
                      <a:lnTo>
                        <a:pt x="177" y="221"/>
                      </a:lnTo>
                      <a:lnTo>
                        <a:pt x="176" y="221"/>
                      </a:lnTo>
                      <a:lnTo>
                        <a:pt x="175" y="222"/>
                      </a:lnTo>
                      <a:lnTo>
                        <a:pt x="171" y="222"/>
                      </a:lnTo>
                      <a:lnTo>
                        <a:pt x="170" y="222"/>
                      </a:lnTo>
                      <a:lnTo>
                        <a:pt x="169" y="223"/>
                      </a:lnTo>
                      <a:lnTo>
                        <a:pt x="169" y="222"/>
                      </a:lnTo>
                      <a:lnTo>
                        <a:pt x="168" y="222"/>
                      </a:lnTo>
                      <a:lnTo>
                        <a:pt x="166" y="222"/>
                      </a:lnTo>
                      <a:lnTo>
                        <a:pt x="164" y="222"/>
                      </a:lnTo>
                      <a:lnTo>
                        <a:pt x="163" y="223"/>
                      </a:lnTo>
                      <a:lnTo>
                        <a:pt x="161" y="223"/>
                      </a:lnTo>
                      <a:lnTo>
                        <a:pt x="160" y="223"/>
                      </a:lnTo>
                      <a:lnTo>
                        <a:pt x="159" y="223"/>
                      </a:lnTo>
                      <a:lnTo>
                        <a:pt x="159" y="222"/>
                      </a:lnTo>
                      <a:lnTo>
                        <a:pt x="157" y="222"/>
                      </a:lnTo>
                      <a:lnTo>
                        <a:pt x="156" y="221"/>
                      </a:lnTo>
                      <a:lnTo>
                        <a:pt x="155" y="221"/>
                      </a:lnTo>
                      <a:lnTo>
                        <a:pt x="154" y="221"/>
                      </a:lnTo>
                      <a:lnTo>
                        <a:pt x="153" y="221"/>
                      </a:lnTo>
                      <a:lnTo>
                        <a:pt x="152" y="220"/>
                      </a:lnTo>
                      <a:lnTo>
                        <a:pt x="150" y="220"/>
                      </a:lnTo>
                      <a:lnTo>
                        <a:pt x="150" y="218"/>
                      </a:lnTo>
                      <a:lnTo>
                        <a:pt x="149" y="218"/>
                      </a:lnTo>
                      <a:lnTo>
                        <a:pt x="148" y="218"/>
                      </a:lnTo>
                      <a:lnTo>
                        <a:pt x="147" y="217"/>
                      </a:lnTo>
                      <a:lnTo>
                        <a:pt x="146" y="217"/>
                      </a:lnTo>
                      <a:lnTo>
                        <a:pt x="145" y="217"/>
                      </a:lnTo>
                      <a:lnTo>
                        <a:pt x="142" y="216"/>
                      </a:lnTo>
                      <a:lnTo>
                        <a:pt x="140" y="216"/>
                      </a:lnTo>
                      <a:lnTo>
                        <a:pt x="139" y="216"/>
                      </a:lnTo>
                      <a:lnTo>
                        <a:pt x="138" y="216"/>
                      </a:lnTo>
                      <a:lnTo>
                        <a:pt x="136" y="216"/>
                      </a:lnTo>
                      <a:lnTo>
                        <a:pt x="135" y="216"/>
                      </a:lnTo>
                      <a:lnTo>
                        <a:pt x="135" y="217"/>
                      </a:lnTo>
                      <a:lnTo>
                        <a:pt x="134" y="217"/>
                      </a:lnTo>
                      <a:lnTo>
                        <a:pt x="133" y="216"/>
                      </a:lnTo>
                      <a:lnTo>
                        <a:pt x="132" y="217"/>
                      </a:lnTo>
                      <a:lnTo>
                        <a:pt x="131" y="217"/>
                      </a:lnTo>
                      <a:lnTo>
                        <a:pt x="129" y="217"/>
                      </a:lnTo>
                      <a:lnTo>
                        <a:pt x="127" y="216"/>
                      </a:lnTo>
                      <a:lnTo>
                        <a:pt x="127" y="215"/>
                      </a:lnTo>
                      <a:lnTo>
                        <a:pt x="126" y="215"/>
                      </a:lnTo>
                      <a:lnTo>
                        <a:pt x="126" y="214"/>
                      </a:lnTo>
                      <a:lnTo>
                        <a:pt x="122" y="214"/>
                      </a:lnTo>
                      <a:lnTo>
                        <a:pt x="121" y="214"/>
                      </a:lnTo>
                      <a:lnTo>
                        <a:pt x="120" y="213"/>
                      </a:lnTo>
                      <a:lnTo>
                        <a:pt x="120" y="211"/>
                      </a:lnTo>
                      <a:lnTo>
                        <a:pt x="119" y="210"/>
                      </a:lnTo>
                      <a:lnTo>
                        <a:pt x="119" y="209"/>
                      </a:lnTo>
                      <a:lnTo>
                        <a:pt x="119" y="208"/>
                      </a:lnTo>
                      <a:lnTo>
                        <a:pt x="119" y="207"/>
                      </a:lnTo>
                      <a:lnTo>
                        <a:pt x="120" y="207"/>
                      </a:lnTo>
                      <a:lnTo>
                        <a:pt x="120" y="206"/>
                      </a:lnTo>
                      <a:lnTo>
                        <a:pt x="120" y="204"/>
                      </a:lnTo>
                      <a:lnTo>
                        <a:pt x="118" y="204"/>
                      </a:lnTo>
                      <a:lnTo>
                        <a:pt x="118" y="203"/>
                      </a:lnTo>
                      <a:lnTo>
                        <a:pt x="117" y="203"/>
                      </a:lnTo>
                      <a:lnTo>
                        <a:pt x="115" y="203"/>
                      </a:lnTo>
                      <a:lnTo>
                        <a:pt x="114" y="203"/>
                      </a:lnTo>
                      <a:lnTo>
                        <a:pt x="110" y="201"/>
                      </a:lnTo>
                      <a:lnTo>
                        <a:pt x="108" y="201"/>
                      </a:lnTo>
                      <a:lnTo>
                        <a:pt x="107" y="200"/>
                      </a:lnTo>
                      <a:lnTo>
                        <a:pt x="106" y="200"/>
                      </a:lnTo>
                      <a:lnTo>
                        <a:pt x="105" y="200"/>
                      </a:lnTo>
                      <a:lnTo>
                        <a:pt x="105" y="199"/>
                      </a:lnTo>
                      <a:lnTo>
                        <a:pt x="104" y="199"/>
                      </a:lnTo>
                      <a:lnTo>
                        <a:pt x="104" y="200"/>
                      </a:lnTo>
                      <a:lnTo>
                        <a:pt x="103" y="200"/>
                      </a:lnTo>
                      <a:lnTo>
                        <a:pt x="102" y="200"/>
                      </a:lnTo>
                      <a:lnTo>
                        <a:pt x="98" y="199"/>
                      </a:lnTo>
                      <a:lnTo>
                        <a:pt x="97" y="197"/>
                      </a:lnTo>
                      <a:lnTo>
                        <a:pt x="96" y="197"/>
                      </a:lnTo>
                      <a:lnTo>
                        <a:pt x="92" y="197"/>
                      </a:lnTo>
                      <a:lnTo>
                        <a:pt x="90" y="197"/>
                      </a:lnTo>
                      <a:lnTo>
                        <a:pt x="88" y="197"/>
                      </a:lnTo>
                      <a:lnTo>
                        <a:pt x="88" y="196"/>
                      </a:lnTo>
                      <a:lnTo>
                        <a:pt x="86" y="196"/>
                      </a:lnTo>
                      <a:lnTo>
                        <a:pt x="86" y="195"/>
                      </a:lnTo>
                      <a:lnTo>
                        <a:pt x="85" y="195"/>
                      </a:lnTo>
                      <a:lnTo>
                        <a:pt x="85" y="194"/>
                      </a:lnTo>
                      <a:lnTo>
                        <a:pt x="85" y="193"/>
                      </a:lnTo>
                      <a:lnTo>
                        <a:pt x="84" y="190"/>
                      </a:lnTo>
                      <a:lnTo>
                        <a:pt x="84" y="189"/>
                      </a:lnTo>
                      <a:lnTo>
                        <a:pt x="84" y="188"/>
                      </a:lnTo>
                      <a:lnTo>
                        <a:pt x="83" y="187"/>
                      </a:lnTo>
                      <a:lnTo>
                        <a:pt x="82" y="186"/>
                      </a:lnTo>
                      <a:lnTo>
                        <a:pt x="81" y="185"/>
                      </a:lnTo>
                      <a:lnTo>
                        <a:pt x="78" y="182"/>
                      </a:lnTo>
                      <a:lnTo>
                        <a:pt x="77" y="181"/>
                      </a:lnTo>
                      <a:lnTo>
                        <a:pt x="77" y="180"/>
                      </a:lnTo>
                      <a:lnTo>
                        <a:pt x="77" y="178"/>
                      </a:lnTo>
                      <a:lnTo>
                        <a:pt x="77" y="176"/>
                      </a:lnTo>
                      <a:lnTo>
                        <a:pt x="77" y="175"/>
                      </a:lnTo>
                      <a:lnTo>
                        <a:pt x="77" y="174"/>
                      </a:lnTo>
                      <a:lnTo>
                        <a:pt x="77" y="173"/>
                      </a:lnTo>
                      <a:lnTo>
                        <a:pt x="77" y="172"/>
                      </a:lnTo>
                      <a:lnTo>
                        <a:pt x="78" y="169"/>
                      </a:lnTo>
                      <a:lnTo>
                        <a:pt x="78" y="168"/>
                      </a:lnTo>
                      <a:lnTo>
                        <a:pt x="77" y="166"/>
                      </a:lnTo>
                      <a:lnTo>
                        <a:pt x="77" y="165"/>
                      </a:lnTo>
                      <a:lnTo>
                        <a:pt x="78" y="164"/>
                      </a:lnTo>
                      <a:lnTo>
                        <a:pt x="78" y="161"/>
                      </a:lnTo>
                      <a:lnTo>
                        <a:pt x="77" y="161"/>
                      </a:lnTo>
                      <a:lnTo>
                        <a:pt x="77" y="160"/>
                      </a:lnTo>
                      <a:lnTo>
                        <a:pt x="76" y="160"/>
                      </a:lnTo>
                      <a:lnTo>
                        <a:pt x="75" y="160"/>
                      </a:lnTo>
                      <a:lnTo>
                        <a:pt x="72" y="160"/>
                      </a:lnTo>
                      <a:lnTo>
                        <a:pt x="70" y="160"/>
                      </a:lnTo>
                      <a:lnTo>
                        <a:pt x="67" y="160"/>
                      </a:lnTo>
                      <a:lnTo>
                        <a:pt x="65" y="160"/>
                      </a:lnTo>
                      <a:lnTo>
                        <a:pt x="64" y="161"/>
                      </a:lnTo>
                      <a:lnTo>
                        <a:pt x="64" y="155"/>
                      </a:lnTo>
                      <a:lnTo>
                        <a:pt x="64" y="152"/>
                      </a:lnTo>
                      <a:lnTo>
                        <a:pt x="63" y="148"/>
                      </a:lnTo>
                      <a:lnTo>
                        <a:pt x="62" y="147"/>
                      </a:lnTo>
                      <a:lnTo>
                        <a:pt x="61" y="147"/>
                      </a:lnTo>
                      <a:lnTo>
                        <a:pt x="60" y="147"/>
                      </a:lnTo>
                      <a:lnTo>
                        <a:pt x="58" y="146"/>
                      </a:lnTo>
                      <a:lnTo>
                        <a:pt x="57" y="145"/>
                      </a:lnTo>
                      <a:lnTo>
                        <a:pt x="56" y="145"/>
                      </a:lnTo>
                      <a:lnTo>
                        <a:pt x="55" y="145"/>
                      </a:lnTo>
                      <a:lnTo>
                        <a:pt x="54" y="144"/>
                      </a:lnTo>
                      <a:lnTo>
                        <a:pt x="50" y="143"/>
                      </a:lnTo>
                      <a:lnTo>
                        <a:pt x="49" y="143"/>
                      </a:lnTo>
                      <a:lnTo>
                        <a:pt x="48" y="143"/>
                      </a:lnTo>
                      <a:lnTo>
                        <a:pt x="47" y="143"/>
                      </a:lnTo>
                      <a:lnTo>
                        <a:pt x="47" y="141"/>
                      </a:lnTo>
                      <a:lnTo>
                        <a:pt x="46" y="140"/>
                      </a:lnTo>
                      <a:lnTo>
                        <a:pt x="43" y="140"/>
                      </a:lnTo>
                      <a:lnTo>
                        <a:pt x="43" y="139"/>
                      </a:lnTo>
                      <a:lnTo>
                        <a:pt x="42" y="139"/>
                      </a:lnTo>
                      <a:lnTo>
                        <a:pt x="42" y="138"/>
                      </a:lnTo>
                      <a:lnTo>
                        <a:pt x="42" y="137"/>
                      </a:lnTo>
                      <a:lnTo>
                        <a:pt x="40" y="137"/>
                      </a:lnTo>
                      <a:lnTo>
                        <a:pt x="40" y="136"/>
                      </a:lnTo>
                      <a:lnTo>
                        <a:pt x="39" y="136"/>
                      </a:lnTo>
                      <a:lnTo>
                        <a:pt x="38" y="136"/>
                      </a:lnTo>
                      <a:lnTo>
                        <a:pt x="38" y="134"/>
                      </a:lnTo>
                      <a:lnTo>
                        <a:pt x="36" y="133"/>
                      </a:lnTo>
                      <a:lnTo>
                        <a:pt x="35" y="133"/>
                      </a:lnTo>
                      <a:lnTo>
                        <a:pt x="34" y="132"/>
                      </a:lnTo>
                      <a:lnTo>
                        <a:pt x="35" y="132"/>
                      </a:lnTo>
                      <a:lnTo>
                        <a:pt x="35" y="131"/>
                      </a:lnTo>
                      <a:lnTo>
                        <a:pt x="34" y="131"/>
                      </a:lnTo>
                      <a:lnTo>
                        <a:pt x="34" y="130"/>
                      </a:lnTo>
                      <a:lnTo>
                        <a:pt x="32" y="130"/>
                      </a:lnTo>
                      <a:lnTo>
                        <a:pt x="31" y="130"/>
                      </a:lnTo>
                      <a:lnTo>
                        <a:pt x="29" y="129"/>
                      </a:lnTo>
                      <a:lnTo>
                        <a:pt x="28" y="127"/>
                      </a:lnTo>
                      <a:lnTo>
                        <a:pt x="26" y="119"/>
                      </a:lnTo>
                      <a:lnTo>
                        <a:pt x="25" y="118"/>
                      </a:lnTo>
                      <a:lnTo>
                        <a:pt x="24" y="117"/>
                      </a:lnTo>
                      <a:lnTo>
                        <a:pt x="24" y="115"/>
                      </a:lnTo>
                      <a:lnTo>
                        <a:pt x="22" y="115"/>
                      </a:lnTo>
                      <a:lnTo>
                        <a:pt x="22" y="113"/>
                      </a:lnTo>
                      <a:lnTo>
                        <a:pt x="24" y="112"/>
                      </a:lnTo>
                      <a:lnTo>
                        <a:pt x="24" y="111"/>
                      </a:lnTo>
                      <a:lnTo>
                        <a:pt x="22" y="109"/>
                      </a:lnTo>
                      <a:lnTo>
                        <a:pt x="19" y="105"/>
                      </a:lnTo>
                      <a:lnTo>
                        <a:pt x="18" y="103"/>
                      </a:lnTo>
                      <a:lnTo>
                        <a:pt x="18" y="101"/>
                      </a:lnTo>
                      <a:lnTo>
                        <a:pt x="17" y="99"/>
                      </a:lnTo>
                      <a:lnTo>
                        <a:pt x="17" y="98"/>
                      </a:lnTo>
                      <a:lnTo>
                        <a:pt x="15" y="97"/>
                      </a:lnTo>
                      <a:lnTo>
                        <a:pt x="14" y="97"/>
                      </a:lnTo>
                      <a:lnTo>
                        <a:pt x="13" y="95"/>
                      </a:lnTo>
                      <a:lnTo>
                        <a:pt x="12" y="94"/>
                      </a:lnTo>
                      <a:lnTo>
                        <a:pt x="11" y="94"/>
                      </a:lnTo>
                      <a:lnTo>
                        <a:pt x="10" y="91"/>
                      </a:lnTo>
                      <a:lnTo>
                        <a:pt x="8" y="90"/>
                      </a:lnTo>
                      <a:lnTo>
                        <a:pt x="8" y="89"/>
                      </a:lnTo>
                      <a:lnTo>
                        <a:pt x="8" y="88"/>
                      </a:lnTo>
                      <a:lnTo>
                        <a:pt x="7" y="87"/>
                      </a:lnTo>
                      <a:lnTo>
                        <a:pt x="6" y="84"/>
                      </a:lnTo>
                      <a:lnTo>
                        <a:pt x="5" y="83"/>
                      </a:lnTo>
                      <a:lnTo>
                        <a:pt x="4" y="82"/>
                      </a:lnTo>
                      <a:lnTo>
                        <a:pt x="4" y="81"/>
                      </a:lnTo>
                      <a:lnTo>
                        <a:pt x="3" y="81"/>
                      </a:lnTo>
                      <a:lnTo>
                        <a:pt x="1" y="78"/>
                      </a:lnTo>
                      <a:lnTo>
                        <a:pt x="0" y="76"/>
                      </a:lnTo>
                      <a:lnTo>
                        <a:pt x="0" y="75"/>
                      </a:lnTo>
                      <a:lnTo>
                        <a:pt x="0" y="74"/>
                      </a:lnTo>
                      <a:lnTo>
                        <a:pt x="1" y="71"/>
                      </a:lnTo>
                      <a:lnTo>
                        <a:pt x="3" y="71"/>
                      </a:lnTo>
                      <a:lnTo>
                        <a:pt x="3" y="73"/>
                      </a:lnTo>
                      <a:lnTo>
                        <a:pt x="4" y="73"/>
                      </a:lnTo>
                      <a:lnTo>
                        <a:pt x="5" y="73"/>
                      </a:lnTo>
                      <a:lnTo>
                        <a:pt x="6" y="74"/>
                      </a:lnTo>
                      <a:lnTo>
                        <a:pt x="8" y="74"/>
                      </a:lnTo>
                      <a:lnTo>
                        <a:pt x="10" y="74"/>
                      </a:lnTo>
                      <a:lnTo>
                        <a:pt x="10" y="73"/>
                      </a:lnTo>
                      <a:lnTo>
                        <a:pt x="12" y="73"/>
                      </a:lnTo>
                      <a:lnTo>
                        <a:pt x="14" y="71"/>
                      </a:lnTo>
                      <a:lnTo>
                        <a:pt x="15" y="73"/>
                      </a:lnTo>
                      <a:lnTo>
                        <a:pt x="17" y="73"/>
                      </a:lnTo>
                      <a:lnTo>
                        <a:pt x="18" y="74"/>
                      </a:lnTo>
                      <a:lnTo>
                        <a:pt x="19" y="75"/>
                      </a:lnTo>
                      <a:lnTo>
                        <a:pt x="20" y="75"/>
                      </a:lnTo>
                      <a:lnTo>
                        <a:pt x="20" y="76"/>
                      </a:lnTo>
                      <a:lnTo>
                        <a:pt x="20" y="77"/>
                      </a:lnTo>
                      <a:lnTo>
                        <a:pt x="22" y="78"/>
                      </a:lnTo>
                      <a:lnTo>
                        <a:pt x="24" y="78"/>
                      </a:lnTo>
                      <a:lnTo>
                        <a:pt x="26" y="77"/>
                      </a:lnTo>
                      <a:lnTo>
                        <a:pt x="27" y="77"/>
                      </a:lnTo>
                      <a:lnTo>
                        <a:pt x="27" y="76"/>
                      </a:lnTo>
                      <a:lnTo>
                        <a:pt x="28" y="76"/>
                      </a:lnTo>
                      <a:lnTo>
                        <a:pt x="29" y="75"/>
                      </a:lnTo>
                      <a:lnTo>
                        <a:pt x="31" y="75"/>
                      </a:lnTo>
                      <a:lnTo>
                        <a:pt x="32" y="74"/>
                      </a:lnTo>
                      <a:lnTo>
                        <a:pt x="32" y="75"/>
                      </a:lnTo>
                      <a:lnTo>
                        <a:pt x="34" y="75"/>
                      </a:lnTo>
                      <a:lnTo>
                        <a:pt x="34" y="76"/>
                      </a:lnTo>
                      <a:lnTo>
                        <a:pt x="35" y="76"/>
                      </a:lnTo>
                      <a:lnTo>
                        <a:pt x="36" y="76"/>
                      </a:lnTo>
                      <a:lnTo>
                        <a:pt x="38" y="76"/>
                      </a:lnTo>
                      <a:lnTo>
                        <a:pt x="40" y="77"/>
                      </a:lnTo>
                      <a:lnTo>
                        <a:pt x="41" y="78"/>
                      </a:lnTo>
                      <a:lnTo>
                        <a:pt x="42" y="78"/>
                      </a:lnTo>
                      <a:lnTo>
                        <a:pt x="43" y="78"/>
                      </a:lnTo>
                      <a:lnTo>
                        <a:pt x="43" y="80"/>
                      </a:lnTo>
                      <a:lnTo>
                        <a:pt x="44" y="80"/>
                      </a:lnTo>
                      <a:lnTo>
                        <a:pt x="46" y="81"/>
                      </a:lnTo>
                      <a:lnTo>
                        <a:pt x="47" y="81"/>
                      </a:lnTo>
                      <a:lnTo>
                        <a:pt x="48" y="80"/>
                      </a:lnTo>
                      <a:lnTo>
                        <a:pt x="49" y="80"/>
                      </a:lnTo>
                      <a:lnTo>
                        <a:pt x="49" y="78"/>
                      </a:lnTo>
                      <a:lnTo>
                        <a:pt x="53" y="77"/>
                      </a:lnTo>
                      <a:lnTo>
                        <a:pt x="53" y="78"/>
                      </a:lnTo>
                      <a:lnTo>
                        <a:pt x="54" y="77"/>
                      </a:lnTo>
                      <a:lnTo>
                        <a:pt x="55" y="77"/>
                      </a:lnTo>
                      <a:lnTo>
                        <a:pt x="56" y="77"/>
                      </a:lnTo>
                      <a:lnTo>
                        <a:pt x="57" y="77"/>
                      </a:lnTo>
                      <a:lnTo>
                        <a:pt x="58" y="77"/>
                      </a:lnTo>
                      <a:lnTo>
                        <a:pt x="58" y="76"/>
                      </a:lnTo>
                      <a:lnTo>
                        <a:pt x="57" y="76"/>
                      </a:lnTo>
                      <a:lnTo>
                        <a:pt x="58" y="76"/>
                      </a:lnTo>
                      <a:lnTo>
                        <a:pt x="58" y="75"/>
                      </a:lnTo>
                      <a:lnTo>
                        <a:pt x="61" y="74"/>
                      </a:lnTo>
                      <a:lnTo>
                        <a:pt x="61" y="73"/>
                      </a:lnTo>
                      <a:lnTo>
                        <a:pt x="61" y="71"/>
                      </a:lnTo>
                      <a:lnTo>
                        <a:pt x="62" y="70"/>
                      </a:lnTo>
                      <a:lnTo>
                        <a:pt x="63" y="70"/>
                      </a:lnTo>
                      <a:lnTo>
                        <a:pt x="63" y="71"/>
                      </a:lnTo>
                      <a:lnTo>
                        <a:pt x="63" y="70"/>
                      </a:lnTo>
                      <a:lnTo>
                        <a:pt x="62" y="70"/>
                      </a:lnTo>
                      <a:lnTo>
                        <a:pt x="63" y="70"/>
                      </a:lnTo>
                      <a:lnTo>
                        <a:pt x="63" y="69"/>
                      </a:lnTo>
                      <a:lnTo>
                        <a:pt x="67" y="66"/>
                      </a:lnTo>
                      <a:lnTo>
                        <a:pt x="68" y="64"/>
                      </a:lnTo>
                      <a:lnTo>
                        <a:pt x="69" y="64"/>
                      </a:lnTo>
                      <a:lnTo>
                        <a:pt x="70" y="64"/>
                      </a:lnTo>
                      <a:lnTo>
                        <a:pt x="70" y="63"/>
                      </a:lnTo>
                      <a:lnTo>
                        <a:pt x="71" y="63"/>
                      </a:lnTo>
                      <a:lnTo>
                        <a:pt x="70" y="63"/>
                      </a:lnTo>
                      <a:lnTo>
                        <a:pt x="70" y="64"/>
                      </a:lnTo>
                      <a:lnTo>
                        <a:pt x="69" y="64"/>
                      </a:lnTo>
                      <a:lnTo>
                        <a:pt x="70" y="63"/>
                      </a:lnTo>
                      <a:lnTo>
                        <a:pt x="70" y="62"/>
                      </a:lnTo>
                      <a:lnTo>
                        <a:pt x="71" y="62"/>
                      </a:lnTo>
                      <a:lnTo>
                        <a:pt x="72" y="62"/>
                      </a:lnTo>
                      <a:lnTo>
                        <a:pt x="74" y="62"/>
                      </a:lnTo>
                      <a:lnTo>
                        <a:pt x="74" y="60"/>
                      </a:lnTo>
                      <a:lnTo>
                        <a:pt x="74" y="61"/>
                      </a:lnTo>
                      <a:lnTo>
                        <a:pt x="75" y="57"/>
                      </a:lnTo>
                      <a:lnTo>
                        <a:pt x="76" y="56"/>
                      </a:lnTo>
                      <a:lnTo>
                        <a:pt x="76" y="55"/>
                      </a:lnTo>
                      <a:lnTo>
                        <a:pt x="77" y="54"/>
                      </a:lnTo>
                      <a:lnTo>
                        <a:pt x="77" y="53"/>
                      </a:lnTo>
                      <a:lnTo>
                        <a:pt x="78" y="53"/>
                      </a:lnTo>
                      <a:lnTo>
                        <a:pt x="78" y="52"/>
                      </a:lnTo>
                      <a:lnTo>
                        <a:pt x="79" y="50"/>
                      </a:lnTo>
                      <a:lnTo>
                        <a:pt x="81" y="50"/>
                      </a:lnTo>
                      <a:lnTo>
                        <a:pt x="82" y="50"/>
                      </a:lnTo>
                      <a:lnTo>
                        <a:pt x="83" y="50"/>
                      </a:lnTo>
                      <a:lnTo>
                        <a:pt x="82" y="50"/>
                      </a:lnTo>
                      <a:lnTo>
                        <a:pt x="82" y="49"/>
                      </a:lnTo>
                      <a:lnTo>
                        <a:pt x="83" y="49"/>
                      </a:lnTo>
                      <a:lnTo>
                        <a:pt x="84" y="49"/>
                      </a:lnTo>
                      <a:lnTo>
                        <a:pt x="85" y="48"/>
                      </a:lnTo>
                      <a:lnTo>
                        <a:pt x="85" y="47"/>
                      </a:lnTo>
                      <a:lnTo>
                        <a:pt x="86" y="47"/>
                      </a:lnTo>
                      <a:lnTo>
                        <a:pt x="86" y="46"/>
                      </a:lnTo>
                      <a:lnTo>
                        <a:pt x="88" y="47"/>
                      </a:lnTo>
                      <a:lnTo>
                        <a:pt x="89" y="48"/>
                      </a:lnTo>
                      <a:lnTo>
                        <a:pt x="89" y="47"/>
                      </a:lnTo>
                      <a:lnTo>
                        <a:pt x="90" y="47"/>
                      </a:lnTo>
                      <a:lnTo>
                        <a:pt x="91" y="47"/>
                      </a:lnTo>
                      <a:lnTo>
                        <a:pt x="91" y="46"/>
                      </a:lnTo>
                      <a:lnTo>
                        <a:pt x="90" y="46"/>
                      </a:lnTo>
                      <a:lnTo>
                        <a:pt x="91" y="46"/>
                      </a:lnTo>
                      <a:lnTo>
                        <a:pt x="90" y="46"/>
                      </a:lnTo>
                      <a:lnTo>
                        <a:pt x="91" y="45"/>
                      </a:lnTo>
                      <a:lnTo>
                        <a:pt x="90" y="45"/>
                      </a:lnTo>
                      <a:lnTo>
                        <a:pt x="89" y="45"/>
                      </a:lnTo>
                      <a:lnTo>
                        <a:pt x="90" y="43"/>
                      </a:lnTo>
                      <a:lnTo>
                        <a:pt x="90" y="42"/>
                      </a:lnTo>
                      <a:lnTo>
                        <a:pt x="91" y="42"/>
                      </a:lnTo>
                      <a:lnTo>
                        <a:pt x="90" y="42"/>
                      </a:lnTo>
                      <a:lnTo>
                        <a:pt x="90" y="41"/>
                      </a:lnTo>
                      <a:lnTo>
                        <a:pt x="91" y="41"/>
                      </a:lnTo>
                      <a:lnTo>
                        <a:pt x="91" y="40"/>
                      </a:lnTo>
                      <a:lnTo>
                        <a:pt x="92" y="40"/>
                      </a:lnTo>
                      <a:lnTo>
                        <a:pt x="95" y="39"/>
                      </a:lnTo>
                      <a:lnTo>
                        <a:pt x="96" y="39"/>
                      </a:lnTo>
                      <a:lnTo>
                        <a:pt x="96" y="40"/>
                      </a:lnTo>
                      <a:lnTo>
                        <a:pt x="97" y="40"/>
                      </a:lnTo>
                      <a:lnTo>
                        <a:pt x="97" y="39"/>
                      </a:lnTo>
                      <a:lnTo>
                        <a:pt x="98" y="39"/>
                      </a:lnTo>
                      <a:lnTo>
                        <a:pt x="98" y="38"/>
                      </a:lnTo>
                      <a:lnTo>
                        <a:pt x="99" y="38"/>
                      </a:lnTo>
                      <a:lnTo>
                        <a:pt x="99" y="39"/>
                      </a:lnTo>
                      <a:lnTo>
                        <a:pt x="99" y="40"/>
                      </a:lnTo>
                      <a:lnTo>
                        <a:pt x="100" y="40"/>
                      </a:lnTo>
                      <a:lnTo>
                        <a:pt x="102" y="40"/>
                      </a:lnTo>
                      <a:lnTo>
                        <a:pt x="102" y="41"/>
                      </a:lnTo>
                      <a:lnTo>
                        <a:pt x="103" y="42"/>
                      </a:lnTo>
                      <a:lnTo>
                        <a:pt x="102" y="40"/>
                      </a:lnTo>
                      <a:lnTo>
                        <a:pt x="102" y="39"/>
                      </a:lnTo>
                      <a:lnTo>
                        <a:pt x="102" y="40"/>
                      </a:lnTo>
                      <a:lnTo>
                        <a:pt x="102" y="39"/>
                      </a:lnTo>
                      <a:lnTo>
                        <a:pt x="103" y="38"/>
                      </a:lnTo>
                      <a:lnTo>
                        <a:pt x="104" y="38"/>
                      </a:lnTo>
                      <a:lnTo>
                        <a:pt x="104" y="36"/>
                      </a:lnTo>
                      <a:lnTo>
                        <a:pt x="105" y="36"/>
                      </a:lnTo>
                      <a:lnTo>
                        <a:pt x="106" y="36"/>
                      </a:lnTo>
                      <a:lnTo>
                        <a:pt x="105" y="36"/>
                      </a:lnTo>
                      <a:lnTo>
                        <a:pt x="106" y="36"/>
                      </a:lnTo>
                      <a:lnTo>
                        <a:pt x="107" y="36"/>
                      </a:lnTo>
                      <a:lnTo>
                        <a:pt x="107" y="35"/>
                      </a:lnTo>
                      <a:lnTo>
                        <a:pt x="108" y="35"/>
                      </a:lnTo>
                      <a:lnTo>
                        <a:pt x="110" y="35"/>
                      </a:lnTo>
                      <a:lnTo>
                        <a:pt x="108" y="36"/>
                      </a:lnTo>
                      <a:lnTo>
                        <a:pt x="110" y="36"/>
                      </a:lnTo>
                      <a:lnTo>
                        <a:pt x="108" y="38"/>
                      </a:lnTo>
                      <a:lnTo>
                        <a:pt x="110" y="38"/>
                      </a:lnTo>
                      <a:lnTo>
                        <a:pt x="110" y="39"/>
                      </a:lnTo>
                      <a:lnTo>
                        <a:pt x="111" y="39"/>
                      </a:lnTo>
                      <a:lnTo>
                        <a:pt x="112" y="39"/>
                      </a:lnTo>
                      <a:lnTo>
                        <a:pt x="113" y="39"/>
                      </a:lnTo>
                      <a:lnTo>
                        <a:pt x="112" y="38"/>
                      </a:lnTo>
                      <a:lnTo>
                        <a:pt x="114" y="38"/>
                      </a:lnTo>
                      <a:lnTo>
                        <a:pt x="114" y="36"/>
                      </a:lnTo>
                      <a:lnTo>
                        <a:pt x="114" y="35"/>
                      </a:lnTo>
                      <a:lnTo>
                        <a:pt x="114" y="34"/>
                      </a:lnTo>
                      <a:lnTo>
                        <a:pt x="115" y="34"/>
                      </a:lnTo>
                      <a:lnTo>
                        <a:pt x="117" y="36"/>
                      </a:lnTo>
                      <a:lnTo>
                        <a:pt x="117" y="35"/>
                      </a:lnTo>
                      <a:lnTo>
                        <a:pt x="117" y="34"/>
                      </a:lnTo>
                      <a:lnTo>
                        <a:pt x="118" y="34"/>
                      </a:lnTo>
                      <a:lnTo>
                        <a:pt x="117" y="34"/>
                      </a:lnTo>
                      <a:lnTo>
                        <a:pt x="117" y="33"/>
                      </a:lnTo>
                      <a:lnTo>
                        <a:pt x="118" y="33"/>
                      </a:lnTo>
                      <a:lnTo>
                        <a:pt x="119" y="33"/>
                      </a:lnTo>
                      <a:lnTo>
                        <a:pt x="118" y="32"/>
                      </a:lnTo>
                      <a:lnTo>
                        <a:pt x="117" y="32"/>
                      </a:lnTo>
                      <a:lnTo>
                        <a:pt x="118" y="31"/>
                      </a:lnTo>
                      <a:lnTo>
                        <a:pt x="115" y="32"/>
                      </a:lnTo>
                      <a:lnTo>
                        <a:pt x="114" y="32"/>
                      </a:lnTo>
                      <a:lnTo>
                        <a:pt x="113" y="32"/>
                      </a:lnTo>
                      <a:lnTo>
                        <a:pt x="114" y="31"/>
                      </a:lnTo>
                      <a:lnTo>
                        <a:pt x="115" y="32"/>
                      </a:lnTo>
                      <a:lnTo>
                        <a:pt x="115" y="31"/>
                      </a:lnTo>
                      <a:lnTo>
                        <a:pt x="114" y="31"/>
                      </a:lnTo>
                      <a:lnTo>
                        <a:pt x="112" y="31"/>
                      </a:lnTo>
                      <a:lnTo>
                        <a:pt x="111" y="31"/>
                      </a:lnTo>
                      <a:lnTo>
                        <a:pt x="112" y="29"/>
                      </a:lnTo>
                      <a:lnTo>
                        <a:pt x="113" y="28"/>
                      </a:lnTo>
                      <a:lnTo>
                        <a:pt x="113" y="27"/>
                      </a:lnTo>
                      <a:lnTo>
                        <a:pt x="114" y="26"/>
                      </a:lnTo>
                      <a:lnTo>
                        <a:pt x="114" y="25"/>
                      </a:lnTo>
                      <a:lnTo>
                        <a:pt x="113" y="24"/>
                      </a:lnTo>
                      <a:lnTo>
                        <a:pt x="113" y="22"/>
                      </a:lnTo>
                      <a:lnTo>
                        <a:pt x="114" y="20"/>
                      </a:lnTo>
                      <a:lnTo>
                        <a:pt x="114" y="19"/>
                      </a:lnTo>
                      <a:lnTo>
                        <a:pt x="114" y="18"/>
                      </a:lnTo>
                      <a:lnTo>
                        <a:pt x="114" y="17"/>
                      </a:lnTo>
                      <a:lnTo>
                        <a:pt x="114" y="15"/>
                      </a:lnTo>
                      <a:lnTo>
                        <a:pt x="114" y="14"/>
                      </a:lnTo>
                      <a:lnTo>
                        <a:pt x="115" y="13"/>
                      </a:lnTo>
                      <a:lnTo>
                        <a:pt x="117" y="12"/>
                      </a:lnTo>
                      <a:lnTo>
                        <a:pt x="118" y="11"/>
                      </a:lnTo>
                      <a:lnTo>
                        <a:pt x="119" y="11"/>
                      </a:lnTo>
                      <a:lnTo>
                        <a:pt x="120" y="11"/>
                      </a:lnTo>
                      <a:lnTo>
                        <a:pt x="121" y="10"/>
                      </a:lnTo>
                      <a:lnTo>
                        <a:pt x="122" y="8"/>
                      </a:lnTo>
                      <a:lnTo>
                        <a:pt x="124" y="8"/>
                      </a:lnTo>
                      <a:lnTo>
                        <a:pt x="125" y="7"/>
                      </a:lnTo>
                      <a:lnTo>
                        <a:pt x="132" y="4"/>
                      </a:lnTo>
                      <a:lnTo>
                        <a:pt x="135" y="3"/>
                      </a:lnTo>
                      <a:lnTo>
                        <a:pt x="136" y="1"/>
                      </a:lnTo>
                      <a:lnTo>
                        <a:pt x="138" y="1"/>
                      </a:lnTo>
                      <a:lnTo>
                        <a:pt x="139" y="1"/>
                      </a:lnTo>
                      <a:lnTo>
                        <a:pt x="140" y="1"/>
                      </a:lnTo>
                      <a:lnTo>
                        <a:pt x="142" y="1"/>
                      </a:lnTo>
                      <a:lnTo>
                        <a:pt x="143" y="1"/>
                      </a:lnTo>
                      <a:lnTo>
                        <a:pt x="145" y="0"/>
                      </a:lnTo>
                      <a:lnTo>
                        <a:pt x="147" y="0"/>
                      </a:lnTo>
                      <a:lnTo>
                        <a:pt x="149" y="1"/>
                      </a:lnTo>
                      <a:lnTo>
                        <a:pt x="150" y="1"/>
                      </a:lnTo>
                      <a:lnTo>
                        <a:pt x="152" y="1"/>
                      </a:lnTo>
                      <a:lnTo>
                        <a:pt x="153" y="0"/>
                      </a:lnTo>
                      <a:lnTo>
                        <a:pt x="154" y="0"/>
                      </a:lnTo>
                      <a:lnTo>
                        <a:pt x="155" y="1"/>
                      </a:lnTo>
                      <a:lnTo>
                        <a:pt x="156" y="1"/>
                      </a:lnTo>
                      <a:lnTo>
                        <a:pt x="157" y="1"/>
                      </a:lnTo>
                      <a:lnTo>
                        <a:pt x="159" y="0"/>
                      </a:lnTo>
                      <a:lnTo>
                        <a:pt x="159" y="1"/>
                      </a:lnTo>
                      <a:lnTo>
                        <a:pt x="160" y="1"/>
                      </a:lnTo>
                      <a:lnTo>
                        <a:pt x="161" y="1"/>
                      </a:lnTo>
                      <a:lnTo>
                        <a:pt x="163"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4" name="Freeform 125">
                  <a:extLst>
                    <a:ext uri="{FF2B5EF4-FFF2-40B4-BE49-F238E27FC236}">
                      <a16:creationId xmlns:a16="http://schemas.microsoft.com/office/drawing/2014/main" id="{9265478E-5D89-0AB9-5DB2-3A32ECAFE0C1}"/>
                    </a:ext>
                  </a:extLst>
                </p:cNvPr>
                <p:cNvSpPr>
                  <a:spLocks/>
                </p:cNvSpPr>
                <p:nvPr/>
              </p:nvSpPr>
              <p:spPr bwMode="auto">
                <a:xfrm>
                  <a:off x="7263488" y="5063108"/>
                  <a:ext cx="120073" cy="80048"/>
                </a:xfrm>
                <a:custGeom>
                  <a:avLst/>
                  <a:gdLst>
                    <a:gd name="T0" fmla="*/ 101 w 111"/>
                    <a:gd name="T1" fmla="*/ 61 h 74"/>
                    <a:gd name="T2" fmla="*/ 91 w 111"/>
                    <a:gd name="T3" fmla="*/ 70 h 74"/>
                    <a:gd name="T4" fmla="*/ 80 w 111"/>
                    <a:gd name="T5" fmla="*/ 74 h 74"/>
                    <a:gd name="T6" fmla="*/ 78 w 111"/>
                    <a:gd name="T7" fmla="*/ 74 h 74"/>
                    <a:gd name="T8" fmla="*/ 72 w 111"/>
                    <a:gd name="T9" fmla="*/ 70 h 74"/>
                    <a:gd name="T10" fmla="*/ 33 w 111"/>
                    <a:gd name="T11" fmla="*/ 69 h 74"/>
                    <a:gd name="T12" fmla="*/ 28 w 111"/>
                    <a:gd name="T13" fmla="*/ 70 h 74"/>
                    <a:gd name="T14" fmla="*/ 15 w 111"/>
                    <a:gd name="T15" fmla="*/ 68 h 74"/>
                    <a:gd name="T16" fmla="*/ 9 w 111"/>
                    <a:gd name="T17" fmla="*/ 64 h 74"/>
                    <a:gd name="T18" fmla="*/ 4 w 111"/>
                    <a:gd name="T19" fmla="*/ 60 h 74"/>
                    <a:gd name="T20" fmla="*/ 3 w 111"/>
                    <a:gd name="T21" fmla="*/ 55 h 74"/>
                    <a:gd name="T22" fmla="*/ 1 w 111"/>
                    <a:gd name="T23" fmla="*/ 48 h 74"/>
                    <a:gd name="T24" fmla="*/ 0 w 111"/>
                    <a:gd name="T25" fmla="*/ 41 h 74"/>
                    <a:gd name="T26" fmla="*/ 7 w 111"/>
                    <a:gd name="T27" fmla="*/ 36 h 74"/>
                    <a:gd name="T28" fmla="*/ 15 w 111"/>
                    <a:gd name="T29" fmla="*/ 23 h 74"/>
                    <a:gd name="T30" fmla="*/ 17 w 111"/>
                    <a:gd name="T31" fmla="*/ 21 h 74"/>
                    <a:gd name="T32" fmla="*/ 20 w 111"/>
                    <a:gd name="T33" fmla="*/ 19 h 74"/>
                    <a:gd name="T34" fmla="*/ 28 w 111"/>
                    <a:gd name="T35" fmla="*/ 7 h 74"/>
                    <a:gd name="T36" fmla="*/ 31 w 111"/>
                    <a:gd name="T37" fmla="*/ 4 h 74"/>
                    <a:gd name="T38" fmla="*/ 42 w 111"/>
                    <a:gd name="T39" fmla="*/ 0 h 74"/>
                    <a:gd name="T40" fmla="*/ 53 w 111"/>
                    <a:gd name="T41" fmla="*/ 2 h 74"/>
                    <a:gd name="T42" fmla="*/ 86 w 111"/>
                    <a:gd name="T43" fmla="*/ 12 h 74"/>
                    <a:gd name="T44" fmla="*/ 102 w 111"/>
                    <a:gd name="T45" fmla="*/ 32 h 74"/>
                    <a:gd name="T46" fmla="*/ 111 w 111"/>
                    <a:gd name="T47" fmla="*/ 35 h 74"/>
                    <a:gd name="T48" fmla="*/ 108 w 111"/>
                    <a:gd name="T49" fmla="*/ 49 h 74"/>
                    <a:gd name="T50" fmla="*/ 101 w 111"/>
                    <a:gd name="T51"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74">
                      <a:moveTo>
                        <a:pt x="101" y="61"/>
                      </a:moveTo>
                      <a:lnTo>
                        <a:pt x="91" y="70"/>
                      </a:lnTo>
                      <a:lnTo>
                        <a:pt x="80" y="74"/>
                      </a:lnTo>
                      <a:lnTo>
                        <a:pt x="78" y="74"/>
                      </a:lnTo>
                      <a:lnTo>
                        <a:pt x="72" y="70"/>
                      </a:lnTo>
                      <a:lnTo>
                        <a:pt x="33" y="69"/>
                      </a:lnTo>
                      <a:lnTo>
                        <a:pt x="28" y="70"/>
                      </a:lnTo>
                      <a:lnTo>
                        <a:pt x="15" y="68"/>
                      </a:lnTo>
                      <a:lnTo>
                        <a:pt x="9" y="64"/>
                      </a:lnTo>
                      <a:lnTo>
                        <a:pt x="4" y="60"/>
                      </a:lnTo>
                      <a:lnTo>
                        <a:pt x="3" y="55"/>
                      </a:lnTo>
                      <a:lnTo>
                        <a:pt x="1" y="48"/>
                      </a:lnTo>
                      <a:lnTo>
                        <a:pt x="0" y="41"/>
                      </a:lnTo>
                      <a:lnTo>
                        <a:pt x="7" y="36"/>
                      </a:lnTo>
                      <a:lnTo>
                        <a:pt x="15" y="23"/>
                      </a:lnTo>
                      <a:lnTo>
                        <a:pt x="17" y="21"/>
                      </a:lnTo>
                      <a:lnTo>
                        <a:pt x="20" y="19"/>
                      </a:lnTo>
                      <a:lnTo>
                        <a:pt x="28" y="7"/>
                      </a:lnTo>
                      <a:lnTo>
                        <a:pt x="31" y="4"/>
                      </a:lnTo>
                      <a:lnTo>
                        <a:pt x="42" y="0"/>
                      </a:lnTo>
                      <a:lnTo>
                        <a:pt x="53" y="2"/>
                      </a:lnTo>
                      <a:lnTo>
                        <a:pt x="86" y="12"/>
                      </a:lnTo>
                      <a:lnTo>
                        <a:pt x="102" y="32"/>
                      </a:lnTo>
                      <a:lnTo>
                        <a:pt x="111" y="35"/>
                      </a:lnTo>
                      <a:lnTo>
                        <a:pt x="108" y="49"/>
                      </a:lnTo>
                      <a:lnTo>
                        <a:pt x="101" y="61"/>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5" name="Freeform 126">
                  <a:extLst>
                    <a:ext uri="{FF2B5EF4-FFF2-40B4-BE49-F238E27FC236}">
                      <a16:creationId xmlns:a16="http://schemas.microsoft.com/office/drawing/2014/main" id="{3858B195-FA90-3648-6CC1-8F35923AB9A4}"/>
                    </a:ext>
                  </a:extLst>
                </p:cNvPr>
                <p:cNvSpPr>
                  <a:spLocks/>
                </p:cNvSpPr>
                <p:nvPr/>
              </p:nvSpPr>
              <p:spPr bwMode="auto">
                <a:xfrm>
                  <a:off x="7372743" y="4940872"/>
                  <a:ext cx="44352" cy="31371"/>
                </a:xfrm>
                <a:custGeom>
                  <a:avLst/>
                  <a:gdLst>
                    <a:gd name="T0" fmla="*/ 40 w 41"/>
                    <a:gd name="T1" fmla="*/ 23 h 29"/>
                    <a:gd name="T2" fmla="*/ 27 w 41"/>
                    <a:gd name="T3" fmla="*/ 29 h 29"/>
                    <a:gd name="T4" fmla="*/ 10 w 41"/>
                    <a:gd name="T5" fmla="*/ 26 h 29"/>
                    <a:gd name="T6" fmla="*/ 0 w 41"/>
                    <a:gd name="T7" fmla="*/ 20 h 29"/>
                    <a:gd name="T8" fmla="*/ 1 w 41"/>
                    <a:gd name="T9" fmla="*/ 8 h 29"/>
                    <a:gd name="T10" fmla="*/ 14 w 41"/>
                    <a:gd name="T11" fmla="*/ 1 h 29"/>
                    <a:gd name="T12" fmla="*/ 29 w 41"/>
                    <a:gd name="T13" fmla="*/ 0 h 29"/>
                    <a:gd name="T14" fmla="*/ 41 w 41"/>
                    <a:gd name="T15" fmla="*/ 9 h 29"/>
                    <a:gd name="T16" fmla="*/ 40 w 41"/>
                    <a:gd name="T17" fmla="*/ 2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9">
                      <a:moveTo>
                        <a:pt x="40" y="23"/>
                      </a:moveTo>
                      <a:lnTo>
                        <a:pt x="27" y="29"/>
                      </a:lnTo>
                      <a:lnTo>
                        <a:pt x="10" y="26"/>
                      </a:lnTo>
                      <a:lnTo>
                        <a:pt x="0" y="20"/>
                      </a:lnTo>
                      <a:lnTo>
                        <a:pt x="1" y="8"/>
                      </a:lnTo>
                      <a:lnTo>
                        <a:pt x="14" y="1"/>
                      </a:lnTo>
                      <a:lnTo>
                        <a:pt x="29" y="0"/>
                      </a:lnTo>
                      <a:lnTo>
                        <a:pt x="41" y="9"/>
                      </a:lnTo>
                      <a:lnTo>
                        <a:pt x="40" y="2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6" name="Freeform 117">
                  <a:extLst>
                    <a:ext uri="{FF2B5EF4-FFF2-40B4-BE49-F238E27FC236}">
                      <a16:creationId xmlns:a16="http://schemas.microsoft.com/office/drawing/2014/main" id="{53239631-4799-4D7D-B8AD-83D2CE6213BB}"/>
                    </a:ext>
                  </a:extLst>
                </p:cNvPr>
                <p:cNvSpPr>
                  <a:spLocks noEditPoints="1"/>
                </p:cNvSpPr>
                <p:nvPr/>
              </p:nvSpPr>
              <p:spPr bwMode="auto">
                <a:xfrm>
                  <a:off x="7610132" y="3911305"/>
                  <a:ext cx="486119" cy="283443"/>
                </a:xfrm>
                <a:custGeom>
                  <a:avLst/>
                  <a:gdLst>
                    <a:gd name="T0" fmla="*/ 10 w 319"/>
                    <a:gd name="T1" fmla="*/ 185 h 186"/>
                    <a:gd name="T2" fmla="*/ 41 w 319"/>
                    <a:gd name="T3" fmla="*/ 185 h 186"/>
                    <a:gd name="T4" fmla="*/ 8 w 319"/>
                    <a:gd name="T5" fmla="*/ 175 h 186"/>
                    <a:gd name="T6" fmla="*/ 3 w 319"/>
                    <a:gd name="T7" fmla="*/ 175 h 186"/>
                    <a:gd name="T8" fmla="*/ 7 w 319"/>
                    <a:gd name="T9" fmla="*/ 174 h 186"/>
                    <a:gd name="T10" fmla="*/ 8 w 319"/>
                    <a:gd name="T11" fmla="*/ 174 h 186"/>
                    <a:gd name="T12" fmla="*/ 11 w 319"/>
                    <a:gd name="T13" fmla="*/ 174 h 186"/>
                    <a:gd name="T14" fmla="*/ 5 w 319"/>
                    <a:gd name="T15" fmla="*/ 173 h 186"/>
                    <a:gd name="T16" fmla="*/ 3 w 319"/>
                    <a:gd name="T17" fmla="*/ 173 h 186"/>
                    <a:gd name="T18" fmla="*/ 5 w 319"/>
                    <a:gd name="T19" fmla="*/ 173 h 186"/>
                    <a:gd name="T20" fmla="*/ 319 w 319"/>
                    <a:gd name="T21" fmla="*/ 107 h 186"/>
                    <a:gd name="T22" fmla="*/ 207 w 319"/>
                    <a:gd name="T23" fmla="*/ 101 h 186"/>
                    <a:gd name="T24" fmla="*/ 291 w 319"/>
                    <a:gd name="T25" fmla="*/ 66 h 186"/>
                    <a:gd name="T26" fmla="*/ 227 w 319"/>
                    <a:gd name="T27" fmla="*/ 52 h 186"/>
                    <a:gd name="T28" fmla="*/ 292 w 319"/>
                    <a:gd name="T29" fmla="*/ 28 h 186"/>
                    <a:gd name="T30" fmla="*/ 292 w 319"/>
                    <a:gd name="T31" fmla="*/ 28 h 186"/>
                    <a:gd name="T32" fmla="*/ 291 w 319"/>
                    <a:gd name="T33" fmla="*/ 28 h 186"/>
                    <a:gd name="T34" fmla="*/ 291 w 319"/>
                    <a:gd name="T35" fmla="*/ 28 h 186"/>
                    <a:gd name="T36" fmla="*/ 296 w 319"/>
                    <a:gd name="T37" fmla="*/ 27 h 186"/>
                    <a:gd name="T38" fmla="*/ 296 w 319"/>
                    <a:gd name="T39" fmla="*/ 27 h 186"/>
                    <a:gd name="T40" fmla="*/ 296 w 319"/>
                    <a:gd name="T41" fmla="*/ 27 h 186"/>
                    <a:gd name="T42" fmla="*/ 296 w 319"/>
                    <a:gd name="T43" fmla="*/ 27 h 186"/>
                    <a:gd name="T44" fmla="*/ 296 w 319"/>
                    <a:gd name="T45" fmla="*/ 26 h 186"/>
                    <a:gd name="T46" fmla="*/ 296 w 319"/>
                    <a:gd name="T47" fmla="*/ 26 h 186"/>
                    <a:gd name="T48" fmla="*/ 310 w 319"/>
                    <a:gd name="T49" fmla="*/ 26 h 186"/>
                    <a:gd name="T50" fmla="*/ 310 w 319"/>
                    <a:gd name="T51" fmla="*/ 26 h 186"/>
                    <a:gd name="T52" fmla="*/ 295 w 319"/>
                    <a:gd name="T53" fmla="*/ 27 h 186"/>
                    <a:gd name="T54" fmla="*/ 297 w 319"/>
                    <a:gd name="T55" fmla="*/ 31 h 186"/>
                    <a:gd name="T56" fmla="*/ 297 w 319"/>
                    <a:gd name="T57" fmla="*/ 33 h 186"/>
                    <a:gd name="T58" fmla="*/ 295 w 319"/>
                    <a:gd name="T59" fmla="*/ 32 h 186"/>
                    <a:gd name="T60" fmla="*/ 295 w 319"/>
                    <a:gd name="T61" fmla="*/ 31 h 186"/>
                    <a:gd name="T62" fmla="*/ 293 w 319"/>
                    <a:gd name="T63" fmla="*/ 28 h 186"/>
                    <a:gd name="T64" fmla="*/ 292 w 319"/>
                    <a:gd name="T65" fmla="*/ 28 h 186"/>
                    <a:gd name="T66" fmla="*/ 291 w 319"/>
                    <a:gd name="T67" fmla="*/ 27 h 186"/>
                    <a:gd name="T68" fmla="*/ 292 w 319"/>
                    <a:gd name="T69" fmla="*/ 27 h 186"/>
                    <a:gd name="T70" fmla="*/ 293 w 319"/>
                    <a:gd name="T71" fmla="*/ 25 h 186"/>
                    <a:gd name="T72" fmla="*/ 295 w 319"/>
                    <a:gd name="T73" fmla="*/ 26 h 186"/>
                    <a:gd name="T74" fmla="*/ 288 w 319"/>
                    <a:gd name="T75" fmla="*/ 24 h 186"/>
                    <a:gd name="T76" fmla="*/ 288 w 319"/>
                    <a:gd name="T77" fmla="*/ 23 h 186"/>
                    <a:gd name="T78" fmla="*/ 300 w 319"/>
                    <a:gd name="T79" fmla="*/ 19 h 186"/>
                    <a:gd name="T80" fmla="*/ 306 w 319"/>
                    <a:gd name="T81" fmla="*/ 19 h 186"/>
                    <a:gd name="T82" fmla="*/ 307 w 319"/>
                    <a:gd name="T83" fmla="*/ 19 h 186"/>
                    <a:gd name="T84" fmla="*/ 309 w 319"/>
                    <a:gd name="T85" fmla="*/ 18 h 186"/>
                    <a:gd name="T86" fmla="*/ 300 w 319"/>
                    <a:gd name="T87" fmla="*/ 18 h 186"/>
                    <a:gd name="T88" fmla="*/ 307 w 319"/>
                    <a:gd name="T89" fmla="*/ 18 h 186"/>
                    <a:gd name="T90" fmla="*/ 304 w 319"/>
                    <a:gd name="T91" fmla="*/ 18 h 186"/>
                    <a:gd name="T92" fmla="*/ 304 w 319"/>
                    <a:gd name="T93" fmla="*/ 18 h 186"/>
                    <a:gd name="T94" fmla="*/ 303 w 319"/>
                    <a:gd name="T95" fmla="*/ 18 h 186"/>
                    <a:gd name="T96" fmla="*/ 302 w 319"/>
                    <a:gd name="T97" fmla="*/ 17 h 186"/>
                    <a:gd name="T98" fmla="*/ 307 w 319"/>
                    <a:gd name="T99" fmla="*/ 17 h 186"/>
                    <a:gd name="T100" fmla="*/ 307 w 319"/>
                    <a:gd name="T101" fmla="*/ 17 h 186"/>
                    <a:gd name="T102" fmla="*/ 303 w 319"/>
                    <a:gd name="T103" fmla="*/ 17 h 186"/>
                    <a:gd name="T104" fmla="*/ 302 w 319"/>
                    <a:gd name="T105" fmla="*/ 14 h 186"/>
                    <a:gd name="T106" fmla="*/ 302 w 319"/>
                    <a:gd name="T107" fmla="*/ 14 h 186"/>
                    <a:gd name="T108" fmla="*/ 300 w 319"/>
                    <a:gd name="T10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9" h="186">
                      <a:moveTo>
                        <a:pt x="10" y="186"/>
                      </a:moveTo>
                      <a:lnTo>
                        <a:pt x="10" y="186"/>
                      </a:lnTo>
                      <a:lnTo>
                        <a:pt x="10" y="186"/>
                      </a:lnTo>
                      <a:lnTo>
                        <a:pt x="10" y="186"/>
                      </a:lnTo>
                      <a:lnTo>
                        <a:pt x="10" y="186"/>
                      </a:lnTo>
                      <a:lnTo>
                        <a:pt x="10" y="185"/>
                      </a:lnTo>
                      <a:lnTo>
                        <a:pt x="10" y="185"/>
                      </a:lnTo>
                      <a:lnTo>
                        <a:pt x="10" y="186"/>
                      </a:lnTo>
                      <a:lnTo>
                        <a:pt x="10" y="186"/>
                      </a:lnTo>
                      <a:close/>
                      <a:moveTo>
                        <a:pt x="42" y="185"/>
                      </a:moveTo>
                      <a:lnTo>
                        <a:pt x="41" y="185"/>
                      </a:lnTo>
                      <a:lnTo>
                        <a:pt x="41" y="185"/>
                      </a:lnTo>
                      <a:lnTo>
                        <a:pt x="42" y="185"/>
                      </a:lnTo>
                      <a:lnTo>
                        <a:pt x="42" y="185"/>
                      </a:lnTo>
                      <a:close/>
                      <a:moveTo>
                        <a:pt x="11" y="174"/>
                      </a:moveTo>
                      <a:lnTo>
                        <a:pt x="10" y="174"/>
                      </a:lnTo>
                      <a:lnTo>
                        <a:pt x="8" y="175"/>
                      </a:lnTo>
                      <a:lnTo>
                        <a:pt x="8" y="175"/>
                      </a:lnTo>
                      <a:lnTo>
                        <a:pt x="6" y="175"/>
                      </a:lnTo>
                      <a:lnTo>
                        <a:pt x="4" y="177"/>
                      </a:lnTo>
                      <a:lnTo>
                        <a:pt x="1" y="177"/>
                      </a:lnTo>
                      <a:lnTo>
                        <a:pt x="0" y="174"/>
                      </a:lnTo>
                      <a:lnTo>
                        <a:pt x="1" y="175"/>
                      </a:lnTo>
                      <a:lnTo>
                        <a:pt x="3" y="175"/>
                      </a:lnTo>
                      <a:lnTo>
                        <a:pt x="4" y="175"/>
                      </a:lnTo>
                      <a:lnTo>
                        <a:pt x="5" y="175"/>
                      </a:lnTo>
                      <a:lnTo>
                        <a:pt x="6" y="175"/>
                      </a:lnTo>
                      <a:lnTo>
                        <a:pt x="6" y="175"/>
                      </a:lnTo>
                      <a:lnTo>
                        <a:pt x="7" y="174"/>
                      </a:lnTo>
                      <a:lnTo>
                        <a:pt x="7" y="174"/>
                      </a:lnTo>
                      <a:lnTo>
                        <a:pt x="8" y="174"/>
                      </a:lnTo>
                      <a:lnTo>
                        <a:pt x="8" y="174"/>
                      </a:lnTo>
                      <a:lnTo>
                        <a:pt x="8" y="174"/>
                      </a:lnTo>
                      <a:lnTo>
                        <a:pt x="8" y="174"/>
                      </a:lnTo>
                      <a:lnTo>
                        <a:pt x="8" y="174"/>
                      </a:lnTo>
                      <a:lnTo>
                        <a:pt x="8" y="174"/>
                      </a:lnTo>
                      <a:lnTo>
                        <a:pt x="8" y="174"/>
                      </a:lnTo>
                      <a:lnTo>
                        <a:pt x="8" y="173"/>
                      </a:lnTo>
                      <a:lnTo>
                        <a:pt x="8" y="173"/>
                      </a:lnTo>
                      <a:lnTo>
                        <a:pt x="10" y="173"/>
                      </a:lnTo>
                      <a:lnTo>
                        <a:pt x="11" y="174"/>
                      </a:lnTo>
                      <a:lnTo>
                        <a:pt x="11" y="174"/>
                      </a:lnTo>
                      <a:lnTo>
                        <a:pt x="11" y="174"/>
                      </a:lnTo>
                      <a:close/>
                      <a:moveTo>
                        <a:pt x="7" y="173"/>
                      </a:moveTo>
                      <a:lnTo>
                        <a:pt x="7" y="173"/>
                      </a:lnTo>
                      <a:lnTo>
                        <a:pt x="6" y="173"/>
                      </a:lnTo>
                      <a:lnTo>
                        <a:pt x="5" y="173"/>
                      </a:lnTo>
                      <a:lnTo>
                        <a:pt x="5" y="173"/>
                      </a:lnTo>
                      <a:lnTo>
                        <a:pt x="4" y="173"/>
                      </a:lnTo>
                      <a:lnTo>
                        <a:pt x="4" y="173"/>
                      </a:lnTo>
                      <a:lnTo>
                        <a:pt x="3" y="173"/>
                      </a:lnTo>
                      <a:lnTo>
                        <a:pt x="3" y="173"/>
                      </a:lnTo>
                      <a:lnTo>
                        <a:pt x="3" y="173"/>
                      </a:lnTo>
                      <a:lnTo>
                        <a:pt x="3" y="173"/>
                      </a:lnTo>
                      <a:lnTo>
                        <a:pt x="3" y="173"/>
                      </a:lnTo>
                      <a:lnTo>
                        <a:pt x="3" y="173"/>
                      </a:lnTo>
                      <a:lnTo>
                        <a:pt x="3" y="173"/>
                      </a:lnTo>
                      <a:lnTo>
                        <a:pt x="3" y="173"/>
                      </a:lnTo>
                      <a:lnTo>
                        <a:pt x="4" y="173"/>
                      </a:lnTo>
                      <a:lnTo>
                        <a:pt x="5" y="173"/>
                      </a:lnTo>
                      <a:lnTo>
                        <a:pt x="6" y="173"/>
                      </a:lnTo>
                      <a:lnTo>
                        <a:pt x="7" y="173"/>
                      </a:lnTo>
                      <a:close/>
                      <a:moveTo>
                        <a:pt x="319" y="108"/>
                      </a:moveTo>
                      <a:lnTo>
                        <a:pt x="318" y="109"/>
                      </a:lnTo>
                      <a:lnTo>
                        <a:pt x="318" y="107"/>
                      </a:lnTo>
                      <a:lnTo>
                        <a:pt x="319" y="107"/>
                      </a:lnTo>
                      <a:lnTo>
                        <a:pt x="319" y="107"/>
                      </a:lnTo>
                      <a:lnTo>
                        <a:pt x="319" y="107"/>
                      </a:lnTo>
                      <a:lnTo>
                        <a:pt x="319" y="108"/>
                      </a:lnTo>
                      <a:close/>
                      <a:moveTo>
                        <a:pt x="207" y="101"/>
                      </a:moveTo>
                      <a:lnTo>
                        <a:pt x="207" y="101"/>
                      </a:lnTo>
                      <a:lnTo>
                        <a:pt x="207" y="101"/>
                      </a:lnTo>
                      <a:lnTo>
                        <a:pt x="207" y="101"/>
                      </a:lnTo>
                      <a:lnTo>
                        <a:pt x="207" y="101"/>
                      </a:lnTo>
                      <a:lnTo>
                        <a:pt x="207" y="101"/>
                      </a:lnTo>
                      <a:close/>
                      <a:moveTo>
                        <a:pt x="291" y="67"/>
                      </a:moveTo>
                      <a:lnTo>
                        <a:pt x="291" y="67"/>
                      </a:lnTo>
                      <a:lnTo>
                        <a:pt x="291" y="66"/>
                      </a:lnTo>
                      <a:lnTo>
                        <a:pt x="291" y="66"/>
                      </a:lnTo>
                      <a:lnTo>
                        <a:pt x="291" y="67"/>
                      </a:lnTo>
                      <a:close/>
                      <a:moveTo>
                        <a:pt x="227" y="52"/>
                      </a:moveTo>
                      <a:lnTo>
                        <a:pt x="227" y="52"/>
                      </a:lnTo>
                      <a:lnTo>
                        <a:pt x="227" y="52"/>
                      </a:lnTo>
                      <a:lnTo>
                        <a:pt x="227" y="52"/>
                      </a:lnTo>
                      <a:lnTo>
                        <a:pt x="227" y="52"/>
                      </a:lnTo>
                      <a:lnTo>
                        <a:pt x="227" y="52"/>
                      </a:lnTo>
                      <a:lnTo>
                        <a:pt x="227" y="52"/>
                      </a:lnTo>
                      <a:close/>
                      <a:moveTo>
                        <a:pt x="292" y="28"/>
                      </a:moveTo>
                      <a:lnTo>
                        <a:pt x="292" y="28"/>
                      </a:lnTo>
                      <a:lnTo>
                        <a:pt x="292" y="28"/>
                      </a:lnTo>
                      <a:lnTo>
                        <a:pt x="292" y="28"/>
                      </a:lnTo>
                      <a:lnTo>
                        <a:pt x="292" y="28"/>
                      </a:lnTo>
                      <a:lnTo>
                        <a:pt x="292" y="28"/>
                      </a:lnTo>
                      <a:lnTo>
                        <a:pt x="292" y="28"/>
                      </a:lnTo>
                      <a:lnTo>
                        <a:pt x="292" y="28"/>
                      </a:lnTo>
                      <a:lnTo>
                        <a:pt x="292" y="28"/>
                      </a:lnTo>
                      <a:lnTo>
                        <a:pt x="292" y="28"/>
                      </a:lnTo>
                      <a:lnTo>
                        <a:pt x="292" y="28"/>
                      </a:lnTo>
                      <a:lnTo>
                        <a:pt x="292" y="28"/>
                      </a:lnTo>
                      <a:lnTo>
                        <a:pt x="292" y="28"/>
                      </a:lnTo>
                      <a:close/>
                      <a:moveTo>
                        <a:pt x="291" y="28"/>
                      </a:moveTo>
                      <a:lnTo>
                        <a:pt x="291" y="28"/>
                      </a:lnTo>
                      <a:lnTo>
                        <a:pt x="291" y="28"/>
                      </a:lnTo>
                      <a:lnTo>
                        <a:pt x="291" y="28"/>
                      </a:lnTo>
                      <a:lnTo>
                        <a:pt x="291" y="28"/>
                      </a:lnTo>
                      <a:lnTo>
                        <a:pt x="291" y="28"/>
                      </a:lnTo>
                      <a:lnTo>
                        <a:pt x="291" y="28"/>
                      </a:lnTo>
                      <a:lnTo>
                        <a:pt x="291" y="28"/>
                      </a:lnTo>
                      <a:lnTo>
                        <a:pt x="291" y="28"/>
                      </a:lnTo>
                      <a:lnTo>
                        <a:pt x="291" y="28"/>
                      </a:lnTo>
                      <a:close/>
                      <a:moveTo>
                        <a:pt x="296" y="27"/>
                      </a:moveTo>
                      <a:lnTo>
                        <a:pt x="296" y="27"/>
                      </a:lnTo>
                      <a:lnTo>
                        <a:pt x="296" y="27"/>
                      </a:lnTo>
                      <a:lnTo>
                        <a:pt x="296" y="27"/>
                      </a:lnTo>
                      <a:lnTo>
                        <a:pt x="296" y="27"/>
                      </a:lnTo>
                      <a:lnTo>
                        <a:pt x="296" y="27"/>
                      </a:lnTo>
                      <a:lnTo>
                        <a:pt x="296" y="27"/>
                      </a:lnTo>
                      <a:lnTo>
                        <a:pt x="296" y="27"/>
                      </a:lnTo>
                      <a:lnTo>
                        <a:pt x="296" y="27"/>
                      </a:lnTo>
                      <a:lnTo>
                        <a:pt x="296" y="27"/>
                      </a:lnTo>
                      <a:lnTo>
                        <a:pt x="296" y="27"/>
                      </a:lnTo>
                      <a:lnTo>
                        <a:pt x="296" y="27"/>
                      </a:lnTo>
                      <a:lnTo>
                        <a:pt x="296" y="27"/>
                      </a:lnTo>
                      <a:close/>
                      <a:moveTo>
                        <a:pt x="296" y="27"/>
                      </a:moveTo>
                      <a:lnTo>
                        <a:pt x="296" y="27"/>
                      </a:lnTo>
                      <a:lnTo>
                        <a:pt x="296" y="27"/>
                      </a:lnTo>
                      <a:lnTo>
                        <a:pt x="296" y="27"/>
                      </a:lnTo>
                      <a:lnTo>
                        <a:pt x="296" y="27"/>
                      </a:lnTo>
                      <a:lnTo>
                        <a:pt x="296" y="27"/>
                      </a:lnTo>
                      <a:lnTo>
                        <a:pt x="296" y="27"/>
                      </a:lnTo>
                      <a:lnTo>
                        <a:pt x="296" y="27"/>
                      </a:lnTo>
                      <a:lnTo>
                        <a:pt x="296" y="27"/>
                      </a:lnTo>
                      <a:lnTo>
                        <a:pt x="296" y="27"/>
                      </a:lnTo>
                      <a:close/>
                      <a:moveTo>
                        <a:pt x="296" y="26"/>
                      </a:moveTo>
                      <a:lnTo>
                        <a:pt x="296" y="26"/>
                      </a:lnTo>
                      <a:lnTo>
                        <a:pt x="296" y="26"/>
                      </a:lnTo>
                      <a:lnTo>
                        <a:pt x="296" y="26"/>
                      </a:lnTo>
                      <a:lnTo>
                        <a:pt x="296" y="26"/>
                      </a:lnTo>
                      <a:lnTo>
                        <a:pt x="296" y="27"/>
                      </a:lnTo>
                      <a:lnTo>
                        <a:pt x="296" y="27"/>
                      </a:lnTo>
                      <a:lnTo>
                        <a:pt x="296" y="27"/>
                      </a:lnTo>
                      <a:lnTo>
                        <a:pt x="296" y="27"/>
                      </a:lnTo>
                      <a:lnTo>
                        <a:pt x="296" y="27"/>
                      </a:lnTo>
                      <a:lnTo>
                        <a:pt x="296" y="26"/>
                      </a:lnTo>
                      <a:lnTo>
                        <a:pt x="296" y="26"/>
                      </a:lnTo>
                      <a:lnTo>
                        <a:pt x="296" y="26"/>
                      </a:lnTo>
                      <a:lnTo>
                        <a:pt x="296" y="26"/>
                      </a:lnTo>
                      <a:lnTo>
                        <a:pt x="296" y="26"/>
                      </a:lnTo>
                      <a:close/>
                      <a:moveTo>
                        <a:pt x="310" y="26"/>
                      </a:moveTo>
                      <a:lnTo>
                        <a:pt x="310" y="26"/>
                      </a:lnTo>
                      <a:lnTo>
                        <a:pt x="310" y="26"/>
                      </a:lnTo>
                      <a:lnTo>
                        <a:pt x="310" y="26"/>
                      </a:lnTo>
                      <a:lnTo>
                        <a:pt x="310" y="26"/>
                      </a:lnTo>
                      <a:lnTo>
                        <a:pt x="310" y="26"/>
                      </a:lnTo>
                      <a:lnTo>
                        <a:pt x="310" y="26"/>
                      </a:lnTo>
                      <a:lnTo>
                        <a:pt x="310" y="26"/>
                      </a:lnTo>
                      <a:lnTo>
                        <a:pt x="310" y="26"/>
                      </a:lnTo>
                      <a:lnTo>
                        <a:pt x="310" y="26"/>
                      </a:lnTo>
                      <a:close/>
                      <a:moveTo>
                        <a:pt x="295" y="27"/>
                      </a:moveTo>
                      <a:lnTo>
                        <a:pt x="295" y="27"/>
                      </a:lnTo>
                      <a:lnTo>
                        <a:pt x="295" y="27"/>
                      </a:lnTo>
                      <a:lnTo>
                        <a:pt x="295" y="27"/>
                      </a:lnTo>
                      <a:lnTo>
                        <a:pt x="296" y="28"/>
                      </a:lnTo>
                      <a:lnTo>
                        <a:pt x="296" y="28"/>
                      </a:lnTo>
                      <a:lnTo>
                        <a:pt x="297" y="28"/>
                      </a:lnTo>
                      <a:lnTo>
                        <a:pt x="296" y="30"/>
                      </a:lnTo>
                      <a:lnTo>
                        <a:pt x="296" y="30"/>
                      </a:lnTo>
                      <a:lnTo>
                        <a:pt x="297" y="31"/>
                      </a:lnTo>
                      <a:lnTo>
                        <a:pt x="296" y="31"/>
                      </a:lnTo>
                      <a:lnTo>
                        <a:pt x="296" y="31"/>
                      </a:lnTo>
                      <a:lnTo>
                        <a:pt x="296" y="32"/>
                      </a:lnTo>
                      <a:lnTo>
                        <a:pt x="296" y="32"/>
                      </a:lnTo>
                      <a:lnTo>
                        <a:pt x="297" y="32"/>
                      </a:lnTo>
                      <a:lnTo>
                        <a:pt x="297" y="33"/>
                      </a:lnTo>
                      <a:lnTo>
                        <a:pt x="296" y="33"/>
                      </a:lnTo>
                      <a:lnTo>
                        <a:pt x="296" y="33"/>
                      </a:lnTo>
                      <a:lnTo>
                        <a:pt x="296" y="32"/>
                      </a:lnTo>
                      <a:lnTo>
                        <a:pt x="295" y="32"/>
                      </a:lnTo>
                      <a:lnTo>
                        <a:pt x="295" y="32"/>
                      </a:lnTo>
                      <a:lnTo>
                        <a:pt x="295" y="32"/>
                      </a:lnTo>
                      <a:lnTo>
                        <a:pt x="295" y="32"/>
                      </a:lnTo>
                      <a:lnTo>
                        <a:pt x="295" y="31"/>
                      </a:lnTo>
                      <a:lnTo>
                        <a:pt x="295" y="31"/>
                      </a:lnTo>
                      <a:lnTo>
                        <a:pt x="296" y="31"/>
                      </a:lnTo>
                      <a:lnTo>
                        <a:pt x="295" y="31"/>
                      </a:lnTo>
                      <a:lnTo>
                        <a:pt x="295" y="31"/>
                      </a:lnTo>
                      <a:lnTo>
                        <a:pt x="295" y="30"/>
                      </a:lnTo>
                      <a:lnTo>
                        <a:pt x="295" y="30"/>
                      </a:lnTo>
                      <a:lnTo>
                        <a:pt x="295" y="30"/>
                      </a:lnTo>
                      <a:lnTo>
                        <a:pt x="295" y="30"/>
                      </a:lnTo>
                      <a:lnTo>
                        <a:pt x="293" y="28"/>
                      </a:lnTo>
                      <a:lnTo>
                        <a:pt x="293" y="28"/>
                      </a:lnTo>
                      <a:lnTo>
                        <a:pt x="293" y="28"/>
                      </a:lnTo>
                      <a:lnTo>
                        <a:pt x="292" y="28"/>
                      </a:lnTo>
                      <a:lnTo>
                        <a:pt x="292" y="28"/>
                      </a:lnTo>
                      <a:lnTo>
                        <a:pt x="292" y="28"/>
                      </a:lnTo>
                      <a:lnTo>
                        <a:pt x="292" y="28"/>
                      </a:lnTo>
                      <a:lnTo>
                        <a:pt x="292" y="28"/>
                      </a:lnTo>
                      <a:lnTo>
                        <a:pt x="292" y="28"/>
                      </a:lnTo>
                      <a:lnTo>
                        <a:pt x="292" y="28"/>
                      </a:lnTo>
                      <a:lnTo>
                        <a:pt x="292" y="28"/>
                      </a:lnTo>
                      <a:lnTo>
                        <a:pt x="291" y="28"/>
                      </a:lnTo>
                      <a:lnTo>
                        <a:pt x="291" y="27"/>
                      </a:lnTo>
                      <a:lnTo>
                        <a:pt x="291" y="27"/>
                      </a:lnTo>
                      <a:lnTo>
                        <a:pt x="291" y="27"/>
                      </a:lnTo>
                      <a:lnTo>
                        <a:pt x="291" y="27"/>
                      </a:lnTo>
                      <a:lnTo>
                        <a:pt x="291" y="27"/>
                      </a:lnTo>
                      <a:lnTo>
                        <a:pt x="292" y="27"/>
                      </a:lnTo>
                      <a:lnTo>
                        <a:pt x="292" y="27"/>
                      </a:lnTo>
                      <a:lnTo>
                        <a:pt x="292" y="27"/>
                      </a:lnTo>
                      <a:lnTo>
                        <a:pt x="293" y="27"/>
                      </a:lnTo>
                      <a:lnTo>
                        <a:pt x="293" y="26"/>
                      </a:lnTo>
                      <a:lnTo>
                        <a:pt x="293" y="26"/>
                      </a:lnTo>
                      <a:lnTo>
                        <a:pt x="293" y="26"/>
                      </a:lnTo>
                      <a:lnTo>
                        <a:pt x="293" y="26"/>
                      </a:lnTo>
                      <a:lnTo>
                        <a:pt x="293" y="25"/>
                      </a:lnTo>
                      <a:lnTo>
                        <a:pt x="293" y="25"/>
                      </a:lnTo>
                      <a:lnTo>
                        <a:pt x="293" y="25"/>
                      </a:lnTo>
                      <a:lnTo>
                        <a:pt x="295" y="25"/>
                      </a:lnTo>
                      <a:lnTo>
                        <a:pt x="295" y="26"/>
                      </a:lnTo>
                      <a:lnTo>
                        <a:pt x="295" y="26"/>
                      </a:lnTo>
                      <a:lnTo>
                        <a:pt x="295" y="26"/>
                      </a:lnTo>
                      <a:lnTo>
                        <a:pt x="295" y="26"/>
                      </a:lnTo>
                      <a:lnTo>
                        <a:pt x="295" y="26"/>
                      </a:lnTo>
                      <a:lnTo>
                        <a:pt x="295" y="27"/>
                      </a:lnTo>
                      <a:lnTo>
                        <a:pt x="295" y="27"/>
                      </a:lnTo>
                      <a:lnTo>
                        <a:pt x="295" y="27"/>
                      </a:lnTo>
                      <a:close/>
                      <a:moveTo>
                        <a:pt x="288" y="24"/>
                      </a:moveTo>
                      <a:lnTo>
                        <a:pt x="288" y="24"/>
                      </a:lnTo>
                      <a:lnTo>
                        <a:pt x="286" y="23"/>
                      </a:lnTo>
                      <a:lnTo>
                        <a:pt x="286" y="21"/>
                      </a:lnTo>
                      <a:lnTo>
                        <a:pt x="286" y="21"/>
                      </a:lnTo>
                      <a:lnTo>
                        <a:pt x="288" y="21"/>
                      </a:lnTo>
                      <a:lnTo>
                        <a:pt x="288" y="23"/>
                      </a:lnTo>
                      <a:lnTo>
                        <a:pt x="289" y="23"/>
                      </a:lnTo>
                      <a:lnTo>
                        <a:pt x="288" y="24"/>
                      </a:lnTo>
                      <a:close/>
                      <a:moveTo>
                        <a:pt x="300" y="19"/>
                      </a:moveTo>
                      <a:lnTo>
                        <a:pt x="300" y="19"/>
                      </a:lnTo>
                      <a:lnTo>
                        <a:pt x="300" y="19"/>
                      </a:lnTo>
                      <a:lnTo>
                        <a:pt x="300" y="19"/>
                      </a:lnTo>
                      <a:lnTo>
                        <a:pt x="300" y="19"/>
                      </a:lnTo>
                      <a:lnTo>
                        <a:pt x="300" y="19"/>
                      </a:lnTo>
                      <a:close/>
                      <a:moveTo>
                        <a:pt x="306" y="19"/>
                      </a:moveTo>
                      <a:lnTo>
                        <a:pt x="306" y="20"/>
                      </a:lnTo>
                      <a:lnTo>
                        <a:pt x="306" y="20"/>
                      </a:lnTo>
                      <a:lnTo>
                        <a:pt x="306" y="19"/>
                      </a:lnTo>
                      <a:lnTo>
                        <a:pt x="306" y="19"/>
                      </a:lnTo>
                      <a:lnTo>
                        <a:pt x="306" y="19"/>
                      </a:lnTo>
                      <a:lnTo>
                        <a:pt x="306" y="18"/>
                      </a:lnTo>
                      <a:lnTo>
                        <a:pt x="306" y="18"/>
                      </a:lnTo>
                      <a:lnTo>
                        <a:pt x="306" y="19"/>
                      </a:lnTo>
                      <a:lnTo>
                        <a:pt x="307" y="19"/>
                      </a:lnTo>
                      <a:lnTo>
                        <a:pt x="306" y="19"/>
                      </a:lnTo>
                      <a:lnTo>
                        <a:pt x="306" y="19"/>
                      </a:lnTo>
                      <a:close/>
                      <a:moveTo>
                        <a:pt x="309" y="19"/>
                      </a:moveTo>
                      <a:lnTo>
                        <a:pt x="309" y="19"/>
                      </a:lnTo>
                      <a:lnTo>
                        <a:pt x="309" y="19"/>
                      </a:lnTo>
                      <a:lnTo>
                        <a:pt x="309" y="18"/>
                      </a:lnTo>
                      <a:lnTo>
                        <a:pt x="309" y="18"/>
                      </a:lnTo>
                      <a:lnTo>
                        <a:pt x="309" y="18"/>
                      </a:lnTo>
                      <a:lnTo>
                        <a:pt x="309" y="19"/>
                      </a:lnTo>
                      <a:close/>
                      <a:moveTo>
                        <a:pt x="300" y="18"/>
                      </a:moveTo>
                      <a:lnTo>
                        <a:pt x="300" y="18"/>
                      </a:lnTo>
                      <a:lnTo>
                        <a:pt x="300" y="18"/>
                      </a:lnTo>
                      <a:lnTo>
                        <a:pt x="300" y="18"/>
                      </a:lnTo>
                      <a:lnTo>
                        <a:pt x="300" y="18"/>
                      </a:lnTo>
                      <a:lnTo>
                        <a:pt x="300" y="18"/>
                      </a:lnTo>
                      <a:close/>
                      <a:moveTo>
                        <a:pt x="307" y="18"/>
                      </a:moveTo>
                      <a:lnTo>
                        <a:pt x="307" y="18"/>
                      </a:lnTo>
                      <a:lnTo>
                        <a:pt x="307" y="18"/>
                      </a:lnTo>
                      <a:lnTo>
                        <a:pt x="307" y="18"/>
                      </a:lnTo>
                      <a:lnTo>
                        <a:pt x="307" y="18"/>
                      </a:lnTo>
                      <a:lnTo>
                        <a:pt x="307" y="18"/>
                      </a:lnTo>
                      <a:lnTo>
                        <a:pt x="307" y="18"/>
                      </a:lnTo>
                      <a:lnTo>
                        <a:pt x="307" y="18"/>
                      </a:lnTo>
                      <a:close/>
                      <a:moveTo>
                        <a:pt x="304" y="18"/>
                      </a:moveTo>
                      <a:lnTo>
                        <a:pt x="304" y="18"/>
                      </a:lnTo>
                      <a:lnTo>
                        <a:pt x="304" y="18"/>
                      </a:lnTo>
                      <a:lnTo>
                        <a:pt x="304" y="18"/>
                      </a:lnTo>
                      <a:lnTo>
                        <a:pt x="305" y="18"/>
                      </a:lnTo>
                      <a:lnTo>
                        <a:pt x="304" y="18"/>
                      </a:lnTo>
                      <a:lnTo>
                        <a:pt x="304" y="18"/>
                      </a:lnTo>
                      <a:lnTo>
                        <a:pt x="304" y="19"/>
                      </a:lnTo>
                      <a:lnTo>
                        <a:pt x="304" y="19"/>
                      </a:lnTo>
                      <a:lnTo>
                        <a:pt x="304" y="19"/>
                      </a:lnTo>
                      <a:lnTo>
                        <a:pt x="303" y="19"/>
                      </a:lnTo>
                      <a:lnTo>
                        <a:pt x="303" y="18"/>
                      </a:lnTo>
                      <a:lnTo>
                        <a:pt x="303" y="18"/>
                      </a:lnTo>
                      <a:lnTo>
                        <a:pt x="302" y="18"/>
                      </a:lnTo>
                      <a:lnTo>
                        <a:pt x="302" y="18"/>
                      </a:lnTo>
                      <a:lnTo>
                        <a:pt x="302" y="18"/>
                      </a:lnTo>
                      <a:lnTo>
                        <a:pt x="302" y="18"/>
                      </a:lnTo>
                      <a:lnTo>
                        <a:pt x="302" y="17"/>
                      </a:lnTo>
                      <a:lnTo>
                        <a:pt x="302" y="17"/>
                      </a:lnTo>
                      <a:lnTo>
                        <a:pt x="302" y="17"/>
                      </a:lnTo>
                      <a:lnTo>
                        <a:pt x="302" y="17"/>
                      </a:lnTo>
                      <a:lnTo>
                        <a:pt x="303" y="17"/>
                      </a:lnTo>
                      <a:lnTo>
                        <a:pt x="303" y="18"/>
                      </a:lnTo>
                      <a:lnTo>
                        <a:pt x="304" y="18"/>
                      </a:lnTo>
                      <a:close/>
                      <a:moveTo>
                        <a:pt x="307" y="17"/>
                      </a:moveTo>
                      <a:lnTo>
                        <a:pt x="307" y="17"/>
                      </a:lnTo>
                      <a:lnTo>
                        <a:pt x="307" y="17"/>
                      </a:lnTo>
                      <a:lnTo>
                        <a:pt x="307" y="17"/>
                      </a:lnTo>
                      <a:lnTo>
                        <a:pt x="307" y="17"/>
                      </a:lnTo>
                      <a:lnTo>
                        <a:pt x="307" y="17"/>
                      </a:lnTo>
                      <a:lnTo>
                        <a:pt x="307" y="17"/>
                      </a:lnTo>
                      <a:close/>
                      <a:moveTo>
                        <a:pt x="303" y="17"/>
                      </a:moveTo>
                      <a:lnTo>
                        <a:pt x="303" y="17"/>
                      </a:lnTo>
                      <a:lnTo>
                        <a:pt x="303" y="17"/>
                      </a:lnTo>
                      <a:lnTo>
                        <a:pt x="303" y="17"/>
                      </a:lnTo>
                      <a:lnTo>
                        <a:pt x="303" y="17"/>
                      </a:lnTo>
                      <a:lnTo>
                        <a:pt x="303" y="17"/>
                      </a:lnTo>
                      <a:lnTo>
                        <a:pt x="303" y="17"/>
                      </a:lnTo>
                      <a:lnTo>
                        <a:pt x="304" y="17"/>
                      </a:lnTo>
                      <a:lnTo>
                        <a:pt x="303" y="17"/>
                      </a:lnTo>
                      <a:lnTo>
                        <a:pt x="303" y="17"/>
                      </a:lnTo>
                      <a:lnTo>
                        <a:pt x="303" y="17"/>
                      </a:lnTo>
                      <a:close/>
                      <a:moveTo>
                        <a:pt x="302" y="14"/>
                      </a:moveTo>
                      <a:lnTo>
                        <a:pt x="302" y="14"/>
                      </a:lnTo>
                      <a:lnTo>
                        <a:pt x="300" y="14"/>
                      </a:lnTo>
                      <a:lnTo>
                        <a:pt x="300" y="14"/>
                      </a:lnTo>
                      <a:lnTo>
                        <a:pt x="300" y="14"/>
                      </a:lnTo>
                      <a:lnTo>
                        <a:pt x="300" y="14"/>
                      </a:lnTo>
                      <a:lnTo>
                        <a:pt x="302" y="14"/>
                      </a:lnTo>
                      <a:lnTo>
                        <a:pt x="302" y="14"/>
                      </a:lnTo>
                      <a:close/>
                      <a:moveTo>
                        <a:pt x="300" y="0"/>
                      </a:moveTo>
                      <a:lnTo>
                        <a:pt x="302" y="2"/>
                      </a:lnTo>
                      <a:lnTo>
                        <a:pt x="300" y="2"/>
                      </a:lnTo>
                      <a:lnTo>
                        <a:pt x="300" y="2"/>
                      </a:lnTo>
                      <a:lnTo>
                        <a:pt x="300"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7" name="Freeform 127">
                  <a:extLst>
                    <a:ext uri="{FF2B5EF4-FFF2-40B4-BE49-F238E27FC236}">
                      <a16:creationId xmlns:a16="http://schemas.microsoft.com/office/drawing/2014/main" id="{C17FD992-74BE-7020-65DC-56478BEB735C}"/>
                    </a:ext>
                  </a:extLst>
                </p:cNvPr>
                <p:cNvSpPr>
                  <a:spLocks/>
                </p:cNvSpPr>
                <p:nvPr/>
              </p:nvSpPr>
              <p:spPr bwMode="auto">
                <a:xfrm>
                  <a:off x="7564416" y="4339516"/>
                  <a:ext cx="1525" cy="4572"/>
                </a:xfrm>
                <a:custGeom>
                  <a:avLst/>
                  <a:gdLst>
                    <a:gd name="T0" fmla="*/ 0 w 1"/>
                    <a:gd name="T1" fmla="*/ 3 h 3"/>
                    <a:gd name="T2" fmla="*/ 0 w 1"/>
                    <a:gd name="T3" fmla="*/ 3 h 3"/>
                    <a:gd name="T4" fmla="*/ 0 w 1"/>
                    <a:gd name="T5" fmla="*/ 0 h 3"/>
                    <a:gd name="T6" fmla="*/ 0 w 1"/>
                    <a:gd name="T7" fmla="*/ 0 h 3"/>
                    <a:gd name="T8" fmla="*/ 0 w 1"/>
                    <a:gd name="T9" fmla="*/ 0 h 3"/>
                    <a:gd name="T10" fmla="*/ 1 w 1"/>
                    <a:gd name="T11" fmla="*/ 0 h 3"/>
                    <a:gd name="T12" fmla="*/ 1 w 1"/>
                    <a:gd name="T13" fmla="*/ 2 h 3"/>
                    <a:gd name="T14" fmla="*/ 0 w 1"/>
                    <a:gd name="T15" fmla="*/ 2 h 3"/>
                    <a:gd name="T16" fmla="*/ 0 w 1"/>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3">
                      <a:moveTo>
                        <a:pt x="0" y="3"/>
                      </a:moveTo>
                      <a:lnTo>
                        <a:pt x="0" y="3"/>
                      </a:lnTo>
                      <a:lnTo>
                        <a:pt x="0" y="0"/>
                      </a:lnTo>
                      <a:lnTo>
                        <a:pt x="0" y="0"/>
                      </a:lnTo>
                      <a:lnTo>
                        <a:pt x="0" y="0"/>
                      </a:lnTo>
                      <a:lnTo>
                        <a:pt x="1" y="0"/>
                      </a:lnTo>
                      <a:lnTo>
                        <a:pt x="1" y="2"/>
                      </a:lnTo>
                      <a:lnTo>
                        <a:pt x="0" y="2"/>
                      </a:lnTo>
                      <a:lnTo>
                        <a:pt x="0" y="3"/>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49" name="Freeform 128">
                  <a:extLst>
                    <a:ext uri="{FF2B5EF4-FFF2-40B4-BE49-F238E27FC236}">
                      <a16:creationId xmlns:a16="http://schemas.microsoft.com/office/drawing/2014/main" id="{8343562B-5B64-F4E7-36C1-96F98B7A01CB}"/>
                    </a:ext>
                  </a:extLst>
                </p:cNvPr>
                <p:cNvSpPr>
                  <a:spLocks/>
                </p:cNvSpPr>
                <p:nvPr/>
              </p:nvSpPr>
              <p:spPr bwMode="auto">
                <a:xfrm>
                  <a:off x="7553749" y="4334945"/>
                  <a:ext cx="9144" cy="18287"/>
                </a:xfrm>
                <a:custGeom>
                  <a:avLst/>
                  <a:gdLst>
                    <a:gd name="T0" fmla="*/ 1 w 6"/>
                    <a:gd name="T1" fmla="*/ 1 h 12"/>
                    <a:gd name="T2" fmla="*/ 1 w 6"/>
                    <a:gd name="T3" fmla="*/ 1 h 12"/>
                    <a:gd name="T4" fmla="*/ 1 w 6"/>
                    <a:gd name="T5" fmla="*/ 1 h 12"/>
                    <a:gd name="T6" fmla="*/ 2 w 6"/>
                    <a:gd name="T7" fmla="*/ 2 h 12"/>
                    <a:gd name="T8" fmla="*/ 3 w 6"/>
                    <a:gd name="T9" fmla="*/ 2 h 12"/>
                    <a:gd name="T10" fmla="*/ 5 w 6"/>
                    <a:gd name="T11" fmla="*/ 2 h 12"/>
                    <a:gd name="T12" fmla="*/ 6 w 6"/>
                    <a:gd name="T13" fmla="*/ 3 h 12"/>
                    <a:gd name="T14" fmla="*/ 6 w 6"/>
                    <a:gd name="T15" fmla="*/ 5 h 12"/>
                    <a:gd name="T16" fmla="*/ 5 w 6"/>
                    <a:gd name="T17" fmla="*/ 6 h 12"/>
                    <a:gd name="T18" fmla="*/ 5 w 6"/>
                    <a:gd name="T19" fmla="*/ 7 h 12"/>
                    <a:gd name="T20" fmla="*/ 5 w 6"/>
                    <a:gd name="T21" fmla="*/ 7 h 12"/>
                    <a:gd name="T22" fmla="*/ 5 w 6"/>
                    <a:gd name="T23" fmla="*/ 8 h 12"/>
                    <a:gd name="T24" fmla="*/ 3 w 6"/>
                    <a:gd name="T25" fmla="*/ 9 h 12"/>
                    <a:gd name="T26" fmla="*/ 5 w 6"/>
                    <a:gd name="T27" fmla="*/ 10 h 12"/>
                    <a:gd name="T28" fmla="*/ 3 w 6"/>
                    <a:gd name="T29" fmla="*/ 10 h 12"/>
                    <a:gd name="T30" fmla="*/ 3 w 6"/>
                    <a:gd name="T31" fmla="*/ 12 h 12"/>
                    <a:gd name="T32" fmla="*/ 3 w 6"/>
                    <a:gd name="T33" fmla="*/ 10 h 12"/>
                    <a:gd name="T34" fmla="*/ 2 w 6"/>
                    <a:gd name="T35" fmla="*/ 12 h 12"/>
                    <a:gd name="T36" fmla="*/ 2 w 6"/>
                    <a:gd name="T37" fmla="*/ 10 h 12"/>
                    <a:gd name="T38" fmla="*/ 1 w 6"/>
                    <a:gd name="T39" fmla="*/ 10 h 12"/>
                    <a:gd name="T40" fmla="*/ 1 w 6"/>
                    <a:gd name="T41" fmla="*/ 10 h 12"/>
                    <a:gd name="T42" fmla="*/ 1 w 6"/>
                    <a:gd name="T43" fmla="*/ 10 h 12"/>
                    <a:gd name="T44" fmla="*/ 1 w 6"/>
                    <a:gd name="T45" fmla="*/ 9 h 12"/>
                    <a:gd name="T46" fmla="*/ 1 w 6"/>
                    <a:gd name="T47" fmla="*/ 8 h 12"/>
                    <a:gd name="T48" fmla="*/ 0 w 6"/>
                    <a:gd name="T49" fmla="*/ 8 h 12"/>
                    <a:gd name="T50" fmla="*/ 1 w 6"/>
                    <a:gd name="T51" fmla="*/ 8 h 12"/>
                    <a:gd name="T52" fmla="*/ 2 w 6"/>
                    <a:gd name="T53" fmla="*/ 9 h 12"/>
                    <a:gd name="T54" fmla="*/ 2 w 6"/>
                    <a:gd name="T55" fmla="*/ 9 h 12"/>
                    <a:gd name="T56" fmla="*/ 2 w 6"/>
                    <a:gd name="T57" fmla="*/ 8 h 12"/>
                    <a:gd name="T58" fmla="*/ 2 w 6"/>
                    <a:gd name="T59" fmla="*/ 7 h 12"/>
                    <a:gd name="T60" fmla="*/ 1 w 6"/>
                    <a:gd name="T61" fmla="*/ 6 h 12"/>
                    <a:gd name="T62" fmla="*/ 1 w 6"/>
                    <a:gd name="T63" fmla="*/ 6 h 12"/>
                    <a:gd name="T64" fmla="*/ 1 w 6"/>
                    <a:gd name="T65" fmla="*/ 6 h 12"/>
                    <a:gd name="T66" fmla="*/ 1 w 6"/>
                    <a:gd name="T67" fmla="*/ 3 h 12"/>
                    <a:gd name="T68" fmla="*/ 1 w 6"/>
                    <a:gd name="T69" fmla="*/ 3 h 12"/>
                    <a:gd name="T70" fmla="*/ 0 w 6"/>
                    <a:gd name="T71" fmla="*/ 3 h 12"/>
                    <a:gd name="T72" fmla="*/ 0 w 6"/>
                    <a:gd name="T73" fmla="*/ 2 h 12"/>
                    <a:gd name="T74" fmla="*/ 1 w 6"/>
                    <a:gd name="T75" fmla="*/ 0 h 12"/>
                    <a:gd name="T76" fmla="*/ 1 w 6"/>
                    <a:gd name="T77" fmla="*/ 0 h 12"/>
                    <a:gd name="T78" fmla="*/ 1 w 6"/>
                    <a:gd name="T79"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 h="12">
                      <a:moveTo>
                        <a:pt x="1" y="1"/>
                      </a:moveTo>
                      <a:lnTo>
                        <a:pt x="1" y="1"/>
                      </a:lnTo>
                      <a:lnTo>
                        <a:pt x="1" y="1"/>
                      </a:lnTo>
                      <a:lnTo>
                        <a:pt x="1" y="1"/>
                      </a:lnTo>
                      <a:lnTo>
                        <a:pt x="1" y="1"/>
                      </a:lnTo>
                      <a:lnTo>
                        <a:pt x="1" y="1"/>
                      </a:lnTo>
                      <a:lnTo>
                        <a:pt x="2" y="1"/>
                      </a:lnTo>
                      <a:lnTo>
                        <a:pt x="2" y="2"/>
                      </a:lnTo>
                      <a:lnTo>
                        <a:pt x="2" y="2"/>
                      </a:lnTo>
                      <a:lnTo>
                        <a:pt x="3" y="2"/>
                      </a:lnTo>
                      <a:lnTo>
                        <a:pt x="5" y="2"/>
                      </a:lnTo>
                      <a:lnTo>
                        <a:pt x="5" y="2"/>
                      </a:lnTo>
                      <a:lnTo>
                        <a:pt x="6" y="3"/>
                      </a:lnTo>
                      <a:lnTo>
                        <a:pt x="6" y="3"/>
                      </a:lnTo>
                      <a:lnTo>
                        <a:pt x="6" y="3"/>
                      </a:lnTo>
                      <a:lnTo>
                        <a:pt x="6" y="5"/>
                      </a:lnTo>
                      <a:lnTo>
                        <a:pt x="5" y="6"/>
                      </a:lnTo>
                      <a:lnTo>
                        <a:pt x="5" y="6"/>
                      </a:lnTo>
                      <a:lnTo>
                        <a:pt x="5" y="6"/>
                      </a:lnTo>
                      <a:lnTo>
                        <a:pt x="5" y="7"/>
                      </a:lnTo>
                      <a:lnTo>
                        <a:pt x="5" y="7"/>
                      </a:lnTo>
                      <a:lnTo>
                        <a:pt x="5" y="7"/>
                      </a:lnTo>
                      <a:lnTo>
                        <a:pt x="5" y="8"/>
                      </a:lnTo>
                      <a:lnTo>
                        <a:pt x="5" y="8"/>
                      </a:lnTo>
                      <a:lnTo>
                        <a:pt x="5" y="8"/>
                      </a:lnTo>
                      <a:lnTo>
                        <a:pt x="3" y="9"/>
                      </a:lnTo>
                      <a:lnTo>
                        <a:pt x="3" y="9"/>
                      </a:lnTo>
                      <a:lnTo>
                        <a:pt x="5" y="10"/>
                      </a:lnTo>
                      <a:lnTo>
                        <a:pt x="5" y="10"/>
                      </a:lnTo>
                      <a:lnTo>
                        <a:pt x="3" y="10"/>
                      </a:lnTo>
                      <a:lnTo>
                        <a:pt x="3" y="12"/>
                      </a:lnTo>
                      <a:lnTo>
                        <a:pt x="3" y="12"/>
                      </a:lnTo>
                      <a:lnTo>
                        <a:pt x="3" y="10"/>
                      </a:lnTo>
                      <a:lnTo>
                        <a:pt x="3" y="10"/>
                      </a:lnTo>
                      <a:lnTo>
                        <a:pt x="3" y="12"/>
                      </a:lnTo>
                      <a:lnTo>
                        <a:pt x="2" y="12"/>
                      </a:lnTo>
                      <a:lnTo>
                        <a:pt x="2" y="12"/>
                      </a:lnTo>
                      <a:lnTo>
                        <a:pt x="2" y="10"/>
                      </a:lnTo>
                      <a:lnTo>
                        <a:pt x="2" y="10"/>
                      </a:lnTo>
                      <a:lnTo>
                        <a:pt x="1" y="10"/>
                      </a:lnTo>
                      <a:lnTo>
                        <a:pt x="1" y="10"/>
                      </a:lnTo>
                      <a:lnTo>
                        <a:pt x="1" y="10"/>
                      </a:lnTo>
                      <a:lnTo>
                        <a:pt x="1" y="10"/>
                      </a:lnTo>
                      <a:lnTo>
                        <a:pt x="1" y="10"/>
                      </a:lnTo>
                      <a:lnTo>
                        <a:pt x="1" y="10"/>
                      </a:lnTo>
                      <a:lnTo>
                        <a:pt x="1" y="9"/>
                      </a:lnTo>
                      <a:lnTo>
                        <a:pt x="1" y="9"/>
                      </a:lnTo>
                      <a:lnTo>
                        <a:pt x="1" y="8"/>
                      </a:lnTo>
                      <a:lnTo>
                        <a:pt x="0" y="8"/>
                      </a:lnTo>
                      <a:lnTo>
                        <a:pt x="0" y="8"/>
                      </a:lnTo>
                      <a:lnTo>
                        <a:pt x="1" y="8"/>
                      </a:lnTo>
                      <a:lnTo>
                        <a:pt x="1" y="8"/>
                      </a:lnTo>
                      <a:lnTo>
                        <a:pt x="1" y="8"/>
                      </a:lnTo>
                      <a:lnTo>
                        <a:pt x="2" y="9"/>
                      </a:lnTo>
                      <a:lnTo>
                        <a:pt x="2" y="9"/>
                      </a:lnTo>
                      <a:lnTo>
                        <a:pt x="2" y="9"/>
                      </a:lnTo>
                      <a:lnTo>
                        <a:pt x="2" y="8"/>
                      </a:lnTo>
                      <a:lnTo>
                        <a:pt x="2" y="8"/>
                      </a:lnTo>
                      <a:lnTo>
                        <a:pt x="2" y="8"/>
                      </a:lnTo>
                      <a:lnTo>
                        <a:pt x="2" y="7"/>
                      </a:lnTo>
                      <a:lnTo>
                        <a:pt x="1" y="7"/>
                      </a:lnTo>
                      <a:lnTo>
                        <a:pt x="1" y="6"/>
                      </a:lnTo>
                      <a:lnTo>
                        <a:pt x="1" y="6"/>
                      </a:lnTo>
                      <a:lnTo>
                        <a:pt x="1" y="6"/>
                      </a:lnTo>
                      <a:lnTo>
                        <a:pt x="1" y="6"/>
                      </a:lnTo>
                      <a:lnTo>
                        <a:pt x="1" y="6"/>
                      </a:lnTo>
                      <a:lnTo>
                        <a:pt x="1" y="5"/>
                      </a:lnTo>
                      <a:lnTo>
                        <a:pt x="1" y="3"/>
                      </a:lnTo>
                      <a:lnTo>
                        <a:pt x="1" y="3"/>
                      </a:lnTo>
                      <a:lnTo>
                        <a:pt x="1" y="3"/>
                      </a:lnTo>
                      <a:lnTo>
                        <a:pt x="0" y="3"/>
                      </a:lnTo>
                      <a:lnTo>
                        <a:pt x="0" y="3"/>
                      </a:lnTo>
                      <a:lnTo>
                        <a:pt x="0" y="2"/>
                      </a:lnTo>
                      <a:lnTo>
                        <a:pt x="0" y="2"/>
                      </a:lnTo>
                      <a:lnTo>
                        <a:pt x="0" y="2"/>
                      </a:lnTo>
                      <a:lnTo>
                        <a:pt x="1" y="0"/>
                      </a:lnTo>
                      <a:lnTo>
                        <a:pt x="1" y="0"/>
                      </a:lnTo>
                      <a:lnTo>
                        <a:pt x="1" y="0"/>
                      </a:lnTo>
                      <a:lnTo>
                        <a:pt x="1" y="1"/>
                      </a:lnTo>
                      <a:lnTo>
                        <a:pt x="1" y="1"/>
                      </a:lnTo>
                      <a:lnTo>
                        <a:pt x="1"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50" name="Rectangle 149">
                  <a:extLst>
                    <a:ext uri="{FF2B5EF4-FFF2-40B4-BE49-F238E27FC236}">
                      <a16:creationId xmlns:a16="http://schemas.microsoft.com/office/drawing/2014/main" id="{55EAD4D8-0C48-5593-3D78-84CA57611A7C}"/>
                    </a:ext>
                  </a:extLst>
                </p:cNvPr>
                <p:cNvSpPr>
                  <a:spLocks noChangeArrowheads="1"/>
                </p:cNvSpPr>
                <p:nvPr/>
              </p:nvSpPr>
              <p:spPr bwMode="auto">
                <a:xfrm>
                  <a:off x="7661944" y="4283132"/>
                  <a:ext cx="1525" cy="1525"/>
                </a:xfrm>
                <a:prstGeom prst="rect">
                  <a:avLst/>
                </a:prstGeom>
                <a:solidFill>
                  <a:srgbClr val="CCCCC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51" name="Freeform 88">
                  <a:extLst>
                    <a:ext uri="{FF2B5EF4-FFF2-40B4-BE49-F238E27FC236}">
                      <a16:creationId xmlns:a16="http://schemas.microsoft.com/office/drawing/2014/main" id="{754B4894-33D1-12D3-0145-42B6C8B2E6F1}"/>
                    </a:ext>
                  </a:extLst>
                </p:cNvPr>
                <p:cNvSpPr>
                  <a:spLocks/>
                </p:cNvSpPr>
                <p:nvPr/>
              </p:nvSpPr>
              <p:spPr bwMode="auto">
                <a:xfrm>
                  <a:off x="7360591" y="3284794"/>
                  <a:ext cx="514905" cy="398076"/>
                </a:xfrm>
                <a:custGeom>
                  <a:avLst/>
                  <a:gdLst>
                    <a:gd name="T0" fmla="*/ 283 w 476"/>
                    <a:gd name="T1" fmla="*/ 101 h 368"/>
                    <a:gd name="T2" fmla="*/ 278 w 476"/>
                    <a:gd name="T3" fmla="*/ 119 h 368"/>
                    <a:gd name="T4" fmla="*/ 285 w 476"/>
                    <a:gd name="T5" fmla="*/ 129 h 368"/>
                    <a:gd name="T6" fmla="*/ 300 w 476"/>
                    <a:gd name="T7" fmla="*/ 127 h 368"/>
                    <a:gd name="T8" fmla="*/ 316 w 476"/>
                    <a:gd name="T9" fmla="*/ 127 h 368"/>
                    <a:gd name="T10" fmla="*/ 308 w 476"/>
                    <a:gd name="T11" fmla="*/ 138 h 368"/>
                    <a:gd name="T12" fmla="*/ 318 w 476"/>
                    <a:gd name="T13" fmla="*/ 156 h 368"/>
                    <a:gd name="T14" fmla="*/ 328 w 476"/>
                    <a:gd name="T15" fmla="*/ 171 h 368"/>
                    <a:gd name="T16" fmla="*/ 337 w 476"/>
                    <a:gd name="T17" fmla="*/ 180 h 368"/>
                    <a:gd name="T18" fmla="*/ 368 w 476"/>
                    <a:gd name="T19" fmla="*/ 198 h 368"/>
                    <a:gd name="T20" fmla="*/ 400 w 476"/>
                    <a:gd name="T21" fmla="*/ 210 h 368"/>
                    <a:gd name="T22" fmla="*/ 433 w 476"/>
                    <a:gd name="T23" fmla="*/ 220 h 368"/>
                    <a:gd name="T24" fmla="*/ 476 w 476"/>
                    <a:gd name="T25" fmla="*/ 225 h 368"/>
                    <a:gd name="T26" fmla="*/ 457 w 476"/>
                    <a:gd name="T27" fmla="*/ 242 h 368"/>
                    <a:gd name="T28" fmla="*/ 439 w 476"/>
                    <a:gd name="T29" fmla="*/ 261 h 368"/>
                    <a:gd name="T30" fmla="*/ 422 w 476"/>
                    <a:gd name="T31" fmla="*/ 276 h 368"/>
                    <a:gd name="T32" fmla="*/ 390 w 476"/>
                    <a:gd name="T33" fmla="*/ 310 h 368"/>
                    <a:gd name="T34" fmla="*/ 367 w 476"/>
                    <a:gd name="T35" fmla="*/ 322 h 368"/>
                    <a:gd name="T36" fmla="*/ 347 w 476"/>
                    <a:gd name="T37" fmla="*/ 320 h 368"/>
                    <a:gd name="T38" fmla="*/ 315 w 476"/>
                    <a:gd name="T39" fmla="*/ 336 h 368"/>
                    <a:gd name="T40" fmla="*/ 289 w 476"/>
                    <a:gd name="T41" fmla="*/ 344 h 368"/>
                    <a:gd name="T42" fmla="*/ 273 w 476"/>
                    <a:gd name="T43" fmla="*/ 351 h 368"/>
                    <a:gd name="T44" fmla="*/ 251 w 476"/>
                    <a:gd name="T45" fmla="*/ 346 h 368"/>
                    <a:gd name="T46" fmla="*/ 227 w 476"/>
                    <a:gd name="T47" fmla="*/ 350 h 368"/>
                    <a:gd name="T48" fmla="*/ 207 w 476"/>
                    <a:gd name="T49" fmla="*/ 368 h 368"/>
                    <a:gd name="T50" fmla="*/ 192 w 476"/>
                    <a:gd name="T51" fmla="*/ 365 h 368"/>
                    <a:gd name="T52" fmla="*/ 177 w 476"/>
                    <a:gd name="T53" fmla="*/ 362 h 368"/>
                    <a:gd name="T54" fmla="*/ 159 w 476"/>
                    <a:gd name="T55" fmla="*/ 361 h 368"/>
                    <a:gd name="T56" fmla="*/ 130 w 476"/>
                    <a:gd name="T57" fmla="*/ 340 h 368"/>
                    <a:gd name="T58" fmla="*/ 102 w 476"/>
                    <a:gd name="T59" fmla="*/ 334 h 368"/>
                    <a:gd name="T60" fmla="*/ 87 w 476"/>
                    <a:gd name="T61" fmla="*/ 316 h 368"/>
                    <a:gd name="T62" fmla="*/ 83 w 476"/>
                    <a:gd name="T63" fmla="*/ 305 h 368"/>
                    <a:gd name="T64" fmla="*/ 72 w 476"/>
                    <a:gd name="T65" fmla="*/ 303 h 368"/>
                    <a:gd name="T66" fmla="*/ 63 w 476"/>
                    <a:gd name="T67" fmla="*/ 287 h 368"/>
                    <a:gd name="T68" fmla="*/ 57 w 476"/>
                    <a:gd name="T69" fmla="*/ 271 h 368"/>
                    <a:gd name="T70" fmla="*/ 49 w 476"/>
                    <a:gd name="T71" fmla="*/ 260 h 368"/>
                    <a:gd name="T72" fmla="*/ 38 w 476"/>
                    <a:gd name="T73" fmla="*/ 250 h 368"/>
                    <a:gd name="T74" fmla="*/ 27 w 476"/>
                    <a:gd name="T75" fmla="*/ 235 h 368"/>
                    <a:gd name="T76" fmla="*/ 15 w 476"/>
                    <a:gd name="T77" fmla="*/ 229 h 368"/>
                    <a:gd name="T78" fmla="*/ 2 w 476"/>
                    <a:gd name="T79" fmla="*/ 228 h 368"/>
                    <a:gd name="T80" fmla="*/ 6 w 476"/>
                    <a:gd name="T81" fmla="*/ 215 h 368"/>
                    <a:gd name="T82" fmla="*/ 12 w 476"/>
                    <a:gd name="T83" fmla="*/ 207 h 368"/>
                    <a:gd name="T84" fmla="*/ 22 w 476"/>
                    <a:gd name="T85" fmla="*/ 210 h 368"/>
                    <a:gd name="T86" fmla="*/ 36 w 476"/>
                    <a:gd name="T87" fmla="*/ 201 h 368"/>
                    <a:gd name="T88" fmla="*/ 43 w 476"/>
                    <a:gd name="T89" fmla="*/ 149 h 368"/>
                    <a:gd name="T90" fmla="*/ 56 w 476"/>
                    <a:gd name="T91" fmla="*/ 135 h 368"/>
                    <a:gd name="T92" fmla="*/ 64 w 476"/>
                    <a:gd name="T93" fmla="*/ 120 h 368"/>
                    <a:gd name="T94" fmla="*/ 66 w 476"/>
                    <a:gd name="T95" fmla="*/ 99 h 368"/>
                    <a:gd name="T96" fmla="*/ 77 w 476"/>
                    <a:gd name="T97" fmla="*/ 87 h 368"/>
                    <a:gd name="T98" fmla="*/ 99 w 476"/>
                    <a:gd name="T99" fmla="*/ 71 h 368"/>
                    <a:gd name="T100" fmla="*/ 109 w 476"/>
                    <a:gd name="T101" fmla="*/ 42 h 368"/>
                    <a:gd name="T102" fmla="*/ 120 w 476"/>
                    <a:gd name="T103" fmla="*/ 18 h 368"/>
                    <a:gd name="T104" fmla="*/ 131 w 476"/>
                    <a:gd name="T105" fmla="*/ 16 h 368"/>
                    <a:gd name="T106" fmla="*/ 143 w 476"/>
                    <a:gd name="T107" fmla="*/ 19 h 368"/>
                    <a:gd name="T108" fmla="*/ 156 w 476"/>
                    <a:gd name="T109" fmla="*/ 3 h 368"/>
                    <a:gd name="T110" fmla="*/ 168 w 476"/>
                    <a:gd name="T111" fmla="*/ 7 h 368"/>
                    <a:gd name="T112" fmla="*/ 176 w 476"/>
                    <a:gd name="T113" fmla="*/ 15 h 368"/>
                    <a:gd name="T114" fmla="*/ 192 w 476"/>
                    <a:gd name="T115" fmla="*/ 9 h 368"/>
                    <a:gd name="T116" fmla="*/ 201 w 476"/>
                    <a:gd name="T117" fmla="*/ 12 h 368"/>
                    <a:gd name="T118" fmla="*/ 218 w 476"/>
                    <a:gd name="T119" fmla="*/ 12 h 368"/>
                    <a:gd name="T120" fmla="*/ 233 w 476"/>
                    <a:gd name="T121" fmla="*/ 16 h 368"/>
                    <a:gd name="T122" fmla="*/ 263 w 476"/>
                    <a:gd name="T123" fmla="*/ 43 h 368"/>
                    <a:gd name="T124" fmla="*/ 292 w 476"/>
                    <a:gd name="T125" fmla="*/ 7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6" h="368">
                      <a:moveTo>
                        <a:pt x="299" y="79"/>
                      </a:moveTo>
                      <a:lnTo>
                        <a:pt x="298" y="82"/>
                      </a:lnTo>
                      <a:lnTo>
                        <a:pt x="297" y="84"/>
                      </a:lnTo>
                      <a:lnTo>
                        <a:pt x="292" y="89"/>
                      </a:lnTo>
                      <a:lnTo>
                        <a:pt x="292" y="91"/>
                      </a:lnTo>
                      <a:lnTo>
                        <a:pt x="292" y="92"/>
                      </a:lnTo>
                      <a:lnTo>
                        <a:pt x="291" y="92"/>
                      </a:lnTo>
                      <a:lnTo>
                        <a:pt x="289" y="94"/>
                      </a:lnTo>
                      <a:lnTo>
                        <a:pt x="286" y="99"/>
                      </a:lnTo>
                      <a:lnTo>
                        <a:pt x="285" y="100"/>
                      </a:lnTo>
                      <a:lnTo>
                        <a:pt x="284" y="101"/>
                      </a:lnTo>
                      <a:lnTo>
                        <a:pt x="283" y="101"/>
                      </a:lnTo>
                      <a:lnTo>
                        <a:pt x="283" y="102"/>
                      </a:lnTo>
                      <a:lnTo>
                        <a:pt x="282" y="102"/>
                      </a:lnTo>
                      <a:lnTo>
                        <a:pt x="282" y="103"/>
                      </a:lnTo>
                      <a:lnTo>
                        <a:pt x="280" y="103"/>
                      </a:lnTo>
                      <a:lnTo>
                        <a:pt x="280" y="107"/>
                      </a:lnTo>
                      <a:lnTo>
                        <a:pt x="279" y="109"/>
                      </a:lnTo>
                      <a:lnTo>
                        <a:pt x="279" y="112"/>
                      </a:lnTo>
                      <a:lnTo>
                        <a:pt x="280" y="115"/>
                      </a:lnTo>
                      <a:lnTo>
                        <a:pt x="280" y="117"/>
                      </a:lnTo>
                      <a:lnTo>
                        <a:pt x="279" y="117"/>
                      </a:lnTo>
                      <a:lnTo>
                        <a:pt x="278" y="117"/>
                      </a:lnTo>
                      <a:lnTo>
                        <a:pt x="278" y="119"/>
                      </a:lnTo>
                      <a:lnTo>
                        <a:pt x="277" y="120"/>
                      </a:lnTo>
                      <a:lnTo>
                        <a:pt x="277" y="121"/>
                      </a:lnTo>
                      <a:lnTo>
                        <a:pt x="277" y="122"/>
                      </a:lnTo>
                      <a:lnTo>
                        <a:pt x="278" y="123"/>
                      </a:lnTo>
                      <a:lnTo>
                        <a:pt x="279" y="124"/>
                      </a:lnTo>
                      <a:lnTo>
                        <a:pt x="280" y="123"/>
                      </a:lnTo>
                      <a:lnTo>
                        <a:pt x="280" y="124"/>
                      </a:lnTo>
                      <a:lnTo>
                        <a:pt x="280" y="126"/>
                      </a:lnTo>
                      <a:lnTo>
                        <a:pt x="279" y="127"/>
                      </a:lnTo>
                      <a:lnTo>
                        <a:pt x="280" y="128"/>
                      </a:lnTo>
                      <a:lnTo>
                        <a:pt x="284" y="128"/>
                      </a:lnTo>
                      <a:lnTo>
                        <a:pt x="285" y="129"/>
                      </a:lnTo>
                      <a:lnTo>
                        <a:pt x="287" y="129"/>
                      </a:lnTo>
                      <a:lnTo>
                        <a:pt x="289" y="128"/>
                      </a:lnTo>
                      <a:lnTo>
                        <a:pt x="290" y="128"/>
                      </a:lnTo>
                      <a:lnTo>
                        <a:pt x="290" y="127"/>
                      </a:lnTo>
                      <a:lnTo>
                        <a:pt x="292" y="127"/>
                      </a:lnTo>
                      <a:lnTo>
                        <a:pt x="293" y="127"/>
                      </a:lnTo>
                      <a:lnTo>
                        <a:pt x="294" y="127"/>
                      </a:lnTo>
                      <a:lnTo>
                        <a:pt x="296" y="127"/>
                      </a:lnTo>
                      <a:lnTo>
                        <a:pt x="297" y="127"/>
                      </a:lnTo>
                      <a:lnTo>
                        <a:pt x="298" y="127"/>
                      </a:lnTo>
                      <a:lnTo>
                        <a:pt x="299" y="127"/>
                      </a:lnTo>
                      <a:lnTo>
                        <a:pt x="300" y="127"/>
                      </a:lnTo>
                      <a:lnTo>
                        <a:pt x="303" y="124"/>
                      </a:lnTo>
                      <a:lnTo>
                        <a:pt x="305" y="124"/>
                      </a:lnTo>
                      <a:lnTo>
                        <a:pt x="306" y="124"/>
                      </a:lnTo>
                      <a:lnTo>
                        <a:pt x="307" y="124"/>
                      </a:lnTo>
                      <a:lnTo>
                        <a:pt x="309" y="124"/>
                      </a:lnTo>
                      <a:lnTo>
                        <a:pt x="311" y="124"/>
                      </a:lnTo>
                      <a:lnTo>
                        <a:pt x="311" y="127"/>
                      </a:lnTo>
                      <a:lnTo>
                        <a:pt x="312" y="127"/>
                      </a:lnTo>
                      <a:lnTo>
                        <a:pt x="314" y="128"/>
                      </a:lnTo>
                      <a:lnTo>
                        <a:pt x="315" y="128"/>
                      </a:lnTo>
                      <a:lnTo>
                        <a:pt x="315" y="127"/>
                      </a:lnTo>
                      <a:lnTo>
                        <a:pt x="316" y="127"/>
                      </a:lnTo>
                      <a:lnTo>
                        <a:pt x="316" y="128"/>
                      </a:lnTo>
                      <a:lnTo>
                        <a:pt x="315" y="129"/>
                      </a:lnTo>
                      <a:lnTo>
                        <a:pt x="315" y="130"/>
                      </a:lnTo>
                      <a:lnTo>
                        <a:pt x="314" y="130"/>
                      </a:lnTo>
                      <a:lnTo>
                        <a:pt x="313" y="131"/>
                      </a:lnTo>
                      <a:lnTo>
                        <a:pt x="313" y="133"/>
                      </a:lnTo>
                      <a:lnTo>
                        <a:pt x="312" y="134"/>
                      </a:lnTo>
                      <a:lnTo>
                        <a:pt x="311" y="134"/>
                      </a:lnTo>
                      <a:lnTo>
                        <a:pt x="311" y="135"/>
                      </a:lnTo>
                      <a:lnTo>
                        <a:pt x="309" y="137"/>
                      </a:lnTo>
                      <a:lnTo>
                        <a:pt x="309" y="138"/>
                      </a:lnTo>
                      <a:lnTo>
                        <a:pt x="308" y="138"/>
                      </a:lnTo>
                      <a:lnTo>
                        <a:pt x="307" y="138"/>
                      </a:lnTo>
                      <a:lnTo>
                        <a:pt x="307" y="140"/>
                      </a:lnTo>
                      <a:lnTo>
                        <a:pt x="308" y="141"/>
                      </a:lnTo>
                      <a:lnTo>
                        <a:pt x="309" y="142"/>
                      </a:lnTo>
                      <a:lnTo>
                        <a:pt x="311" y="144"/>
                      </a:lnTo>
                      <a:lnTo>
                        <a:pt x="312" y="144"/>
                      </a:lnTo>
                      <a:lnTo>
                        <a:pt x="312" y="145"/>
                      </a:lnTo>
                      <a:lnTo>
                        <a:pt x="312" y="149"/>
                      </a:lnTo>
                      <a:lnTo>
                        <a:pt x="313" y="150"/>
                      </a:lnTo>
                      <a:lnTo>
                        <a:pt x="313" y="152"/>
                      </a:lnTo>
                      <a:lnTo>
                        <a:pt x="314" y="154"/>
                      </a:lnTo>
                      <a:lnTo>
                        <a:pt x="318" y="156"/>
                      </a:lnTo>
                      <a:lnTo>
                        <a:pt x="319" y="157"/>
                      </a:lnTo>
                      <a:lnTo>
                        <a:pt x="319" y="158"/>
                      </a:lnTo>
                      <a:lnTo>
                        <a:pt x="319" y="159"/>
                      </a:lnTo>
                      <a:lnTo>
                        <a:pt x="320" y="161"/>
                      </a:lnTo>
                      <a:lnTo>
                        <a:pt x="321" y="162"/>
                      </a:lnTo>
                      <a:lnTo>
                        <a:pt x="322" y="162"/>
                      </a:lnTo>
                      <a:lnTo>
                        <a:pt x="323" y="163"/>
                      </a:lnTo>
                      <a:lnTo>
                        <a:pt x="325" y="163"/>
                      </a:lnTo>
                      <a:lnTo>
                        <a:pt x="325" y="164"/>
                      </a:lnTo>
                      <a:lnTo>
                        <a:pt x="326" y="169"/>
                      </a:lnTo>
                      <a:lnTo>
                        <a:pt x="327" y="171"/>
                      </a:lnTo>
                      <a:lnTo>
                        <a:pt x="328" y="171"/>
                      </a:lnTo>
                      <a:lnTo>
                        <a:pt x="328" y="172"/>
                      </a:lnTo>
                      <a:lnTo>
                        <a:pt x="329" y="172"/>
                      </a:lnTo>
                      <a:lnTo>
                        <a:pt x="329" y="173"/>
                      </a:lnTo>
                      <a:lnTo>
                        <a:pt x="330" y="173"/>
                      </a:lnTo>
                      <a:lnTo>
                        <a:pt x="330" y="175"/>
                      </a:lnTo>
                      <a:lnTo>
                        <a:pt x="330" y="176"/>
                      </a:lnTo>
                      <a:lnTo>
                        <a:pt x="332" y="176"/>
                      </a:lnTo>
                      <a:lnTo>
                        <a:pt x="332" y="177"/>
                      </a:lnTo>
                      <a:lnTo>
                        <a:pt x="332" y="178"/>
                      </a:lnTo>
                      <a:lnTo>
                        <a:pt x="334" y="179"/>
                      </a:lnTo>
                      <a:lnTo>
                        <a:pt x="336" y="180"/>
                      </a:lnTo>
                      <a:lnTo>
                        <a:pt x="337" y="180"/>
                      </a:lnTo>
                      <a:lnTo>
                        <a:pt x="339" y="180"/>
                      </a:lnTo>
                      <a:lnTo>
                        <a:pt x="341" y="183"/>
                      </a:lnTo>
                      <a:lnTo>
                        <a:pt x="343" y="185"/>
                      </a:lnTo>
                      <a:lnTo>
                        <a:pt x="348" y="190"/>
                      </a:lnTo>
                      <a:lnTo>
                        <a:pt x="349" y="191"/>
                      </a:lnTo>
                      <a:lnTo>
                        <a:pt x="351" y="192"/>
                      </a:lnTo>
                      <a:lnTo>
                        <a:pt x="354" y="193"/>
                      </a:lnTo>
                      <a:lnTo>
                        <a:pt x="356" y="194"/>
                      </a:lnTo>
                      <a:lnTo>
                        <a:pt x="360" y="194"/>
                      </a:lnTo>
                      <a:lnTo>
                        <a:pt x="362" y="196"/>
                      </a:lnTo>
                      <a:lnTo>
                        <a:pt x="364" y="197"/>
                      </a:lnTo>
                      <a:lnTo>
                        <a:pt x="368" y="198"/>
                      </a:lnTo>
                      <a:lnTo>
                        <a:pt x="370" y="199"/>
                      </a:lnTo>
                      <a:lnTo>
                        <a:pt x="373" y="199"/>
                      </a:lnTo>
                      <a:lnTo>
                        <a:pt x="376" y="200"/>
                      </a:lnTo>
                      <a:lnTo>
                        <a:pt x="378" y="201"/>
                      </a:lnTo>
                      <a:lnTo>
                        <a:pt x="382" y="203"/>
                      </a:lnTo>
                      <a:lnTo>
                        <a:pt x="384" y="204"/>
                      </a:lnTo>
                      <a:lnTo>
                        <a:pt x="387" y="205"/>
                      </a:lnTo>
                      <a:lnTo>
                        <a:pt x="390" y="205"/>
                      </a:lnTo>
                      <a:lnTo>
                        <a:pt x="392" y="206"/>
                      </a:lnTo>
                      <a:lnTo>
                        <a:pt x="396" y="207"/>
                      </a:lnTo>
                      <a:lnTo>
                        <a:pt x="398" y="208"/>
                      </a:lnTo>
                      <a:lnTo>
                        <a:pt x="400" y="210"/>
                      </a:lnTo>
                      <a:lnTo>
                        <a:pt x="404" y="210"/>
                      </a:lnTo>
                      <a:lnTo>
                        <a:pt x="406" y="211"/>
                      </a:lnTo>
                      <a:lnTo>
                        <a:pt x="408" y="212"/>
                      </a:lnTo>
                      <a:lnTo>
                        <a:pt x="412" y="213"/>
                      </a:lnTo>
                      <a:lnTo>
                        <a:pt x="414" y="214"/>
                      </a:lnTo>
                      <a:lnTo>
                        <a:pt x="417" y="214"/>
                      </a:lnTo>
                      <a:lnTo>
                        <a:pt x="419" y="215"/>
                      </a:lnTo>
                      <a:lnTo>
                        <a:pt x="422" y="217"/>
                      </a:lnTo>
                      <a:lnTo>
                        <a:pt x="425" y="218"/>
                      </a:lnTo>
                      <a:lnTo>
                        <a:pt x="427" y="219"/>
                      </a:lnTo>
                      <a:lnTo>
                        <a:pt x="431" y="219"/>
                      </a:lnTo>
                      <a:lnTo>
                        <a:pt x="433" y="220"/>
                      </a:lnTo>
                      <a:lnTo>
                        <a:pt x="435" y="221"/>
                      </a:lnTo>
                      <a:lnTo>
                        <a:pt x="437" y="222"/>
                      </a:lnTo>
                      <a:lnTo>
                        <a:pt x="441" y="224"/>
                      </a:lnTo>
                      <a:lnTo>
                        <a:pt x="442" y="224"/>
                      </a:lnTo>
                      <a:lnTo>
                        <a:pt x="444" y="225"/>
                      </a:lnTo>
                      <a:lnTo>
                        <a:pt x="447" y="225"/>
                      </a:lnTo>
                      <a:lnTo>
                        <a:pt x="451" y="225"/>
                      </a:lnTo>
                      <a:lnTo>
                        <a:pt x="457" y="225"/>
                      </a:lnTo>
                      <a:lnTo>
                        <a:pt x="462" y="225"/>
                      </a:lnTo>
                      <a:lnTo>
                        <a:pt x="465" y="225"/>
                      </a:lnTo>
                      <a:lnTo>
                        <a:pt x="471" y="225"/>
                      </a:lnTo>
                      <a:lnTo>
                        <a:pt x="476" y="225"/>
                      </a:lnTo>
                      <a:lnTo>
                        <a:pt x="475" y="226"/>
                      </a:lnTo>
                      <a:lnTo>
                        <a:pt x="474" y="228"/>
                      </a:lnTo>
                      <a:lnTo>
                        <a:pt x="471" y="229"/>
                      </a:lnTo>
                      <a:lnTo>
                        <a:pt x="470" y="231"/>
                      </a:lnTo>
                      <a:lnTo>
                        <a:pt x="469" y="233"/>
                      </a:lnTo>
                      <a:lnTo>
                        <a:pt x="467" y="234"/>
                      </a:lnTo>
                      <a:lnTo>
                        <a:pt x="465" y="235"/>
                      </a:lnTo>
                      <a:lnTo>
                        <a:pt x="464" y="236"/>
                      </a:lnTo>
                      <a:lnTo>
                        <a:pt x="462" y="239"/>
                      </a:lnTo>
                      <a:lnTo>
                        <a:pt x="461" y="240"/>
                      </a:lnTo>
                      <a:lnTo>
                        <a:pt x="460" y="241"/>
                      </a:lnTo>
                      <a:lnTo>
                        <a:pt x="457" y="242"/>
                      </a:lnTo>
                      <a:lnTo>
                        <a:pt x="456" y="245"/>
                      </a:lnTo>
                      <a:lnTo>
                        <a:pt x="455" y="246"/>
                      </a:lnTo>
                      <a:lnTo>
                        <a:pt x="453" y="247"/>
                      </a:lnTo>
                      <a:lnTo>
                        <a:pt x="451" y="249"/>
                      </a:lnTo>
                      <a:lnTo>
                        <a:pt x="450" y="250"/>
                      </a:lnTo>
                      <a:lnTo>
                        <a:pt x="448" y="252"/>
                      </a:lnTo>
                      <a:lnTo>
                        <a:pt x="447" y="253"/>
                      </a:lnTo>
                      <a:lnTo>
                        <a:pt x="446" y="255"/>
                      </a:lnTo>
                      <a:lnTo>
                        <a:pt x="443" y="256"/>
                      </a:lnTo>
                      <a:lnTo>
                        <a:pt x="442" y="257"/>
                      </a:lnTo>
                      <a:lnTo>
                        <a:pt x="441" y="259"/>
                      </a:lnTo>
                      <a:lnTo>
                        <a:pt x="439" y="261"/>
                      </a:lnTo>
                      <a:lnTo>
                        <a:pt x="437" y="262"/>
                      </a:lnTo>
                      <a:lnTo>
                        <a:pt x="435" y="263"/>
                      </a:lnTo>
                      <a:lnTo>
                        <a:pt x="434" y="264"/>
                      </a:lnTo>
                      <a:lnTo>
                        <a:pt x="433" y="267"/>
                      </a:lnTo>
                      <a:lnTo>
                        <a:pt x="432" y="267"/>
                      </a:lnTo>
                      <a:lnTo>
                        <a:pt x="431" y="268"/>
                      </a:lnTo>
                      <a:lnTo>
                        <a:pt x="429" y="270"/>
                      </a:lnTo>
                      <a:lnTo>
                        <a:pt x="428" y="270"/>
                      </a:lnTo>
                      <a:lnTo>
                        <a:pt x="428" y="271"/>
                      </a:lnTo>
                      <a:lnTo>
                        <a:pt x="426" y="273"/>
                      </a:lnTo>
                      <a:lnTo>
                        <a:pt x="425" y="274"/>
                      </a:lnTo>
                      <a:lnTo>
                        <a:pt x="422" y="276"/>
                      </a:lnTo>
                      <a:lnTo>
                        <a:pt x="420" y="278"/>
                      </a:lnTo>
                      <a:lnTo>
                        <a:pt x="419" y="281"/>
                      </a:lnTo>
                      <a:lnTo>
                        <a:pt x="417" y="282"/>
                      </a:lnTo>
                      <a:lnTo>
                        <a:pt x="414" y="284"/>
                      </a:lnTo>
                      <a:lnTo>
                        <a:pt x="413" y="287"/>
                      </a:lnTo>
                      <a:lnTo>
                        <a:pt x="411" y="288"/>
                      </a:lnTo>
                      <a:lnTo>
                        <a:pt x="407" y="291"/>
                      </a:lnTo>
                      <a:lnTo>
                        <a:pt x="404" y="296"/>
                      </a:lnTo>
                      <a:lnTo>
                        <a:pt x="400" y="299"/>
                      </a:lnTo>
                      <a:lnTo>
                        <a:pt x="397" y="303"/>
                      </a:lnTo>
                      <a:lnTo>
                        <a:pt x="393" y="306"/>
                      </a:lnTo>
                      <a:lnTo>
                        <a:pt x="390" y="310"/>
                      </a:lnTo>
                      <a:lnTo>
                        <a:pt x="386" y="313"/>
                      </a:lnTo>
                      <a:lnTo>
                        <a:pt x="383" y="318"/>
                      </a:lnTo>
                      <a:lnTo>
                        <a:pt x="382" y="319"/>
                      </a:lnTo>
                      <a:lnTo>
                        <a:pt x="379" y="323"/>
                      </a:lnTo>
                      <a:lnTo>
                        <a:pt x="378" y="323"/>
                      </a:lnTo>
                      <a:lnTo>
                        <a:pt x="376" y="323"/>
                      </a:lnTo>
                      <a:lnTo>
                        <a:pt x="375" y="323"/>
                      </a:lnTo>
                      <a:lnTo>
                        <a:pt x="372" y="323"/>
                      </a:lnTo>
                      <a:lnTo>
                        <a:pt x="371" y="323"/>
                      </a:lnTo>
                      <a:lnTo>
                        <a:pt x="370" y="322"/>
                      </a:lnTo>
                      <a:lnTo>
                        <a:pt x="368" y="322"/>
                      </a:lnTo>
                      <a:lnTo>
                        <a:pt x="367" y="322"/>
                      </a:lnTo>
                      <a:lnTo>
                        <a:pt x="364" y="322"/>
                      </a:lnTo>
                      <a:lnTo>
                        <a:pt x="363" y="322"/>
                      </a:lnTo>
                      <a:lnTo>
                        <a:pt x="362" y="322"/>
                      </a:lnTo>
                      <a:lnTo>
                        <a:pt x="360" y="322"/>
                      </a:lnTo>
                      <a:lnTo>
                        <a:pt x="358" y="322"/>
                      </a:lnTo>
                      <a:lnTo>
                        <a:pt x="356" y="322"/>
                      </a:lnTo>
                      <a:lnTo>
                        <a:pt x="355" y="322"/>
                      </a:lnTo>
                      <a:lnTo>
                        <a:pt x="354" y="320"/>
                      </a:lnTo>
                      <a:lnTo>
                        <a:pt x="351" y="320"/>
                      </a:lnTo>
                      <a:lnTo>
                        <a:pt x="350" y="320"/>
                      </a:lnTo>
                      <a:lnTo>
                        <a:pt x="348" y="320"/>
                      </a:lnTo>
                      <a:lnTo>
                        <a:pt x="347" y="320"/>
                      </a:lnTo>
                      <a:lnTo>
                        <a:pt x="344" y="322"/>
                      </a:lnTo>
                      <a:lnTo>
                        <a:pt x="343" y="322"/>
                      </a:lnTo>
                      <a:lnTo>
                        <a:pt x="340" y="323"/>
                      </a:lnTo>
                      <a:lnTo>
                        <a:pt x="337" y="323"/>
                      </a:lnTo>
                      <a:lnTo>
                        <a:pt x="334" y="324"/>
                      </a:lnTo>
                      <a:lnTo>
                        <a:pt x="332" y="325"/>
                      </a:lnTo>
                      <a:lnTo>
                        <a:pt x="328" y="326"/>
                      </a:lnTo>
                      <a:lnTo>
                        <a:pt x="325" y="329"/>
                      </a:lnTo>
                      <a:lnTo>
                        <a:pt x="321" y="330"/>
                      </a:lnTo>
                      <a:lnTo>
                        <a:pt x="319" y="332"/>
                      </a:lnTo>
                      <a:lnTo>
                        <a:pt x="315" y="334"/>
                      </a:lnTo>
                      <a:lnTo>
                        <a:pt x="315" y="336"/>
                      </a:lnTo>
                      <a:lnTo>
                        <a:pt x="314" y="338"/>
                      </a:lnTo>
                      <a:lnTo>
                        <a:pt x="314" y="339"/>
                      </a:lnTo>
                      <a:lnTo>
                        <a:pt x="313" y="340"/>
                      </a:lnTo>
                      <a:lnTo>
                        <a:pt x="312" y="341"/>
                      </a:lnTo>
                      <a:lnTo>
                        <a:pt x="311" y="341"/>
                      </a:lnTo>
                      <a:lnTo>
                        <a:pt x="308" y="341"/>
                      </a:lnTo>
                      <a:lnTo>
                        <a:pt x="304" y="343"/>
                      </a:lnTo>
                      <a:lnTo>
                        <a:pt x="299" y="344"/>
                      </a:lnTo>
                      <a:lnTo>
                        <a:pt x="294" y="344"/>
                      </a:lnTo>
                      <a:lnTo>
                        <a:pt x="292" y="344"/>
                      </a:lnTo>
                      <a:lnTo>
                        <a:pt x="290" y="344"/>
                      </a:lnTo>
                      <a:lnTo>
                        <a:pt x="289" y="344"/>
                      </a:lnTo>
                      <a:lnTo>
                        <a:pt x="287" y="345"/>
                      </a:lnTo>
                      <a:lnTo>
                        <a:pt x="286" y="346"/>
                      </a:lnTo>
                      <a:lnTo>
                        <a:pt x="284" y="347"/>
                      </a:lnTo>
                      <a:lnTo>
                        <a:pt x="283" y="348"/>
                      </a:lnTo>
                      <a:lnTo>
                        <a:pt x="283" y="350"/>
                      </a:lnTo>
                      <a:lnTo>
                        <a:pt x="282" y="351"/>
                      </a:lnTo>
                      <a:lnTo>
                        <a:pt x="280" y="352"/>
                      </a:lnTo>
                      <a:lnTo>
                        <a:pt x="278" y="352"/>
                      </a:lnTo>
                      <a:lnTo>
                        <a:pt x="277" y="351"/>
                      </a:lnTo>
                      <a:lnTo>
                        <a:pt x="276" y="351"/>
                      </a:lnTo>
                      <a:lnTo>
                        <a:pt x="275" y="351"/>
                      </a:lnTo>
                      <a:lnTo>
                        <a:pt x="273" y="351"/>
                      </a:lnTo>
                      <a:lnTo>
                        <a:pt x="272" y="351"/>
                      </a:lnTo>
                      <a:lnTo>
                        <a:pt x="270" y="351"/>
                      </a:lnTo>
                      <a:lnTo>
                        <a:pt x="269" y="352"/>
                      </a:lnTo>
                      <a:lnTo>
                        <a:pt x="268" y="352"/>
                      </a:lnTo>
                      <a:lnTo>
                        <a:pt x="264" y="352"/>
                      </a:lnTo>
                      <a:lnTo>
                        <a:pt x="261" y="352"/>
                      </a:lnTo>
                      <a:lnTo>
                        <a:pt x="258" y="352"/>
                      </a:lnTo>
                      <a:lnTo>
                        <a:pt x="257" y="351"/>
                      </a:lnTo>
                      <a:lnTo>
                        <a:pt x="256" y="351"/>
                      </a:lnTo>
                      <a:lnTo>
                        <a:pt x="254" y="347"/>
                      </a:lnTo>
                      <a:lnTo>
                        <a:pt x="252" y="346"/>
                      </a:lnTo>
                      <a:lnTo>
                        <a:pt x="251" y="346"/>
                      </a:lnTo>
                      <a:lnTo>
                        <a:pt x="250" y="345"/>
                      </a:lnTo>
                      <a:lnTo>
                        <a:pt x="249" y="344"/>
                      </a:lnTo>
                      <a:lnTo>
                        <a:pt x="247" y="341"/>
                      </a:lnTo>
                      <a:lnTo>
                        <a:pt x="244" y="343"/>
                      </a:lnTo>
                      <a:lnTo>
                        <a:pt x="242" y="344"/>
                      </a:lnTo>
                      <a:lnTo>
                        <a:pt x="239" y="345"/>
                      </a:lnTo>
                      <a:lnTo>
                        <a:pt x="234" y="346"/>
                      </a:lnTo>
                      <a:lnTo>
                        <a:pt x="234" y="347"/>
                      </a:lnTo>
                      <a:lnTo>
                        <a:pt x="232" y="347"/>
                      </a:lnTo>
                      <a:lnTo>
                        <a:pt x="228" y="348"/>
                      </a:lnTo>
                      <a:lnTo>
                        <a:pt x="227" y="348"/>
                      </a:lnTo>
                      <a:lnTo>
                        <a:pt x="227" y="350"/>
                      </a:lnTo>
                      <a:lnTo>
                        <a:pt x="226" y="350"/>
                      </a:lnTo>
                      <a:lnTo>
                        <a:pt x="222" y="352"/>
                      </a:lnTo>
                      <a:lnTo>
                        <a:pt x="220" y="353"/>
                      </a:lnTo>
                      <a:lnTo>
                        <a:pt x="218" y="354"/>
                      </a:lnTo>
                      <a:lnTo>
                        <a:pt x="216" y="354"/>
                      </a:lnTo>
                      <a:lnTo>
                        <a:pt x="215" y="357"/>
                      </a:lnTo>
                      <a:lnTo>
                        <a:pt x="215" y="359"/>
                      </a:lnTo>
                      <a:lnTo>
                        <a:pt x="214" y="360"/>
                      </a:lnTo>
                      <a:lnTo>
                        <a:pt x="212" y="362"/>
                      </a:lnTo>
                      <a:lnTo>
                        <a:pt x="209" y="365"/>
                      </a:lnTo>
                      <a:lnTo>
                        <a:pt x="208" y="366"/>
                      </a:lnTo>
                      <a:lnTo>
                        <a:pt x="207" y="368"/>
                      </a:lnTo>
                      <a:lnTo>
                        <a:pt x="206" y="368"/>
                      </a:lnTo>
                      <a:lnTo>
                        <a:pt x="205" y="368"/>
                      </a:lnTo>
                      <a:lnTo>
                        <a:pt x="205" y="367"/>
                      </a:lnTo>
                      <a:lnTo>
                        <a:pt x="204" y="367"/>
                      </a:lnTo>
                      <a:lnTo>
                        <a:pt x="200" y="367"/>
                      </a:lnTo>
                      <a:lnTo>
                        <a:pt x="200" y="366"/>
                      </a:lnTo>
                      <a:lnTo>
                        <a:pt x="199" y="366"/>
                      </a:lnTo>
                      <a:lnTo>
                        <a:pt x="198" y="366"/>
                      </a:lnTo>
                      <a:lnTo>
                        <a:pt x="197" y="366"/>
                      </a:lnTo>
                      <a:lnTo>
                        <a:pt x="195" y="366"/>
                      </a:lnTo>
                      <a:lnTo>
                        <a:pt x="193" y="365"/>
                      </a:lnTo>
                      <a:lnTo>
                        <a:pt x="192" y="365"/>
                      </a:lnTo>
                      <a:lnTo>
                        <a:pt x="191" y="365"/>
                      </a:lnTo>
                      <a:lnTo>
                        <a:pt x="190" y="365"/>
                      </a:lnTo>
                      <a:lnTo>
                        <a:pt x="188" y="365"/>
                      </a:lnTo>
                      <a:lnTo>
                        <a:pt x="187" y="365"/>
                      </a:lnTo>
                      <a:lnTo>
                        <a:pt x="186" y="365"/>
                      </a:lnTo>
                      <a:lnTo>
                        <a:pt x="184" y="365"/>
                      </a:lnTo>
                      <a:lnTo>
                        <a:pt x="181" y="364"/>
                      </a:lnTo>
                      <a:lnTo>
                        <a:pt x="180" y="364"/>
                      </a:lnTo>
                      <a:lnTo>
                        <a:pt x="180" y="362"/>
                      </a:lnTo>
                      <a:lnTo>
                        <a:pt x="179" y="361"/>
                      </a:lnTo>
                      <a:lnTo>
                        <a:pt x="179" y="362"/>
                      </a:lnTo>
                      <a:lnTo>
                        <a:pt x="177" y="362"/>
                      </a:lnTo>
                      <a:lnTo>
                        <a:pt x="176" y="362"/>
                      </a:lnTo>
                      <a:lnTo>
                        <a:pt x="176" y="361"/>
                      </a:lnTo>
                      <a:lnTo>
                        <a:pt x="175" y="360"/>
                      </a:lnTo>
                      <a:lnTo>
                        <a:pt x="175" y="361"/>
                      </a:lnTo>
                      <a:lnTo>
                        <a:pt x="172" y="362"/>
                      </a:lnTo>
                      <a:lnTo>
                        <a:pt x="171" y="362"/>
                      </a:lnTo>
                      <a:lnTo>
                        <a:pt x="168" y="362"/>
                      </a:lnTo>
                      <a:lnTo>
                        <a:pt x="164" y="361"/>
                      </a:lnTo>
                      <a:lnTo>
                        <a:pt x="163" y="361"/>
                      </a:lnTo>
                      <a:lnTo>
                        <a:pt x="162" y="361"/>
                      </a:lnTo>
                      <a:lnTo>
                        <a:pt x="161" y="361"/>
                      </a:lnTo>
                      <a:lnTo>
                        <a:pt x="159" y="361"/>
                      </a:lnTo>
                      <a:lnTo>
                        <a:pt x="159" y="360"/>
                      </a:lnTo>
                      <a:lnTo>
                        <a:pt x="158" y="359"/>
                      </a:lnTo>
                      <a:lnTo>
                        <a:pt x="157" y="358"/>
                      </a:lnTo>
                      <a:lnTo>
                        <a:pt x="154" y="355"/>
                      </a:lnTo>
                      <a:lnTo>
                        <a:pt x="150" y="353"/>
                      </a:lnTo>
                      <a:lnTo>
                        <a:pt x="148" y="351"/>
                      </a:lnTo>
                      <a:lnTo>
                        <a:pt x="144" y="350"/>
                      </a:lnTo>
                      <a:lnTo>
                        <a:pt x="142" y="347"/>
                      </a:lnTo>
                      <a:lnTo>
                        <a:pt x="138" y="345"/>
                      </a:lnTo>
                      <a:lnTo>
                        <a:pt x="135" y="344"/>
                      </a:lnTo>
                      <a:lnTo>
                        <a:pt x="131" y="341"/>
                      </a:lnTo>
                      <a:lnTo>
                        <a:pt x="130" y="340"/>
                      </a:lnTo>
                      <a:lnTo>
                        <a:pt x="129" y="340"/>
                      </a:lnTo>
                      <a:lnTo>
                        <a:pt x="129" y="339"/>
                      </a:lnTo>
                      <a:lnTo>
                        <a:pt x="128" y="339"/>
                      </a:lnTo>
                      <a:lnTo>
                        <a:pt x="128" y="338"/>
                      </a:lnTo>
                      <a:lnTo>
                        <a:pt x="127" y="338"/>
                      </a:lnTo>
                      <a:lnTo>
                        <a:pt x="126" y="337"/>
                      </a:lnTo>
                      <a:lnTo>
                        <a:pt x="123" y="336"/>
                      </a:lnTo>
                      <a:lnTo>
                        <a:pt x="122" y="336"/>
                      </a:lnTo>
                      <a:lnTo>
                        <a:pt x="115" y="336"/>
                      </a:lnTo>
                      <a:lnTo>
                        <a:pt x="109" y="336"/>
                      </a:lnTo>
                      <a:lnTo>
                        <a:pt x="104" y="336"/>
                      </a:lnTo>
                      <a:lnTo>
                        <a:pt x="102" y="334"/>
                      </a:lnTo>
                      <a:lnTo>
                        <a:pt x="101" y="336"/>
                      </a:lnTo>
                      <a:lnTo>
                        <a:pt x="97" y="336"/>
                      </a:lnTo>
                      <a:lnTo>
                        <a:pt x="95" y="334"/>
                      </a:lnTo>
                      <a:lnTo>
                        <a:pt x="94" y="333"/>
                      </a:lnTo>
                      <a:lnTo>
                        <a:pt x="93" y="333"/>
                      </a:lnTo>
                      <a:lnTo>
                        <a:pt x="93" y="332"/>
                      </a:lnTo>
                      <a:lnTo>
                        <a:pt x="93" y="331"/>
                      </a:lnTo>
                      <a:lnTo>
                        <a:pt x="93" y="330"/>
                      </a:lnTo>
                      <a:lnTo>
                        <a:pt x="88" y="325"/>
                      </a:lnTo>
                      <a:lnTo>
                        <a:pt x="87" y="324"/>
                      </a:lnTo>
                      <a:lnTo>
                        <a:pt x="87" y="322"/>
                      </a:lnTo>
                      <a:lnTo>
                        <a:pt x="87" y="316"/>
                      </a:lnTo>
                      <a:lnTo>
                        <a:pt x="87" y="315"/>
                      </a:lnTo>
                      <a:lnTo>
                        <a:pt x="88" y="313"/>
                      </a:lnTo>
                      <a:lnTo>
                        <a:pt x="90" y="312"/>
                      </a:lnTo>
                      <a:lnTo>
                        <a:pt x="88" y="311"/>
                      </a:lnTo>
                      <a:lnTo>
                        <a:pt x="88" y="310"/>
                      </a:lnTo>
                      <a:lnTo>
                        <a:pt x="88" y="309"/>
                      </a:lnTo>
                      <a:lnTo>
                        <a:pt x="90" y="308"/>
                      </a:lnTo>
                      <a:lnTo>
                        <a:pt x="88" y="308"/>
                      </a:lnTo>
                      <a:lnTo>
                        <a:pt x="87" y="306"/>
                      </a:lnTo>
                      <a:lnTo>
                        <a:pt x="85" y="305"/>
                      </a:lnTo>
                      <a:lnTo>
                        <a:pt x="84" y="305"/>
                      </a:lnTo>
                      <a:lnTo>
                        <a:pt x="83" y="305"/>
                      </a:lnTo>
                      <a:lnTo>
                        <a:pt x="81" y="305"/>
                      </a:lnTo>
                      <a:lnTo>
                        <a:pt x="80" y="304"/>
                      </a:lnTo>
                      <a:lnTo>
                        <a:pt x="79" y="304"/>
                      </a:lnTo>
                      <a:lnTo>
                        <a:pt x="78" y="304"/>
                      </a:lnTo>
                      <a:lnTo>
                        <a:pt x="77" y="304"/>
                      </a:lnTo>
                      <a:lnTo>
                        <a:pt x="76" y="305"/>
                      </a:lnTo>
                      <a:lnTo>
                        <a:pt x="74" y="306"/>
                      </a:lnTo>
                      <a:lnTo>
                        <a:pt x="73" y="306"/>
                      </a:lnTo>
                      <a:lnTo>
                        <a:pt x="72" y="305"/>
                      </a:lnTo>
                      <a:lnTo>
                        <a:pt x="72" y="304"/>
                      </a:lnTo>
                      <a:lnTo>
                        <a:pt x="71" y="303"/>
                      </a:lnTo>
                      <a:lnTo>
                        <a:pt x="72" y="303"/>
                      </a:lnTo>
                      <a:lnTo>
                        <a:pt x="72" y="302"/>
                      </a:lnTo>
                      <a:lnTo>
                        <a:pt x="72" y="301"/>
                      </a:lnTo>
                      <a:lnTo>
                        <a:pt x="71" y="301"/>
                      </a:lnTo>
                      <a:lnTo>
                        <a:pt x="67" y="298"/>
                      </a:lnTo>
                      <a:lnTo>
                        <a:pt x="66" y="297"/>
                      </a:lnTo>
                      <a:lnTo>
                        <a:pt x="66" y="295"/>
                      </a:lnTo>
                      <a:lnTo>
                        <a:pt x="65" y="294"/>
                      </a:lnTo>
                      <a:lnTo>
                        <a:pt x="63" y="290"/>
                      </a:lnTo>
                      <a:lnTo>
                        <a:pt x="63" y="289"/>
                      </a:lnTo>
                      <a:lnTo>
                        <a:pt x="63" y="288"/>
                      </a:lnTo>
                      <a:lnTo>
                        <a:pt x="62" y="287"/>
                      </a:lnTo>
                      <a:lnTo>
                        <a:pt x="63" y="287"/>
                      </a:lnTo>
                      <a:lnTo>
                        <a:pt x="63" y="285"/>
                      </a:lnTo>
                      <a:lnTo>
                        <a:pt x="63" y="283"/>
                      </a:lnTo>
                      <a:lnTo>
                        <a:pt x="62" y="283"/>
                      </a:lnTo>
                      <a:lnTo>
                        <a:pt x="62" y="282"/>
                      </a:lnTo>
                      <a:lnTo>
                        <a:pt x="60" y="282"/>
                      </a:lnTo>
                      <a:lnTo>
                        <a:pt x="60" y="281"/>
                      </a:lnTo>
                      <a:lnTo>
                        <a:pt x="59" y="280"/>
                      </a:lnTo>
                      <a:lnTo>
                        <a:pt x="58" y="277"/>
                      </a:lnTo>
                      <a:lnTo>
                        <a:pt x="58" y="275"/>
                      </a:lnTo>
                      <a:lnTo>
                        <a:pt x="58" y="274"/>
                      </a:lnTo>
                      <a:lnTo>
                        <a:pt x="57" y="273"/>
                      </a:lnTo>
                      <a:lnTo>
                        <a:pt x="57" y="271"/>
                      </a:lnTo>
                      <a:lnTo>
                        <a:pt x="57" y="269"/>
                      </a:lnTo>
                      <a:lnTo>
                        <a:pt x="56" y="268"/>
                      </a:lnTo>
                      <a:lnTo>
                        <a:pt x="56" y="267"/>
                      </a:lnTo>
                      <a:lnTo>
                        <a:pt x="55" y="266"/>
                      </a:lnTo>
                      <a:lnTo>
                        <a:pt x="55" y="264"/>
                      </a:lnTo>
                      <a:lnTo>
                        <a:pt x="55" y="263"/>
                      </a:lnTo>
                      <a:lnTo>
                        <a:pt x="52" y="262"/>
                      </a:lnTo>
                      <a:lnTo>
                        <a:pt x="51" y="262"/>
                      </a:lnTo>
                      <a:lnTo>
                        <a:pt x="50" y="262"/>
                      </a:lnTo>
                      <a:lnTo>
                        <a:pt x="49" y="262"/>
                      </a:lnTo>
                      <a:lnTo>
                        <a:pt x="49" y="261"/>
                      </a:lnTo>
                      <a:lnTo>
                        <a:pt x="49" y="260"/>
                      </a:lnTo>
                      <a:lnTo>
                        <a:pt x="48" y="260"/>
                      </a:lnTo>
                      <a:lnTo>
                        <a:pt x="49" y="260"/>
                      </a:lnTo>
                      <a:lnTo>
                        <a:pt x="49" y="259"/>
                      </a:lnTo>
                      <a:lnTo>
                        <a:pt x="49" y="257"/>
                      </a:lnTo>
                      <a:lnTo>
                        <a:pt x="48" y="257"/>
                      </a:lnTo>
                      <a:lnTo>
                        <a:pt x="45" y="255"/>
                      </a:lnTo>
                      <a:lnTo>
                        <a:pt x="42" y="255"/>
                      </a:lnTo>
                      <a:lnTo>
                        <a:pt x="42" y="254"/>
                      </a:lnTo>
                      <a:lnTo>
                        <a:pt x="41" y="254"/>
                      </a:lnTo>
                      <a:lnTo>
                        <a:pt x="40" y="253"/>
                      </a:lnTo>
                      <a:lnTo>
                        <a:pt x="38" y="252"/>
                      </a:lnTo>
                      <a:lnTo>
                        <a:pt x="38" y="250"/>
                      </a:lnTo>
                      <a:lnTo>
                        <a:pt x="38" y="249"/>
                      </a:lnTo>
                      <a:lnTo>
                        <a:pt x="37" y="248"/>
                      </a:lnTo>
                      <a:lnTo>
                        <a:pt x="36" y="248"/>
                      </a:lnTo>
                      <a:lnTo>
                        <a:pt x="35" y="247"/>
                      </a:lnTo>
                      <a:lnTo>
                        <a:pt x="34" y="246"/>
                      </a:lnTo>
                      <a:lnTo>
                        <a:pt x="33" y="246"/>
                      </a:lnTo>
                      <a:lnTo>
                        <a:pt x="33" y="242"/>
                      </a:lnTo>
                      <a:lnTo>
                        <a:pt x="33" y="241"/>
                      </a:lnTo>
                      <a:lnTo>
                        <a:pt x="33" y="240"/>
                      </a:lnTo>
                      <a:lnTo>
                        <a:pt x="28" y="236"/>
                      </a:lnTo>
                      <a:lnTo>
                        <a:pt x="28" y="235"/>
                      </a:lnTo>
                      <a:lnTo>
                        <a:pt x="27" y="235"/>
                      </a:lnTo>
                      <a:lnTo>
                        <a:pt x="26" y="235"/>
                      </a:lnTo>
                      <a:lnTo>
                        <a:pt x="24" y="234"/>
                      </a:lnTo>
                      <a:lnTo>
                        <a:pt x="23" y="233"/>
                      </a:lnTo>
                      <a:lnTo>
                        <a:pt x="23" y="232"/>
                      </a:lnTo>
                      <a:lnTo>
                        <a:pt x="22" y="232"/>
                      </a:lnTo>
                      <a:lnTo>
                        <a:pt x="21" y="232"/>
                      </a:lnTo>
                      <a:lnTo>
                        <a:pt x="19" y="232"/>
                      </a:lnTo>
                      <a:lnTo>
                        <a:pt x="17" y="232"/>
                      </a:lnTo>
                      <a:lnTo>
                        <a:pt x="17" y="231"/>
                      </a:lnTo>
                      <a:lnTo>
                        <a:pt x="16" y="231"/>
                      </a:lnTo>
                      <a:lnTo>
                        <a:pt x="16" y="229"/>
                      </a:lnTo>
                      <a:lnTo>
                        <a:pt x="15" y="229"/>
                      </a:lnTo>
                      <a:lnTo>
                        <a:pt x="14" y="229"/>
                      </a:lnTo>
                      <a:lnTo>
                        <a:pt x="13" y="229"/>
                      </a:lnTo>
                      <a:lnTo>
                        <a:pt x="12" y="231"/>
                      </a:lnTo>
                      <a:lnTo>
                        <a:pt x="9" y="231"/>
                      </a:lnTo>
                      <a:lnTo>
                        <a:pt x="9" y="229"/>
                      </a:lnTo>
                      <a:lnTo>
                        <a:pt x="8" y="229"/>
                      </a:lnTo>
                      <a:lnTo>
                        <a:pt x="8" y="228"/>
                      </a:lnTo>
                      <a:lnTo>
                        <a:pt x="7" y="228"/>
                      </a:lnTo>
                      <a:lnTo>
                        <a:pt x="6" y="228"/>
                      </a:lnTo>
                      <a:lnTo>
                        <a:pt x="5" y="228"/>
                      </a:lnTo>
                      <a:lnTo>
                        <a:pt x="3" y="228"/>
                      </a:lnTo>
                      <a:lnTo>
                        <a:pt x="2" y="228"/>
                      </a:lnTo>
                      <a:lnTo>
                        <a:pt x="2" y="227"/>
                      </a:lnTo>
                      <a:lnTo>
                        <a:pt x="1" y="227"/>
                      </a:lnTo>
                      <a:lnTo>
                        <a:pt x="1" y="226"/>
                      </a:lnTo>
                      <a:lnTo>
                        <a:pt x="0" y="224"/>
                      </a:lnTo>
                      <a:lnTo>
                        <a:pt x="1" y="222"/>
                      </a:lnTo>
                      <a:lnTo>
                        <a:pt x="1" y="221"/>
                      </a:lnTo>
                      <a:lnTo>
                        <a:pt x="3" y="219"/>
                      </a:lnTo>
                      <a:lnTo>
                        <a:pt x="3" y="218"/>
                      </a:lnTo>
                      <a:lnTo>
                        <a:pt x="5" y="218"/>
                      </a:lnTo>
                      <a:lnTo>
                        <a:pt x="6" y="218"/>
                      </a:lnTo>
                      <a:lnTo>
                        <a:pt x="6" y="217"/>
                      </a:lnTo>
                      <a:lnTo>
                        <a:pt x="6" y="215"/>
                      </a:lnTo>
                      <a:lnTo>
                        <a:pt x="6" y="214"/>
                      </a:lnTo>
                      <a:lnTo>
                        <a:pt x="7" y="214"/>
                      </a:lnTo>
                      <a:lnTo>
                        <a:pt x="7" y="213"/>
                      </a:lnTo>
                      <a:lnTo>
                        <a:pt x="6" y="213"/>
                      </a:lnTo>
                      <a:lnTo>
                        <a:pt x="6" y="212"/>
                      </a:lnTo>
                      <a:lnTo>
                        <a:pt x="6" y="211"/>
                      </a:lnTo>
                      <a:lnTo>
                        <a:pt x="6" y="210"/>
                      </a:lnTo>
                      <a:lnTo>
                        <a:pt x="6" y="208"/>
                      </a:lnTo>
                      <a:lnTo>
                        <a:pt x="7" y="208"/>
                      </a:lnTo>
                      <a:lnTo>
                        <a:pt x="7" y="207"/>
                      </a:lnTo>
                      <a:lnTo>
                        <a:pt x="8" y="207"/>
                      </a:lnTo>
                      <a:lnTo>
                        <a:pt x="12" y="207"/>
                      </a:lnTo>
                      <a:lnTo>
                        <a:pt x="13" y="207"/>
                      </a:lnTo>
                      <a:lnTo>
                        <a:pt x="14" y="207"/>
                      </a:lnTo>
                      <a:lnTo>
                        <a:pt x="15" y="207"/>
                      </a:lnTo>
                      <a:lnTo>
                        <a:pt x="16" y="207"/>
                      </a:lnTo>
                      <a:lnTo>
                        <a:pt x="16" y="206"/>
                      </a:lnTo>
                      <a:lnTo>
                        <a:pt x="17" y="206"/>
                      </a:lnTo>
                      <a:lnTo>
                        <a:pt x="17" y="207"/>
                      </a:lnTo>
                      <a:lnTo>
                        <a:pt x="19" y="207"/>
                      </a:lnTo>
                      <a:lnTo>
                        <a:pt x="20" y="207"/>
                      </a:lnTo>
                      <a:lnTo>
                        <a:pt x="21" y="207"/>
                      </a:lnTo>
                      <a:lnTo>
                        <a:pt x="22" y="208"/>
                      </a:lnTo>
                      <a:lnTo>
                        <a:pt x="22" y="210"/>
                      </a:lnTo>
                      <a:lnTo>
                        <a:pt x="24" y="210"/>
                      </a:lnTo>
                      <a:lnTo>
                        <a:pt x="26" y="208"/>
                      </a:lnTo>
                      <a:lnTo>
                        <a:pt x="27" y="208"/>
                      </a:lnTo>
                      <a:lnTo>
                        <a:pt x="28" y="208"/>
                      </a:lnTo>
                      <a:lnTo>
                        <a:pt x="30" y="208"/>
                      </a:lnTo>
                      <a:lnTo>
                        <a:pt x="30" y="207"/>
                      </a:lnTo>
                      <a:lnTo>
                        <a:pt x="31" y="207"/>
                      </a:lnTo>
                      <a:lnTo>
                        <a:pt x="35" y="205"/>
                      </a:lnTo>
                      <a:lnTo>
                        <a:pt x="35" y="204"/>
                      </a:lnTo>
                      <a:lnTo>
                        <a:pt x="35" y="203"/>
                      </a:lnTo>
                      <a:lnTo>
                        <a:pt x="36" y="203"/>
                      </a:lnTo>
                      <a:lnTo>
                        <a:pt x="36" y="201"/>
                      </a:lnTo>
                      <a:lnTo>
                        <a:pt x="35" y="192"/>
                      </a:lnTo>
                      <a:lnTo>
                        <a:pt x="35" y="183"/>
                      </a:lnTo>
                      <a:lnTo>
                        <a:pt x="35" y="175"/>
                      </a:lnTo>
                      <a:lnTo>
                        <a:pt x="35" y="172"/>
                      </a:lnTo>
                      <a:lnTo>
                        <a:pt x="35" y="168"/>
                      </a:lnTo>
                      <a:lnTo>
                        <a:pt x="40" y="157"/>
                      </a:lnTo>
                      <a:lnTo>
                        <a:pt x="42" y="155"/>
                      </a:lnTo>
                      <a:lnTo>
                        <a:pt x="42" y="154"/>
                      </a:lnTo>
                      <a:lnTo>
                        <a:pt x="42" y="152"/>
                      </a:lnTo>
                      <a:lnTo>
                        <a:pt x="43" y="151"/>
                      </a:lnTo>
                      <a:lnTo>
                        <a:pt x="43" y="150"/>
                      </a:lnTo>
                      <a:lnTo>
                        <a:pt x="43" y="149"/>
                      </a:lnTo>
                      <a:lnTo>
                        <a:pt x="41" y="142"/>
                      </a:lnTo>
                      <a:lnTo>
                        <a:pt x="41" y="141"/>
                      </a:lnTo>
                      <a:lnTo>
                        <a:pt x="42" y="140"/>
                      </a:lnTo>
                      <a:lnTo>
                        <a:pt x="44" y="135"/>
                      </a:lnTo>
                      <a:lnTo>
                        <a:pt x="45" y="133"/>
                      </a:lnTo>
                      <a:lnTo>
                        <a:pt x="47" y="131"/>
                      </a:lnTo>
                      <a:lnTo>
                        <a:pt x="50" y="129"/>
                      </a:lnTo>
                      <a:lnTo>
                        <a:pt x="51" y="129"/>
                      </a:lnTo>
                      <a:lnTo>
                        <a:pt x="55" y="133"/>
                      </a:lnTo>
                      <a:lnTo>
                        <a:pt x="56" y="134"/>
                      </a:lnTo>
                      <a:lnTo>
                        <a:pt x="57" y="134"/>
                      </a:lnTo>
                      <a:lnTo>
                        <a:pt x="56" y="135"/>
                      </a:lnTo>
                      <a:lnTo>
                        <a:pt x="57" y="136"/>
                      </a:lnTo>
                      <a:lnTo>
                        <a:pt x="57" y="135"/>
                      </a:lnTo>
                      <a:lnTo>
                        <a:pt x="58" y="134"/>
                      </a:lnTo>
                      <a:lnTo>
                        <a:pt x="59" y="134"/>
                      </a:lnTo>
                      <a:lnTo>
                        <a:pt x="59" y="133"/>
                      </a:lnTo>
                      <a:lnTo>
                        <a:pt x="60" y="131"/>
                      </a:lnTo>
                      <a:lnTo>
                        <a:pt x="62" y="130"/>
                      </a:lnTo>
                      <a:lnTo>
                        <a:pt x="63" y="129"/>
                      </a:lnTo>
                      <a:lnTo>
                        <a:pt x="63" y="128"/>
                      </a:lnTo>
                      <a:lnTo>
                        <a:pt x="62" y="127"/>
                      </a:lnTo>
                      <a:lnTo>
                        <a:pt x="64" y="121"/>
                      </a:lnTo>
                      <a:lnTo>
                        <a:pt x="64" y="120"/>
                      </a:lnTo>
                      <a:lnTo>
                        <a:pt x="64" y="119"/>
                      </a:lnTo>
                      <a:lnTo>
                        <a:pt x="63" y="119"/>
                      </a:lnTo>
                      <a:lnTo>
                        <a:pt x="63" y="117"/>
                      </a:lnTo>
                      <a:lnTo>
                        <a:pt x="63" y="116"/>
                      </a:lnTo>
                      <a:lnTo>
                        <a:pt x="66" y="108"/>
                      </a:lnTo>
                      <a:lnTo>
                        <a:pt x="66" y="107"/>
                      </a:lnTo>
                      <a:lnTo>
                        <a:pt x="66" y="105"/>
                      </a:lnTo>
                      <a:lnTo>
                        <a:pt x="66" y="103"/>
                      </a:lnTo>
                      <a:lnTo>
                        <a:pt x="65" y="102"/>
                      </a:lnTo>
                      <a:lnTo>
                        <a:pt x="66" y="101"/>
                      </a:lnTo>
                      <a:lnTo>
                        <a:pt x="66" y="100"/>
                      </a:lnTo>
                      <a:lnTo>
                        <a:pt x="66" y="99"/>
                      </a:lnTo>
                      <a:lnTo>
                        <a:pt x="67" y="99"/>
                      </a:lnTo>
                      <a:lnTo>
                        <a:pt x="69" y="98"/>
                      </a:lnTo>
                      <a:lnTo>
                        <a:pt x="71" y="96"/>
                      </a:lnTo>
                      <a:lnTo>
                        <a:pt x="72" y="95"/>
                      </a:lnTo>
                      <a:lnTo>
                        <a:pt x="72" y="94"/>
                      </a:lnTo>
                      <a:lnTo>
                        <a:pt x="73" y="94"/>
                      </a:lnTo>
                      <a:lnTo>
                        <a:pt x="74" y="93"/>
                      </a:lnTo>
                      <a:lnTo>
                        <a:pt x="74" y="92"/>
                      </a:lnTo>
                      <a:lnTo>
                        <a:pt x="76" y="89"/>
                      </a:lnTo>
                      <a:lnTo>
                        <a:pt x="76" y="88"/>
                      </a:lnTo>
                      <a:lnTo>
                        <a:pt x="77" y="88"/>
                      </a:lnTo>
                      <a:lnTo>
                        <a:pt x="77" y="87"/>
                      </a:lnTo>
                      <a:lnTo>
                        <a:pt x="78" y="87"/>
                      </a:lnTo>
                      <a:lnTo>
                        <a:pt x="78" y="86"/>
                      </a:lnTo>
                      <a:lnTo>
                        <a:pt x="78" y="85"/>
                      </a:lnTo>
                      <a:lnTo>
                        <a:pt x="84" y="74"/>
                      </a:lnTo>
                      <a:lnTo>
                        <a:pt x="85" y="74"/>
                      </a:lnTo>
                      <a:lnTo>
                        <a:pt x="86" y="74"/>
                      </a:lnTo>
                      <a:lnTo>
                        <a:pt x="86" y="73"/>
                      </a:lnTo>
                      <a:lnTo>
                        <a:pt x="86" y="72"/>
                      </a:lnTo>
                      <a:lnTo>
                        <a:pt x="87" y="72"/>
                      </a:lnTo>
                      <a:lnTo>
                        <a:pt x="87" y="71"/>
                      </a:lnTo>
                      <a:lnTo>
                        <a:pt x="98" y="70"/>
                      </a:lnTo>
                      <a:lnTo>
                        <a:pt x="99" y="71"/>
                      </a:lnTo>
                      <a:lnTo>
                        <a:pt x="100" y="71"/>
                      </a:lnTo>
                      <a:lnTo>
                        <a:pt x="100" y="70"/>
                      </a:lnTo>
                      <a:lnTo>
                        <a:pt x="101" y="66"/>
                      </a:lnTo>
                      <a:lnTo>
                        <a:pt x="101" y="65"/>
                      </a:lnTo>
                      <a:lnTo>
                        <a:pt x="100" y="64"/>
                      </a:lnTo>
                      <a:lnTo>
                        <a:pt x="100" y="63"/>
                      </a:lnTo>
                      <a:lnTo>
                        <a:pt x="101" y="61"/>
                      </a:lnTo>
                      <a:lnTo>
                        <a:pt x="101" y="60"/>
                      </a:lnTo>
                      <a:lnTo>
                        <a:pt x="101" y="59"/>
                      </a:lnTo>
                      <a:lnTo>
                        <a:pt x="104" y="49"/>
                      </a:lnTo>
                      <a:lnTo>
                        <a:pt x="108" y="42"/>
                      </a:lnTo>
                      <a:lnTo>
                        <a:pt x="109" y="42"/>
                      </a:lnTo>
                      <a:lnTo>
                        <a:pt x="109" y="39"/>
                      </a:lnTo>
                      <a:lnTo>
                        <a:pt x="111" y="36"/>
                      </a:lnTo>
                      <a:lnTo>
                        <a:pt x="112" y="33"/>
                      </a:lnTo>
                      <a:lnTo>
                        <a:pt x="112" y="32"/>
                      </a:lnTo>
                      <a:lnTo>
                        <a:pt x="111" y="31"/>
                      </a:lnTo>
                      <a:lnTo>
                        <a:pt x="111" y="30"/>
                      </a:lnTo>
                      <a:lnTo>
                        <a:pt x="111" y="29"/>
                      </a:lnTo>
                      <a:lnTo>
                        <a:pt x="114" y="19"/>
                      </a:lnTo>
                      <a:lnTo>
                        <a:pt x="115" y="18"/>
                      </a:lnTo>
                      <a:lnTo>
                        <a:pt x="116" y="18"/>
                      </a:lnTo>
                      <a:lnTo>
                        <a:pt x="117" y="18"/>
                      </a:lnTo>
                      <a:lnTo>
                        <a:pt x="120" y="18"/>
                      </a:lnTo>
                      <a:lnTo>
                        <a:pt x="120" y="17"/>
                      </a:lnTo>
                      <a:lnTo>
                        <a:pt x="121" y="17"/>
                      </a:lnTo>
                      <a:lnTo>
                        <a:pt x="122" y="17"/>
                      </a:lnTo>
                      <a:lnTo>
                        <a:pt x="123" y="17"/>
                      </a:lnTo>
                      <a:lnTo>
                        <a:pt x="126" y="18"/>
                      </a:lnTo>
                      <a:lnTo>
                        <a:pt x="127" y="18"/>
                      </a:lnTo>
                      <a:lnTo>
                        <a:pt x="128" y="19"/>
                      </a:lnTo>
                      <a:lnTo>
                        <a:pt x="129" y="19"/>
                      </a:lnTo>
                      <a:lnTo>
                        <a:pt x="130" y="19"/>
                      </a:lnTo>
                      <a:lnTo>
                        <a:pt x="131" y="18"/>
                      </a:lnTo>
                      <a:lnTo>
                        <a:pt x="131" y="17"/>
                      </a:lnTo>
                      <a:lnTo>
                        <a:pt x="131" y="16"/>
                      </a:lnTo>
                      <a:lnTo>
                        <a:pt x="131" y="15"/>
                      </a:lnTo>
                      <a:lnTo>
                        <a:pt x="133" y="15"/>
                      </a:lnTo>
                      <a:lnTo>
                        <a:pt x="134" y="14"/>
                      </a:lnTo>
                      <a:lnTo>
                        <a:pt x="135" y="14"/>
                      </a:lnTo>
                      <a:lnTo>
                        <a:pt x="137" y="14"/>
                      </a:lnTo>
                      <a:lnTo>
                        <a:pt x="138" y="14"/>
                      </a:lnTo>
                      <a:lnTo>
                        <a:pt x="140" y="15"/>
                      </a:lnTo>
                      <a:lnTo>
                        <a:pt x="141" y="16"/>
                      </a:lnTo>
                      <a:lnTo>
                        <a:pt x="141" y="17"/>
                      </a:lnTo>
                      <a:lnTo>
                        <a:pt x="141" y="18"/>
                      </a:lnTo>
                      <a:lnTo>
                        <a:pt x="142" y="18"/>
                      </a:lnTo>
                      <a:lnTo>
                        <a:pt x="143" y="19"/>
                      </a:lnTo>
                      <a:lnTo>
                        <a:pt x="143" y="21"/>
                      </a:lnTo>
                      <a:lnTo>
                        <a:pt x="143" y="22"/>
                      </a:lnTo>
                      <a:lnTo>
                        <a:pt x="144" y="22"/>
                      </a:lnTo>
                      <a:lnTo>
                        <a:pt x="145" y="23"/>
                      </a:lnTo>
                      <a:lnTo>
                        <a:pt x="145" y="24"/>
                      </a:lnTo>
                      <a:lnTo>
                        <a:pt x="147" y="25"/>
                      </a:lnTo>
                      <a:lnTo>
                        <a:pt x="147" y="24"/>
                      </a:lnTo>
                      <a:lnTo>
                        <a:pt x="148" y="22"/>
                      </a:lnTo>
                      <a:lnTo>
                        <a:pt x="150" y="17"/>
                      </a:lnTo>
                      <a:lnTo>
                        <a:pt x="151" y="12"/>
                      </a:lnTo>
                      <a:lnTo>
                        <a:pt x="154" y="8"/>
                      </a:lnTo>
                      <a:lnTo>
                        <a:pt x="156" y="3"/>
                      </a:lnTo>
                      <a:lnTo>
                        <a:pt x="157" y="0"/>
                      </a:lnTo>
                      <a:lnTo>
                        <a:pt x="158" y="1"/>
                      </a:lnTo>
                      <a:lnTo>
                        <a:pt x="158" y="2"/>
                      </a:lnTo>
                      <a:lnTo>
                        <a:pt x="159" y="2"/>
                      </a:lnTo>
                      <a:lnTo>
                        <a:pt x="159" y="3"/>
                      </a:lnTo>
                      <a:lnTo>
                        <a:pt x="161" y="3"/>
                      </a:lnTo>
                      <a:lnTo>
                        <a:pt x="161" y="4"/>
                      </a:lnTo>
                      <a:lnTo>
                        <a:pt x="164" y="7"/>
                      </a:lnTo>
                      <a:lnTo>
                        <a:pt x="165" y="7"/>
                      </a:lnTo>
                      <a:lnTo>
                        <a:pt x="166" y="5"/>
                      </a:lnTo>
                      <a:lnTo>
                        <a:pt x="168" y="5"/>
                      </a:lnTo>
                      <a:lnTo>
                        <a:pt x="168" y="7"/>
                      </a:lnTo>
                      <a:lnTo>
                        <a:pt x="169" y="7"/>
                      </a:lnTo>
                      <a:lnTo>
                        <a:pt x="169" y="8"/>
                      </a:lnTo>
                      <a:lnTo>
                        <a:pt x="169" y="9"/>
                      </a:lnTo>
                      <a:lnTo>
                        <a:pt x="170" y="9"/>
                      </a:lnTo>
                      <a:lnTo>
                        <a:pt x="170" y="10"/>
                      </a:lnTo>
                      <a:lnTo>
                        <a:pt x="170" y="11"/>
                      </a:lnTo>
                      <a:lnTo>
                        <a:pt x="171" y="11"/>
                      </a:lnTo>
                      <a:lnTo>
                        <a:pt x="171" y="12"/>
                      </a:lnTo>
                      <a:lnTo>
                        <a:pt x="173" y="14"/>
                      </a:lnTo>
                      <a:lnTo>
                        <a:pt x="173" y="15"/>
                      </a:lnTo>
                      <a:lnTo>
                        <a:pt x="175" y="15"/>
                      </a:lnTo>
                      <a:lnTo>
                        <a:pt x="176" y="15"/>
                      </a:lnTo>
                      <a:lnTo>
                        <a:pt x="179" y="15"/>
                      </a:lnTo>
                      <a:lnTo>
                        <a:pt x="180" y="15"/>
                      </a:lnTo>
                      <a:lnTo>
                        <a:pt x="181" y="14"/>
                      </a:lnTo>
                      <a:lnTo>
                        <a:pt x="183" y="14"/>
                      </a:lnTo>
                      <a:lnTo>
                        <a:pt x="184" y="14"/>
                      </a:lnTo>
                      <a:lnTo>
                        <a:pt x="185" y="14"/>
                      </a:lnTo>
                      <a:lnTo>
                        <a:pt x="186" y="12"/>
                      </a:lnTo>
                      <a:lnTo>
                        <a:pt x="188" y="12"/>
                      </a:lnTo>
                      <a:lnTo>
                        <a:pt x="190" y="11"/>
                      </a:lnTo>
                      <a:lnTo>
                        <a:pt x="191" y="10"/>
                      </a:lnTo>
                      <a:lnTo>
                        <a:pt x="192" y="10"/>
                      </a:lnTo>
                      <a:lnTo>
                        <a:pt x="192" y="9"/>
                      </a:lnTo>
                      <a:lnTo>
                        <a:pt x="192" y="8"/>
                      </a:lnTo>
                      <a:lnTo>
                        <a:pt x="193" y="8"/>
                      </a:lnTo>
                      <a:lnTo>
                        <a:pt x="194" y="8"/>
                      </a:lnTo>
                      <a:lnTo>
                        <a:pt x="195" y="8"/>
                      </a:lnTo>
                      <a:lnTo>
                        <a:pt x="197" y="9"/>
                      </a:lnTo>
                      <a:lnTo>
                        <a:pt x="197" y="10"/>
                      </a:lnTo>
                      <a:lnTo>
                        <a:pt x="198" y="10"/>
                      </a:lnTo>
                      <a:lnTo>
                        <a:pt x="198" y="12"/>
                      </a:lnTo>
                      <a:lnTo>
                        <a:pt x="199" y="15"/>
                      </a:lnTo>
                      <a:lnTo>
                        <a:pt x="200" y="15"/>
                      </a:lnTo>
                      <a:lnTo>
                        <a:pt x="200" y="14"/>
                      </a:lnTo>
                      <a:lnTo>
                        <a:pt x="201" y="12"/>
                      </a:lnTo>
                      <a:lnTo>
                        <a:pt x="204" y="12"/>
                      </a:lnTo>
                      <a:lnTo>
                        <a:pt x="207" y="12"/>
                      </a:lnTo>
                      <a:lnTo>
                        <a:pt x="208" y="11"/>
                      </a:lnTo>
                      <a:lnTo>
                        <a:pt x="208" y="10"/>
                      </a:lnTo>
                      <a:lnTo>
                        <a:pt x="209" y="10"/>
                      </a:lnTo>
                      <a:lnTo>
                        <a:pt x="211" y="11"/>
                      </a:lnTo>
                      <a:lnTo>
                        <a:pt x="212" y="12"/>
                      </a:lnTo>
                      <a:lnTo>
                        <a:pt x="213" y="12"/>
                      </a:lnTo>
                      <a:lnTo>
                        <a:pt x="214" y="12"/>
                      </a:lnTo>
                      <a:lnTo>
                        <a:pt x="215" y="12"/>
                      </a:lnTo>
                      <a:lnTo>
                        <a:pt x="216" y="12"/>
                      </a:lnTo>
                      <a:lnTo>
                        <a:pt x="218" y="12"/>
                      </a:lnTo>
                      <a:lnTo>
                        <a:pt x="219" y="14"/>
                      </a:lnTo>
                      <a:lnTo>
                        <a:pt x="220" y="15"/>
                      </a:lnTo>
                      <a:lnTo>
                        <a:pt x="221" y="15"/>
                      </a:lnTo>
                      <a:lnTo>
                        <a:pt x="222" y="15"/>
                      </a:lnTo>
                      <a:lnTo>
                        <a:pt x="223" y="14"/>
                      </a:lnTo>
                      <a:lnTo>
                        <a:pt x="225" y="14"/>
                      </a:lnTo>
                      <a:lnTo>
                        <a:pt x="226" y="14"/>
                      </a:lnTo>
                      <a:lnTo>
                        <a:pt x="227" y="14"/>
                      </a:lnTo>
                      <a:lnTo>
                        <a:pt x="228" y="14"/>
                      </a:lnTo>
                      <a:lnTo>
                        <a:pt x="230" y="15"/>
                      </a:lnTo>
                      <a:lnTo>
                        <a:pt x="232" y="15"/>
                      </a:lnTo>
                      <a:lnTo>
                        <a:pt x="233" y="16"/>
                      </a:lnTo>
                      <a:lnTo>
                        <a:pt x="235" y="18"/>
                      </a:lnTo>
                      <a:lnTo>
                        <a:pt x="237" y="19"/>
                      </a:lnTo>
                      <a:lnTo>
                        <a:pt x="240" y="21"/>
                      </a:lnTo>
                      <a:lnTo>
                        <a:pt x="243" y="23"/>
                      </a:lnTo>
                      <a:lnTo>
                        <a:pt x="247" y="23"/>
                      </a:lnTo>
                      <a:lnTo>
                        <a:pt x="249" y="24"/>
                      </a:lnTo>
                      <a:lnTo>
                        <a:pt x="250" y="25"/>
                      </a:lnTo>
                      <a:lnTo>
                        <a:pt x="254" y="30"/>
                      </a:lnTo>
                      <a:lnTo>
                        <a:pt x="257" y="33"/>
                      </a:lnTo>
                      <a:lnTo>
                        <a:pt x="259" y="38"/>
                      </a:lnTo>
                      <a:lnTo>
                        <a:pt x="262" y="42"/>
                      </a:lnTo>
                      <a:lnTo>
                        <a:pt x="263" y="43"/>
                      </a:lnTo>
                      <a:lnTo>
                        <a:pt x="268" y="45"/>
                      </a:lnTo>
                      <a:lnTo>
                        <a:pt x="272" y="49"/>
                      </a:lnTo>
                      <a:lnTo>
                        <a:pt x="276" y="52"/>
                      </a:lnTo>
                      <a:lnTo>
                        <a:pt x="278" y="53"/>
                      </a:lnTo>
                      <a:lnTo>
                        <a:pt x="279" y="56"/>
                      </a:lnTo>
                      <a:lnTo>
                        <a:pt x="280" y="57"/>
                      </a:lnTo>
                      <a:lnTo>
                        <a:pt x="282" y="58"/>
                      </a:lnTo>
                      <a:lnTo>
                        <a:pt x="284" y="64"/>
                      </a:lnTo>
                      <a:lnTo>
                        <a:pt x="286" y="66"/>
                      </a:lnTo>
                      <a:lnTo>
                        <a:pt x="289" y="67"/>
                      </a:lnTo>
                      <a:lnTo>
                        <a:pt x="290" y="68"/>
                      </a:lnTo>
                      <a:lnTo>
                        <a:pt x="292" y="70"/>
                      </a:lnTo>
                      <a:lnTo>
                        <a:pt x="293" y="71"/>
                      </a:lnTo>
                      <a:lnTo>
                        <a:pt x="296" y="74"/>
                      </a:lnTo>
                      <a:lnTo>
                        <a:pt x="298" y="78"/>
                      </a:lnTo>
                      <a:lnTo>
                        <a:pt x="299" y="79"/>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solidFill>
                      <a:srgbClr val="575757"/>
                    </a:solidFill>
                    <a:latin typeface="+mj-lt"/>
                  </a:endParaRPr>
                </a:p>
              </p:txBody>
            </p:sp>
          </p:grpSp>
          <p:grpSp>
            <p:nvGrpSpPr>
              <p:cNvPr id="90" name="Group 527">
                <a:extLst>
                  <a:ext uri="{FF2B5EF4-FFF2-40B4-BE49-F238E27FC236}">
                    <a16:creationId xmlns:a16="http://schemas.microsoft.com/office/drawing/2014/main" id="{0C921D23-A721-1D31-FCFB-E63D801F2238}"/>
                  </a:ext>
                </a:extLst>
              </p:cNvPr>
              <p:cNvGrpSpPr/>
              <p:nvPr/>
            </p:nvGrpSpPr>
            <p:grpSpPr>
              <a:xfrm>
                <a:off x="5620084" y="2410755"/>
                <a:ext cx="2045557" cy="2644832"/>
                <a:chOff x="5620084" y="2410755"/>
                <a:chExt cx="2045557" cy="2644832"/>
              </a:xfrm>
            </p:grpSpPr>
            <p:sp>
              <p:nvSpPr>
                <p:cNvPr id="91" name="Freeform 85">
                  <a:extLst>
                    <a:ext uri="{FF2B5EF4-FFF2-40B4-BE49-F238E27FC236}">
                      <a16:creationId xmlns:a16="http://schemas.microsoft.com/office/drawing/2014/main" id="{C6EDB92C-6B1E-7ED2-E20D-E9108787600A}"/>
                    </a:ext>
                  </a:extLst>
                </p:cNvPr>
                <p:cNvSpPr>
                  <a:spLocks/>
                </p:cNvSpPr>
                <p:nvPr/>
              </p:nvSpPr>
              <p:spPr bwMode="auto">
                <a:xfrm>
                  <a:off x="5909826" y="2422690"/>
                  <a:ext cx="718270" cy="717188"/>
                </a:xfrm>
                <a:custGeom>
                  <a:avLst/>
                  <a:gdLst>
                    <a:gd name="T0" fmla="*/ 546 w 664"/>
                    <a:gd name="T1" fmla="*/ 17 h 663"/>
                    <a:gd name="T2" fmla="*/ 543 w 664"/>
                    <a:gd name="T3" fmla="*/ 40 h 663"/>
                    <a:gd name="T4" fmla="*/ 543 w 664"/>
                    <a:gd name="T5" fmla="*/ 70 h 663"/>
                    <a:gd name="T6" fmla="*/ 540 w 664"/>
                    <a:gd name="T7" fmla="*/ 94 h 663"/>
                    <a:gd name="T8" fmla="*/ 526 w 664"/>
                    <a:gd name="T9" fmla="*/ 113 h 663"/>
                    <a:gd name="T10" fmla="*/ 522 w 664"/>
                    <a:gd name="T11" fmla="*/ 139 h 663"/>
                    <a:gd name="T12" fmla="*/ 544 w 664"/>
                    <a:gd name="T13" fmla="*/ 168 h 663"/>
                    <a:gd name="T14" fmla="*/ 573 w 664"/>
                    <a:gd name="T15" fmla="*/ 216 h 663"/>
                    <a:gd name="T16" fmla="*/ 581 w 664"/>
                    <a:gd name="T17" fmla="*/ 274 h 663"/>
                    <a:gd name="T18" fmla="*/ 594 w 664"/>
                    <a:gd name="T19" fmla="*/ 364 h 663"/>
                    <a:gd name="T20" fmla="*/ 597 w 664"/>
                    <a:gd name="T21" fmla="*/ 395 h 663"/>
                    <a:gd name="T22" fmla="*/ 602 w 664"/>
                    <a:gd name="T23" fmla="*/ 458 h 663"/>
                    <a:gd name="T24" fmla="*/ 648 w 664"/>
                    <a:gd name="T25" fmla="*/ 477 h 663"/>
                    <a:gd name="T26" fmla="*/ 644 w 664"/>
                    <a:gd name="T27" fmla="*/ 518 h 663"/>
                    <a:gd name="T28" fmla="*/ 610 w 664"/>
                    <a:gd name="T29" fmla="*/ 540 h 663"/>
                    <a:gd name="T30" fmla="*/ 575 w 664"/>
                    <a:gd name="T31" fmla="*/ 562 h 663"/>
                    <a:gd name="T32" fmla="*/ 540 w 664"/>
                    <a:gd name="T33" fmla="*/ 584 h 663"/>
                    <a:gd name="T34" fmla="*/ 503 w 664"/>
                    <a:gd name="T35" fmla="*/ 614 h 663"/>
                    <a:gd name="T36" fmla="*/ 472 w 664"/>
                    <a:gd name="T37" fmla="*/ 643 h 663"/>
                    <a:gd name="T38" fmla="*/ 401 w 664"/>
                    <a:gd name="T39" fmla="*/ 660 h 663"/>
                    <a:gd name="T40" fmla="*/ 384 w 664"/>
                    <a:gd name="T41" fmla="*/ 651 h 663"/>
                    <a:gd name="T42" fmla="*/ 376 w 664"/>
                    <a:gd name="T43" fmla="*/ 630 h 663"/>
                    <a:gd name="T44" fmla="*/ 346 w 664"/>
                    <a:gd name="T45" fmla="*/ 621 h 663"/>
                    <a:gd name="T46" fmla="*/ 331 w 664"/>
                    <a:gd name="T47" fmla="*/ 608 h 663"/>
                    <a:gd name="T48" fmla="*/ 319 w 664"/>
                    <a:gd name="T49" fmla="*/ 594 h 663"/>
                    <a:gd name="T50" fmla="*/ 281 w 664"/>
                    <a:gd name="T51" fmla="*/ 566 h 663"/>
                    <a:gd name="T52" fmla="*/ 236 w 664"/>
                    <a:gd name="T53" fmla="*/ 535 h 663"/>
                    <a:gd name="T54" fmla="*/ 191 w 664"/>
                    <a:gd name="T55" fmla="*/ 504 h 663"/>
                    <a:gd name="T56" fmla="*/ 149 w 664"/>
                    <a:gd name="T57" fmla="*/ 475 h 663"/>
                    <a:gd name="T58" fmla="*/ 93 w 664"/>
                    <a:gd name="T59" fmla="*/ 439 h 663"/>
                    <a:gd name="T60" fmla="*/ 0 w 664"/>
                    <a:gd name="T61" fmla="*/ 376 h 663"/>
                    <a:gd name="T62" fmla="*/ 0 w 664"/>
                    <a:gd name="T63" fmla="*/ 337 h 663"/>
                    <a:gd name="T64" fmla="*/ 19 w 664"/>
                    <a:gd name="T65" fmla="*/ 314 h 663"/>
                    <a:gd name="T66" fmla="*/ 55 w 664"/>
                    <a:gd name="T67" fmla="*/ 297 h 663"/>
                    <a:gd name="T68" fmla="*/ 112 w 664"/>
                    <a:gd name="T69" fmla="*/ 279 h 663"/>
                    <a:gd name="T70" fmla="*/ 163 w 664"/>
                    <a:gd name="T71" fmla="*/ 243 h 663"/>
                    <a:gd name="T72" fmla="*/ 155 w 664"/>
                    <a:gd name="T73" fmla="*/ 231 h 663"/>
                    <a:gd name="T74" fmla="*/ 196 w 664"/>
                    <a:gd name="T75" fmla="*/ 197 h 663"/>
                    <a:gd name="T76" fmla="*/ 234 w 664"/>
                    <a:gd name="T77" fmla="*/ 198 h 663"/>
                    <a:gd name="T78" fmla="*/ 240 w 664"/>
                    <a:gd name="T79" fmla="*/ 187 h 663"/>
                    <a:gd name="T80" fmla="*/ 225 w 664"/>
                    <a:gd name="T81" fmla="*/ 159 h 663"/>
                    <a:gd name="T82" fmla="*/ 221 w 664"/>
                    <a:gd name="T83" fmla="*/ 135 h 663"/>
                    <a:gd name="T84" fmla="*/ 218 w 664"/>
                    <a:gd name="T85" fmla="*/ 99 h 663"/>
                    <a:gd name="T86" fmla="*/ 204 w 664"/>
                    <a:gd name="T87" fmla="*/ 85 h 663"/>
                    <a:gd name="T88" fmla="*/ 224 w 664"/>
                    <a:gd name="T89" fmla="*/ 78 h 663"/>
                    <a:gd name="T90" fmla="*/ 241 w 664"/>
                    <a:gd name="T91" fmla="*/ 61 h 663"/>
                    <a:gd name="T92" fmla="*/ 255 w 664"/>
                    <a:gd name="T93" fmla="*/ 57 h 663"/>
                    <a:gd name="T94" fmla="*/ 267 w 664"/>
                    <a:gd name="T95" fmla="*/ 54 h 663"/>
                    <a:gd name="T96" fmla="*/ 285 w 664"/>
                    <a:gd name="T97" fmla="*/ 41 h 663"/>
                    <a:gd name="T98" fmla="*/ 303 w 664"/>
                    <a:gd name="T99" fmla="*/ 31 h 663"/>
                    <a:gd name="T100" fmla="*/ 321 w 664"/>
                    <a:gd name="T101" fmla="*/ 24 h 663"/>
                    <a:gd name="T102" fmla="*/ 353 w 664"/>
                    <a:gd name="T103" fmla="*/ 21 h 663"/>
                    <a:gd name="T104" fmla="*/ 375 w 664"/>
                    <a:gd name="T105" fmla="*/ 15 h 663"/>
                    <a:gd name="T106" fmla="*/ 398 w 664"/>
                    <a:gd name="T107" fmla="*/ 8 h 663"/>
                    <a:gd name="T108" fmla="*/ 415 w 664"/>
                    <a:gd name="T109" fmla="*/ 9 h 663"/>
                    <a:gd name="T110" fmla="*/ 439 w 664"/>
                    <a:gd name="T111" fmla="*/ 13 h 663"/>
                    <a:gd name="T112" fmla="*/ 458 w 664"/>
                    <a:gd name="T113" fmla="*/ 13 h 663"/>
                    <a:gd name="T114" fmla="*/ 483 w 664"/>
                    <a:gd name="T115" fmla="*/ 0 h 663"/>
                    <a:gd name="T116" fmla="*/ 503 w 664"/>
                    <a:gd name="T117" fmla="*/ 7 h 663"/>
                    <a:gd name="T118" fmla="*/ 513 w 664"/>
                    <a:gd name="T119" fmla="*/ 2 h 663"/>
                    <a:gd name="T120" fmla="*/ 525 w 664"/>
                    <a:gd name="T121" fmla="*/ 7 h 663"/>
                    <a:gd name="T122" fmla="*/ 548 w 664"/>
                    <a:gd name="T123" fmla="*/ 7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663">
                      <a:moveTo>
                        <a:pt x="552" y="6"/>
                      </a:moveTo>
                      <a:lnTo>
                        <a:pt x="552" y="7"/>
                      </a:lnTo>
                      <a:lnTo>
                        <a:pt x="552" y="8"/>
                      </a:lnTo>
                      <a:lnTo>
                        <a:pt x="553" y="8"/>
                      </a:lnTo>
                      <a:lnTo>
                        <a:pt x="553" y="9"/>
                      </a:lnTo>
                      <a:lnTo>
                        <a:pt x="553" y="10"/>
                      </a:lnTo>
                      <a:lnTo>
                        <a:pt x="551" y="12"/>
                      </a:lnTo>
                      <a:lnTo>
                        <a:pt x="549" y="12"/>
                      </a:lnTo>
                      <a:lnTo>
                        <a:pt x="548" y="12"/>
                      </a:lnTo>
                      <a:lnTo>
                        <a:pt x="547" y="12"/>
                      </a:lnTo>
                      <a:lnTo>
                        <a:pt x="546" y="13"/>
                      </a:lnTo>
                      <a:lnTo>
                        <a:pt x="547" y="14"/>
                      </a:lnTo>
                      <a:lnTo>
                        <a:pt x="548" y="14"/>
                      </a:lnTo>
                      <a:lnTo>
                        <a:pt x="547" y="16"/>
                      </a:lnTo>
                      <a:lnTo>
                        <a:pt x="547" y="17"/>
                      </a:lnTo>
                      <a:lnTo>
                        <a:pt x="546" y="17"/>
                      </a:lnTo>
                      <a:lnTo>
                        <a:pt x="543" y="21"/>
                      </a:lnTo>
                      <a:lnTo>
                        <a:pt x="540" y="21"/>
                      </a:lnTo>
                      <a:lnTo>
                        <a:pt x="539" y="22"/>
                      </a:lnTo>
                      <a:lnTo>
                        <a:pt x="538" y="23"/>
                      </a:lnTo>
                      <a:lnTo>
                        <a:pt x="538" y="24"/>
                      </a:lnTo>
                      <a:lnTo>
                        <a:pt x="540" y="24"/>
                      </a:lnTo>
                      <a:lnTo>
                        <a:pt x="543" y="24"/>
                      </a:lnTo>
                      <a:lnTo>
                        <a:pt x="544" y="26"/>
                      </a:lnTo>
                      <a:lnTo>
                        <a:pt x="545" y="27"/>
                      </a:lnTo>
                      <a:lnTo>
                        <a:pt x="545" y="29"/>
                      </a:lnTo>
                      <a:lnTo>
                        <a:pt x="543" y="34"/>
                      </a:lnTo>
                      <a:lnTo>
                        <a:pt x="543" y="36"/>
                      </a:lnTo>
                      <a:lnTo>
                        <a:pt x="544" y="37"/>
                      </a:lnTo>
                      <a:lnTo>
                        <a:pt x="544" y="38"/>
                      </a:lnTo>
                      <a:lnTo>
                        <a:pt x="543" y="38"/>
                      </a:lnTo>
                      <a:lnTo>
                        <a:pt x="543" y="40"/>
                      </a:lnTo>
                      <a:lnTo>
                        <a:pt x="543" y="42"/>
                      </a:lnTo>
                      <a:lnTo>
                        <a:pt x="541" y="44"/>
                      </a:lnTo>
                      <a:lnTo>
                        <a:pt x="541" y="45"/>
                      </a:lnTo>
                      <a:lnTo>
                        <a:pt x="541" y="48"/>
                      </a:lnTo>
                      <a:lnTo>
                        <a:pt x="541" y="50"/>
                      </a:lnTo>
                      <a:lnTo>
                        <a:pt x="541" y="52"/>
                      </a:lnTo>
                      <a:lnTo>
                        <a:pt x="541" y="54"/>
                      </a:lnTo>
                      <a:lnTo>
                        <a:pt x="543" y="56"/>
                      </a:lnTo>
                      <a:lnTo>
                        <a:pt x="544" y="57"/>
                      </a:lnTo>
                      <a:lnTo>
                        <a:pt x="544" y="58"/>
                      </a:lnTo>
                      <a:lnTo>
                        <a:pt x="544" y="62"/>
                      </a:lnTo>
                      <a:lnTo>
                        <a:pt x="544" y="63"/>
                      </a:lnTo>
                      <a:lnTo>
                        <a:pt x="543" y="66"/>
                      </a:lnTo>
                      <a:lnTo>
                        <a:pt x="543" y="68"/>
                      </a:lnTo>
                      <a:lnTo>
                        <a:pt x="543" y="69"/>
                      </a:lnTo>
                      <a:lnTo>
                        <a:pt x="543" y="70"/>
                      </a:lnTo>
                      <a:lnTo>
                        <a:pt x="544" y="72"/>
                      </a:lnTo>
                      <a:lnTo>
                        <a:pt x="545" y="72"/>
                      </a:lnTo>
                      <a:lnTo>
                        <a:pt x="546" y="72"/>
                      </a:lnTo>
                      <a:lnTo>
                        <a:pt x="547" y="73"/>
                      </a:lnTo>
                      <a:lnTo>
                        <a:pt x="547" y="75"/>
                      </a:lnTo>
                      <a:lnTo>
                        <a:pt x="545" y="77"/>
                      </a:lnTo>
                      <a:lnTo>
                        <a:pt x="544" y="79"/>
                      </a:lnTo>
                      <a:lnTo>
                        <a:pt x="543" y="80"/>
                      </a:lnTo>
                      <a:lnTo>
                        <a:pt x="543" y="84"/>
                      </a:lnTo>
                      <a:lnTo>
                        <a:pt x="541" y="85"/>
                      </a:lnTo>
                      <a:lnTo>
                        <a:pt x="541" y="87"/>
                      </a:lnTo>
                      <a:lnTo>
                        <a:pt x="541" y="89"/>
                      </a:lnTo>
                      <a:lnTo>
                        <a:pt x="543" y="92"/>
                      </a:lnTo>
                      <a:lnTo>
                        <a:pt x="543" y="93"/>
                      </a:lnTo>
                      <a:lnTo>
                        <a:pt x="541" y="93"/>
                      </a:lnTo>
                      <a:lnTo>
                        <a:pt x="540" y="94"/>
                      </a:lnTo>
                      <a:lnTo>
                        <a:pt x="540" y="96"/>
                      </a:lnTo>
                      <a:lnTo>
                        <a:pt x="541" y="97"/>
                      </a:lnTo>
                      <a:lnTo>
                        <a:pt x="541" y="98"/>
                      </a:lnTo>
                      <a:lnTo>
                        <a:pt x="540" y="98"/>
                      </a:lnTo>
                      <a:lnTo>
                        <a:pt x="539" y="98"/>
                      </a:lnTo>
                      <a:lnTo>
                        <a:pt x="539" y="99"/>
                      </a:lnTo>
                      <a:lnTo>
                        <a:pt x="539" y="100"/>
                      </a:lnTo>
                      <a:lnTo>
                        <a:pt x="538" y="100"/>
                      </a:lnTo>
                      <a:lnTo>
                        <a:pt x="537" y="101"/>
                      </a:lnTo>
                      <a:lnTo>
                        <a:pt x="533" y="103"/>
                      </a:lnTo>
                      <a:lnTo>
                        <a:pt x="532" y="104"/>
                      </a:lnTo>
                      <a:lnTo>
                        <a:pt x="530" y="105"/>
                      </a:lnTo>
                      <a:lnTo>
                        <a:pt x="529" y="106"/>
                      </a:lnTo>
                      <a:lnTo>
                        <a:pt x="527" y="107"/>
                      </a:lnTo>
                      <a:lnTo>
                        <a:pt x="526" y="112"/>
                      </a:lnTo>
                      <a:lnTo>
                        <a:pt x="526" y="113"/>
                      </a:lnTo>
                      <a:lnTo>
                        <a:pt x="525" y="113"/>
                      </a:lnTo>
                      <a:lnTo>
                        <a:pt x="523" y="114"/>
                      </a:lnTo>
                      <a:lnTo>
                        <a:pt x="522" y="114"/>
                      </a:lnTo>
                      <a:lnTo>
                        <a:pt x="520" y="115"/>
                      </a:lnTo>
                      <a:lnTo>
                        <a:pt x="520" y="117"/>
                      </a:lnTo>
                      <a:lnTo>
                        <a:pt x="519" y="118"/>
                      </a:lnTo>
                      <a:lnTo>
                        <a:pt x="518" y="119"/>
                      </a:lnTo>
                      <a:lnTo>
                        <a:pt x="518" y="120"/>
                      </a:lnTo>
                      <a:lnTo>
                        <a:pt x="518" y="122"/>
                      </a:lnTo>
                      <a:lnTo>
                        <a:pt x="517" y="126"/>
                      </a:lnTo>
                      <a:lnTo>
                        <a:pt x="517" y="128"/>
                      </a:lnTo>
                      <a:lnTo>
                        <a:pt x="518" y="131"/>
                      </a:lnTo>
                      <a:lnTo>
                        <a:pt x="519" y="133"/>
                      </a:lnTo>
                      <a:lnTo>
                        <a:pt x="519" y="134"/>
                      </a:lnTo>
                      <a:lnTo>
                        <a:pt x="519" y="135"/>
                      </a:lnTo>
                      <a:lnTo>
                        <a:pt x="522" y="139"/>
                      </a:lnTo>
                      <a:lnTo>
                        <a:pt x="524" y="143"/>
                      </a:lnTo>
                      <a:lnTo>
                        <a:pt x="525" y="145"/>
                      </a:lnTo>
                      <a:lnTo>
                        <a:pt x="525" y="150"/>
                      </a:lnTo>
                      <a:lnTo>
                        <a:pt x="525" y="152"/>
                      </a:lnTo>
                      <a:lnTo>
                        <a:pt x="526" y="153"/>
                      </a:lnTo>
                      <a:lnTo>
                        <a:pt x="527" y="153"/>
                      </a:lnTo>
                      <a:lnTo>
                        <a:pt x="529" y="154"/>
                      </a:lnTo>
                      <a:lnTo>
                        <a:pt x="530" y="154"/>
                      </a:lnTo>
                      <a:lnTo>
                        <a:pt x="533" y="156"/>
                      </a:lnTo>
                      <a:lnTo>
                        <a:pt x="534" y="156"/>
                      </a:lnTo>
                      <a:lnTo>
                        <a:pt x="536" y="157"/>
                      </a:lnTo>
                      <a:lnTo>
                        <a:pt x="536" y="156"/>
                      </a:lnTo>
                      <a:lnTo>
                        <a:pt x="537" y="157"/>
                      </a:lnTo>
                      <a:lnTo>
                        <a:pt x="540" y="162"/>
                      </a:lnTo>
                      <a:lnTo>
                        <a:pt x="544" y="167"/>
                      </a:lnTo>
                      <a:lnTo>
                        <a:pt x="544" y="168"/>
                      </a:lnTo>
                      <a:lnTo>
                        <a:pt x="544" y="174"/>
                      </a:lnTo>
                      <a:lnTo>
                        <a:pt x="545" y="177"/>
                      </a:lnTo>
                      <a:lnTo>
                        <a:pt x="545" y="178"/>
                      </a:lnTo>
                      <a:lnTo>
                        <a:pt x="546" y="180"/>
                      </a:lnTo>
                      <a:lnTo>
                        <a:pt x="549" y="182"/>
                      </a:lnTo>
                      <a:lnTo>
                        <a:pt x="555" y="185"/>
                      </a:lnTo>
                      <a:lnTo>
                        <a:pt x="561" y="191"/>
                      </a:lnTo>
                      <a:lnTo>
                        <a:pt x="567" y="195"/>
                      </a:lnTo>
                      <a:lnTo>
                        <a:pt x="568" y="195"/>
                      </a:lnTo>
                      <a:lnTo>
                        <a:pt x="568" y="196"/>
                      </a:lnTo>
                      <a:lnTo>
                        <a:pt x="568" y="198"/>
                      </a:lnTo>
                      <a:lnTo>
                        <a:pt x="568" y="199"/>
                      </a:lnTo>
                      <a:lnTo>
                        <a:pt x="569" y="203"/>
                      </a:lnTo>
                      <a:lnTo>
                        <a:pt x="570" y="208"/>
                      </a:lnTo>
                      <a:lnTo>
                        <a:pt x="572" y="211"/>
                      </a:lnTo>
                      <a:lnTo>
                        <a:pt x="573" y="216"/>
                      </a:lnTo>
                      <a:lnTo>
                        <a:pt x="573" y="219"/>
                      </a:lnTo>
                      <a:lnTo>
                        <a:pt x="574" y="224"/>
                      </a:lnTo>
                      <a:lnTo>
                        <a:pt x="575" y="227"/>
                      </a:lnTo>
                      <a:lnTo>
                        <a:pt x="576" y="232"/>
                      </a:lnTo>
                      <a:lnTo>
                        <a:pt x="577" y="236"/>
                      </a:lnTo>
                      <a:lnTo>
                        <a:pt x="579" y="240"/>
                      </a:lnTo>
                      <a:lnTo>
                        <a:pt x="579" y="245"/>
                      </a:lnTo>
                      <a:lnTo>
                        <a:pt x="580" y="248"/>
                      </a:lnTo>
                      <a:lnTo>
                        <a:pt x="581" y="253"/>
                      </a:lnTo>
                      <a:lnTo>
                        <a:pt x="582" y="257"/>
                      </a:lnTo>
                      <a:lnTo>
                        <a:pt x="583" y="261"/>
                      </a:lnTo>
                      <a:lnTo>
                        <a:pt x="583" y="265"/>
                      </a:lnTo>
                      <a:lnTo>
                        <a:pt x="576" y="269"/>
                      </a:lnTo>
                      <a:lnTo>
                        <a:pt x="577" y="271"/>
                      </a:lnTo>
                      <a:lnTo>
                        <a:pt x="579" y="273"/>
                      </a:lnTo>
                      <a:lnTo>
                        <a:pt x="581" y="274"/>
                      </a:lnTo>
                      <a:lnTo>
                        <a:pt x="584" y="281"/>
                      </a:lnTo>
                      <a:lnTo>
                        <a:pt x="589" y="288"/>
                      </a:lnTo>
                      <a:lnTo>
                        <a:pt x="591" y="296"/>
                      </a:lnTo>
                      <a:lnTo>
                        <a:pt x="594" y="306"/>
                      </a:lnTo>
                      <a:lnTo>
                        <a:pt x="595" y="311"/>
                      </a:lnTo>
                      <a:lnTo>
                        <a:pt x="595" y="317"/>
                      </a:lnTo>
                      <a:lnTo>
                        <a:pt x="594" y="324"/>
                      </a:lnTo>
                      <a:lnTo>
                        <a:pt x="593" y="337"/>
                      </a:lnTo>
                      <a:lnTo>
                        <a:pt x="593" y="339"/>
                      </a:lnTo>
                      <a:lnTo>
                        <a:pt x="597" y="351"/>
                      </a:lnTo>
                      <a:lnTo>
                        <a:pt x="597" y="352"/>
                      </a:lnTo>
                      <a:lnTo>
                        <a:pt x="597" y="353"/>
                      </a:lnTo>
                      <a:lnTo>
                        <a:pt x="595" y="360"/>
                      </a:lnTo>
                      <a:lnTo>
                        <a:pt x="594" y="362"/>
                      </a:lnTo>
                      <a:lnTo>
                        <a:pt x="594" y="363"/>
                      </a:lnTo>
                      <a:lnTo>
                        <a:pt x="594" y="364"/>
                      </a:lnTo>
                      <a:lnTo>
                        <a:pt x="594" y="365"/>
                      </a:lnTo>
                      <a:lnTo>
                        <a:pt x="593" y="366"/>
                      </a:lnTo>
                      <a:lnTo>
                        <a:pt x="593" y="367"/>
                      </a:lnTo>
                      <a:lnTo>
                        <a:pt x="591" y="370"/>
                      </a:lnTo>
                      <a:lnTo>
                        <a:pt x="591" y="371"/>
                      </a:lnTo>
                      <a:lnTo>
                        <a:pt x="591" y="372"/>
                      </a:lnTo>
                      <a:lnTo>
                        <a:pt x="594" y="381"/>
                      </a:lnTo>
                      <a:lnTo>
                        <a:pt x="595" y="385"/>
                      </a:lnTo>
                      <a:lnTo>
                        <a:pt x="595" y="386"/>
                      </a:lnTo>
                      <a:lnTo>
                        <a:pt x="596" y="387"/>
                      </a:lnTo>
                      <a:lnTo>
                        <a:pt x="597" y="387"/>
                      </a:lnTo>
                      <a:lnTo>
                        <a:pt x="597" y="388"/>
                      </a:lnTo>
                      <a:lnTo>
                        <a:pt x="596" y="392"/>
                      </a:lnTo>
                      <a:lnTo>
                        <a:pt x="596" y="393"/>
                      </a:lnTo>
                      <a:lnTo>
                        <a:pt x="597" y="394"/>
                      </a:lnTo>
                      <a:lnTo>
                        <a:pt x="597" y="395"/>
                      </a:lnTo>
                      <a:lnTo>
                        <a:pt x="595" y="400"/>
                      </a:lnTo>
                      <a:lnTo>
                        <a:pt x="583" y="406"/>
                      </a:lnTo>
                      <a:lnTo>
                        <a:pt x="583" y="407"/>
                      </a:lnTo>
                      <a:lnTo>
                        <a:pt x="582" y="408"/>
                      </a:lnTo>
                      <a:lnTo>
                        <a:pt x="581" y="411"/>
                      </a:lnTo>
                      <a:lnTo>
                        <a:pt x="580" y="413"/>
                      </a:lnTo>
                      <a:lnTo>
                        <a:pt x="581" y="414"/>
                      </a:lnTo>
                      <a:lnTo>
                        <a:pt x="586" y="421"/>
                      </a:lnTo>
                      <a:lnTo>
                        <a:pt x="590" y="427"/>
                      </a:lnTo>
                      <a:lnTo>
                        <a:pt x="595" y="433"/>
                      </a:lnTo>
                      <a:lnTo>
                        <a:pt x="600" y="440"/>
                      </a:lnTo>
                      <a:lnTo>
                        <a:pt x="601" y="442"/>
                      </a:lnTo>
                      <a:lnTo>
                        <a:pt x="601" y="444"/>
                      </a:lnTo>
                      <a:lnTo>
                        <a:pt x="601" y="449"/>
                      </a:lnTo>
                      <a:lnTo>
                        <a:pt x="602" y="454"/>
                      </a:lnTo>
                      <a:lnTo>
                        <a:pt x="602" y="458"/>
                      </a:lnTo>
                      <a:lnTo>
                        <a:pt x="602" y="460"/>
                      </a:lnTo>
                      <a:lnTo>
                        <a:pt x="607" y="462"/>
                      </a:lnTo>
                      <a:lnTo>
                        <a:pt x="608" y="463"/>
                      </a:lnTo>
                      <a:lnTo>
                        <a:pt x="608" y="467"/>
                      </a:lnTo>
                      <a:lnTo>
                        <a:pt x="609" y="468"/>
                      </a:lnTo>
                      <a:lnTo>
                        <a:pt x="609" y="469"/>
                      </a:lnTo>
                      <a:lnTo>
                        <a:pt x="614" y="471"/>
                      </a:lnTo>
                      <a:lnTo>
                        <a:pt x="614" y="472"/>
                      </a:lnTo>
                      <a:lnTo>
                        <a:pt x="615" y="472"/>
                      </a:lnTo>
                      <a:lnTo>
                        <a:pt x="618" y="470"/>
                      </a:lnTo>
                      <a:lnTo>
                        <a:pt x="623" y="469"/>
                      </a:lnTo>
                      <a:lnTo>
                        <a:pt x="624" y="469"/>
                      </a:lnTo>
                      <a:lnTo>
                        <a:pt x="630" y="471"/>
                      </a:lnTo>
                      <a:lnTo>
                        <a:pt x="638" y="474"/>
                      </a:lnTo>
                      <a:lnTo>
                        <a:pt x="647" y="477"/>
                      </a:lnTo>
                      <a:lnTo>
                        <a:pt x="648" y="477"/>
                      </a:lnTo>
                      <a:lnTo>
                        <a:pt x="650" y="478"/>
                      </a:lnTo>
                      <a:lnTo>
                        <a:pt x="651" y="479"/>
                      </a:lnTo>
                      <a:lnTo>
                        <a:pt x="653" y="484"/>
                      </a:lnTo>
                      <a:lnTo>
                        <a:pt x="655" y="489"/>
                      </a:lnTo>
                      <a:lnTo>
                        <a:pt x="659" y="496"/>
                      </a:lnTo>
                      <a:lnTo>
                        <a:pt x="661" y="500"/>
                      </a:lnTo>
                      <a:lnTo>
                        <a:pt x="664" y="505"/>
                      </a:lnTo>
                      <a:lnTo>
                        <a:pt x="661" y="506"/>
                      </a:lnTo>
                      <a:lnTo>
                        <a:pt x="660" y="507"/>
                      </a:lnTo>
                      <a:lnTo>
                        <a:pt x="658" y="510"/>
                      </a:lnTo>
                      <a:lnTo>
                        <a:pt x="655" y="511"/>
                      </a:lnTo>
                      <a:lnTo>
                        <a:pt x="653" y="512"/>
                      </a:lnTo>
                      <a:lnTo>
                        <a:pt x="651" y="513"/>
                      </a:lnTo>
                      <a:lnTo>
                        <a:pt x="648" y="514"/>
                      </a:lnTo>
                      <a:lnTo>
                        <a:pt x="646" y="517"/>
                      </a:lnTo>
                      <a:lnTo>
                        <a:pt x="644" y="518"/>
                      </a:lnTo>
                      <a:lnTo>
                        <a:pt x="643" y="519"/>
                      </a:lnTo>
                      <a:lnTo>
                        <a:pt x="640" y="520"/>
                      </a:lnTo>
                      <a:lnTo>
                        <a:pt x="638" y="523"/>
                      </a:lnTo>
                      <a:lnTo>
                        <a:pt x="636" y="524"/>
                      </a:lnTo>
                      <a:lnTo>
                        <a:pt x="633" y="525"/>
                      </a:lnTo>
                      <a:lnTo>
                        <a:pt x="631" y="526"/>
                      </a:lnTo>
                      <a:lnTo>
                        <a:pt x="629" y="527"/>
                      </a:lnTo>
                      <a:lnTo>
                        <a:pt x="627" y="530"/>
                      </a:lnTo>
                      <a:lnTo>
                        <a:pt x="625" y="531"/>
                      </a:lnTo>
                      <a:lnTo>
                        <a:pt x="623" y="532"/>
                      </a:lnTo>
                      <a:lnTo>
                        <a:pt x="620" y="533"/>
                      </a:lnTo>
                      <a:lnTo>
                        <a:pt x="618" y="534"/>
                      </a:lnTo>
                      <a:lnTo>
                        <a:pt x="616" y="537"/>
                      </a:lnTo>
                      <a:lnTo>
                        <a:pt x="614" y="538"/>
                      </a:lnTo>
                      <a:lnTo>
                        <a:pt x="612" y="539"/>
                      </a:lnTo>
                      <a:lnTo>
                        <a:pt x="610" y="540"/>
                      </a:lnTo>
                      <a:lnTo>
                        <a:pt x="608" y="541"/>
                      </a:lnTo>
                      <a:lnTo>
                        <a:pt x="605" y="544"/>
                      </a:lnTo>
                      <a:lnTo>
                        <a:pt x="603" y="545"/>
                      </a:lnTo>
                      <a:lnTo>
                        <a:pt x="601" y="546"/>
                      </a:lnTo>
                      <a:lnTo>
                        <a:pt x="598" y="547"/>
                      </a:lnTo>
                      <a:lnTo>
                        <a:pt x="596" y="548"/>
                      </a:lnTo>
                      <a:lnTo>
                        <a:pt x="595" y="551"/>
                      </a:lnTo>
                      <a:lnTo>
                        <a:pt x="593" y="552"/>
                      </a:lnTo>
                      <a:lnTo>
                        <a:pt x="590" y="553"/>
                      </a:lnTo>
                      <a:lnTo>
                        <a:pt x="588" y="554"/>
                      </a:lnTo>
                      <a:lnTo>
                        <a:pt x="586" y="555"/>
                      </a:lnTo>
                      <a:lnTo>
                        <a:pt x="583" y="558"/>
                      </a:lnTo>
                      <a:lnTo>
                        <a:pt x="581" y="559"/>
                      </a:lnTo>
                      <a:lnTo>
                        <a:pt x="580" y="560"/>
                      </a:lnTo>
                      <a:lnTo>
                        <a:pt x="577" y="561"/>
                      </a:lnTo>
                      <a:lnTo>
                        <a:pt x="575" y="562"/>
                      </a:lnTo>
                      <a:lnTo>
                        <a:pt x="573" y="565"/>
                      </a:lnTo>
                      <a:lnTo>
                        <a:pt x="570" y="566"/>
                      </a:lnTo>
                      <a:lnTo>
                        <a:pt x="568" y="567"/>
                      </a:lnTo>
                      <a:lnTo>
                        <a:pt x="566" y="568"/>
                      </a:lnTo>
                      <a:lnTo>
                        <a:pt x="565" y="569"/>
                      </a:lnTo>
                      <a:lnTo>
                        <a:pt x="562" y="570"/>
                      </a:lnTo>
                      <a:lnTo>
                        <a:pt x="560" y="573"/>
                      </a:lnTo>
                      <a:lnTo>
                        <a:pt x="558" y="574"/>
                      </a:lnTo>
                      <a:lnTo>
                        <a:pt x="555" y="575"/>
                      </a:lnTo>
                      <a:lnTo>
                        <a:pt x="553" y="576"/>
                      </a:lnTo>
                      <a:lnTo>
                        <a:pt x="551" y="577"/>
                      </a:lnTo>
                      <a:lnTo>
                        <a:pt x="549" y="580"/>
                      </a:lnTo>
                      <a:lnTo>
                        <a:pt x="547" y="581"/>
                      </a:lnTo>
                      <a:lnTo>
                        <a:pt x="545" y="582"/>
                      </a:lnTo>
                      <a:lnTo>
                        <a:pt x="543" y="583"/>
                      </a:lnTo>
                      <a:lnTo>
                        <a:pt x="540" y="584"/>
                      </a:lnTo>
                      <a:lnTo>
                        <a:pt x="538" y="587"/>
                      </a:lnTo>
                      <a:lnTo>
                        <a:pt x="536" y="588"/>
                      </a:lnTo>
                      <a:lnTo>
                        <a:pt x="534" y="589"/>
                      </a:lnTo>
                      <a:lnTo>
                        <a:pt x="532" y="590"/>
                      </a:lnTo>
                      <a:lnTo>
                        <a:pt x="530" y="591"/>
                      </a:lnTo>
                      <a:lnTo>
                        <a:pt x="527" y="594"/>
                      </a:lnTo>
                      <a:lnTo>
                        <a:pt x="525" y="595"/>
                      </a:lnTo>
                      <a:lnTo>
                        <a:pt x="520" y="597"/>
                      </a:lnTo>
                      <a:lnTo>
                        <a:pt x="518" y="600"/>
                      </a:lnTo>
                      <a:lnTo>
                        <a:pt x="516" y="602"/>
                      </a:lnTo>
                      <a:lnTo>
                        <a:pt x="513" y="604"/>
                      </a:lnTo>
                      <a:lnTo>
                        <a:pt x="511" y="607"/>
                      </a:lnTo>
                      <a:lnTo>
                        <a:pt x="509" y="608"/>
                      </a:lnTo>
                      <a:lnTo>
                        <a:pt x="506" y="610"/>
                      </a:lnTo>
                      <a:lnTo>
                        <a:pt x="505" y="611"/>
                      </a:lnTo>
                      <a:lnTo>
                        <a:pt x="503" y="614"/>
                      </a:lnTo>
                      <a:lnTo>
                        <a:pt x="502" y="615"/>
                      </a:lnTo>
                      <a:lnTo>
                        <a:pt x="499" y="617"/>
                      </a:lnTo>
                      <a:lnTo>
                        <a:pt x="497" y="618"/>
                      </a:lnTo>
                      <a:lnTo>
                        <a:pt x="495" y="621"/>
                      </a:lnTo>
                      <a:lnTo>
                        <a:pt x="494" y="623"/>
                      </a:lnTo>
                      <a:lnTo>
                        <a:pt x="491" y="624"/>
                      </a:lnTo>
                      <a:lnTo>
                        <a:pt x="489" y="626"/>
                      </a:lnTo>
                      <a:lnTo>
                        <a:pt x="488" y="628"/>
                      </a:lnTo>
                      <a:lnTo>
                        <a:pt x="485" y="630"/>
                      </a:lnTo>
                      <a:lnTo>
                        <a:pt x="483" y="631"/>
                      </a:lnTo>
                      <a:lnTo>
                        <a:pt x="481" y="633"/>
                      </a:lnTo>
                      <a:lnTo>
                        <a:pt x="480" y="636"/>
                      </a:lnTo>
                      <a:lnTo>
                        <a:pt x="477" y="637"/>
                      </a:lnTo>
                      <a:lnTo>
                        <a:pt x="475" y="639"/>
                      </a:lnTo>
                      <a:lnTo>
                        <a:pt x="473" y="640"/>
                      </a:lnTo>
                      <a:lnTo>
                        <a:pt x="472" y="643"/>
                      </a:lnTo>
                      <a:lnTo>
                        <a:pt x="469" y="645"/>
                      </a:lnTo>
                      <a:lnTo>
                        <a:pt x="467" y="646"/>
                      </a:lnTo>
                      <a:lnTo>
                        <a:pt x="466" y="646"/>
                      </a:lnTo>
                      <a:lnTo>
                        <a:pt x="462" y="647"/>
                      </a:lnTo>
                      <a:lnTo>
                        <a:pt x="459" y="649"/>
                      </a:lnTo>
                      <a:lnTo>
                        <a:pt x="452" y="650"/>
                      </a:lnTo>
                      <a:lnTo>
                        <a:pt x="445" y="651"/>
                      </a:lnTo>
                      <a:lnTo>
                        <a:pt x="441" y="652"/>
                      </a:lnTo>
                      <a:lnTo>
                        <a:pt x="435" y="653"/>
                      </a:lnTo>
                      <a:lnTo>
                        <a:pt x="430" y="654"/>
                      </a:lnTo>
                      <a:lnTo>
                        <a:pt x="424" y="656"/>
                      </a:lnTo>
                      <a:lnTo>
                        <a:pt x="418" y="657"/>
                      </a:lnTo>
                      <a:lnTo>
                        <a:pt x="412" y="658"/>
                      </a:lnTo>
                      <a:lnTo>
                        <a:pt x="406" y="659"/>
                      </a:lnTo>
                      <a:lnTo>
                        <a:pt x="404" y="660"/>
                      </a:lnTo>
                      <a:lnTo>
                        <a:pt x="401" y="660"/>
                      </a:lnTo>
                      <a:lnTo>
                        <a:pt x="396" y="661"/>
                      </a:lnTo>
                      <a:lnTo>
                        <a:pt x="392" y="663"/>
                      </a:lnTo>
                      <a:lnTo>
                        <a:pt x="390" y="663"/>
                      </a:lnTo>
                      <a:lnTo>
                        <a:pt x="389" y="663"/>
                      </a:lnTo>
                      <a:lnTo>
                        <a:pt x="388" y="663"/>
                      </a:lnTo>
                      <a:lnTo>
                        <a:pt x="385" y="660"/>
                      </a:lnTo>
                      <a:lnTo>
                        <a:pt x="384" y="659"/>
                      </a:lnTo>
                      <a:lnTo>
                        <a:pt x="383" y="659"/>
                      </a:lnTo>
                      <a:lnTo>
                        <a:pt x="382" y="658"/>
                      </a:lnTo>
                      <a:lnTo>
                        <a:pt x="382" y="657"/>
                      </a:lnTo>
                      <a:lnTo>
                        <a:pt x="382" y="656"/>
                      </a:lnTo>
                      <a:lnTo>
                        <a:pt x="382" y="654"/>
                      </a:lnTo>
                      <a:lnTo>
                        <a:pt x="383" y="654"/>
                      </a:lnTo>
                      <a:lnTo>
                        <a:pt x="384" y="653"/>
                      </a:lnTo>
                      <a:lnTo>
                        <a:pt x="384" y="652"/>
                      </a:lnTo>
                      <a:lnTo>
                        <a:pt x="384" y="651"/>
                      </a:lnTo>
                      <a:lnTo>
                        <a:pt x="385" y="651"/>
                      </a:lnTo>
                      <a:lnTo>
                        <a:pt x="385" y="650"/>
                      </a:lnTo>
                      <a:lnTo>
                        <a:pt x="387" y="650"/>
                      </a:lnTo>
                      <a:lnTo>
                        <a:pt x="387" y="649"/>
                      </a:lnTo>
                      <a:lnTo>
                        <a:pt x="387" y="647"/>
                      </a:lnTo>
                      <a:lnTo>
                        <a:pt x="385" y="647"/>
                      </a:lnTo>
                      <a:lnTo>
                        <a:pt x="385" y="646"/>
                      </a:lnTo>
                      <a:lnTo>
                        <a:pt x="385" y="645"/>
                      </a:lnTo>
                      <a:lnTo>
                        <a:pt x="384" y="643"/>
                      </a:lnTo>
                      <a:lnTo>
                        <a:pt x="384" y="642"/>
                      </a:lnTo>
                      <a:lnTo>
                        <a:pt x="385" y="636"/>
                      </a:lnTo>
                      <a:lnTo>
                        <a:pt x="384" y="635"/>
                      </a:lnTo>
                      <a:lnTo>
                        <a:pt x="383" y="633"/>
                      </a:lnTo>
                      <a:lnTo>
                        <a:pt x="382" y="633"/>
                      </a:lnTo>
                      <a:lnTo>
                        <a:pt x="381" y="632"/>
                      </a:lnTo>
                      <a:lnTo>
                        <a:pt x="376" y="630"/>
                      </a:lnTo>
                      <a:lnTo>
                        <a:pt x="368" y="629"/>
                      </a:lnTo>
                      <a:lnTo>
                        <a:pt x="366" y="629"/>
                      </a:lnTo>
                      <a:lnTo>
                        <a:pt x="363" y="628"/>
                      </a:lnTo>
                      <a:lnTo>
                        <a:pt x="362" y="628"/>
                      </a:lnTo>
                      <a:lnTo>
                        <a:pt x="361" y="628"/>
                      </a:lnTo>
                      <a:lnTo>
                        <a:pt x="360" y="626"/>
                      </a:lnTo>
                      <a:lnTo>
                        <a:pt x="359" y="626"/>
                      </a:lnTo>
                      <a:lnTo>
                        <a:pt x="357" y="624"/>
                      </a:lnTo>
                      <a:lnTo>
                        <a:pt x="356" y="623"/>
                      </a:lnTo>
                      <a:lnTo>
                        <a:pt x="355" y="621"/>
                      </a:lnTo>
                      <a:lnTo>
                        <a:pt x="353" y="619"/>
                      </a:lnTo>
                      <a:lnTo>
                        <a:pt x="352" y="619"/>
                      </a:lnTo>
                      <a:lnTo>
                        <a:pt x="351" y="619"/>
                      </a:lnTo>
                      <a:lnTo>
                        <a:pt x="349" y="621"/>
                      </a:lnTo>
                      <a:lnTo>
                        <a:pt x="348" y="622"/>
                      </a:lnTo>
                      <a:lnTo>
                        <a:pt x="346" y="621"/>
                      </a:lnTo>
                      <a:lnTo>
                        <a:pt x="345" y="621"/>
                      </a:lnTo>
                      <a:lnTo>
                        <a:pt x="345" y="619"/>
                      </a:lnTo>
                      <a:lnTo>
                        <a:pt x="344" y="621"/>
                      </a:lnTo>
                      <a:lnTo>
                        <a:pt x="342" y="621"/>
                      </a:lnTo>
                      <a:lnTo>
                        <a:pt x="342" y="619"/>
                      </a:lnTo>
                      <a:lnTo>
                        <a:pt x="341" y="619"/>
                      </a:lnTo>
                      <a:lnTo>
                        <a:pt x="341" y="618"/>
                      </a:lnTo>
                      <a:lnTo>
                        <a:pt x="340" y="618"/>
                      </a:lnTo>
                      <a:lnTo>
                        <a:pt x="339" y="618"/>
                      </a:lnTo>
                      <a:lnTo>
                        <a:pt x="335" y="615"/>
                      </a:lnTo>
                      <a:lnTo>
                        <a:pt x="334" y="615"/>
                      </a:lnTo>
                      <a:lnTo>
                        <a:pt x="334" y="612"/>
                      </a:lnTo>
                      <a:lnTo>
                        <a:pt x="334" y="611"/>
                      </a:lnTo>
                      <a:lnTo>
                        <a:pt x="334" y="610"/>
                      </a:lnTo>
                      <a:lnTo>
                        <a:pt x="332" y="609"/>
                      </a:lnTo>
                      <a:lnTo>
                        <a:pt x="331" y="608"/>
                      </a:lnTo>
                      <a:lnTo>
                        <a:pt x="330" y="608"/>
                      </a:lnTo>
                      <a:lnTo>
                        <a:pt x="328" y="608"/>
                      </a:lnTo>
                      <a:lnTo>
                        <a:pt x="328" y="607"/>
                      </a:lnTo>
                      <a:lnTo>
                        <a:pt x="327" y="607"/>
                      </a:lnTo>
                      <a:lnTo>
                        <a:pt x="325" y="607"/>
                      </a:lnTo>
                      <a:lnTo>
                        <a:pt x="325" y="605"/>
                      </a:lnTo>
                      <a:lnTo>
                        <a:pt x="324" y="604"/>
                      </a:lnTo>
                      <a:lnTo>
                        <a:pt x="323" y="604"/>
                      </a:lnTo>
                      <a:lnTo>
                        <a:pt x="321" y="604"/>
                      </a:lnTo>
                      <a:lnTo>
                        <a:pt x="320" y="604"/>
                      </a:lnTo>
                      <a:lnTo>
                        <a:pt x="319" y="604"/>
                      </a:lnTo>
                      <a:lnTo>
                        <a:pt x="318" y="603"/>
                      </a:lnTo>
                      <a:lnTo>
                        <a:pt x="318" y="602"/>
                      </a:lnTo>
                      <a:lnTo>
                        <a:pt x="319" y="598"/>
                      </a:lnTo>
                      <a:lnTo>
                        <a:pt x="319" y="595"/>
                      </a:lnTo>
                      <a:lnTo>
                        <a:pt x="319" y="594"/>
                      </a:lnTo>
                      <a:lnTo>
                        <a:pt x="319" y="593"/>
                      </a:lnTo>
                      <a:lnTo>
                        <a:pt x="318" y="591"/>
                      </a:lnTo>
                      <a:lnTo>
                        <a:pt x="314" y="589"/>
                      </a:lnTo>
                      <a:lnTo>
                        <a:pt x="312" y="587"/>
                      </a:lnTo>
                      <a:lnTo>
                        <a:pt x="309" y="586"/>
                      </a:lnTo>
                      <a:lnTo>
                        <a:pt x="306" y="583"/>
                      </a:lnTo>
                      <a:lnTo>
                        <a:pt x="303" y="581"/>
                      </a:lnTo>
                      <a:lnTo>
                        <a:pt x="300" y="580"/>
                      </a:lnTo>
                      <a:lnTo>
                        <a:pt x="298" y="577"/>
                      </a:lnTo>
                      <a:lnTo>
                        <a:pt x="295" y="575"/>
                      </a:lnTo>
                      <a:lnTo>
                        <a:pt x="292" y="574"/>
                      </a:lnTo>
                      <a:lnTo>
                        <a:pt x="289" y="572"/>
                      </a:lnTo>
                      <a:lnTo>
                        <a:pt x="287" y="569"/>
                      </a:lnTo>
                      <a:lnTo>
                        <a:pt x="284" y="568"/>
                      </a:lnTo>
                      <a:lnTo>
                        <a:pt x="282" y="566"/>
                      </a:lnTo>
                      <a:lnTo>
                        <a:pt x="281" y="566"/>
                      </a:lnTo>
                      <a:lnTo>
                        <a:pt x="278" y="565"/>
                      </a:lnTo>
                      <a:lnTo>
                        <a:pt x="275" y="562"/>
                      </a:lnTo>
                      <a:lnTo>
                        <a:pt x="273" y="560"/>
                      </a:lnTo>
                      <a:lnTo>
                        <a:pt x="270" y="559"/>
                      </a:lnTo>
                      <a:lnTo>
                        <a:pt x="267" y="556"/>
                      </a:lnTo>
                      <a:lnTo>
                        <a:pt x="264" y="554"/>
                      </a:lnTo>
                      <a:lnTo>
                        <a:pt x="261" y="553"/>
                      </a:lnTo>
                      <a:lnTo>
                        <a:pt x="259" y="551"/>
                      </a:lnTo>
                      <a:lnTo>
                        <a:pt x="256" y="548"/>
                      </a:lnTo>
                      <a:lnTo>
                        <a:pt x="253" y="547"/>
                      </a:lnTo>
                      <a:lnTo>
                        <a:pt x="250" y="545"/>
                      </a:lnTo>
                      <a:lnTo>
                        <a:pt x="247" y="542"/>
                      </a:lnTo>
                      <a:lnTo>
                        <a:pt x="245" y="541"/>
                      </a:lnTo>
                      <a:lnTo>
                        <a:pt x="242" y="539"/>
                      </a:lnTo>
                      <a:lnTo>
                        <a:pt x="239" y="537"/>
                      </a:lnTo>
                      <a:lnTo>
                        <a:pt x="236" y="535"/>
                      </a:lnTo>
                      <a:lnTo>
                        <a:pt x="233" y="533"/>
                      </a:lnTo>
                      <a:lnTo>
                        <a:pt x="231" y="532"/>
                      </a:lnTo>
                      <a:lnTo>
                        <a:pt x="228" y="530"/>
                      </a:lnTo>
                      <a:lnTo>
                        <a:pt x="225" y="527"/>
                      </a:lnTo>
                      <a:lnTo>
                        <a:pt x="223" y="526"/>
                      </a:lnTo>
                      <a:lnTo>
                        <a:pt x="219" y="524"/>
                      </a:lnTo>
                      <a:lnTo>
                        <a:pt x="217" y="521"/>
                      </a:lnTo>
                      <a:lnTo>
                        <a:pt x="214" y="520"/>
                      </a:lnTo>
                      <a:lnTo>
                        <a:pt x="211" y="518"/>
                      </a:lnTo>
                      <a:lnTo>
                        <a:pt x="209" y="516"/>
                      </a:lnTo>
                      <a:lnTo>
                        <a:pt x="205" y="514"/>
                      </a:lnTo>
                      <a:lnTo>
                        <a:pt x="203" y="512"/>
                      </a:lnTo>
                      <a:lnTo>
                        <a:pt x="200" y="510"/>
                      </a:lnTo>
                      <a:lnTo>
                        <a:pt x="197" y="509"/>
                      </a:lnTo>
                      <a:lnTo>
                        <a:pt x="195" y="506"/>
                      </a:lnTo>
                      <a:lnTo>
                        <a:pt x="191" y="504"/>
                      </a:lnTo>
                      <a:lnTo>
                        <a:pt x="189" y="503"/>
                      </a:lnTo>
                      <a:lnTo>
                        <a:pt x="186" y="500"/>
                      </a:lnTo>
                      <a:lnTo>
                        <a:pt x="183" y="498"/>
                      </a:lnTo>
                      <a:lnTo>
                        <a:pt x="181" y="497"/>
                      </a:lnTo>
                      <a:lnTo>
                        <a:pt x="177" y="495"/>
                      </a:lnTo>
                      <a:lnTo>
                        <a:pt x="175" y="493"/>
                      </a:lnTo>
                      <a:lnTo>
                        <a:pt x="172" y="491"/>
                      </a:lnTo>
                      <a:lnTo>
                        <a:pt x="170" y="490"/>
                      </a:lnTo>
                      <a:lnTo>
                        <a:pt x="168" y="488"/>
                      </a:lnTo>
                      <a:lnTo>
                        <a:pt x="164" y="485"/>
                      </a:lnTo>
                      <a:lnTo>
                        <a:pt x="162" y="484"/>
                      </a:lnTo>
                      <a:lnTo>
                        <a:pt x="160" y="482"/>
                      </a:lnTo>
                      <a:lnTo>
                        <a:pt x="157" y="481"/>
                      </a:lnTo>
                      <a:lnTo>
                        <a:pt x="155" y="478"/>
                      </a:lnTo>
                      <a:lnTo>
                        <a:pt x="152" y="477"/>
                      </a:lnTo>
                      <a:lnTo>
                        <a:pt x="149" y="475"/>
                      </a:lnTo>
                      <a:lnTo>
                        <a:pt x="147" y="474"/>
                      </a:lnTo>
                      <a:lnTo>
                        <a:pt x="145" y="471"/>
                      </a:lnTo>
                      <a:lnTo>
                        <a:pt x="141" y="470"/>
                      </a:lnTo>
                      <a:lnTo>
                        <a:pt x="139" y="468"/>
                      </a:lnTo>
                      <a:lnTo>
                        <a:pt x="135" y="465"/>
                      </a:lnTo>
                      <a:lnTo>
                        <a:pt x="133" y="464"/>
                      </a:lnTo>
                      <a:lnTo>
                        <a:pt x="131" y="462"/>
                      </a:lnTo>
                      <a:lnTo>
                        <a:pt x="128" y="461"/>
                      </a:lnTo>
                      <a:lnTo>
                        <a:pt x="126" y="458"/>
                      </a:lnTo>
                      <a:lnTo>
                        <a:pt x="120" y="455"/>
                      </a:lnTo>
                      <a:lnTo>
                        <a:pt x="114" y="451"/>
                      </a:lnTo>
                      <a:lnTo>
                        <a:pt x="108" y="448"/>
                      </a:lnTo>
                      <a:lnTo>
                        <a:pt x="103" y="444"/>
                      </a:lnTo>
                      <a:lnTo>
                        <a:pt x="99" y="442"/>
                      </a:lnTo>
                      <a:lnTo>
                        <a:pt x="98" y="441"/>
                      </a:lnTo>
                      <a:lnTo>
                        <a:pt x="93" y="439"/>
                      </a:lnTo>
                      <a:lnTo>
                        <a:pt x="89" y="435"/>
                      </a:lnTo>
                      <a:lnTo>
                        <a:pt x="83" y="432"/>
                      </a:lnTo>
                      <a:lnTo>
                        <a:pt x="77" y="428"/>
                      </a:lnTo>
                      <a:lnTo>
                        <a:pt x="71" y="423"/>
                      </a:lnTo>
                      <a:lnTo>
                        <a:pt x="64" y="420"/>
                      </a:lnTo>
                      <a:lnTo>
                        <a:pt x="58" y="415"/>
                      </a:lnTo>
                      <a:lnTo>
                        <a:pt x="51" y="412"/>
                      </a:lnTo>
                      <a:lnTo>
                        <a:pt x="46" y="407"/>
                      </a:lnTo>
                      <a:lnTo>
                        <a:pt x="39" y="404"/>
                      </a:lnTo>
                      <a:lnTo>
                        <a:pt x="33" y="399"/>
                      </a:lnTo>
                      <a:lnTo>
                        <a:pt x="26" y="395"/>
                      </a:lnTo>
                      <a:lnTo>
                        <a:pt x="20" y="391"/>
                      </a:lnTo>
                      <a:lnTo>
                        <a:pt x="13" y="387"/>
                      </a:lnTo>
                      <a:lnTo>
                        <a:pt x="7" y="383"/>
                      </a:lnTo>
                      <a:lnTo>
                        <a:pt x="0" y="379"/>
                      </a:lnTo>
                      <a:lnTo>
                        <a:pt x="0" y="376"/>
                      </a:lnTo>
                      <a:lnTo>
                        <a:pt x="0" y="372"/>
                      </a:lnTo>
                      <a:lnTo>
                        <a:pt x="0" y="369"/>
                      </a:lnTo>
                      <a:lnTo>
                        <a:pt x="0" y="365"/>
                      </a:lnTo>
                      <a:lnTo>
                        <a:pt x="0" y="364"/>
                      </a:lnTo>
                      <a:lnTo>
                        <a:pt x="0" y="362"/>
                      </a:lnTo>
                      <a:lnTo>
                        <a:pt x="0" y="359"/>
                      </a:lnTo>
                      <a:lnTo>
                        <a:pt x="0" y="357"/>
                      </a:lnTo>
                      <a:lnTo>
                        <a:pt x="0" y="355"/>
                      </a:lnTo>
                      <a:lnTo>
                        <a:pt x="0" y="352"/>
                      </a:lnTo>
                      <a:lnTo>
                        <a:pt x="0" y="350"/>
                      </a:lnTo>
                      <a:lnTo>
                        <a:pt x="0" y="348"/>
                      </a:lnTo>
                      <a:lnTo>
                        <a:pt x="0" y="346"/>
                      </a:lnTo>
                      <a:lnTo>
                        <a:pt x="0" y="344"/>
                      </a:lnTo>
                      <a:lnTo>
                        <a:pt x="0" y="342"/>
                      </a:lnTo>
                      <a:lnTo>
                        <a:pt x="0" y="339"/>
                      </a:lnTo>
                      <a:lnTo>
                        <a:pt x="0" y="337"/>
                      </a:lnTo>
                      <a:lnTo>
                        <a:pt x="0" y="335"/>
                      </a:lnTo>
                      <a:lnTo>
                        <a:pt x="0" y="332"/>
                      </a:lnTo>
                      <a:lnTo>
                        <a:pt x="0" y="331"/>
                      </a:lnTo>
                      <a:lnTo>
                        <a:pt x="0" y="329"/>
                      </a:lnTo>
                      <a:lnTo>
                        <a:pt x="0" y="328"/>
                      </a:lnTo>
                      <a:lnTo>
                        <a:pt x="1" y="327"/>
                      </a:lnTo>
                      <a:lnTo>
                        <a:pt x="5" y="324"/>
                      </a:lnTo>
                      <a:lnTo>
                        <a:pt x="6" y="323"/>
                      </a:lnTo>
                      <a:lnTo>
                        <a:pt x="7" y="323"/>
                      </a:lnTo>
                      <a:lnTo>
                        <a:pt x="8" y="322"/>
                      </a:lnTo>
                      <a:lnTo>
                        <a:pt x="10" y="320"/>
                      </a:lnTo>
                      <a:lnTo>
                        <a:pt x="11" y="320"/>
                      </a:lnTo>
                      <a:lnTo>
                        <a:pt x="12" y="318"/>
                      </a:lnTo>
                      <a:lnTo>
                        <a:pt x="13" y="317"/>
                      </a:lnTo>
                      <a:lnTo>
                        <a:pt x="15" y="315"/>
                      </a:lnTo>
                      <a:lnTo>
                        <a:pt x="19" y="314"/>
                      </a:lnTo>
                      <a:lnTo>
                        <a:pt x="20" y="313"/>
                      </a:lnTo>
                      <a:lnTo>
                        <a:pt x="24" y="310"/>
                      </a:lnTo>
                      <a:lnTo>
                        <a:pt x="27" y="308"/>
                      </a:lnTo>
                      <a:lnTo>
                        <a:pt x="28" y="306"/>
                      </a:lnTo>
                      <a:lnTo>
                        <a:pt x="31" y="304"/>
                      </a:lnTo>
                      <a:lnTo>
                        <a:pt x="33" y="302"/>
                      </a:lnTo>
                      <a:lnTo>
                        <a:pt x="34" y="302"/>
                      </a:lnTo>
                      <a:lnTo>
                        <a:pt x="35" y="302"/>
                      </a:lnTo>
                      <a:lnTo>
                        <a:pt x="36" y="302"/>
                      </a:lnTo>
                      <a:lnTo>
                        <a:pt x="37" y="302"/>
                      </a:lnTo>
                      <a:lnTo>
                        <a:pt x="39" y="302"/>
                      </a:lnTo>
                      <a:lnTo>
                        <a:pt x="42" y="302"/>
                      </a:lnTo>
                      <a:lnTo>
                        <a:pt x="44" y="299"/>
                      </a:lnTo>
                      <a:lnTo>
                        <a:pt x="49" y="297"/>
                      </a:lnTo>
                      <a:lnTo>
                        <a:pt x="51" y="297"/>
                      </a:lnTo>
                      <a:lnTo>
                        <a:pt x="55" y="297"/>
                      </a:lnTo>
                      <a:lnTo>
                        <a:pt x="61" y="300"/>
                      </a:lnTo>
                      <a:lnTo>
                        <a:pt x="63" y="297"/>
                      </a:lnTo>
                      <a:lnTo>
                        <a:pt x="68" y="296"/>
                      </a:lnTo>
                      <a:lnTo>
                        <a:pt x="72" y="295"/>
                      </a:lnTo>
                      <a:lnTo>
                        <a:pt x="77" y="294"/>
                      </a:lnTo>
                      <a:lnTo>
                        <a:pt x="82" y="294"/>
                      </a:lnTo>
                      <a:lnTo>
                        <a:pt x="85" y="294"/>
                      </a:lnTo>
                      <a:lnTo>
                        <a:pt x="89" y="294"/>
                      </a:lnTo>
                      <a:lnTo>
                        <a:pt x="93" y="293"/>
                      </a:lnTo>
                      <a:lnTo>
                        <a:pt x="95" y="296"/>
                      </a:lnTo>
                      <a:lnTo>
                        <a:pt x="97" y="297"/>
                      </a:lnTo>
                      <a:lnTo>
                        <a:pt x="100" y="296"/>
                      </a:lnTo>
                      <a:lnTo>
                        <a:pt x="104" y="292"/>
                      </a:lnTo>
                      <a:lnTo>
                        <a:pt x="106" y="287"/>
                      </a:lnTo>
                      <a:lnTo>
                        <a:pt x="108" y="282"/>
                      </a:lnTo>
                      <a:lnTo>
                        <a:pt x="112" y="279"/>
                      </a:lnTo>
                      <a:lnTo>
                        <a:pt x="115" y="276"/>
                      </a:lnTo>
                      <a:lnTo>
                        <a:pt x="119" y="274"/>
                      </a:lnTo>
                      <a:lnTo>
                        <a:pt x="121" y="272"/>
                      </a:lnTo>
                      <a:lnTo>
                        <a:pt x="125" y="269"/>
                      </a:lnTo>
                      <a:lnTo>
                        <a:pt x="129" y="267"/>
                      </a:lnTo>
                      <a:lnTo>
                        <a:pt x="134" y="264"/>
                      </a:lnTo>
                      <a:lnTo>
                        <a:pt x="138" y="259"/>
                      </a:lnTo>
                      <a:lnTo>
                        <a:pt x="140" y="258"/>
                      </a:lnTo>
                      <a:lnTo>
                        <a:pt x="145" y="257"/>
                      </a:lnTo>
                      <a:lnTo>
                        <a:pt x="149" y="255"/>
                      </a:lnTo>
                      <a:lnTo>
                        <a:pt x="155" y="254"/>
                      </a:lnTo>
                      <a:lnTo>
                        <a:pt x="161" y="251"/>
                      </a:lnTo>
                      <a:lnTo>
                        <a:pt x="160" y="248"/>
                      </a:lnTo>
                      <a:lnTo>
                        <a:pt x="160" y="246"/>
                      </a:lnTo>
                      <a:lnTo>
                        <a:pt x="162" y="245"/>
                      </a:lnTo>
                      <a:lnTo>
                        <a:pt x="163" y="243"/>
                      </a:lnTo>
                      <a:lnTo>
                        <a:pt x="162" y="239"/>
                      </a:lnTo>
                      <a:lnTo>
                        <a:pt x="161" y="238"/>
                      </a:lnTo>
                      <a:lnTo>
                        <a:pt x="161" y="237"/>
                      </a:lnTo>
                      <a:lnTo>
                        <a:pt x="160" y="237"/>
                      </a:lnTo>
                      <a:lnTo>
                        <a:pt x="159" y="236"/>
                      </a:lnTo>
                      <a:lnTo>
                        <a:pt x="159" y="234"/>
                      </a:lnTo>
                      <a:lnTo>
                        <a:pt x="157" y="234"/>
                      </a:lnTo>
                      <a:lnTo>
                        <a:pt x="157" y="233"/>
                      </a:lnTo>
                      <a:lnTo>
                        <a:pt x="156" y="234"/>
                      </a:lnTo>
                      <a:lnTo>
                        <a:pt x="155" y="234"/>
                      </a:lnTo>
                      <a:lnTo>
                        <a:pt x="155" y="236"/>
                      </a:lnTo>
                      <a:lnTo>
                        <a:pt x="154" y="236"/>
                      </a:lnTo>
                      <a:lnTo>
                        <a:pt x="154" y="234"/>
                      </a:lnTo>
                      <a:lnTo>
                        <a:pt x="154" y="233"/>
                      </a:lnTo>
                      <a:lnTo>
                        <a:pt x="155" y="232"/>
                      </a:lnTo>
                      <a:lnTo>
                        <a:pt x="155" y="231"/>
                      </a:lnTo>
                      <a:lnTo>
                        <a:pt x="155" y="229"/>
                      </a:lnTo>
                      <a:lnTo>
                        <a:pt x="155" y="227"/>
                      </a:lnTo>
                      <a:lnTo>
                        <a:pt x="157" y="226"/>
                      </a:lnTo>
                      <a:lnTo>
                        <a:pt x="160" y="226"/>
                      </a:lnTo>
                      <a:lnTo>
                        <a:pt x="160" y="216"/>
                      </a:lnTo>
                      <a:lnTo>
                        <a:pt x="162" y="215"/>
                      </a:lnTo>
                      <a:lnTo>
                        <a:pt x="163" y="216"/>
                      </a:lnTo>
                      <a:lnTo>
                        <a:pt x="164" y="215"/>
                      </a:lnTo>
                      <a:lnTo>
                        <a:pt x="174" y="213"/>
                      </a:lnTo>
                      <a:lnTo>
                        <a:pt x="181" y="211"/>
                      </a:lnTo>
                      <a:lnTo>
                        <a:pt x="186" y="210"/>
                      </a:lnTo>
                      <a:lnTo>
                        <a:pt x="185" y="206"/>
                      </a:lnTo>
                      <a:lnTo>
                        <a:pt x="183" y="201"/>
                      </a:lnTo>
                      <a:lnTo>
                        <a:pt x="184" y="199"/>
                      </a:lnTo>
                      <a:lnTo>
                        <a:pt x="190" y="199"/>
                      </a:lnTo>
                      <a:lnTo>
                        <a:pt x="196" y="197"/>
                      </a:lnTo>
                      <a:lnTo>
                        <a:pt x="200" y="197"/>
                      </a:lnTo>
                      <a:lnTo>
                        <a:pt x="203" y="197"/>
                      </a:lnTo>
                      <a:lnTo>
                        <a:pt x="205" y="197"/>
                      </a:lnTo>
                      <a:lnTo>
                        <a:pt x="207" y="198"/>
                      </a:lnTo>
                      <a:lnTo>
                        <a:pt x="210" y="198"/>
                      </a:lnTo>
                      <a:lnTo>
                        <a:pt x="213" y="198"/>
                      </a:lnTo>
                      <a:lnTo>
                        <a:pt x="216" y="198"/>
                      </a:lnTo>
                      <a:lnTo>
                        <a:pt x="219" y="198"/>
                      </a:lnTo>
                      <a:lnTo>
                        <a:pt x="221" y="198"/>
                      </a:lnTo>
                      <a:lnTo>
                        <a:pt x="224" y="198"/>
                      </a:lnTo>
                      <a:lnTo>
                        <a:pt x="226" y="198"/>
                      </a:lnTo>
                      <a:lnTo>
                        <a:pt x="228" y="198"/>
                      </a:lnTo>
                      <a:lnTo>
                        <a:pt x="231" y="198"/>
                      </a:lnTo>
                      <a:lnTo>
                        <a:pt x="232" y="198"/>
                      </a:lnTo>
                      <a:lnTo>
                        <a:pt x="233" y="198"/>
                      </a:lnTo>
                      <a:lnTo>
                        <a:pt x="234" y="198"/>
                      </a:lnTo>
                      <a:lnTo>
                        <a:pt x="236" y="198"/>
                      </a:lnTo>
                      <a:lnTo>
                        <a:pt x="238" y="198"/>
                      </a:lnTo>
                      <a:lnTo>
                        <a:pt x="239" y="197"/>
                      </a:lnTo>
                      <a:lnTo>
                        <a:pt x="239" y="196"/>
                      </a:lnTo>
                      <a:lnTo>
                        <a:pt x="238" y="196"/>
                      </a:lnTo>
                      <a:lnTo>
                        <a:pt x="236" y="196"/>
                      </a:lnTo>
                      <a:lnTo>
                        <a:pt x="235" y="196"/>
                      </a:lnTo>
                      <a:lnTo>
                        <a:pt x="235" y="195"/>
                      </a:lnTo>
                      <a:lnTo>
                        <a:pt x="236" y="195"/>
                      </a:lnTo>
                      <a:lnTo>
                        <a:pt x="236" y="194"/>
                      </a:lnTo>
                      <a:lnTo>
                        <a:pt x="236" y="190"/>
                      </a:lnTo>
                      <a:lnTo>
                        <a:pt x="236" y="188"/>
                      </a:lnTo>
                      <a:lnTo>
                        <a:pt x="238" y="188"/>
                      </a:lnTo>
                      <a:lnTo>
                        <a:pt x="238" y="187"/>
                      </a:lnTo>
                      <a:lnTo>
                        <a:pt x="239" y="187"/>
                      </a:lnTo>
                      <a:lnTo>
                        <a:pt x="240" y="187"/>
                      </a:lnTo>
                      <a:lnTo>
                        <a:pt x="241" y="185"/>
                      </a:lnTo>
                      <a:lnTo>
                        <a:pt x="242" y="185"/>
                      </a:lnTo>
                      <a:lnTo>
                        <a:pt x="243" y="183"/>
                      </a:lnTo>
                      <a:lnTo>
                        <a:pt x="243" y="182"/>
                      </a:lnTo>
                      <a:lnTo>
                        <a:pt x="234" y="175"/>
                      </a:lnTo>
                      <a:lnTo>
                        <a:pt x="232" y="175"/>
                      </a:lnTo>
                      <a:lnTo>
                        <a:pt x="231" y="174"/>
                      </a:lnTo>
                      <a:lnTo>
                        <a:pt x="226" y="167"/>
                      </a:lnTo>
                      <a:lnTo>
                        <a:pt x="228" y="166"/>
                      </a:lnTo>
                      <a:lnTo>
                        <a:pt x="228" y="164"/>
                      </a:lnTo>
                      <a:lnTo>
                        <a:pt x="228" y="163"/>
                      </a:lnTo>
                      <a:lnTo>
                        <a:pt x="228" y="162"/>
                      </a:lnTo>
                      <a:lnTo>
                        <a:pt x="228" y="161"/>
                      </a:lnTo>
                      <a:lnTo>
                        <a:pt x="227" y="161"/>
                      </a:lnTo>
                      <a:lnTo>
                        <a:pt x="226" y="160"/>
                      </a:lnTo>
                      <a:lnTo>
                        <a:pt x="225" y="159"/>
                      </a:lnTo>
                      <a:lnTo>
                        <a:pt x="225" y="157"/>
                      </a:lnTo>
                      <a:lnTo>
                        <a:pt x="225" y="156"/>
                      </a:lnTo>
                      <a:lnTo>
                        <a:pt x="223" y="155"/>
                      </a:lnTo>
                      <a:lnTo>
                        <a:pt x="223" y="154"/>
                      </a:lnTo>
                      <a:lnTo>
                        <a:pt x="223" y="149"/>
                      </a:lnTo>
                      <a:lnTo>
                        <a:pt x="223" y="148"/>
                      </a:lnTo>
                      <a:lnTo>
                        <a:pt x="224" y="146"/>
                      </a:lnTo>
                      <a:lnTo>
                        <a:pt x="224" y="145"/>
                      </a:lnTo>
                      <a:lnTo>
                        <a:pt x="225" y="143"/>
                      </a:lnTo>
                      <a:lnTo>
                        <a:pt x="225" y="142"/>
                      </a:lnTo>
                      <a:lnTo>
                        <a:pt x="223" y="139"/>
                      </a:lnTo>
                      <a:lnTo>
                        <a:pt x="221" y="139"/>
                      </a:lnTo>
                      <a:lnTo>
                        <a:pt x="221" y="138"/>
                      </a:lnTo>
                      <a:lnTo>
                        <a:pt x="220" y="138"/>
                      </a:lnTo>
                      <a:lnTo>
                        <a:pt x="220" y="136"/>
                      </a:lnTo>
                      <a:lnTo>
                        <a:pt x="221" y="135"/>
                      </a:lnTo>
                      <a:lnTo>
                        <a:pt x="221" y="134"/>
                      </a:lnTo>
                      <a:lnTo>
                        <a:pt x="221" y="133"/>
                      </a:lnTo>
                      <a:lnTo>
                        <a:pt x="221" y="132"/>
                      </a:lnTo>
                      <a:lnTo>
                        <a:pt x="221" y="129"/>
                      </a:lnTo>
                      <a:lnTo>
                        <a:pt x="223" y="124"/>
                      </a:lnTo>
                      <a:lnTo>
                        <a:pt x="223" y="122"/>
                      </a:lnTo>
                      <a:lnTo>
                        <a:pt x="223" y="121"/>
                      </a:lnTo>
                      <a:lnTo>
                        <a:pt x="220" y="114"/>
                      </a:lnTo>
                      <a:lnTo>
                        <a:pt x="219" y="112"/>
                      </a:lnTo>
                      <a:lnTo>
                        <a:pt x="218" y="111"/>
                      </a:lnTo>
                      <a:lnTo>
                        <a:pt x="221" y="107"/>
                      </a:lnTo>
                      <a:lnTo>
                        <a:pt x="220" y="106"/>
                      </a:lnTo>
                      <a:lnTo>
                        <a:pt x="219" y="106"/>
                      </a:lnTo>
                      <a:lnTo>
                        <a:pt x="216" y="103"/>
                      </a:lnTo>
                      <a:lnTo>
                        <a:pt x="216" y="101"/>
                      </a:lnTo>
                      <a:lnTo>
                        <a:pt x="218" y="99"/>
                      </a:lnTo>
                      <a:lnTo>
                        <a:pt x="218" y="97"/>
                      </a:lnTo>
                      <a:lnTo>
                        <a:pt x="219" y="97"/>
                      </a:lnTo>
                      <a:lnTo>
                        <a:pt x="218" y="96"/>
                      </a:lnTo>
                      <a:lnTo>
                        <a:pt x="214" y="94"/>
                      </a:lnTo>
                      <a:lnTo>
                        <a:pt x="213" y="93"/>
                      </a:lnTo>
                      <a:lnTo>
                        <a:pt x="212" y="92"/>
                      </a:lnTo>
                      <a:lnTo>
                        <a:pt x="212" y="91"/>
                      </a:lnTo>
                      <a:lnTo>
                        <a:pt x="211" y="91"/>
                      </a:lnTo>
                      <a:lnTo>
                        <a:pt x="211" y="90"/>
                      </a:lnTo>
                      <a:lnTo>
                        <a:pt x="210" y="90"/>
                      </a:lnTo>
                      <a:lnTo>
                        <a:pt x="209" y="89"/>
                      </a:lnTo>
                      <a:lnTo>
                        <a:pt x="207" y="87"/>
                      </a:lnTo>
                      <a:lnTo>
                        <a:pt x="206" y="87"/>
                      </a:lnTo>
                      <a:lnTo>
                        <a:pt x="205" y="86"/>
                      </a:lnTo>
                      <a:lnTo>
                        <a:pt x="204" y="86"/>
                      </a:lnTo>
                      <a:lnTo>
                        <a:pt x="204" y="85"/>
                      </a:lnTo>
                      <a:lnTo>
                        <a:pt x="204" y="83"/>
                      </a:lnTo>
                      <a:lnTo>
                        <a:pt x="205" y="83"/>
                      </a:lnTo>
                      <a:lnTo>
                        <a:pt x="206" y="83"/>
                      </a:lnTo>
                      <a:lnTo>
                        <a:pt x="207" y="83"/>
                      </a:lnTo>
                      <a:lnTo>
                        <a:pt x="209" y="84"/>
                      </a:lnTo>
                      <a:lnTo>
                        <a:pt x="210" y="84"/>
                      </a:lnTo>
                      <a:lnTo>
                        <a:pt x="212" y="83"/>
                      </a:lnTo>
                      <a:lnTo>
                        <a:pt x="212" y="84"/>
                      </a:lnTo>
                      <a:lnTo>
                        <a:pt x="213" y="84"/>
                      </a:lnTo>
                      <a:lnTo>
                        <a:pt x="213" y="83"/>
                      </a:lnTo>
                      <a:lnTo>
                        <a:pt x="217" y="82"/>
                      </a:lnTo>
                      <a:lnTo>
                        <a:pt x="218" y="82"/>
                      </a:lnTo>
                      <a:lnTo>
                        <a:pt x="219" y="82"/>
                      </a:lnTo>
                      <a:lnTo>
                        <a:pt x="220" y="79"/>
                      </a:lnTo>
                      <a:lnTo>
                        <a:pt x="223" y="79"/>
                      </a:lnTo>
                      <a:lnTo>
                        <a:pt x="224" y="78"/>
                      </a:lnTo>
                      <a:lnTo>
                        <a:pt x="227" y="75"/>
                      </a:lnTo>
                      <a:lnTo>
                        <a:pt x="231" y="75"/>
                      </a:lnTo>
                      <a:lnTo>
                        <a:pt x="232" y="73"/>
                      </a:lnTo>
                      <a:lnTo>
                        <a:pt x="233" y="72"/>
                      </a:lnTo>
                      <a:lnTo>
                        <a:pt x="234" y="72"/>
                      </a:lnTo>
                      <a:lnTo>
                        <a:pt x="234" y="71"/>
                      </a:lnTo>
                      <a:lnTo>
                        <a:pt x="235" y="70"/>
                      </a:lnTo>
                      <a:lnTo>
                        <a:pt x="235" y="69"/>
                      </a:lnTo>
                      <a:lnTo>
                        <a:pt x="235" y="68"/>
                      </a:lnTo>
                      <a:lnTo>
                        <a:pt x="236" y="66"/>
                      </a:lnTo>
                      <a:lnTo>
                        <a:pt x="238" y="64"/>
                      </a:lnTo>
                      <a:lnTo>
                        <a:pt x="238" y="63"/>
                      </a:lnTo>
                      <a:lnTo>
                        <a:pt x="239" y="63"/>
                      </a:lnTo>
                      <a:lnTo>
                        <a:pt x="240" y="62"/>
                      </a:lnTo>
                      <a:lnTo>
                        <a:pt x="240" y="61"/>
                      </a:lnTo>
                      <a:lnTo>
                        <a:pt x="241" y="61"/>
                      </a:lnTo>
                      <a:lnTo>
                        <a:pt x="242" y="59"/>
                      </a:lnTo>
                      <a:lnTo>
                        <a:pt x="243" y="59"/>
                      </a:lnTo>
                      <a:lnTo>
                        <a:pt x="243" y="58"/>
                      </a:lnTo>
                      <a:lnTo>
                        <a:pt x="245" y="58"/>
                      </a:lnTo>
                      <a:lnTo>
                        <a:pt x="246" y="57"/>
                      </a:lnTo>
                      <a:lnTo>
                        <a:pt x="246" y="58"/>
                      </a:lnTo>
                      <a:lnTo>
                        <a:pt x="247" y="58"/>
                      </a:lnTo>
                      <a:lnTo>
                        <a:pt x="248" y="57"/>
                      </a:lnTo>
                      <a:lnTo>
                        <a:pt x="249" y="56"/>
                      </a:lnTo>
                      <a:lnTo>
                        <a:pt x="250" y="56"/>
                      </a:lnTo>
                      <a:lnTo>
                        <a:pt x="252" y="56"/>
                      </a:lnTo>
                      <a:lnTo>
                        <a:pt x="252" y="57"/>
                      </a:lnTo>
                      <a:lnTo>
                        <a:pt x="253" y="57"/>
                      </a:lnTo>
                      <a:lnTo>
                        <a:pt x="253" y="58"/>
                      </a:lnTo>
                      <a:lnTo>
                        <a:pt x="254" y="58"/>
                      </a:lnTo>
                      <a:lnTo>
                        <a:pt x="255" y="57"/>
                      </a:lnTo>
                      <a:lnTo>
                        <a:pt x="256" y="57"/>
                      </a:lnTo>
                      <a:lnTo>
                        <a:pt x="256" y="56"/>
                      </a:lnTo>
                      <a:lnTo>
                        <a:pt x="257" y="56"/>
                      </a:lnTo>
                      <a:lnTo>
                        <a:pt x="259" y="56"/>
                      </a:lnTo>
                      <a:lnTo>
                        <a:pt x="259" y="55"/>
                      </a:lnTo>
                      <a:lnTo>
                        <a:pt x="260" y="52"/>
                      </a:lnTo>
                      <a:lnTo>
                        <a:pt x="260" y="51"/>
                      </a:lnTo>
                      <a:lnTo>
                        <a:pt x="261" y="51"/>
                      </a:lnTo>
                      <a:lnTo>
                        <a:pt x="262" y="51"/>
                      </a:lnTo>
                      <a:lnTo>
                        <a:pt x="263" y="50"/>
                      </a:lnTo>
                      <a:lnTo>
                        <a:pt x="264" y="50"/>
                      </a:lnTo>
                      <a:lnTo>
                        <a:pt x="264" y="51"/>
                      </a:lnTo>
                      <a:lnTo>
                        <a:pt x="266" y="51"/>
                      </a:lnTo>
                      <a:lnTo>
                        <a:pt x="266" y="52"/>
                      </a:lnTo>
                      <a:lnTo>
                        <a:pt x="266" y="54"/>
                      </a:lnTo>
                      <a:lnTo>
                        <a:pt x="267" y="54"/>
                      </a:lnTo>
                      <a:lnTo>
                        <a:pt x="269" y="54"/>
                      </a:lnTo>
                      <a:lnTo>
                        <a:pt x="270" y="55"/>
                      </a:lnTo>
                      <a:lnTo>
                        <a:pt x="271" y="55"/>
                      </a:lnTo>
                      <a:lnTo>
                        <a:pt x="273" y="55"/>
                      </a:lnTo>
                      <a:lnTo>
                        <a:pt x="274" y="54"/>
                      </a:lnTo>
                      <a:lnTo>
                        <a:pt x="275" y="52"/>
                      </a:lnTo>
                      <a:lnTo>
                        <a:pt x="276" y="51"/>
                      </a:lnTo>
                      <a:lnTo>
                        <a:pt x="277" y="49"/>
                      </a:lnTo>
                      <a:lnTo>
                        <a:pt x="278" y="49"/>
                      </a:lnTo>
                      <a:lnTo>
                        <a:pt x="278" y="45"/>
                      </a:lnTo>
                      <a:lnTo>
                        <a:pt x="280" y="45"/>
                      </a:lnTo>
                      <a:lnTo>
                        <a:pt x="280" y="44"/>
                      </a:lnTo>
                      <a:lnTo>
                        <a:pt x="281" y="43"/>
                      </a:lnTo>
                      <a:lnTo>
                        <a:pt x="282" y="42"/>
                      </a:lnTo>
                      <a:lnTo>
                        <a:pt x="284" y="41"/>
                      </a:lnTo>
                      <a:lnTo>
                        <a:pt x="285" y="41"/>
                      </a:lnTo>
                      <a:lnTo>
                        <a:pt x="285" y="40"/>
                      </a:lnTo>
                      <a:lnTo>
                        <a:pt x="287" y="38"/>
                      </a:lnTo>
                      <a:lnTo>
                        <a:pt x="287" y="37"/>
                      </a:lnTo>
                      <a:lnTo>
                        <a:pt x="288" y="37"/>
                      </a:lnTo>
                      <a:lnTo>
                        <a:pt x="289" y="37"/>
                      </a:lnTo>
                      <a:lnTo>
                        <a:pt x="290" y="37"/>
                      </a:lnTo>
                      <a:lnTo>
                        <a:pt x="291" y="36"/>
                      </a:lnTo>
                      <a:lnTo>
                        <a:pt x="293" y="35"/>
                      </a:lnTo>
                      <a:lnTo>
                        <a:pt x="295" y="35"/>
                      </a:lnTo>
                      <a:lnTo>
                        <a:pt x="295" y="34"/>
                      </a:lnTo>
                      <a:lnTo>
                        <a:pt x="296" y="34"/>
                      </a:lnTo>
                      <a:lnTo>
                        <a:pt x="296" y="33"/>
                      </a:lnTo>
                      <a:lnTo>
                        <a:pt x="297" y="33"/>
                      </a:lnTo>
                      <a:lnTo>
                        <a:pt x="299" y="33"/>
                      </a:lnTo>
                      <a:lnTo>
                        <a:pt x="300" y="31"/>
                      </a:lnTo>
                      <a:lnTo>
                        <a:pt x="303" y="31"/>
                      </a:lnTo>
                      <a:lnTo>
                        <a:pt x="304" y="30"/>
                      </a:lnTo>
                      <a:lnTo>
                        <a:pt x="304" y="29"/>
                      </a:lnTo>
                      <a:lnTo>
                        <a:pt x="305" y="29"/>
                      </a:lnTo>
                      <a:lnTo>
                        <a:pt x="305" y="28"/>
                      </a:lnTo>
                      <a:lnTo>
                        <a:pt x="306" y="28"/>
                      </a:lnTo>
                      <a:lnTo>
                        <a:pt x="307" y="27"/>
                      </a:lnTo>
                      <a:lnTo>
                        <a:pt x="309" y="27"/>
                      </a:lnTo>
                      <a:lnTo>
                        <a:pt x="311" y="27"/>
                      </a:lnTo>
                      <a:lnTo>
                        <a:pt x="312" y="26"/>
                      </a:lnTo>
                      <a:lnTo>
                        <a:pt x="313" y="26"/>
                      </a:lnTo>
                      <a:lnTo>
                        <a:pt x="316" y="26"/>
                      </a:lnTo>
                      <a:lnTo>
                        <a:pt x="317" y="24"/>
                      </a:lnTo>
                      <a:lnTo>
                        <a:pt x="318" y="24"/>
                      </a:lnTo>
                      <a:lnTo>
                        <a:pt x="319" y="24"/>
                      </a:lnTo>
                      <a:lnTo>
                        <a:pt x="320" y="24"/>
                      </a:lnTo>
                      <a:lnTo>
                        <a:pt x="321" y="24"/>
                      </a:lnTo>
                      <a:lnTo>
                        <a:pt x="323" y="24"/>
                      </a:lnTo>
                      <a:lnTo>
                        <a:pt x="324" y="24"/>
                      </a:lnTo>
                      <a:lnTo>
                        <a:pt x="330" y="23"/>
                      </a:lnTo>
                      <a:lnTo>
                        <a:pt x="331" y="23"/>
                      </a:lnTo>
                      <a:lnTo>
                        <a:pt x="332" y="23"/>
                      </a:lnTo>
                      <a:lnTo>
                        <a:pt x="333" y="23"/>
                      </a:lnTo>
                      <a:lnTo>
                        <a:pt x="335" y="23"/>
                      </a:lnTo>
                      <a:lnTo>
                        <a:pt x="337" y="23"/>
                      </a:lnTo>
                      <a:lnTo>
                        <a:pt x="338" y="23"/>
                      </a:lnTo>
                      <a:lnTo>
                        <a:pt x="339" y="23"/>
                      </a:lnTo>
                      <a:lnTo>
                        <a:pt x="341" y="23"/>
                      </a:lnTo>
                      <a:lnTo>
                        <a:pt x="349" y="20"/>
                      </a:lnTo>
                      <a:lnTo>
                        <a:pt x="351" y="20"/>
                      </a:lnTo>
                      <a:lnTo>
                        <a:pt x="352" y="20"/>
                      </a:lnTo>
                      <a:lnTo>
                        <a:pt x="352" y="21"/>
                      </a:lnTo>
                      <a:lnTo>
                        <a:pt x="353" y="21"/>
                      </a:lnTo>
                      <a:lnTo>
                        <a:pt x="353" y="22"/>
                      </a:lnTo>
                      <a:lnTo>
                        <a:pt x="354" y="22"/>
                      </a:lnTo>
                      <a:lnTo>
                        <a:pt x="359" y="22"/>
                      </a:lnTo>
                      <a:lnTo>
                        <a:pt x="360" y="21"/>
                      </a:lnTo>
                      <a:lnTo>
                        <a:pt x="363" y="19"/>
                      </a:lnTo>
                      <a:lnTo>
                        <a:pt x="364" y="17"/>
                      </a:lnTo>
                      <a:lnTo>
                        <a:pt x="366" y="17"/>
                      </a:lnTo>
                      <a:lnTo>
                        <a:pt x="367" y="15"/>
                      </a:lnTo>
                      <a:lnTo>
                        <a:pt x="368" y="14"/>
                      </a:lnTo>
                      <a:lnTo>
                        <a:pt x="369" y="13"/>
                      </a:lnTo>
                      <a:lnTo>
                        <a:pt x="370" y="13"/>
                      </a:lnTo>
                      <a:lnTo>
                        <a:pt x="371" y="13"/>
                      </a:lnTo>
                      <a:lnTo>
                        <a:pt x="373" y="13"/>
                      </a:lnTo>
                      <a:lnTo>
                        <a:pt x="373" y="14"/>
                      </a:lnTo>
                      <a:lnTo>
                        <a:pt x="374" y="14"/>
                      </a:lnTo>
                      <a:lnTo>
                        <a:pt x="375" y="15"/>
                      </a:lnTo>
                      <a:lnTo>
                        <a:pt x="376" y="15"/>
                      </a:lnTo>
                      <a:lnTo>
                        <a:pt x="377" y="15"/>
                      </a:lnTo>
                      <a:lnTo>
                        <a:pt x="378" y="15"/>
                      </a:lnTo>
                      <a:lnTo>
                        <a:pt x="378" y="14"/>
                      </a:lnTo>
                      <a:lnTo>
                        <a:pt x="378" y="13"/>
                      </a:lnTo>
                      <a:lnTo>
                        <a:pt x="380" y="13"/>
                      </a:lnTo>
                      <a:lnTo>
                        <a:pt x="382" y="14"/>
                      </a:lnTo>
                      <a:lnTo>
                        <a:pt x="383" y="14"/>
                      </a:lnTo>
                      <a:lnTo>
                        <a:pt x="387" y="14"/>
                      </a:lnTo>
                      <a:lnTo>
                        <a:pt x="389" y="14"/>
                      </a:lnTo>
                      <a:lnTo>
                        <a:pt x="390" y="13"/>
                      </a:lnTo>
                      <a:lnTo>
                        <a:pt x="391" y="13"/>
                      </a:lnTo>
                      <a:lnTo>
                        <a:pt x="392" y="12"/>
                      </a:lnTo>
                      <a:lnTo>
                        <a:pt x="395" y="10"/>
                      </a:lnTo>
                      <a:lnTo>
                        <a:pt x="396" y="9"/>
                      </a:lnTo>
                      <a:lnTo>
                        <a:pt x="398" y="8"/>
                      </a:lnTo>
                      <a:lnTo>
                        <a:pt x="399" y="8"/>
                      </a:lnTo>
                      <a:lnTo>
                        <a:pt x="401" y="8"/>
                      </a:lnTo>
                      <a:lnTo>
                        <a:pt x="402" y="9"/>
                      </a:lnTo>
                      <a:lnTo>
                        <a:pt x="403" y="9"/>
                      </a:lnTo>
                      <a:lnTo>
                        <a:pt x="404" y="9"/>
                      </a:lnTo>
                      <a:lnTo>
                        <a:pt x="405" y="9"/>
                      </a:lnTo>
                      <a:lnTo>
                        <a:pt x="406" y="9"/>
                      </a:lnTo>
                      <a:lnTo>
                        <a:pt x="408" y="9"/>
                      </a:lnTo>
                      <a:lnTo>
                        <a:pt x="409" y="9"/>
                      </a:lnTo>
                      <a:lnTo>
                        <a:pt x="409" y="8"/>
                      </a:lnTo>
                      <a:lnTo>
                        <a:pt x="410" y="9"/>
                      </a:lnTo>
                      <a:lnTo>
                        <a:pt x="411" y="9"/>
                      </a:lnTo>
                      <a:lnTo>
                        <a:pt x="412" y="8"/>
                      </a:lnTo>
                      <a:lnTo>
                        <a:pt x="413" y="8"/>
                      </a:lnTo>
                      <a:lnTo>
                        <a:pt x="413" y="9"/>
                      </a:lnTo>
                      <a:lnTo>
                        <a:pt x="415" y="9"/>
                      </a:lnTo>
                      <a:lnTo>
                        <a:pt x="418" y="8"/>
                      </a:lnTo>
                      <a:lnTo>
                        <a:pt x="419" y="8"/>
                      </a:lnTo>
                      <a:lnTo>
                        <a:pt x="419" y="9"/>
                      </a:lnTo>
                      <a:lnTo>
                        <a:pt x="420" y="9"/>
                      </a:lnTo>
                      <a:lnTo>
                        <a:pt x="421" y="9"/>
                      </a:lnTo>
                      <a:lnTo>
                        <a:pt x="423" y="9"/>
                      </a:lnTo>
                      <a:lnTo>
                        <a:pt x="424" y="9"/>
                      </a:lnTo>
                      <a:lnTo>
                        <a:pt x="426" y="9"/>
                      </a:lnTo>
                      <a:lnTo>
                        <a:pt x="428" y="9"/>
                      </a:lnTo>
                      <a:lnTo>
                        <a:pt x="430" y="9"/>
                      </a:lnTo>
                      <a:lnTo>
                        <a:pt x="434" y="10"/>
                      </a:lnTo>
                      <a:lnTo>
                        <a:pt x="435" y="12"/>
                      </a:lnTo>
                      <a:lnTo>
                        <a:pt x="437" y="12"/>
                      </a:lnTo>
                      <a:lnTo>
                        <a:pt x="437" y="13"/>
                      </a:lnTo>
                      <a:lnTo>
                        <a:pt x="438" y="13"/>
                      </a:lnTo>
                      <a:lnTo>
                        <a:pt x="439" y="13"/>
                      </a:lnTo>
                      <a:lnTo>
                        <a:pt x="439" y="15"/>
                      </a:lnTo>
                      <a:lnTo>
                        <a:pt x="439" y="16"/>
                      </a:lnTo>
                      <a:lnTo>
                        <a:pt x="440" y="16"/>
                      </a:lnTo>
                      <a:lnTo>
                        <a:pt x="444" y="19"/>
                      </a:lnTo>
                      <a:lnTo>
                        <a:pt x="445" y="19"/>
                      </a:lnTo>
                      <a:lnTo>
                        <a:pt x="446" y="19"/>
                      </a:lnTo>
                      <a:lnTo>
                        <a:pt x="448" y="19"/>
                      </a:lnTo>
                      <a:lnTo>
                        <a:pt x="449" y="17"/>
                      </a:lnTo>
                      <a:lnTo>
                        <a:pt x="451" y="17"/>
                      </a:lnTo>
                      <a:lnTo>
                        <a:pt x="452" y="17"/>
                      </a:lnTo>
                      <a:lnTo>
                        <a:pt x="453" y="16"/>
                      </a:lnTo>
                      <a:lnTo>
                        <a:pt x="454" y="16"/>
                      </a:lnTo>
                      <a:lnTo>
                        <a:pt x="454" y="15"/>
                      </a:lnTo>
                      <a:lnTo>
                        <a:pt x="455" y="14"/>
                      </a:lnTo>
                      <a:lnTo>
                        <a:pt x="456" y="13"/>
                      </a:lnTo>
                      <a:lnTo>
                        <a:pt x="458" y="13"/>
                      </a:lnTo>
                      <a:lnTo>
                        <a:pt x="459" y="12"/>
                      </a:lnTo>
                      <a:lnTo>
                        <a:pt x="460" y="12"/>
                      </a:lnTo>
                      <a:lnTo>
                        <a:pt x="461" y="12"/>
                      </a:lnTo>
                      <a:lnTo>
                        <a:pt x="462" y="12"/>
                      </a:lnTo>
                      <a:lnTo>
                        <a:pt x="465" y="12"/>
                      </a:lnTo>
                      <a:lnTo>
                        <a:pt x="469" y="10"/>
                      </a:lnTo>
                      <a:lnTo>
                        <a:pt x="475" y="8"/>
                      </a:lnTo>
                      <a:lnTo>
                        <a:pt x="476" y="7"/>
                      </a:lnTo>
                      <a:lnTo>
                        <a:pt x="476" y="6"/>
                      </a:lnTo>
                      <a:lnTo>
                        <a:pt x="476" y="5"/>
                      </a:lnTo>
                      <a:lnTo>
                        <a:pt x="477" y="3"/>
                      </a:lnTo>
                      <a:lnTo>
                        <a:pt x="479" y="2"/>
                      </a:lnTo>
                      <a:lnTo>
                        <a:pt x="479" y="1"/>
                      </a:lnTo>
                      <a:lnTo>
                        <a:pt x="480" y="1"/>
                      </a:lnTo>
                      <a:lnTo>
                        <a:pt x="482" y="0"/>
                      </a:lnTo>
                      <a:lnTo>
                        <a:pt x="483" y="0"/>
                      </a:lnTo>
                      <a:lnTo>
                        <a:pt x="484" y="1"/>
                      </a:lnTo>
                      <a:lnTo>
                        <a:pt x="485" y="1"/>
                      </a:lnTo>
                      <a:lnTo>
                        <a:pt x="485" y="2"/>
                      </a:lnTo>
                      <a:lnTo>
                        <a:pt x="487" y="2"/>
                      </a:lnTo>
                      <a:lnTo>
                        <a:pt x="487" y="3"/>
                      </a:lnTo>
                      <a:lnTo>
                        <a:pt x="487" y="5"/>
                      </a:lnTo>
                      <a:lnTo>
                        <a:pt x="488" y="5"/>
                      </a:lnTo>
                      <a:lnTo>
                        <a:pt x="489" y="5"/>
                      </a:lnTo>
                      <a:lnTo>
                        <a:pt x="489" y="6"/>
                      </a:lnTo>
                      <a:lnTo>
                        <a:pt x="490" y="6"/>
                      </a:lnTo>
                      <a:lnTo>
                        <a:pt x="495" y="6"/>
                      </a:lnTo>
                      <a:lnTo>
                        <a:pt x="496" y="7"/>
                      </a:lnTo>
                      <a:lnTo>
                        <a:pt x="497" y="7"/>
                      </a:lnTo>
                      <a:lnTo>
                        <a:pt x="497" y="8"/>
                      </a:lnTo>
                      <a:lnTo>
                        <a:pt x="499" y="8"/>
                      </a:lnTo>
                      <a:lnTo>
                        <a:pt x="503" y="7"/>
                      </a:lnTo>
                      <a:lnTo>
                        <a:pt x="504" y="7"/>
                      </a:lnTo>
                      <a:lnTo>
                        <a:pt x="505" y="7"/>
                      </a:lnTo>
                      <a:lnTo>
                        <a:pt x="506" y="7"/>
                      </a:lnTo>
                      <a:lnTo>
                        <a:pt x="508" y="6"/>
                      </a:lnTo>
                      <a:lnTo>
                        <a:pt x="509" y="5"/>
                      </a:lnTo>
                      <a:lnTo>
                        <a:pt x="509" y="3"/>
                      </a:lnTo>
                      <a:lnTo>
                        <a:pt x="508" y="1"/>
                      </a:lnTo>
                      <a:lnTo>
                        <a:pt x="506" y="1"/>
                      </a:lnTo>
                      <a:lnTo>
                        <a:pt x="506" y="0"/>
                      </a:lnTo>
                      <a:lnTo>
                        <a:pt x="508" y="0"/>
                      </a:lnTo>
                      <a:lnTo>
                        <a:pt x="509" y="1"/>
                      </a:lnTo>
                      <a:lnTo>
                        <a:pt x="510" y="1"/>
                      </a:lnTo>
                      <a:lnTo>
                        <a:pt x="511" y="1"/>
                      </a:lnTo>
                      <a:lnTo>
                        <a:pt x="512" y="1"/>
                      </a:lnTo>
                      <a:lnTo>
                        <a:pt x="513" y="1"/>
                      </a:lnTo>
                      <a:lnTo>
                        <a:pt x="513" y="2"/>
                      </a:lnTo>
                      <a:lnTo>
                        <a:pt x="515" y="2"/>
                      </a:lnTo>
                      <a:lnTo>
                        <a:pt x="516" y="2"/>
                      </a:lnTo>
                      <a:lnTo>
                        <a:pt x="516" y="1"/>
                      </a:lnTo>
                      <a:lnTo>
                        <a:pt x="517" y="2"/>
                      </a:lnTo>
                      <a:lnTo>
                        <a:pt x="518" y="3"/>
                      </a:lnTo>
                      <a:lnTo>
                        <a:pt x="519" y="5"/>
                      </a:lnTo>
                      <a:lnTo>
                        <a:pt x="520" y="5"/>
                      </a:lnTo>
                      <a:lnTo>
                        <a:pt x="522" y="5"/>
                      </a:lnTo>
                      <a:lnTo>
                        <a:pt x="523" y="5"/>
                      </a:lnTo>
                      <a:lnTo>
                        <a:pt x="524" y="6"/>
                      </a:lnTo>
                      <a:lnTo>
                        <a:pt x="525" y="5"/>
                      </a:lnTo>
                      <a:lnTo>
                        <a:pt x="526" y="5"/>
                      </a:lnTo>
                      <a:lnTo>
                        <a:pt x="526" y="3"/>
                      </a:lnTo>
                      <a:lnTo>
                        <a:pt x="526" y="5"/>
                      </a:lnTo>
                      <a:lnTo>
                        <a:pt x="526" y="6"/>
                      </a:lnTo>
                      <a:lnTo>
                        <a:pt x="525" y="7"/>
                      </a:lnTo>
                      <a:lnTo>
                        <a:pt x="526" y="7"/>
                      </a:lnTo>
                      <a:lnTo>
                        <a:pt x="525" y="8"/>
                      </a:lnTo>
                      <a:lnTo>
                        <a:pt x="526" y="9"/>
                      </a:lnTo>
                      <a:lnTo>
                        <a:pt x="529" y="9"/>
                      </a:lnTo>
                      <a:lnTo>
                        <a:pt x="530" y="9"/>
                      </a:lnTo>
                      <a:lnTo>
                        <a:pt x="534" y="8"/>
                      </a:lnTo>
                      <a:lnTo>
                        <a:pt x="536" y="8"/>
                      </a:lnTo>
                      <a:lnTo>
                        <a:pt x="540" y="6"/>
                      </a:lnTo>
                      <a:lnTo>
                        <a:pt x="541" y="6"/>
                      </a:lnTo>
                      <a:lnTo>
                        <a:pt x="543" y="7"/>
                      </a:lnTo>
                      <a:lnTo>
                        <a:pt x="544" y="7"/>
                      </a:lnTo>
                      <a:lnTo>
                        <a:pt x="545" y="7"/>
                      </a:lnTo>
                      <a:lnTo>
                        <a:pt x="546" y="7"/>
                      </a:lnTo>
                      <a:lnTo>
                        <a:pt x="547" y="7"/>
                      </a:lnTo>
                      <a:lnTo>
                        <a:pt x="548" y="8"/>
                      </a:lnTo>
                      <a:lnTo>
                        <a:pt x="548" y="7"/>
                      </a:lnTo>
                      <a:lnTo>
                        <a:pt x="552" y="6"/>
                      </a:lnTo>
                      <a:close/>
                    </a:path>
                  </a:pathLst>
                </a:custGeom>
                <a:solidFill>
                  <a:schemeClr val="bg2">
                    <a:lumMod val="9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92" name="Freeform 86">
                  <a:extLst>
                    <a:ext uri="{FF2B5EF4-FFF2-40B4-BE49-F238E27FC236}">
                      <a16:creationId xmlns:a16="http://schemas.microsoft.com/office/drawing/2014/main" id="{FC1256B3-8A50-85C6-7BF5-FEFE14492A3D}"/>
                    </a:ext>
                  </a:extLst>
                </p:cNvPr>
                <p:cNvSpPr>
                  <a:spLocks noEditPoints="1"/>
                </p:cNvSpPr>
                <p:nvPr/>
              </p:nvSpPr>
              <p:spPr bwMode="auto">
                <a:xfrm>
                  <a:off x="7075014" y="2649817"/>
                  <a:ext cx="422958" cy="376442"/>
                </a:xfrm>
                <a:custGeom>
                  <a:avLst/>
                  <a:gdLst>
                    <a:gd name="T0" fmla="*/ 299 w 391"/>
                    <a:gd name="T1" fmla="*/ 153 h 348"/>
                    <a:gd name="T2" fmla="*/ 315 w 391"/>
                    <a:gd name="T3" fmla="*/ 136 h 348"/>
                    <a:gd name="T4" fmla="*/ 276 w 391"/>
                    <a:gd name="T5" fmla="*/ 16 h 348"/>
                    <a:gd name="T6" fmla="*/ 24 w 391"/>
                    <a:gd name="T7" fmla="*/ 5 h 348"/>
                    <a:gd name="T8" fmla="*/ 77 w 391"/>
                    <a:gd name="T9" fmla="*/ 9 h 348"/>
                    <a:gd name="T10" fmla="*/ 95 w 391"/>
                    <a:gd name="T11" fmla="*/ 17 h 348"/>
                    <a:gd name="T12" fmla="*/ 120 w 391"/>
                    <a:gd name="T13" fmla="*/ 21 h 348"/>
                    <a:gd name="T14" fmla="*/ 158 w 391"/>
                    <a:gd name="T15" fmla="*/ 23 h 348"/>
                    <a:gd name="T16" fmla="*/ 176 w 391"/>
                    <a:gd name="T17" fmla="*/ 15 h 348"/>
                    <a:gd name="T18" fmla="*/ 181 w 391"/>
                    <a:gd name="T19" fmla="*/ 6 h 348"/>
                    <a:gd name="T20" fmla="*/ 193 w 391"/>
                    <a:gd name="T21" fmla="*/ 7 h 348"/>
                    <a:gd name="T22" fmla="*/ 199 w 391"/>
                    <a:gd name="T23" fmla="*/ 8 h 348"/>
                    <a:gd name="T24" fmla="*/ 202 w 391"/>
                    <a:gd name="T25" fmla="*/ 2 h 348"/>
                    <a:gd name="T26" fmla="*/ 235 w 391"/>
                    <a:gd name="T27" fmla="*/ 8 h 348"/>
                    <a:gd name="T28" fmla="*/ 234 w 391"/>
                    <a:gd name="T29" fmla="*/ 8 h 348"/>
                    <a:gd name="T30" fmla="*/ 230 w 391"/>
                    <a:gd name="T31" fmla="*/ 9 h 348"/>
                    <a:gd name="T32" fmla="*/ 231 w 391"/>
                    <a:gd name="T33" fmla="*/ 16 h 348"/>
                    <a:gd name="T34" fmla="*/ 236 w 391"/>
                    <a:gd name="T35" fmla="*/ 16 h 348"/>
                    <a:gd name="T36" fmla="*/ 241 w 391"/>
                    <a:gd name="T37" fmla="*/ 21 h 348"/>
                    <a:gd name="T38" fmla="*/ 245 w 391"/>
                    <a:gd name="T39" fmla="*/ 14 h 348"/>
                    <a:gd name="T40" fmla="*/ 264 w 391"/>
                    <a:gd name="T41" fmla="*/ 20 h 348"/>
                    <a:gd name="T42" fmla="*/ 267 w 391"/>
                    <a:gd name="T43" fmla="*/ 22 h 348"/>
                    <a:gd name="T44" fmla="*/ 272 w 391"/>
                    <a:gd name="T45" fmla="*/ 21 h 348"/>
                    <a:gd name="T46" fmla="*/ 280 w 391"/>
                    <a:gd name="T47" fmla="*/ 20 h 348"/>
                    <a:gd name="T48" fmla="*/ 309 w 391"/>
                    <a:gd name="T49" fmla="*/ 22 h 348"/>
                    <a:gd name="T50" fmla="*/ 323 w 391"/>
                    <a:gd name="T51" fmla="*/ 64 h 348"/>
                    <a:gd name="T52" fmla="*/ 323 w 391"/>
                    <a:gd name="T53" fmla="*/ 87 h 348"/>
                    <a:gd name="T54" fmla="*/ 319 w 391"/>
                    <a:gd name="T55" fmla="*/ 107 h 348"/>
                    <a:gd name="T56" fmla="*/ 313 w 391"/>
                    <a:gd name="T57" fmla="*/ 128 h 348"/>
                    <a:gd name="T58" fmla="*/ 306 w 391"/>
                    <a:gd name="T59" fmla="*/ 143 h 348"/>
                    <a:gd name="T60" fmla="*/ 290 w 391"/>
                    <a:gd name="T61" fmla="*/ 133 h 348"/>
                    <a:gd name="T62" fmla="*/ 276 w 391"/>
                    <a:gd name="T63" fmla="*/ 115 h 348"/>
                    <a:gd name="T64" fmla="*/ 272 w 391"/>
                    <a:gd name="T65" fmla="*/ 100 h 348"/>
                    <a:gd name="T66" fmla="*/ 260 w 391"/>
                    <a:gd name="T67" fmla="*/ 83 h 348"/>
                    <a:gd name="T68" fmla="*/ 255 w 391"/>
                    <a:gd name="T69" fmla="*/ 66 h 348"/>
                    <a:gd name="T70" fmla="*/ 248 w 391"/>
                    <a:gd name="T71" fmla="*/ 72 h 348"/>
                    <a:gd name="T72" fmla="*/ 256 w 391"/>
                    <a:gd name="T73" fmla="*/ 96 h 348"/>
                    <a:gd name="T74" fmla="*/ 266 w 391"/>
                    <a:gd name="T75" fmla="*/ 118 h 348"/>
                    <a:gd name="T76" fmla="*/ 278 w 391"/>
                    <a:gd name="T77" fmla="*/ 133 h 348"/>
                    <a:gd name="T78" fmla="*/ 285 w 391"/>
                    <a:gd name="T79" fmla="*/ 143 h 348"/>
                    <a:gd name="T80" fmla="*/ 287 w 391"/>
                    <a:gd name="T81" fmla="*/ 154 h 348"/>
                    <a:gd name="T82" fmla="*/ 297 w 391"/>
                    <a:gd name="T83" fmla="*/ 173 h 348"/>
                    <a:gd name="T84" fmla="*/ 299 w 391"/>
                    <a:gd name="T85" fmla="*/ 187 h 348"/>
                    <a:gd name="T86" fmla="*/ 321 w 391"/>
                    <a:gd name="T87" fmla="*/ 229 h 348"/>
                    <a:gd name="T88" fmla="*/ 334 w 391"/>
                    <a:gd name="T89" fmla="*/ 255 h 348"/>
                    <a:gd name="T90" fmla="*/ 350 w 391"/>
                    <a:gd name="T91" fmla="*/ 278 h 348"/>
                    <a:gd name="T92" fmla="*/ 347 w 391"/>
                    <a:gd name="T93" fmla="*/ 279 h 348"/>
                    <a:gd name="T94" fmla="*/ 348 w 391"/>
                    <a:gd name="T95" fmla="*/ 301 h 348"/>
                    <a:gd name="T96" fmla="*/ 357 w 391"/>
                    <a:gd name="T97" fmla="*/ 320 h 348"/>
                    <a:gd name="T98" fmla="*/ 376 w 391"/>
                    <a:gd name="T99" fmla="*/ 335 h 348"/>
                    <a:gd name="T100" fmla="*/ 354 w 391"/>
                    <a:gd name="T101" fmla="*/ 348 h 348"/>
                    <a:gd name="T102" fmla="*/ 251 w 391"/>
                    <a:gd name="T103" fmla="*/ 346 h 348"/>
                    <a:gd name="T104" fmla="*/ 215 w 391"/>
                    <a:gd name="T105" fmla="*/ 339 h 348"/>
                    <a:gd name="T106" fmla="*/ 169 w 391"/>
                    <a:gd name="T107" fmla="*/ 346 h 348"/>
                    <a:gd name="T108" fmla="*/ 113 w 391"/>
                    <a:gd name="T109" fmla="*/ 346 h 348"/>
                    <a:gd name="T110" fmla="*/ 56 w 391"/>
                    <a:gd name="T111" fmla="*/ 346 h 348"/>
                    <a:gd name="T112" fmla="*/ 9 w 391"/>
                    <a:gd name="T113" fmla="*/ 316 h 348"/>
                    <a:gd name="T114" fmla="*/ 9 w 391"/>
                    <a:gd name="T115" fmla="*/ 148 h 348"/>
                    <a:gd name="T116" fmla="*/ 4 w 391"/>
                    <a:gd name="T117" fmla="*/ 68 h 348"/>
                    <a:gd name="T118" fmla="*/ 9 w 391"/>
                    <a:gd name="T119" fmla="*/ 36 h 348"/>
                    <a:gd name="T120" fmla="*/ 16 w 391"/>
                    <a:gd name="T121" fmla="*/ 3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1" h="348">
                      <a:moveTo>
                        <a:pt x="299" y="181"/>
                      </a:moveTo>
                      <a:lnTo>
                        <a:pt x="299" y="182"/>
                      </a:lnTo>
                      <a:lnTo>
                        <a:pt x="298" y="181"/>
                      </a:lnTo>
                      <a:lnTo>
                        <a:pt x="298" y="178"/>
                      </a:lnTo>
                      <a:lnTo>
                        <a:pt x="299" y="181"/>
                      </a:lnTo>
                      <a:close/>
                      <a:moveTo>
                        <a:pt x="299" y="153"/>
                      </a:moveTo>
                      <a:lnTo>
                        <a:pt x="300" y="153"/>
                      </a:lnTo>
                      <a:lnTo>
                        <a:pt x="300" y="154"/>
                      </a:lnTo>
                      <a:lnTo>
                        <a:pt x="300" y="155"/>
                      </a:lnTo>
                      <a:lnTo>
                        <a:pt x="299" y="154"/>
                      </a:lnTo>
                      <a:lnTo>
                        <a:pt x="298" y="154"/>
                      </a:lnTo>
                      <a:lnTo>
                        <a:pt x="298" y="153"/>
                      </a:lnTo>
                      <a:lnTo>
                        <a:pt x="297" y="154"/>
                      </a:lnTo>
                      <a:lnTo>
                        <a:pt x="297" y="153"/>
                      </a:lnTo>
                      <a:lnTo>
                        <a:pt x="297" y="152"/>
                      </a:lnTo>
                      <a:lnTo>
                        <a:pt x="298" y="152"/>
                      </a:lnTo>
                      <a:lnTo>
                        <a:pt x="298" y="153"/>
                      </a:lnTo>
                      <a:lnTo>
                        <a:pt x="299" y="153"/>
                      </a:lnTo>
                      <a:close/>
                      <a:moveTo>
                        <a:pt x="322" y="139"/>
                      </a:moveTo>
                      <a:lnTo>
                        <a:pt x="321" y="139"/>
                      </a:lnTo>
                      <a:lnTo>
                        <a:pt x="320" y="138"/>
                      </a:lnTo>
                      <a:lnTo>
                        <a:pt x="321" y="136"/>
                      </a:lnTo>
                      <a:lnTo>
                        <a:pt x="322" y="136"/>
                      </a:lnTo>
                      <a:lnTo>
                        <a:pt x="322" y="139"/>
                      </a:lnTo>
                      <a:close/>
                      <a:moveTo>
                        <a:pt x="316" y="135"/>
                      </a:moveTo>
                      <a:lnTo>
                        <a:pt x="315" y="135"/>
                      </a:lnTo>
                      <a:lnTo>
                        <a:pt x="315" y="136"/>
                      </a:lnTo>
                      <a:lnTo>
                        <a:pt x="316" y="136"/>
                      </a:lnTo>
                      <a:lnTo>
                        <a:pt x="317" y="136"/>
                      </a:lnTo>
                      <a:lnTo>
                        <a:pt x="317" y="138"/>
                      </a:lnTo>
                      <a:lnTo>
                        <a:pt x="319" y="138"/>
                      </a:lnTo>
                      <a:lnTo>
                        <a:pt x="319" y="139"/>
                      </a:lnTo>
                      <a:lnTo>
                        <a:pt x="317" y="139"/>
                      </a:lnTo>
                      <a:lnTo>
                        <a:pt x="316" y="139"/>
                      </a:lnTo>
                      <a:lnTo>
                        <a:pt x="315" y="138"/>
                      </a:lnTo>
                      <a:lnTo>
                        <a:pt x="315" y="136"/>
                      </a:lnTo>
                      <a:lnTo>
                        <a:pt x="315" y="135"/>
                      </a:lnTo>
                      <a:lnTo>
                        <a:pt x="316" y="135"/>
                      </a:lnTo>
                      <a:close/>
                      <a:moveTo>
                        <a:pt x="266" y="22"/>
                      </a:moveTo>
                      <a:lnTo>
                        <a:pt x="267" y="22"/>
                      </a:lnTo>
                      <a:lnTo>
                        <a:pt x="266" y="22"/>
                      </a:lnTo>
                      <a:lnTo>
                        <a:pt x="266" y="21"/>
                      </a:lnTo>
                      <a:lnTo>
                        <a:pt x="266" y="22"/>
                      </a:lnTo>
                      <a:close/>
                      <a:moveTo>
                        <a:pt x="281" y="19"/>
                      </a:moveTo>
                      <a:lnTo>
                        <a:pt x="283" y="20"/>
                      </a:lnTo>
                      <a:lnTo>
                        <a:pt x="281" y="19"/>
                      </a:lnTo>
                      <a:lnTo>
                        <a:pt x="277" y="16"/>
                      </a:lnTo>
                      <a:lnTo>
                        <a:pt x="276" y="16"/>
                      </a:lnTo>
                      <a:lnTo>
                        <a:pt x="277" y="16"/>
                      </a:lnTo>
                      <a:lnTo>
                        <a:pt x="279" y="17"/>
                      </a:lnTo>
                      <a:lnTo>
                        <a:pt x="280" y="17"/>
                      </a:lnTo>
                      <a:lnTo>
                        <a:pt x="281" y="19"/>
                      </a:lnTo>
                      <a:close/>
                      <a:moveTo>
                        <a:pt x="271" y="16"/>
                      </a:moveTo>
                      <a:lnTo>
                        <a:pt x="276" y="16"/>
                      </a:lnTo>
                      <a:lnTo>
                        <a:pt x="274" y="16"/>
                      </a:lnTo>
                      <a:lnTo>
                        <a:pt x="273" y="16"/>
                      </a:lnTo>
                      <a:lnTo>
                        <a:pt x="272" y="16"/>
                      </a:lnTo>
                      <a:lnTo>
                        <a:pt x="271" y="16"/>
                      </a:lnTo>
                      <a:lnTo>
                        <a:pt x="270" y="16"/>
                      </a:lnTo>
                      <a:lnTo>
                        <a:pt x="266" y="19"/>
                      </a:lnTo>
                      <a:lnTo>
                        <a:pt x="265" y="20"/>
                      </a:lnTo>
                      <a:lnTo>
                        <a:pt x="265" y="19"/>
                      </a:lnTo>
                      <a:lnTo>
                        <a:pt x="266" y="19"/>
                      </a:lnTo>
                      <a:lnTo>
                        <a:pt x="267" y="17"/>
                      </a:lnTo>
                      <a:lnTo>
                        <a:pt x="270" y="16"/>
                      </a:lnTo>
                      <a:lnTo>
                        <a:pt x="271" y="16"/>
                      </a:lnTo>
                      <a:close/>
                      <a:moveTo>
                        <a:pt x="20" y="6"/>
                      </a:moveTo>
                      <a:lnTo>
                        <a:pt x="21" y="6"/>
                      </a:lnTo>
                      <a:lnTo>
                        <a:pt x="22" y="5"/>
                      </a:lnTo>
                      <a:lnTo>
                        <a:pt x="23" y="6"/>
                      </a:lnTo>
                      <a:lnTo>
                        <a:pt x="23" y="5"/>
                      </a:lnTo>
                      <a:lnTo>
                        <a:pt x="24" y="5"/>
                      </a:lnTo>
                      <a:lnTo>
                        <a:pt x="25" y="5"/>
                      </a:lnTo>
                      <a:lnTo>
                        <a:pt x="30" y="3"/>
                      </a:lnTo>
                      <a:lnTo>
                        <a:pt x="37" y="1"/>
                      </a:lnTo>
                      <a:lnTo>
                        <a:pt x="38" y="1"/>
                      </a:lnTo>
                      <a:lnTo>
                        <a:pt x="42" y="1"/>
                      </a:lnTo>
                      <a:lnTo>
                        <a:pt x="53" y="5"/>
                      </a:lnTo>
                      <a:lnTo>
                        <a:pt x="63" y="6"/>
                      </a:lnTo>
                      <a:lnTo>
                        <a:pt x="64" y="6"/>
                      </a:lnTo>
                      <a:lnTo>
                        <a:pt x="64" y="7"/>
                      </a:lnTo>
                      <a:lnTo>
                        <a:pt x="66" y="6"/>
                      </a:lnTo>
                      <a:lnTo>
                        <a:pt x="66" y="7"/>
                      </a:lnTo>
                      <a:lnTo>
                        <a:pt x="68" y="7"/>
                      </a:lnTo>
                      <a:lnTo>
                        <a:pt x="70" y="8"/>
                      </a:lnTo>
                      <a:lnTo>
                        <a:pt x="72" y="8"/>
                      </a:lnTo>
                      <a:lnTo>
                        <a:pt x="73" y="7"/>
                      </a:lnTo>
                      <a:lnTo>
                        <a:pt x="74" y="8"/>
                      </a:lnTo>
                      <a:lnTo>
                        <a:pt x="75" y="8"/>
                      </a:lnTo>
                      <a:lnTo>
                        <a:pt x="77" y="9"/>
                      </a:lnTo>
                      <a:lnTo>
                        <a:pt x="78" y="9"/>
                      </a:lnTo>
                      <a:lnTo>
                        <a:pt x="80" y="10"/>
                      </a:lnTo>
                      <a:lnTo>
                        <a:pt x="81" y="10"/>
                      </a:lnTo>
                      <a:lnTo>
                        <a:pt x="82" y="10"/>
                      </a:lnTo>
                      <a:lnTo>
                        <a:pt x="85" y="10"/>
                      </a:lnTo>
                      <a:lnTo>
                        <a:pt x="86" y="10"/>
                      </a:lnTo>
                      <a:lnTo>
                        <a:pt x="85" y="10"/>
                      </a:lnTo>
                      <a:lnTo>
                        <a:pt x="86" y="12"/>
                      </a:lnTo>
                      <a:lnTo>
                        <a:pt x="86" y="13"/>
                      </a:lnTo>
                      <a:lnTo>
                        <a:pt x="87" y="14"/>
                      </a:lnTo>
                      <a:lnTo>
                        <a:pt x="87" y="15"/>
                      </a:lnTo>
                      <a:lnTo>
                        <a:pt x="88" y="15"/>
                      </a:lnTo>
                      <a:lnTo>
                        <a:pt x="88" y="16"/>
                      </a:lnTo>
                      <a:lnTo>
                        <a:pt x="89" y="16"/>
                      </a:lnTo>
                      <a:lnTo>
                        <a:pt x="92" y="16"/>
                      </a:lnTo>
                      <a:lnTo>
                        <a:pt x="93" y="17"/>
                      </a:lnTo>
                      <a:lnTo>
                        <a:pt x="94" y="16"/>
                      </a:lnTo>
                      <a:lnTo>
                        <a:pt x="95" y="17"/>
                      </a:lnTo>
                      <a:lnTo>
                        <a:pt x="98" y="17"/>
                      </a:lnTo>
                      <a:lnTo>
                        <a:pt x="101" y="15"/>
                      </a:lnTo>
                      <a:lnTo>
                        <a:pt x="102" y="15"/>
                      </a:lnTo>
                      <a:lnTo>
                        <a:pt x="102" y="16"/>
                      </a:lnTo>
                      <a:lnTo>
                        <a:pt x="102" y="17"/>
                      </a:lnTo>
                      <a:lnTo>
                        <a:pt x="103" y="19"/>
                      </a:lnTo>
                      <a:lnTo>
                        <a:pt x="103" y="20"/>
                      </a:lnTo>
                      <a:lnTo>
                        <a:pt x="105" y="21"/>
                      </a:lnTo>
                      <a:lnTo>
                        <a:pt x="106" y="21"/>
                      </a:lnTo>
                      <a:lnTo>
                        <a:pt x="112" y="21"/>
                      </a:lnTo>
                      <a:lnTo>
                        <a:pt x="113" y="21"/>
                      </a:lnTo>
                      <a:lnTo>
                        <a:pt x="113" y="22"/>
                      </a:lnTo>
                      <a:lnTo>
                        <a:pt x="114" y="22"/>
                      </a:lnTo>
                      <a:lnTo>
                        <a:pt x="115" y="22"/>
                      </a:lnTo>
                      <a:lnTo>
                        <a:pt x="116" y="22"/>
                      </a:lnTo>
                      <a:lnTo>
                        <a:pt x="117" y="22"/>
                      </a:lnTo>
                      <a:lnTo>
                        <a:pt x="119" y="21"/>
                      </a:lnTo>
                      <a:lnTo>
                        <a:pt x="120" y="21"/>
                      </a:lnTo>
                      <a:lnTo>
                        <a:pt x="121" y="21"/>
                      </a:lnTo>
                      <a:lnTo>
                        <a:pt x="121" y="22"/>
                      </a:lnTo>
                      <a:lnTo>
                        <a:pt x="122" y="22"/>
                      </a:lnTo>
                      <a:lnTo>
                        <a:pt x="123" y="22"/>
                      </a:lnTo>
                      <a:lnTo>
                        <a:pt x="124" y="22"/>
                      </a:lnTo>
                      <a:lnTo>
                        <a:pt x="124" y="23"/>
                      </a:lnTo>
                      <a:lnTo>
                        <a:pt x="130" y="24"/>
                      </a:lnTo>
                      <a:lnTo>
                        <a:pt x="131" y="26"/>
                      </a:lnTo>
                      <a:lnTo>
                        <a:pt x="132" y="26"/>
                      </a:lnTo>
                      <a:lnTo>
                        <a:pt x="132" y="27"/>
                      </a:lnTo>
                      <a:lnTo>
                        <a:pt x="134" y="28"/>
                      </a:lnTo>
                      <a:lnTo>
                        <a:pt x="139" y="31"/>
                      </a:lnTo>
                      <a:lnTo>
                        <a:pt x="145" y="30"/>
                      </a:lnTo>
                      <a:lnTo>
                        <a:pt x="150" y="28"/>
                      </a:lnTo>
                      <a:lnTo>
                        <a:pt x="155" y="26"/>
                      </a:lnTo>
                      <a:lnTo>
                        <a:pt x="157" y="24"/>
                      </a:lnTo>
                      <a:lnTo>
                        <a:pt x="158" y="24"/>
                      </a:lnTo>
                      <a:lnTo>
                        <a:pt x="158" y="23"/>
                      </a:lnTo>
                      <a:lnTo>
                        <a:pt x="163" y="20"/>
                      </a:lnTo>
                      <a:lnTo>
                        <a:pt x="164" y="19"/>
                      </a:lnTo>
                      <a:lnTo>
                        <a:pt x="165" y="19"/>
                      </a:lnTo>
                      <a:lnTo>
                        <a:pt x="167" y="17"/>
                      </a:lnTo>
                      <a:lnTo>
                        <a:pt x="166" y="17"/>
                      </a:lnTo>
                      <a:lnTo>
                        <a:pt x="166" y="16"/>
                      </a:lnTo>
                      <a:lnTo>
                        <a:pt x="167" y="16"/>
                      </a:lnTo>
                      <a:lnTo>
                        <a:pt x="170" y="15"/>
                      </a:lnTo>
                      <a:lnTo>
                        <a:pt x="171" y="14"/>
                      </a:lnTo>
                      <a:lnTo>
                        <a:pt x="172" y="14"/>
                      </a:lnTo>
                      <a:lnTo>
                        <a:pt x="172" y="13"/>
                      </a:lnTo>
                      <a:lnTo>
                        <a:pt x="173" y="12"/>
                      </a:lnTo>
                      <a:lnTo>
                        <a:pt x="173" y="13"/>
                      </a:lnTo>
                      <a:lnTo>
                        <a:pt x="174" y="14"/>
                      </a:lnTo>
                      <a:lnTo>
                        <a:pt x="176" y="14"/>
                      </a:lnTo>
                      <a:lnTo>
                        <a:pt x="177" y="14"/>
                      </a:lnTo>
                      <a:lnTo>
                        <a:pt x="176" y="14"/>
                      </a:lnTo>
                      <a:lnTo>
                        <a:pt x="176" y="15"/>
                      </a:lnTo>
                      <a:lnTo>
                        <a:pt x="176" y="16"/>
                      </a:lnTo>
                      <a:lnTo>
                        <a:pt x="177" y="16"/>
                      </a:lnTo>
                      <a:lnTo>
                        <a:pt x="178" y="15"/>
                      </a:lnTo>
                      <a:lnTo>
                        <a:pt x="178" y="16"/>
                      </a:lnTo>
                      <a:lnTo>
                        <a:pt x="179" y="15"/>
                      </a:lnTo>
                      <a:lnTo>
                        <a:pt x="180" y="15"/>
                      </a:lnTo>
                      <a:lnTo>
                        <a:pt x="180" y="14"/>
                      </a:lnTo>
                      <a:lnTo>
                        <a:pt x="179" y="14"/>
                      </a:lnTo>
                      <a:lnTo>
                        <a:pt x="179" y="15"/>
                      </a:lnTo>
                      <a:lnTo>
                        <a:pt x="179" y="14"/>
                      </a:lnTo>
                      <a:lnTo>
                        <a:pt x="177" y="14"/>
                      </a:lnTo>
                      <a:lnTo>
                        <a:pt x="178" y="14"/>
                      </a:lnTo>
                      <a:lnTo>
                        <a:pt x="179" y="13"/>
                      </a:lnTo>
                      <a:lnTo>
                        <a:pt x="181" y="12"/>
                      </a:lnTo>
                      <a:lnTo>
                        <a:pt x="181" y="10"/>
                      </a:lnTo>
                      <a:lnTo>
                        <a:pt x="183" y="9"/>
                      </a:lnTo>
                      <a:lnTo>
                        <a:pt x="183" y="7"/>
                      </a:lnTo>
                      <a:lnTo>
                        <a:pt x="181" y="6"/>
                      </a:lnTo>
                      <a:lnTo>
                        <a:pt x="183" y="6"/>
                      </a:lnTo>
                      <a:lnTo>
                        <a:pt x="183" y="7"/>
                      </a:lnTo>
                      <a:lnTo>
                        <a:pt x="183" y="8"/>
                      </a:lnTo>
                      <a:lnTo>
                        <a:pt x="184" y="8"/>
                      </a:lnTo>
                      <a:lnTo>
                        <a:pt x="183" y="7"/>
                      </a:lnTo>
                      <a:lnTo>
                        <a:pt x="183" y="6"/>
                      </a:lnTo>
                      <a:lnTo>
                        <a:pt x="184" y="6"/>
                      </a:lnTo>
                      <a:lnTo>
                        <a:pt x="185" y="7"/>
                      </a:lnTo>
                      <a:lnTo>
                        <a:pt x="186" y="7"/>
                      </a:lnTo>
                      <a:lnTo>
                        <a:pt x="187" y="7"/>
                      </a:lnTo>
                      <a:lnTo>
                        <a:pt x="188" y="7"/>
                      </a:lnTo>
                      <a:lnTo>
                        <a:pt x="193" y="6"/>
                      </a:lnTo>
                      <a:lnTo>
                        <a:pt x="202" y="2"/>
                      </a:lnTo>
                      <a:lnTo>
                        <a:pt x="201" y="2"/>
                      </a:lnTo>
                      <a:lnTo>
                        <a:pt x="199" y="3"/>
                      </a:lnTo>
                      <a:lnTo>
                        <a:pt x="196" y="6"/>
                      </a:lnTo>
                      <a:lnTo>
                        <a:pt x="194" y="6"/>
                      </a:lnTo>
                      <a:lnTo>
                        <a:pt x="193" y="7"/>
                      </a:lnTo>
                      <a:lnTo>
                        <a:pt x="192" y="7"/>
                      </a:lnTo>
                      <a:lnTo>
                        <a:pt x="191" y="8"/>
                      </a:lnTo>
                      <a:lnTo>
                        <a:pt x="189" y="8"/>
                      </a:lnTo>
                      <a:lnTo>
                        <a:pt x="188" y="8"/>
                      </a:lnTo>
                      <a:lnTo>
                        <a:pt x="188" y="9"/>
                      </a:lnTo>
                      <a:lnTo>
                        <a:pt x="189" y="10"/>
                      </a:lnTo>
                      <a:lnTo>
                        <a:pt x="189" y="9"/>
                      </a:lnTo>
                      <a:lnTo>
                        <a:pt x="189" y="10"/>
                      </a:lnTo>
                      <a:lnTo>
                        <a:pt x="191" y="10"/>
                      </a:lnTo>
                      <a:lnTo>
                        <a:pt x="192" y="9"/>
                      </a:lnTo>
                      <a:lnTo>
                        <a:pt x="193" y="9"/>
                      </a:lnTo>
                      <a:lnTo>
                        <a:pt x="194" y="9"/>
                      </a:lnTo>
                      <a:lnTo>
                        <a:pt x="194" y="10"/>
                      </a:lnTo>
                      <a:lnTo>
                        <a:pt x="194" y="9"/>
                      </a:lnTo>
                      <a:lnTo>
                        <a:pt x="195" y="8"/>
                      </a:lnTo>
                      <a:lnTo>
                        <a:pt x="196" y="8"/>
                      </a:lnTo>
                      <a:lnTo>
                        <a:pt x="198" y="8"/>
                      </a:lnTo>
                      <a:lnTo>
                        <a:pt x="199" y="8"/>
                      </a:lnTo>
                      <a:lnTo>
                        <a:pt x="199" y="9"/>
                      </a:lnTo>
                      <a:lnTo>
                        <a:pt x="200" y="9"/>
                      </a:lnTo>
                      <a:lnTo>
                        <a:pt x="200" y="8"/>
                      </a:lnTo>
                      <a:lnTo>
                        <a:pt x="201" y="8"/>
                      </a:lnTo>
                      <a:lnTo>
                        <a:pt x="201" y="7"/>
                      </a:lnTo>
                      <a:lnTo>
                        <a:pt x="202" y="8"/>
                      </a:lnTo>
                      <a:lnTo>
                        <a:pt x="203" y="8"/>
                      </a:lnTo>
                      <a:lnTo>
                        <a:pt x="203" y="7"/>
                      </a:lnTo>
                      <a:lnTo>
                        <a:pt x="203" y="6"/>
                      </a:lnTo>
                      <a:lnTo>
                        <a:pt x="203" y="5"/>
                      </a:lnTo>
                      <a:lnTo>
                        <a:pt x="205" y="5"/>
                      </a:lnTo>
                      <a:lnTo>
                        <a:pt x="206" y="5"/>
                      </a:lnTo>
                      <a:lnTo>
                        <a:pt x="206" y="6"/>
                      </a:lnTo>
                      <a:lnTo>
                        <a:pt x="207" y="6"/>
                      </a:lnTo>
                      <a:lnTo>
                        <a:pt x="207" y="5"/>
                      </a:lnTo>
                      <a:lnTo>
                        <a:pt x="206" y="3"/>
                      </a:lnTo>
                      <a:lnTo>
                        <a:pt x="203" y="2"/>
                      </a:lnTo>
                      <a:lnTo>
                        <a:pt x="202" y="2"/>
                      </a:lnTo>
                      <a:lnTo>
                        <a:pt x="203" y="2"/>
                      </a:lnTo>
                      <a:lnTo>
                        <a:pt x="206" y="2"/>
                      </a:lnTo>
                      <a:lnTo>
                        <a:pt x="207" y="2"/>
                      </a:lnTo>
                      <a:lnTo>
                        <a:pt x="210" y="2"/>
                      </a:lnTo>
                      <a:lnTo>
                        <a:pt x="214" y="5"/>
                      </a:lnTo>
                      <a:lnTo>
                        <a:pt x="215" y="5"/>
                      </a:lnTo>
                      <a:lnTo>
                        <a:pt x="216" y="6"/>
                      </a:lnTo>
                      <a:lnTo>
                        <a:pt x="220" y="8"/>
                      </a:lnTo>
                      <a:lnTo>
                        <a:pt x="221" y="8"/>
                      </a:lnTo>
                      <a:lnTo>
                        <a:pt x="222" y="8"/>
                      </a:lnTo>
                      <a:lnTo>
                        <a:pt x="227" y="7"/>
                      </a:lnTo>
                      <a:lnTo>
                        <a:pt x="230" y="5"/>
                      </a:lnTo>
                      <a:lnTo>
                        <a:pt x="231" y="5"/>
                      </a:lnTo>
                      <a:lnTo>
                        <a:pt x="233" y="5"/>
                      </a:lnTo>
                      <a:lnTo>
                        <a:pt x="234" y="5"/>
                      </a:lnTo>
                      <a:lnTo>
                        <a:pt x="234" y="6"/>
                      </a:lnTo>
                      <a:lnTo>
                        <a:pt x="234" y="7"/>
                      </a:lnTo>
                      <a:lnTo>
                        <a:pt x="235" y="8"/>
                      </a:lnTo>
                      <a:lnTo>
                        <a:pt x="235" y="9"/>
                      </a:lnTo>
                      <a:lnTo>
                        <a:pt x="236" y="9"/>
                      </a:lnTo>
                      <a:lnTo>
                        <a:pt x="237" y="10"/>
                      </a:lnTo>
                      <a:lnTo>
                        <a:pt x="238" y="10"/>
                      </a:lnTo>
                      <a:lnTo>
                        <a:pt x="238" y="12"/>
                      </a:lnTo>
                      <a:lnTo>
                        <a:pt x="240" y="12"/>
                      </a:lnTo>
                      <a:lnTo>
                        <a:pt x="240" y="13"/>
                      </a:lnTo>
                      <a:lnTo>
                        <a:pt x="241" y="14"/>
                      </a:lnTo>
                      <a:lnTo>
                        <a:pt x="242" y="14"/>
                      </a:lnTo>
                      <a:lnTo>
                        <a:pt x="241" y="14"/>
                      </a:lnTo>
                      <a:lnTo>
                        <a:pt x="237" y="12"/>
                      </a:lnTo>
                      <a:lnTo>
                        <a:pt x="238" y="12"/>
                      </a:lnTo>
                      <a:lnTo>
                        <a:pt x="237" y="12"/>
                      </a:lnTo>
                      <a:lnTo>
                        <a:pt x="237" y="10"/>
                      </a:lnTo>
                      <a:lnTo>
                        <a:pt x="236" y="10"/>
                      </a:lnTo>
                      <a:lnTo>
                        <a:pt x="235" y="9"/>
                      </a:lnTo>
                      <a:lnTo>
                        <a:pt x="235" y="8"/>
                      </a:lnTo>
                      <a:lnTo>
                        <a:pt x="234" y="8"/>
                      </a:lnTo>
                      <a:lnTo>
                        <a:pt x="235" y="8"/>
                      </a:lnTo>
                      <a:lnTo>
                        <a:pt x="234" y="6"/>
                      </a:lnTo>
                      <a:lnTo>
                        <a:pt x="233" y="6"/>
                      </a:lnTo>
                      <a:lnTo>
                        <a:pt x="233" y="5"/>
                      </a:lnTo>
                      <a:lnTo>
                        <a:pt x="231" y="5"/>
                      </a:lnTo>
                      <a:lnTo>
                        <a:pt x="231" y="6"/>
                      </a:lnTo>
                      <a:lnTo>
                        <a:pt x="230" y="6"/>
                      </a:lnTo>
                      <a:lnTo>
                        <a:pt x="230" y="5"/>
                      </a:lnTo>
                      <a:lnTo>
                        <a:pt x="230" y="6"/>
                      </a:lnTo>
                      <a:lnTo>
                        <a:pt x="231" y="6"/>
                      </a:lnTo>
                      <a:lnTo>
                        <a:pt x="230" y="7"/>
                      </a:lnTo>
                      <a:lnTo>
                        <a:pt x="231" y="7"/>
                      </a:lnTo>
                      <a:lnTo>
                        <a:pt x="231" y="8"/>
                      </a:lnTo>
                      <a:lnTo>
                        <a:pt x="230" y="8"/>
                      </a:lnTo>
                      <a:lnTo>
                        <a:pt x="230" y="7"/>
                      </a:lnTo>
                      <a:lnTo>
                        <a:pt x="229" y="8"/>
                      </a:lnTo>
                      <a:lnTo>
                        <a:pt x="230" y="8"/>
                      </a:lnTo>
                      <a:lnTo>
                        <a:pt x="230" y="9"/>
                      </a:lnTo>
                      <a:lnTo>
                        <a:pt x="231" y="9"/>
                      </a:lnTo>
                      <a:lnTo>
                        <a:pt x="230" y="9"/>
                      </a:lnTo>
                      <a:lnTo>
                        <a:pt x="230" y="10"/>
                      </a:lnTo>
                      <a:lnTo>
                        <a:pt x="229" y="10"/>
                      </a:lnTo>
                      <a:lnTo>
                        <a:pt x="230" y="12"/>
                      </a:lnTo>
                      <a:lnTo>
                        <a:pt x="229" y="12"/>
                      </a:lnTo>
                      <a:lnTo>
                        <a:pt x="228" y="12"/>
                      </a:lnTo>
                      <a:lnTo>
                        <a:pt x="229" y="12"/>
                      </a:lnTo>
                      <a:lnTo>
                        <a:pt x="229" y="13"/>
                      </a:lnTo>
                      <a:lnTo>
                        <a:pt x="228" y="13"/>
                      </a:lnTo>
                      <a:lnTo>
                        <a:pt x="229" y="13"/>
                      </a:lnTo>
                      <a:lnTo>
                        <a:pt x="228" y="13"/>
                      </a:lnTo>
                      <a:lnTo>
                        <a:pt x="228" y="14"/>
                      </a:lnTo>
                      <a:lnTo>
                        <a:pt x="229" y="14"/>
                      </a:lnTo>
                      <a:lnTo>
                        <a:pt x="228" y="14"/>
                      </a:lnTo>
                      <a:lnTo>
                        <a:pt x="229" y="14"/>
                      </a:lnTo>
                      <a:lnTo>
                        <a:pt x="230" y="15"/>
                      </a:lnTo>
                      <a:lnTo>
                        <a:pt x="231" y="16"/>
                      </a:lnTo>
                      <a:lnTo>
                        <a:pt x="231" y="15"/>
                      </a:lnTo>
                      <a:lnTo>
                        <a:pt x="233" y="15"/>
                      </a:lnTo>
                      <a:lnTo>
                        <a:pt x="231" y="15"/>
                      </a:lnTo>
                      <a:lnTo>
                        <a:pt x="231" y="16"/>
                      </a:lnTo>
                      <a:lnTo>
                        <a:pt x="233" y="16"/>
                      </a:lnTo>
                      <a:lnTo>
                        <a:pt x="231" y="16"/>
                      </a:lnTo>
                      <a:lnTo>
                        <a:pt x="233" y="16"/>
                      </a:lnTo>
                      <a:lnTo>
                        <a:pt x="231" y="16"/>
                      </a:lnTo>
                      <a:lnTo>
                        <a:pt x="231" y="17"/>
                      </a:lnTo>
                      <a:lnTo>
                        <a:pt x="233" y="17"/>
                      </a:lnTo>
                      <a:lnTo>
                        <a:pt x="233" y="16"/>
                      </a:lnTo>
                      <a:lnTo>
                        <a:pt x="233" y="17"/>
                      </a:lnTo>
                      <a:lnTo>
                        <a:pt x="233" y="16"/>
                      </a:lnTo>
                      <a:lnTo>
                        <a:pt x="233" y="17"/>
                      </a:lnTo>
                      <a:lnTo>
                        <a:pt x="234" y="17"/>
                      </a:lnTo>
                      <a:lnTo>
                        <a:pt x="234" y="16"/>
                      </a:lnTo>
                      <a:lnTo>
                        <a:pt x="235" y="16"/>
                      </a:lnTo>
                      <a:lnTo>
                        <a:pt x="236" y="16"/>
                      </a:lnTo>
                      <a:lnTo>
                        <a:pt x="236" y="17"/>
                      </a:lnTo>
                      <a:lnTo>
                        <a:pt x="236" y="19"/>
                      </a:lnTo>
                      <a:lnTo>
                        <a:pt x="236" y="20"/>
                      </a:lnTo>
                      <a:lnTo>
                        <a:pt x="237" y="20"/>
                      </a:lnTo>
                      <a:lnTo>
                        <a:pt x="237" y="21"/>
                      </a:lnTo>
                      <a:lnTo>
                        <a:pt x="236" y="21"/>
                      </a:lnTo>
                      <a:lnTo>
                        <a:pt x="237" y="21"/>
                      </a:lnTo>
                      <a:lnTo>
                        <a:pt x="237" y="22"/>
                      </a:lnTo>
                      <a:lnTo>
                        <a:pt x="237" y="21"/>
                      </a:lnTo>
                      <a:lnTo>
                        <a:pt x="238" y="22"/>
                      </a:lnTo>
                      <a:lnTo>
                        <a:pt x="237" y="22"/>
                      </a:lnTo>
                      <a:lnTo>
                        <a:pt x="238" y="22"/>
                      </a:lnTo>
                      <a:lnTo>
                        <a:pt x="240" y="22"/>
                      </a:lnTo>
                      <a:lnTo>
                        <a:pt x="238" y="22"/>
                      </a:lnTo>
                      <a:lnTo>
                        <a:pt x="238" y="21"/>
                      </a:lnTo>
                      <a:lnTo>
                        <a:pt x="240" y="22"/>
                      </a:lnTo>
                      <a:lnTo>
                        <a:pt x="240" y="21"/>
                      </a:lnTo>
                      <a:lnTo>
                        <a:pt x="241" y="21"/>
                      </a:lnTo>
                      <a:lnTo>
                        <a:pt x="240" y="21"/>
                      </a:lnTo>
                      <a:lnTo>
                        <a:pt x="241" y="21"/>
                      </a:lnTo>
                      <a:lnTo>
                        <a:pt x="241" y="20"/>
                      </a:lnTo>
                      <a:lnTo>
                        <a:pt x="242" y="20"/>
                      </a:lnTo>
                      <a:lnTo>
                        <a:pt x="242" y="21"/>
                      </a:lnTo>
                      <a:lnTo>
                        <a:pt x="243" y="21"/>
                      </a:lnTo>
                      <a:lnTo>
                        <a:pt x="244" y="20"/>
                      </a:lnTo>
                      <a:lnTo>
                        <a:pt x="244" y="19"/>
                      </a:lnTo>
                      <a:lnTo>
                        <a:pt x="243" y="19"/>
                      </a:lnTo>
                      <a:lnTo>
                        <a:pt x="244" y="19"/>
                      </a:lnTo>
                      <a:lnTo>
                        <a:pt x="244" y="17"/>
                      </a:lnTo>
                      <a:lnTo>
                        <a:pt x="244" y="16"/>
                      </a:lnTo>
                      <a:lnTo>
                        <a:pt x="244" y="15"/>
                      </a:lnTo>
                      <a:lnTo>
                        <a:pt x="244" y="14"/>
                      </a:lnTo>
                      <a:lnTo>
                        <a:pt x="243" y="14"/>
                      </a:lnTo>
                      <a:lnTo>
                        <a:pt x="242" y="14"/>
                      </a:lnTo>
                      <a:lnTo>
                        <a:pt x="243" y="14"/>
                      </a:lnTo>
                      <a:lnTo>
                        <a:pt x="245" y="14"/>
                      </a:lnTo>
                      <a:lnTo>
                        <a:pt x="245" y="15"/>
                      </a:lnTo>
                      <a:lnTo>
                        <a:pt x="247" y="15"/>
                      </a:lnTo>
                      <a:lnTo>
                        <a:pt x="247" y="16"/>
                      </a:lnTo>
                      <a:lnTo>
                        <a:pt x="248" y="16"/>
                      </a:lnTo>
                      <a:lnTo>
                        <a:pt x="249" y="17"/>
                      </a:lnTo>
                      <a:lnTo>
                        <a:pt x="250" y="19"/>
                      </a:lnTo>
                      <a:lnTo>
                        <a:pt x="251" y="21"/>
                      </a:lnTo>
                      <a:lnTo>
                        <a:pt x="252" y="21"/>
                      </a:lnTo>
                      <a:lnTo>
                        <a:pt x="253" y="22"/>
                      </a:lnTo>
                      <a:lnTo>
                        <a:pt x="255" y="22"/>
                      </a:lnTo>
                      <a:lnTo>
                        <a:pt x="256" y="22"/>
                      </a:lnTo>
                      <a:lnTo>
                        <a:pt x="257" y="22"/>
                      </a:lnTo>
                      <a:lnTo>
                        <a:pt x="259" y="22"/>
                      </a:lnTo>
                      <a:lnTo>
                        <a:pt x="263" y="20"/>
                      </a:lnTo>
                      <a:lnTo>
                        <a:pt x="264" y="20"/>
                      </a:lnTo>
                      <a:lnTo>
                        <a:pt x="265" y="19"/>
                      </a:lnTo>
                      <a:lnTo>
                        <a:pt x="265" y="20"/>
                      </a:lnTo>
                      <a:lnTo>
                        <a:pt x="264" y="20"/>
                      </a:lnTo>
                      <a:lnTo>
                        <a:pt x="262" y="21"/>
                      </a:lnTo>
                      <a:lnTo>
                        <a:pt x="260" y="21"/>
                      </a:lnTo>
                      <a:lnTo>
                        <a:pt x="259" y="22"/>
                      </a:lnTo>
                      <a:lnTo>
                        <a:pt x="257" y="23"/>
                      </a:lnTo>
                      <a:lnTo>
                        <a:pt x="258" y="23"/>
                      </a:lnTo>
                      <a:lnTo>
                        <a:pt x="259" y="23"/>
                      </a:lnTo>
                      <a:lnTo>
                        <a:pt x="262" y="22"/>
                      </a:lnTo>
                      <a:lnTo>
                        <a:pt x="264" y="21"/>
                      </a:lnTo>
                      <a:lnTo>
                        <a:pt x="265" y="21"/>
                      </a:lnTo>
                      <a:lnTo>
                        <a:pt x="264" y="21"/>
                      </a:lnTo>
                      <a:lnTo>
                        <a:pt x="264" y="22"/>
                      </a:lnTo>
                      <a:lnTo>
                        <a:pt x="265" y="22"/>
                      </a:lnTo>
                      <a:lnTo>
                        <a:pt x="265" y="21"/>
                      </a:lnTo>
                      <a:lnTo>
                        <a:pt x="264" y="21"/>
                      </a:lnTo>
                      <a:lnTo>
                        <a:pt x="265" y="21"/>
                      </a:lnTo>
                      <a:lnTo>
                        <a:pt x="266" y="21"/>
                      </a:lnTo>
                      <a:lnTo>
                        <a:pt x="266" y="22"/>
                      </a:lnTo>
                      <a:lnTo>
                        <a:pt x="267" y="22"/>
                      </a:lnTo>
                      <a:lnTo>
                        <a:pt x="269" y="21"/>
                      </a:lnTo>
                      <a:lnTo>
                        <a:pt x="269" y="20"/>
                      </a:lnTo>
                      <a:lnTo>
                        <a:pt x="270" y="20"/>
                      </a:lnTo>
                      <a:lnTo>
                        <a:pt x="269" y="20"/>
                      </a:lnTo>
                      <a:lnTo>
                        <a:pt x="269" y="21"/>
                      </a:lnTo>
                      <a:lnTo>
                        <a:pt x="267" y="21"/>
                      </a:lnTo>
                      <a:lnTo>
                        <a:pt x="269" y="21"/>
                      </a:lnTo>
                      <a:lnTo>
                        <a:pt x="267" y="21"/>
                      </a:lnTo>
                      <a:lnTo>
                        <a:pt x="266" y="21"/>
                      </a:lnTo>
                      <a:lnTo>
                        <a:pt x="267" y="20"/>
                      </a:lnTo>
                      <a:lnTo>
                        <a:pt x="269" y="19"/>
                      </a:lnTo>
                      <a:lnTo>
                        <a:pt x="270" y="19"/>
                      </a:lnTo>
                      <a:lnTo>
                        <a:pt x="271" y="17"/>
                      </a:lnTo>
                      <a:lnTo>
                        <a:pt x="271" y="19"/>
                      </a:lnTo>
                      <a:lnTo>
                        <a:pt x="272" y="20"/>
                      </a:lnTo>
                      <a:lnTo>
                        <a:pt x="272" y="21"/>
                      </a:lnTo>
                      <a:lnTo>
                        <a:pt x="271" y="21"/>
                      </a:lnTo>
                      <a:lnTo>
                        <a:pt x="272" y="21"/>
                      </a:lnTo>
                      <a:lnTo>
                        <a:pt x="272" y="22"/>
                      </a:lnTo>
                      <a:lnTo>
                        <a:pt x="271" y="23"/>
                      </a:lnTo>
                      <a:lnTo>
                        <a:pt x="272" y="22"/>
                      </a:lnTo>
                      <a:lnTo>
                        <a:pt x="273" y="22"/>
                      </a:lnTo>
                      <a:lnTo>
                        <a:pt x="274" y="22"/>
                      </a:lnTo>
                      <a:lnTo>
                        <a:pt x="273" y="22"/>
                      </a:lnTo>
                      <a:lnTo>
                        <a:pt x="276" y="21"/>
                      </a:lnTo>
                      <a:lnTo>
                        <a:pt x="276" y="22"/>
                      </a:lnTo>
                      <a:lnTo>
                        <a:pt x="276" y="21"/>
                      </a:lnTo>
                      <a:lnTo>
                        <a:pt x="277" y="21"/>
                      </a:lnTo>
                      <a:lnTo>
                        <a:pt x="277" y="22"/>
                      </a:lnTo>
                      <a:lnTo>
                        <a:pt x="277" y="21"/>
                      </a:lnTo>
                      <a:lnTo>
                        <a:pt x="278" y="21"/>
                      </a:lnTo>
                      <a:lnTo>
                        <a:pt x="277" y="21"/>
                      </a:lnTo>
                      <a:lnTo>
                        <a:pt x="276" y="21"/>
                      </a:lnTo>
                      <a:lnTo>
                        <a:pt x="279" y="21"/>
                      </a:lnTo>
                      <a:lnTo>
                        <a:pt x="279" y="20"/>
                      </a:lnTo>
                      <a:lnTo>
                        <a:pt x="280" y="20"/>
                      </a:lnTo>
                      <a:lnTo>
                        <a:pt x="280" y="19"/>
                      </a:lnTo>
                      <a:lnTo>
                        <a:pt x="280" y="20"/>
                      </a:lnTo>
                      <a:lnTo>
                        <a:pt x="281" y="20"/>
                      </a:lnTo>
                      <a:lnTo>
                        <a:pt x="281" y="19"/>
                      </a:lnTo>
                      <a:lnTo>
                        <a:pt x="283" y="20"/>
                      </a:lnTo>
                      <a:lnTo>
                        <a:pt x="284" y="20"/>
                      </a:lnTo>
                      <a:lnTo>
                        <a:pt x="286" y="20"/>
                      </a:lnTo>
                      <a:lnTo>
                        <a:pt x="286" y="21"/>
                      </a:lnTo>
                      <a:lnTo>
                        <a:pt x="286" y="20"/>
                      </a:lnTo>
                      <a:lnTo>
                        <a:pt x="287" y="21"/>
                      </a:lnTo>
                      <a:lnTo>
                        <a:pt x="288" y="21"/>
                      </a:lnTo>
                      <a:lnTo>
                        <a:pt x="294" y="19"/>
                      </a:lnTo>
                      <a:lnTo>
                        <a:pt x="301" y="16"/>
                      </a:lnTo>
                      <a:lnTo>
                        <a:pt x="306" y="13"/>
                      </a:lnTo>
                      <a:lnTo>
                        <a:pt x="307" y="15"/>
                      </a:lnTo>
                      <a:lnTo>
                        <a:pt x="307" y="17"/>
                      </a:lnTo>
                      <a:lnTo>
                        <a:pt x="308" y="19"/>
                      </a:lnTo>
                      <a:lnTo>
                        <a:pt x="309" y="22"/>
                      </a:lnTo>
                      <a:lnTo>
                        <a:pt x="311" y="26"/>
                      </a:lnTo>
                      <a:lnTo>
                        <a:pt x="312" y="28"/>
                      </a:lnTo>
                      <a:lnTo>
                        <a:pt x="313" y="33"/>
                      </a:lnTo>
                      <a:lnTo>
                        <a:pt x="315" y="38"/>
                      </a:lnTo>
                      <a:lnTo>
                        <a:pt x="315" y="41"/>
                      </a:lnTo>
                      <a:lnTo>
                        <a:pt x="315" y="42"/>
                      </a:lnTo>
                      <a:lnTo>
                        <a:pt x="315" y="43"/>
                      </a:lnTo>
                      <a:lnTo>
                        <a:pt x="316" y="44"/>
                      </a:lnTo>
                      <a:lnTo>
                        <a:pt x="316" y="45"/>
                      </a:lnTo>
                      <a:lnTo>
                        <a:pt x="316" y="47"/>
                      </a:lnTo>
                      <a:lnTo>
                        <a:pt x="316" y="48"/>
                      </a:lnTo>
                      <a:lnTo>
                        <a:pt x="319" y="49"/>
                      </a:lnTo>
                      <a:lnTo>
                        <a:pt x="320" y="52"/>
                      </a:lnTo>
                      <a:lnTo>
                        <a:pt x="321" y="58"/>
                      </a:lnTo>
                      <a:lnTo>
                        <a:pt x="322" y="62"/>
                      </a:lnTo>
                      <a:lnTo>
                        <a:pt x="323" y="62"/>
                      </a:lnTo>
                      <a:lnTo>
                        <a:pt x="323" y="63"/>
                      </a:lnTo>
                      <a:lnTo>
                        <a:pt x="323" y="64"/>
                      </a:lnTo>
                      <a:lnTo>
                        <a:pt x="324" y="69"/>
                      </a:lnTo>
                      <a:lnTo>
                        <a:pt x="326" y="72"/>
                      </a:lnTo>
                      <a:lnTo>
                        <a:pt x="327" y="76"/>
                      </a:lnTo>
                      <a:lnTo>
                        <a:pt x="327" y="78"/>
                      </a:lnTo>
                      <a:lnTo>
                        <a:pt x="327" y="79"/>
                      </a:lnTo>
                      <a:lnTo>
                        <a:pt x="327" y="80"/>
                      </a:lnTo>
                      <a:lnTo>
                        <a:pt x="328" y="82"/>
                      </a:lnTo>
                      <a:lnTo>
                        <a:pt x="327" y="82"/>
                      </a:lnTo>
                      <a:lnTo>
                        <a:pt x="327" y="83"/>
                      </a:lnTo>
                      <a:lnTo>
                        <a:pt x="326" y="83"/>
                      </a:lnTo>
                      <a:lnTo>
                        <a:pt x="326" y="84"/>
                      </a:lnTo>
                      <a:lnTo>
                        <a:pt x="324" y="84"/>
                      </a:lnTo>
                      <a:lnTo>
                        <a:pt x="324" y="85"/>
                      </a:lnTo>
                      <a:lnTo>
                        <a:pt x="326" y="85"/>
                      </a:lnTo>
                      <a:lnTo>
                        <a:pt x="324" y="85"/>
                      </a:lnTo>
                      <a:lnTo>
                        <a:pt x="324" y="86"/>
                      </a:lnTo>
                      <a:lnTo>
                        <a:pt x="323" y="86"/>
                      </a:lnTo>
                      <a:lnTo>
                        <a:pt x="323" y="87"/>
                      </a:lnTo>
                      <a:lnTo>
                        <a:pt x="323" y="89"/>
                      </a:lnTo>
                      <a:lnTo>
                        <a:pt x="322" y="90"/>
                      </a:lnTo>
                      <a:lnTo>
                        <a:pt x="322" y="92"/>
                      </a:lnTo>
                      <a:lnTo>
                        <a:pt x="322" y="93"/>
                      </a:lnTo>
                      <a:lnTo>
                        <a:pt x="321" y="93"/>
                      </a:lnTo>
                      <a:lnTo>
                        <a:pt x="321" y="94"/>
                      </a:lnTo>
                      <a:lnTo>
                        <a:pt x="321" y="96"/>
                      </a:lnTo>
                      <a:lnTo>
                        <a:pt x="321" y="98"/>
                      </a:lnTo>
                      <a:lnTo>
                        <a:pt x="321" y="99"/>
                      </a:lnTo>
                      <a:lnTo>
                        <a:pt x="321" y="100"/>
                      </a:lnTo>
                      <a:lnTo>
                        <a:pt x="320" y="100"/>
                      </a:lnTo>
                      <a:lnTo>
                        <a:pt x="320" y="101"/>
                      </a:lnTo>
                      <a:lnTo>
                        <a:pt x="320" y="104"/>
                      </a:lnTo>
                      <a:lnTo>
                        <a:pt x="319" y="105"/>
                      </a:lnTo>
                      <a:lnTo>
                        <a:pt x="319" y="106"/>
                      </a:lnTo>
                      <a:lnTo>
                        <a:pt x="319" y="107"/>
                      </a:lnTo>
                      <a:lnTo>
                        <a:pt x="320" y="107"/>
                      </a:lnTo>
                      <a:lnTo>
                        <a:pt x="319" y="107"/>
                      </a:lnTo>
                      <a:lnTo>
                        <a:pt x="319" y="108"/>
                      </a:lnTo>
                      <a:lnTo>
                        <a:pt x="319" y="110"/>
                      </a:lnTo>
                      <a:lnTo>
                        <a:pt x="317" y="111"/>
                      </a:lnTo>
                      <a:lnTo>
                        <a:pt x="317" y="113"/>
                      </a:lnTo>
                      <a:lnTo>
                        <a:pt x="316" y="114"/>
                      </a:lnTo>
                      <a:lnTo>
                        <a:pt x="315" y="115"/>
                      </a:lnTo>
                      <a:lnTo>
                        <a:pt x="316" y="117"/>
                      </a:lnTo>
                      <a:lnTo>
                        <a:pt x="315" y="118"/>
                      </a:lnTo>
                      <a:lnTo>
                        <a:pt x="314" y="119"/>
                      </a:lnTo>
                      <a:lnTo>
                        <a:pt x="314" y="120"/>
                      </a:lnTo>
                      <a:lnTo>
                        <a:pt x="313" y="121"/>
                      </a:lnTo>
                      <a:lnTo>
                        <a:pt x="313" y="122"/>
                      </a:lnTo>
                      <a:lnTo>
                        <a:pt x="312" y="124"/>
                      </a:lnTo>
                      <a:lnTo>
                        <a:pt x="312" y="125"/>
                      </a:lnTo>
                      <a:lnTo>
                        <a:pt x="313" y="126"/>
                      </a:lnTo>
                      <a:lnTo>
                        <a:pt x="312" y="127"/>
                      </a:lnTo>
                      <a:lnTo>
                        <a:pt x="313" y="127"/>
                      </a:lnTo>
                      <a:lnTo>
                        <a:pt x="313" y="128"/>
                      </a:lnTo>
                      <a:lnTo>
                        <a:pt x="314" y="129"/>
                      </a:lnTo>
                      <a:lnTo>
                        <a:pt x="313" y="129"/>
                      </a:lnTo>
                      <a:lnTo>
                        <a:pt x="313" y="131"/>
                      </a:lnTo>
                      <a:lnTo>
                        <a:pt x="313" y="132"/>
                      </a:lnTo>
                      <a:lnTo>
                        <a:pt x="313" y="133"/>
                      </a:lnTo>
                      <a:lnTo>
                        <a:pt x="313" y="136"/>
                      </a:lnTo>
                      <a:lnTo>
                        <a:pt x="312" y="136"/>
                      </a:lnTo>
                      <a:lnTo>
                        <a:pt x="312" y="138"/>
                      </a:lnTo>
                      <a:lnTo>
                        <a:pt x="311" y="138"/>
                      </a:lnTo>
                      <a:lnTo>
                        <a:pt x="311" y="139"/>
                      </a:lnTo>
                      <a:lnTo>
                        <a:pt x="309" y="139"/>
                      </a:lnTo>
                      <a:lnTo>
                        <a:pt x="309" y="140"/>
                      </a:lnTo>
                      <a:lnTo>
                        <a:pt x="309" y="141"/>
                      </a:lnTo>
                      <a:lnTo>
                        <a:pt x="308" y="141"/>
                      </a:lnTo>
                      <a:lnTo>
                        <a:pt x="308" y="140"/>
                      </a:lnTo>
                      <a:lnTo>
                        <a:pt x="308" y="141"/>
                      </a:lnTo>
                      <a:lnTo>
                        <a:pt x="307" y="142"/>
                      </a:lnTo>
                      <a:lnTo>
                        <a:pt x="306" y="143"/>
                      </a:lnTo>
                      <a:lnTo>
                        <a:pt x="307" y="143"/>
                      </a:lnTo>
                      <a:lnTo>
                        <a:pt x="307" y="145"/>
                      </a:lnTo>
                      <a:lnTo>
                        <a:pt x="307" y="146"/>
                      </a:lnTo>
                      <a:lnTo>
                        <a:pt x="307" y="145"/>
                      </a:lnTo>
                      <a:lnTo>
                        <a:pt x="306" y="145"/>
                      </a:lnTo>
                      <a:lnTo>
                        <a:pt x="306" y="143"/>
                      </a:lnTo>
                      <a:lnTo>
                        <a:pt x="305" y="143"/>
                      </a:lnTo>
                      <a:lnTo>
                        <a:pt x="301" y="142"/>
                      </a:lnTo>
                      <a:lnTo>
                        <a:pt x="299" y="140"/>
                      </a:lnTo>
                      <a:lnTo>
                        <a:pt x="299" y="139"/>
                      </a:lnTo>
                      <a:lnTo>
                        <a:pt x="298" y="139"/>
                      </a:lnTo>
                      <a:lnTo>
                        <a:pt x="297" y="138"/>
                      </a:lnTo>
                      <a:lnTo>
                        <a:pt x="295" y="138"/>
                      </a:lnTo>
                      <a:lnTo>
                        <a:pt x="294" y="136"/>
                      </a:lnTo>
                      <a:lnTo>
                        <a:pt x="293" y="135"/>
                      </a:lnTo>
                      <a:lnTo>
                        <a:pt x="292" y="135"/>
                      </a:lnTo>
                      <a:lnTo>
                        <a:pt x="292" y="134"/>
                      </a:lnTo>
                      <a:lnTo>
                        <a:pt x="290" y="133"/>
                      </a:lnTo>
                      <a:lnTo>
                        <a:pt x="290" y="132"/>
                      </a:lnTo>
                      <a:lnTo>
                        <a:pt x="288" y="131"/>
                      </a:lnTo>
                      <a:lnTo>
                        <a:pt x="288" y="129"/>
                      </a:lnTo>
                      <a:lnTo>
                        <a:pt x="287" y="129"/>
                      </a:lnTo>
                      <a:lnTo>
                        <a:pt x="287" y="128"/>
                      </a:lnTo>
                      <a:lnTo>
                        <a:pt x="287" y="127"/>
                      </a:lnTo>
                      <a:lnTo>
                        <a:pt x="286" y="127"/>
                      </a:lnTo>
                      <a:lnTo>
                        <a:pt x="286" y="126"/>
                      </a:lnTo>
                      <a:lnTo>
                        <a:pt x="285" y="125"/>
                      </a:lnTo>
                      <a:lnTo>
                        <a:pt x="280" y="122"/>
                      </a:lnTo>
                      <a:lnTo>
                        <a:pt x="280" y="121"/>
                      </a:lnTo>
                      <a:lnTo>
                        <a:pt x="280" y="120"/>
                      </a:lnTo>
                      <a:lnTo>
                        <a:pt x="279" y="120"/>
                      </a:lnTo>
                      <a:lnTo>
                        <a:pt x="279" y="119"/>
                      </a:lnTo>
                      <a:lnTo>
                        <a:pt x="277" y="118"/>
                      </a:lnTo>
                      <a:lnTo>
                        <a:pt x="277" y="117"/>
                      </a:lnTo>
                      <a:lnTo>
                        <a:pt x="276" y="117"/>
                      </a:lnTo>
                      <a:lnTo>
                        <a:pt x="276" y="115"/>
                      </a:lnTo>
                      <a:lnTo>
                        <a:pt x="276" y="114"/>
                      </a:lnTo>
                      <a:lnTo>
                        <a:pt x="274" y="114"/>
                      </a:lnTo>
                      <a:lnTo>
                        <a:pt x="276" y="115"/>
                      </a:lnTo>
                      <a:lnTo>
                        <a:pt x="274" y="115"/>
                      </a:lnTo>
                      <a:lnTo>
                        <a:pt x="274" y="114"/>
                      </a:lnTo>
                      <a:lnTo>
                        <a:pt x="274" y="112"/>
                      </a:lnTo>
                      <a:lnTo>
                        <a:pt x="273" y="112"/>
                      </a:lnTo>
                      <a:lnTo>
                        <a:pt x="273" y="111"/>
                      </a:lnTo>
                      <a:lnTo>
                        <a:pt x="273" y="110"/>
                      </a:lnTo>
                      <a:lnTo>
                        <a:pt x="274" y="108"/>
                      </a:lnTo>
                      <a:lnTo>
                        <a:pt x="274" y="107"/>
                      </a:lnTo>
                      <a:lnTo>
                        <a:pt x="273" y="107"/>
                      </a:lnTo>
                      <a:lnTo>
                        <a:pt x="273" y="106"/>
                      </a:lnTo>
                      <a:lnTo>
                        <a:pt x="273" y="105"/>
                      </a:lnTo>
                      <a:lnTo>
                        <a:pt x="272" y="105"/>
                      </a:lnTo>
                      <a:lnTo>
                        <a:pt x="272" y="103"/>
                      </a:lnTo>
                      <a:lnTo>
                        <a:pt x="272" y="101"/>
                      </a:lnTo>
                      <a:lnTo>
                        <a:pt x="272" y="100"/>
                      </a:lnTo>
                      <a:lnTo>
                        <a:pt x="272" y="99"/>
                      </a:lnTo>
                      <a:lnTo>
                        <a:pt x="272" y="98"/>
                      </a:lnTo>
                      <a:lnTo>
                        <a:pt x="271" y="98"/>
                      </a:lnTo>
                      <a:lnTo>
                        <a:pt x="271" y="97"/>
                      </a:lnTo>
                      <a:lnTo>
                        <a:pt x="270" y="97"/>
                      </a:lnTo>
                      <a:lnTo>
                        <a:pt x="269" y="96"/>
                      </a:lnTo>
                      <a:lnTo>
                        <a:pt x="269" y="94"/>
                      </a:lnTo>
                      <a:lnTo>
                        <a:pt x="267" y="93"/>
                      </a:lnTo>
                      <a:lnTo>
                        <a:pt x="265" y="91"/>
                      </a:lnTo>
                      <a:lnTo>
                        <a:pt x="264" y="91"/>
                      </a:lnTo>
                      <a:lnTo>
                        <a:pt x="264" y="90"/>
                      </a:lnTo>
                      <a:lnTo>
                        <a:pt x="263" y="90"/>
                      </a:lnTo>
                      <a:lnTo>
                        <a:pt x="263" y="89"/>
                      </a:lnTo>
                      <a:lnTo>
                        <a:pt x="263" y="87"/>
                      </a:lnTo>
                      <a:lnTo>
                        <a:pt x="262" y="87"/>
                      </a:lnTo>
                      <a:lnTo>
                        <a:pt x="262" y="85"/>
                      </a:lnTo>
                      <a:lnTo>
                        <a:pt x="262" y="84"/>
                      </a:lnTo>
                      <a:lnTo>
                        <a:pt x="260" y="83"/>
                      </a:lnTo>
                      <a:lnTo>
                        <a:pt x="258" y="82"/>
                      </a:lnTo>
                      <a:lnTo>
                        <a:pt x="259" y="82"/>
                      </a:lnTo>
                      <a:lnTo>
                        <a:pt x="258" y="82"/>
                      </a:lnTo>
                      <a:lnTo>
                        <a:pt x="258" y="80"/>
                      </a:lnTo>
                      <a:lnTo>
                        <a:pt x="258" y="82"/>
                      </a:lnTo>
                      <a:lnTo>
                        <a:pt x="258" y="80"/>
                      </a:lnTo>
                      <a:lnTo>
                        <a:pt x="258" y="79"/>
                      </a:lnTo>
                      <a:lnTo>
                        <a:pt x="258" y="77"/>
                      </a:lnTo>
                      <a:lnTo>
                        <a:pt x="257" y="77"/>
                      </a:lnTo>
                      <a:lnTo>
                        <a:pt x="257" y="76"/>
                      </a:lnTo>
                      <a:lnTo>
                        <a:pt x="257" y="75"/>
                      </a:lnTo>
                      <a:lnTo>
                        <a:pt x="257" y="73"/>
                      </a:lnTo>
                      <a:lnTo>
                        <a:pt x="257" y="72"/>
                      </a:lnTo>
                      <a:lnTo>
                        <a:pt x="257" y="71"/>
                      </a:lnTo>
                      <a:lnTo>
                        <a:pt x="256" y="70"/>
                      </a:lnTo>
                      <a:lnTo>
                        <a:pt x="255" y="69"/>
                      </a:lnTo>
                      <a:lnTo>
                        <a:pt x="255" y="68"/>
                      </a:lnTo>
                      <a:lnTo>
                        <a:pt x="255" y="66"/>
                      </a:lnTo>
                      <a:lnTo>
                        <a:pt x="255" y="65"/>
                      </a:lnTo>
                      <a:lnTo>
                        <a:pt x="253" y="64"/>
                      </a:lnTo>
                      <a:lnTo>
                        <a:pt x="253" y="63"/>
                      </a:lnTo>
                      <a:lnTo>
                        <a:pt x="253" y="62"/>
                      </a:lnTo>
                      <a:lnTo>
                        <a:pt x="252" y="63"/>
                      </a:lnTo>
                      <a:lnTo>
                        <a:pt x="253" y="63"/>
                      </a:lnTo>
                      <a:lnTo>
                        <a:pt x="253" y="64"/>
                      </a:lnTo>
                      <a:lnTo>
                        <a:pt x="252" y="63"/>
                      </a:lnTo>
                      <a:lnTo>
                        <a:pt x="252" y="64"/>
                      </a:lnTo>
                      <a:lnTo>
                        <a:pt x="251" y="63"/>
                      </a:lnTo>
                      <a:lnTo>
                        <a:pt x="251" y="64"/>
                      </a:lnTo>
                      <a:lnTo>
                        <a:pt x="250" y="64"/>
                      </a:lnTo>
                      <a:lnTo>
                        <a:pt x="250" y="65"/>
                      </a:lnTo>
                      <a:lnTo>
                        <a:pt x="250" y="66"/>
                      </a:lnTo>
                      <a:lnTo>
                        <a:pt x="251" y="66"/>
                      </a:lnTo>
                      <a:lnTo>
                        <a:pt x="251" y="68"/>
                      </a:lnTo>
                      <a:lnTo>
                        <a:pt x="248" y="71"/>
                      </a:lnTo>
                      <a:lnTo>
                        <a:pt x="248" y="72"/>
                      </a:lnTo>
                      <a:lnTo>
                        <a:pt x="247" y="73"/>
                      </a:lnTo>
                      <a:lnTo>
                        <a:pt x="247" y="76"/>
                      </a:lnTo>
                      <a:lnTo>
                        <a:pt x="245" y="77"/>
                      </a:lnTo>
                      <a:lnTo>
                        <a:pt x="247" y="77"/>
                      </a:lnTo>
                      <a:lnTo>
                        <a:pt x="247" y="78"/>
                      </a:lnTo>
                      <a:lnTo>
                        <a:pt x="247" y="79"/>
                      </a:lnTo>
                      <a:lnTo>
                        <a:pt x="248" y="79"/>
                      </a:lnTo>
                      <a:lnTo>
                        <a:pt x="249" y="80"/>
                      </a:lnTo>
                      <a:lnTo>
                        <a:pt x="251" y="83"/>
                      </a:lnTo>
                      <a:lnTo>
                        <a:pt x="252" y="83"/>
                      </a:lnTo>
                      <a:lnTo>
                        <a:pt x="252" y="84"/>
                      </a:lnTo>
                      <a:lnTo>
                        <a:pt x="253" y="85"/>
                      </a:lnTo>
                      <a:lnTo>
                        <a:pt x="253" y="86"/>
                      </a:lnTo>
                      <a:lnTo>
                        <a:pt x="255" y="89"/>
                      </a:lnTo>
                      <a:lnTo>
                        <a:pt x="255" y="90"/>
                      </a:lnTo>
                      <a:lnTo>
                        <a:pt x="255" y="91"/>
                      </a:lnTo>
                      <a:lnTo>
                        <a:pt x="256" y="94"/>
                      </a:lnTo>
                      <a:lnTo>
                        <a:pt x="256" y="96"/>
                      </a:lnTo>
                      <a:lnTo>
                        <a:pt x="256" y="97"/>
                      </a:lnTo>
                      <a:lnTo>
                        <a:pt x="255" y="97"/>
                      </a:lnTo>
                      <a:lnTo>
                        <a:pt x="255" y="98"/>
                      </a:lnTo>
                      <a:lnTo>
                        <a:pt x="255" y="100"/>
                      </a:lnTo>
                      <a:lnTo>
                        <a:pt x="256" y="101"/>
                      </a:lnTo>
                      <a:lnTo>
                        <a:pt x="257" y="101"/>
                      </a:lnTo>
                      <a:lnTo>
                        <a:pt x="257" y="103"/>
                      </a:lnTo>
                      <a:lnTo>
                        <a:pt x="257" y="104"/>
                      </a:lnTo>
                      <a:lnTo>
                        <a:pt x="259" y="106"/>
                      </a:lnTo>
                      <a:lnTo>
                        <a:pt x="260" y="106"/>
                      </a:lnTo>
                      <a:lnTo>
                        <a:pt x="260" y="107"/>
                      </a:lnTo>
                      <a:lnTo>
                        <a:pt x="262" y="108"/>
                      </a:lnTo>
                      <a:lnTo>
                        <a:pt x="263" y="113"/>
                      </a:lnTo>
                      <a:lnTo>
                        <a:pt x="263" y="114"/>
                      </a:lnTo>
                      <a:lnTo>
                        <a:pt x="265" y="115"/>
                      </a:lnTo>
                      <a:lnTo>
                        <a:pt x="265" y="117"/>
                      </a:lnTo>
                      <a:lnTo>
                        <a:pt x="266" y="117"/>
                      </a:lnTo>
                      <a:lnTo>
                        <a:pt x="266" y="118"/>
                      </a:lnTo>
                      <a:lnTo>
                        <a:pt x="267" y="118"/>
                      </a:lnTo>
                      <a:lnTo>
                        <a:pt x="267" y="119"/>
                      </a:lnTo>
                      <a:lnTo>
                        <a:pt x="269" y="120"/>
                      </a:lnTo>
                      <a:lnTo>
                        <a:pt x="270" y="121"/>
                      </a:lnTo>
                      <a:lnTo>
                        <a:pt x="270" y="122"/>
                      </a:lnTo>
                      <a:lnTo>
                        <a:pt x="270" y="124"/>
                      </a:lnTo>
                      <a:lnTo>
                        <a:pt x="271" y="124"/>
                      </a:lnTo>
                      <a:lnTo>
                        <a:pt x="271" y="125"/>
                      </a:lnTo>
                      <a:lnTo>
                        <a:pt x="272" y="126"/>
                      </a:lnTo>
                      <a:lnTo>
                        <a:pt x="273" y="127"/>
                      </a:lnTo>
                      <a:lnTo>
                        <a:pt x="273" y="128"/>
                      </a:lnTo>
                      <a:lnTo>
                        <a:pt x="274" y="128"/>
                      </a:lnTo>
                      <a:lnTo>
                        <a:pt x="274" y="129"/>
                      </a:lnTo>
                      <a:lnTo>
                        <a:pt x="274" y="131"/>
                      </a:lnTo>
                      <a:lnTo>
                        <a:pt x="276" y="131"/>
                      </a:lnTo>
                      <a:lnTo>
                        <a:pt x="277" y="132"/>
                      </a:lnTo>
                      <a:lnTo>
                        <a:pt x="278" y="132"/>
                      </a:lnTo>
                      <a:lnTo>
                        <a:pt x="278" y="133"/>
                      </a:lnTo>
                      <a:lnTo>
                        <a:pt x="279" y="133"/>
                      </a:lnTo>
                      <a:lnTo>
                        <a:pt x="279" y="134"/>
                      </a:lnTo>
                      <a:lnTo>
                        <a:pt x="281" y="134"/>
                      </a:lnTo>
                      <a:lnTo>
                        <a:pt x="284" y="136"/>
                      </a:lnTo>
                      <a:lnTo>
                        <a:pt x="284" y="139"/>
                      </a:lnTo>
                      <a:lnTo>
                        <a:pt x="285" y="139"/>
                      </a:lnTo>
                      <a:lnTo>
                        <a:pt x="285" y="141"/>
                      </a:lnTo>
                      <a:lnTo>
                        <a:pt x="286" y="141"/>
                      </a:lnTo>
                      <a:lnTo>
                        <a:pt x="286" y="142"/>
                      </a:lnTo>
                      <a:lnTo>
                        <a:pt x="285" y="142"/>
                      </a:lnTo>
                      <a:lnTo>
                        <a:pt x="284" y="141"/>
                      </a:lnTo>
                      <a:lnTo>
                        <a:pt x="283" y="141"/>
                      </a:lnTo>
                      <a:lnTo>
                        <a:pt x="281" y="141"/>
                      </a:lnTo>
                      <a:lnTo>
                        <a:pt x="283" y="142"/>
                      </a:lnTo>
                      <a:lnTo>
                        <a:pt x="283" y="143"/>
                      </a:lnTo>
                      <a:lnTo>
                        <a:pt x="284" y="143"/>
                      </a:lnTo>
                      <a:lnTo>
                        <a:pt x="284" y="145"/>
                      </a:lnTo>
                      <a:lnTo>
                        <a:pt x="285" y="143"/>
                      </a:lnTo>
                      <a:lnTo>
                        <a:pt x="285" y="145"/>
                      </a:lnTo>
                      <a:lnTo>
                        <a:pt x="284" y="146"/>
                      </a:lnTo>
                      <a:lnTo>
                        <a:pt x="285" y="146"/>
                      </a:lnTo>
                      <a:lnTo>
                        <a:pt x="285" y="147"/>
                      </a:lnTo>
                      <a:lnTo>
                        <a:pt x="286" y="148"/>
                      </a:lnTo>
                      <a:lnTo>
                        <a:pt x="285" y="148"/>
                      </a:lnTo>
                      <a:lnTo>
                        <a:pt x="285" y="147"/>
                      </a:lnTo>
                      <a:lnTo>
                        <a:pt x="285" y="148"/>
                      </a:lnTo>
                      <a:lnTo>
                        <a:pt x="284" y="147"/>
                      </a:lnTo>
                      <a:lnTo>
                        <a:pt x="283" y="147"/>
                      </a:lnTo>
                      <a:lnTo>
                        <a:pt x="283" y="148"/>
                      </a:lnTo>
                      <a:lnTo>
                        <a:pt x="284" y="148"/>
                      </a:lnTo>
                      <a:lnTo>
                        <a:pt x="284" y="149"/>
                      </a:lnTo>
                      <a:lnTo>
                        <a:pt x="285" y="150"/>
                      </a:lnTo>
                      <a:lnTo>
                        <a:pt x="285" y="152"/>
                      </a:lnTo>
                      <a:lnTo>
                        <a:pt x="285" y="153"/>
                      </a:lnTo>
                      <a:lnTo>
                        <a:pt x="286" y="153"/>
                      </a:lnTo>
                      <a:lnTo>
                        <a:pt x="287" y="154"/>
                      </a:lnTo>
                      <a:lnTo>
                        <a:pt x="287" y="155"/>
                      </a:lnTo>
                      <a:lnTo>
                        <a:pt x="288" y="156"/>
                      </a:lnTo>
                      <a:lnTo>
                        <a:pt x="288" y="157"/>
                      </a:lnTo>
                      <a:lnTo>
                        <a:pt x="288" y="159"/>
                      </a:lnTo>
                      <a:lnTo>
                        <a:pt x="290" y="160"/>
                      </a:lnTo>
                      <a:lnTo>
                        <a:pt x="291" y="161"/>
                      </a:lnTo>
                      <a:lnTo>
                        <a:pt x="293" y="162"/>
                      </a:lnTo>
                      <a:lnTo>
                        <a:pt x="294" y="163"/>
                      </a:lnTo>
                      <a:lnTo>
                        <a:pt x="293" y="164"/>
                      </a:lnTo>
                      <a:lnTo>
                        <a:pt x="293" y="166"/>
                      </a:lnTo>
                      <a:lnTo>
                        <a:pt x="293" y="167"/>
                      </a:lnTo>
                      <a:lnTo>
                        <a:pt x="294" y="168"/>
                      </a:lnTo>
                      <a:lnTo>
                        <a:pt x="295" y="168"/>
                      </a:lnTo>
                      <a:lnTo>
                        <a:pt x="295" y="169"/>
                      </a:lnTo>
                      <a:lnTo>
                        <a:pt x="295" y="170"/>
                      </a:lnTo>
                      <a:lnTo>
                        <a:pt x="295" y="171"/>
                      </a:lnTo>
                      <a:lnTo>
                        <a:pt x="297" y="171"/>
                      </a:lnTo>
                      <a:lnTo>
                        <a:pt x="297" y="173"/>
                      </a:lnTo>
                      <a:lnTo>
                        <a:pt x="297" y="174"/>
                      </a:lnTo>
                      <a:lnTo>
                        <a:pt x="298" y="174"/>
                      </a:lnTo>
                      <a:lnTo>
                        <a:pt x="298" y="175"/>
                      </a:lnTo>
                      <a:lnTo>
                        <a:pt x="299" y="175"/>
                      </a:lnTo>
                      <a:lnTo>
                        <a:pt x="299" y="176"/>
                      </a:lnTo>
                      <a:lnTo>
                        <a:pt x="299" y="177"/>
                      </a:lnTo>
                      <a:lnTo>
                        <a:pt x="298" y="177"/>
                      </a:lnTo>
                      <a:lnTo>
                        <a:pt x="297" y="177"/>
                      </a:lnTo>
                      <a:lnTo>
                        <a:pt x="297" y="178"/>
                      </a:lnTo>
                      <a:lnTo>
                        <a:pt x="297" y="180"/>
                      </a:lnTo>
                      <a:lnTo>
                        <a:pt x="298" y="180"/>
                      </a:lnTo>
                      <a:lnTo>
                        <a:pt x="298" y="181"/>
                      </a:lnTo>
                      <a:lnTo>
                        <a:pt x="297" y="183"/>
                      </a:lnTo>
                      <a:lnTo>
                        <a:pt x="297" y="184"/>
                      </a:lnTo>
                      <a:lnTo>
                        <a:pt x="298" y="184"/>
                      </a:lnTo>
                      <a:lnTo>
                        <a:pt x="299" y="184"/>
                      </a:lnTo>
                      <a:lnTo>
                        <a:pt x="299" y="185"/>
                      </a:lnTo>
                      <a:lnTo>
                        <a:pt x="299" y="187"/>
                      </a:lnTo>
                      <a:lnTo>
                        <a:pt x="300" y="188"/>
                      </a:lnTo>
                      <a:lnTo>
                        <a:pt x="301" y="189"/>
                      </a:lnTo>
                      <a:lnTo>
                        <a:pt x="302" y="192"/>
                      </a:lnTo>
                      <a:lnTo>
                        <a:pt x="304" y="194"/>
                      </a:lnTo>
                      <a:lnTo>
                        <a:pt x="304" y="195"/>
                      </a:lnTo>
                      <a:lnTo>
                        <a:pt x="305" y="196"/>
                      </a:lnTo>
                      <a:lnTo>
                        <a:pt x="307" y="202"/>
                      </a:lnTo>
                      <a:lnTo>
                        <a:pt x="308" y="204"/>
                      </a:lnTo>
                      <a:lnTo>
                        <a:pt x="309" y="208"/>
                      </a:lnTo>
                      <a:lnTo>
                        <a:pt x="312" y="211"/>
                      </a:lnTo>
                      <a:lnTo>
                        <a:pt x="313" y="212"/>
                      </a:lnTo>
                      <a:lnTo>
                        <a:pt x="315" y="216"/>
                      </a:lnTo>
                      <a:lnTo>
                        <a:pt x="316" y="217"/>
                      </a:lnTo>
                      <a:lnTo>
                        <a:pt x="319" y="223"/>
                      </a:lnTo>
                      <a:lnTo>
                        <a:pt x="320" y="224"/>
                      </a:lnTo>
                      <a:lnTo>
                        <a:pt x="320" y="226"/>
                      </a:lnTo>
                      <a:lnTo>
                        <a:pt x="320" y="227"/>
                      </a:lnTo>
                      <a:lnTo>
                        <a:pt x="321" y="229"/>
                      </a:lnTo>
                      <a:lnTo>
                        <a:pt x="322" y="230"/>
                      </a:lnTo>
                      <a:lnTo>
                        <a:pt x="322" y="231"/>
                      </a:lnTo>
                      <a:lnTo>
                        <a:pt x="323" y="232"/>
                      </a:lnTo>
                      <a:lnTo>
                        <a:pt x="324" y="233"/>
                      </a:lnTo>
                      <a:lnTo>
                        <a:pt x="324" y="236"/>
                      </a:lnTo>
                      <a:lnTo>
                        <a:pt x="326" y="238"/>
                      </a:lnTo>
                      <a:lnTo>
                        <a:pt x="328" y="243"/>
                      </a:lnTo>
                      <a:lnTo>
                        <a:pt x="329" y="244"/>
                      </a:lnTo>
                      <a:lnTo>
                        <a:pt x="329" y="245"/>
                      </a:lnTo>
                      <a:lnTo>
                        <a:pt x="330" y="246"/>
                      </a:lnTo>
                      <a:lnTo>
                        <a:pt x="330" y="248"/>
                      </a:lnTo>
                      <a:lnTo>
                        <a:pt x="330" y="250"/>
                      </a:lnTo>
                      <a:lnTo>
                        <a:pt x="331" y="250"/>
                      </a:lnTo>
                      <a:lnTo>
                        <a:pt x="331" y="251"/>
                      </a:lnTo>
                      <a:lnTo>
                        <a:pt x="333" y="251"/>
                      </a:lnTo>
                      <a:lnTo>
                        <a:pt x="333" y="252"/>
                      </a:lnTo>
                      <a:lnTo>
                        <a:pt x="334" y="254"/>
                      </a:lnTo>
                      <a:lnTo>
                        <a:pt x="334" y="255"/>
                      </a:lnTo>
                      <a:lnTo>
                        <a:pt x="335" y="257"/>
                      </a:lnTo>
                      <a:lnTo>
                        <a:pt x="335" y="258"/>
                      </a:lnTo>
                      <a:lnTo>
                        <a:pt x="336" y="258"/>
                      </a:lnTo>
                      <a:lnTo>
                        <a:pt x="335" y="259"/>
                      </a:lnTo>
                      <a:lnTo>
                        <a:pt x="335" y="260"/>
                      </a:lnTo>
                      <a:lnTo>
                        <a:pt x="336" y="261"/>
                      </a:lnTo>
                      <a:lnTo>
                        <a:pt x="338" y="264"/>
                      </a:lnTo>
                      <a:lnTo>
                        <a:pt x="342" y="267"/>
                      </a:lnTo>
                      <a:lnTo>
                        <a:pt x="343" y="268"/>
                      </a:lnTo>
                      <a:lnTo>
                        <a:pt x="344" y="272"/>
                      </a:lnTo>
                      <a:lnTo>
                        <a:pt x="345" y="272"/>
                      </a:lnTo>
                      <a:lnTo>
                        <a:pt x="347" y="274"/>
                      </a:lnTo>
                      <a:lnTo>
                        <a:pt x="347" y="273"/>
                      </a:lnTo>
                      <a:lnTo>
                        <a:pt x="347" y="274"/>
                      </a:lnTo>
                      <a:lnTo>
                        <a:pt x="348" y="274"/>
                      </a:lnTo>
                      <a:lnTo>
                        <a:pt x="349" y="275"/>
                      </a:lnTo>
                      <a:lnTo>
                        <a:pt x="350" y="276"/>
                      </a:lnTo>
                      <a:lnTo>
                        <a:pt x="350" y="278"/>
                      </a:lnTo>
                      <a:lnTo>
                        <a:pt x="351" y="278"/>
                      </a:lnTo>
                      <a:lnTo>
                        <a:pt x="352" y="278"/>
                      </a:lnTo>
                      <a:lnTo>
                        <a:pt x="354" y="278"/>
                      </a:lnTo>
                      <a:lnTo>
                        <a:pt x="354" y="279"/>
                      </a:lnTo>
                      <a:lnTo>
                        <a:pt x="355" y="279"/>
                      </a:lnTo>
                      <a:lnTo>
                        <a:pt x="355" y="281"/>
                      </a:lnTo>
                      <a:lnTo>
                        <a:pt x="356" y="281"/>
                      </a:lnTo>
                      <a:lnTo>
                        <a:pt x="355" y="281"/>
                      </a:lnTo>
                      <a:lnTo>
                        <a:pt x="355" y="280"/>
                      </a:lnTo>
                      <a:lnTo>
                        <a:pt x="354" y="280"/>
                      </a:lnTo>
                      <a:lnTo>
                        <a:pt x="352" y="281"/>
                      </a:lnTo>
                      <a:lnTo>
                        <a:pt x="351" y="281"/>
                      </a:lnTo>
                      <a:lnTo>
                        <a:pt x="351" y="280"/>
                      </a:lnTo>
                      <a:lnTo>
                        <a:pt x="350" y="280"/>
                      </a:lnTo>
                      <a:lnTo>
                        <a:pt x="349" y="280"/>
                      </a:lnTo>
                      <a:lnTo>
                        <a:pt x="348" y="280"/>
                      </a:lnTo>
                      <a:lnTo>
                        <a:pt x="348" y="279"/>
                      </a:lnTo>
                      <a:lnTo>
                        <a:pt x="347" y="279"/>
                      </a:lnTo>
                      <a:lnTo>
                        <a:pt x="347" y="280"/>
                      </a:lnTo>
                      <a:lnTo>
                        <a:pt x="345" y="281"/>
                      </a:lnTo>
                      <a:lnTo>
                        <a:pt x="347" y="282"/>
                      </a:lnTo>
                      <a:lnTo>
                        <a:pt x="345" y="283"/>
                      </a:lnTo>
                      <a:lnTo>
                        <a:pt x="345" y="285"/>
                      </a:lnTo>
                      <a:lnTo>
                        <a:pt x="345" y="286"/>
                      </a:lnTo>
                      <a:lnTo>
                        <a:pt x="347" y="286"/>
                      </a:lnTo>
                      <a:lnTo>
                        <a:pt x="347" y="287"/>
                      </a:lnTo>
                      <a:lnTo>
                        <a:pt x="347" y="288"/>
                      </a:lnTo>
                      <a:lnTo>
                        <a:pt x="347" y="289"/>
                      </a:lnTo>
                      <a:lnTo>
                        <a:pt x="347" y="290"/>
                      </a:lnTo>
                      <a:lnTo>
                        <a:pt x="347" y="294"/>
                      </a:lnTo>
                      <a:lnTo>
                        <a:pt x="345" y="295"/>
                      </a:lnTo>
                      <a:lnTo>
                        <a:pt x="347" y="296"/>
                      </a:lnTo>
                      <a:lnTo>
                        <a:pt x="347" y="297"/>
                      </a:lnTo>
                      <a:lnTo>
                        <a:pt x="348" y="299"/>
                      </a:lnTo>
                      <a:lnTo>
                        <a:pt x="348" y="300"/>
                      </a:lnTo>
                      <a:lnTo>
                        <a:pt x="348" y="301"/>
                      </a:lnTo>
                      <a:lnTo>
                        <a:pt x="348" y="303"/>
                      </a:lnTo>
                      <a:lnTo>
                        <a:pt x="349" y="304"/>
                      </a:lnTo>
                      <a:lnTo>
                        <a:pt x="349" y="306"/>
                      </a:lnTo>
                      <a:lnTo>
                        <a:pt x="350" y="308"/>
                      </a:lnTo>
                      <a:lnTo>
                        <a:pt x="350" y="309"/>
                      </a:lnTo>
                      <a:lnTo>
                        <a:pt x="351" y="310"/>
                      </a:lnTo>
                      <a:lnTo>
                        <a:pt x="351" y="314"/>
                      </a:lnTo>
                      <a:lnTo>
                        <a:pt x="352" y="315"/>
                      </a:lnTo>
                      <a:lnTo>
                        <a:pt x="354" y="317"/>
                      </a:lnTo>
                      <a:lnTo>
                        <a:pt x="355" y="317"/>
                      </a:lnTo>
                      <a:lnTo>
                        <a:pt x="355" y="316"/>
                      </a:lnTo>
                      <a:lnTo>
                        <a:pt x="354" y="315"/>
                      </a:lnTo>
                      <a:lnTo>
                        <a:pt x="355" y="315"/>
                      </a:lnTo>
                      <a:lnTo>
                        <a:pt x="355" y="316"/>
                      </a:lnTo>
                      <a:lnTo>
                        <a:pt x="355" y="318"/>
                      </a:lnTo>
                      <a:lnTo>
                        <a:pt x="356" y="318"/>
                      </a:lnTo>
                      <a:lnTo>
                        <a:pt x="356" y="320"/>
                      </a:lnTo>
                      <a:lnTo>
                        <a:pt x="357" y="320"/>
                      </a:lnTo>
                      <a:lnTo>
                        <a:pt x="357" y="321"/>
                      </a:lnTo>
                      <a:lnTo>
                        <a:pt x="358" y="322"/>
                      </a:lnTo>
                      <a:lnTo>
                        <a:pt x="359" y="322"/>
                      </a:lnTo>
                      <a:lnTo>
                        <a:pt x="361" y="323"/>
                      </a:lnTo>
                      <a:lnTo>
                        <a:pt x="362" y="323"/>
                      </a:lnTo>
                      <a:lnTo>
                        <a:pt x="363" y="323"/>
                      </a:lnTo>
                      <a:lnTo>
                        <a:pt x="366" y="324"/>
                      </a:lnTo>
                      <a:lnTo>
                        <a:pt x="369" y="324"/>
                      </a:lnTo>
                      <a:lnTo>
                        <a:pt x="370" y="325"/>
                      </a:lnTo>
                      <a:lnTo>
                        <a:pt x="371" y="327"/>
                      </a:lnTo>
                      <a:lnTo>
                        <a:pt x="371" y="328"/>
                      </a:lnTo>
                      <a:lnTo>
                        <a:pt x="371" y="329"/>
                      </a:lnTo>
                      <a:lnTo>
                        <a:pt x="372" y="330"/>
                      </a:lnTo>
                      <a:lnTo>
                        <a:pt x="373" y="331"/>
                      </a:lnTo>
                      <a:lnTo>
                        <a:pt x="375" y="332"/>
                      </a:lnTo>
                      <a:lnTo>
                        <a:pt x="376" y="332"/>
                      </a:lnTo>
                      <a:lnTo>
                        <a:pt x="376" y="334"/>
                      </a:lnTo>
                      <a:lnTo>
                        <a:pt x="376" y="335"/>
                      </a:lnTo>
                      <a:lnTo>
                        <a:pt x="378" y="336"/>
                      </a:lnTo>
                      <a:lnTo>
                        <a:pt x="379" y="337"/>
                      </a:lnTo>
                      <a:lnTo>
                        <a:pt x="380" y="337"/>
                      </a:lnTo>
                      <a:lnTo>
                        <a:pt x="381" y="338"/>
                      </a:lnTo>
                      <a:lnTo>
                        <a:pt x="385" y="342"/>
                      </a:lnTo>
                      <a:lnTo>
                        <a:pt x="386" y="342"/>
                      </a:lnTo>
                      <a:lnTo>
                        <a:pt x="387" y="342"/>
                      </a:lnTo>
                      <a:lnTo>
                        <a:pt x="388" y="343"/>
                      </a:lnTo>
                      <a:lnTo>
                        <a:pt x="388" y="344"/>
                      </a:lnTo>
                      <a:lnTo>
                        <a:pt x="390" y="345"/>
                      </a:lnTo>
                      <a:lnTo>
                        <a:pt x="391" y="345"/>
                      </a:lnTo>
                      <a:lnTo>
                        <a:pt x="391" y="346"/>
                      </a:lnTo>
                      <a:lnTo>
                        <a:pt x="391" y="348"/>
                      </a:lnTo>
                      <a:lnTo>
                        <a:pt x="383" y="348"/>
                      </a:lnTo>
                      <a:lnTo>
                        <a:pt x="376" y="348"/>
                      </a:lnTo>
                      <a:lnTo>
                        <a:pt x="368" y="348"/>
                      </a:lnTo>
                      <a:lnTo>
                        <a:pt x="361" y="348"/>
                      </a:lnTo>
                      <a:lnTo>
                        <a:pt x="354" y="348"/>
                      </a:lnTo>
                      <a:lnTo>
                        <a:pt x="345" y="348"/>
                      </a:lnTo>
                      <a:lnTo>
                        <a:pt x="338" y="348"/>
                      </a:lnTo>
                      <a:lnTo>
                        <a:pt x="330" y="348"/>
                      </a:lnTo>
                      <a:lnTo>
                        <a:pt x="323" y="348"/>
                      </a:lnTo>
                      <a:lnTo>
                        <a:pt x="316" y="348"/>
                      </a:lnTo>
                      <a:lnTo>
                        <a:pt x="308" y="348"/>
                      </a:lnTo>
                      <a:lnTo>
                        <a:pt x="301" y="348"/>
                      </a:lnTo>
                      <a:lnTo>
                        <a:pt x="293" y="348"/>
                      </a:lnTo>
                      <a:lnTo>
                        <a:pt x="286" y="348"/>
                      </a:lnTo>
                      <a:lnTo>
                        <a:pt x="279" y="348"/>
                      </a:lnTo>
                      <a:lnTo>
                        <a:pt x="272" y="348"/>
                      </a:lnTo>
                      <a:lnTo>
                        <a:pt x="271" y="348"/>
                      </a:lnTo>
                      <a:lnTo>
                        <a:pt x="267" y="348"/>
                      </a:lnTo>
                      <a:lnTo>
                        <a:pt x="265" y="346"/>
                      </a:lnTo>
                      <a:lnTo>
                        <a:pt x="262" y="346"/>
                      </a:lnTo>
                      <a:lnTo>
                        <a:pt x="258" y="346"/>
                      </a:lnTo>
                      <a:lnTo>
                        <a:pt x="255" y="346"/>
                      </a:lnTo>
                      <a:lnTo>
                        <a:pt x="251" y="346"/>
                      </a:lnTo>
                      <a:lnTo>
                        <a:pt x="248" y="346"/>
                      </a:lnTo>
                      <a:lnTo>
                        <a:pt x="245" y="346"/>
                      </a:lnTo>
                      <a:lnTo>
                        <a:pt x="242" y="346"/>
                      </a:lnTo>
                      <a:lnTo>
                        <a:pt x="238" y="346"/>
                      </a:lnTo>
                      <a:lnTo>
                        <a:pt x="235" y="346"/>
                      </a:lnTo>
                      <a:lnTo>
                        <a:pt x="231" y="346"/>
                      </a:lnTo>
                      <a:lnTo>
                        <a:pt x="229" y="346"/>
                      </a:lnTo>
                      <a:lnTo>
                        <a:pt x="226" y="346"/>
                      </a:lnTo>
                      <a:lnTo>
                        <a:pt x="222" y="346"/>
                      </a:lnTo>
                      <a:lnTo>
                        <a:pt x="219" y="346"/>
                      </a:lnTo>
                      <a:lnTo>
                        <a:pt x="217" y="346"/>
                      </a:lnTo>
                      <a:lnTo>
                        <a:pt x="216" y="346"/>
                      </a:lnTo>
                      <a:lnTo>
                        <a:pt x="217" y="344"/>
                      </a:lnTo>
                      <a:lnTo>
                        <a:pt x="217" y="342"/>
                      </a:lnTo>
                      <a:lnTo>
                        <a:pt x="217" y="341"/>
                      </a:lnTo>
                      <a:lnTo>
                        <a:pt x="217" y="339"/>
                      </a:lnTo>
                      <a:lnTo>
                        <a:pt x="216" y="339"/>
                      </a:lnTo>
                      <a:lnTo>
                        <a:pt x="215" y="339"/>
                      </a:lnTo>
                      <a:lnTo>
                        <a:pt x="214" y="339"/>
                      </a:lnTo>
                      <a:lnTo>
                        <a:pt x="214" y="341"/>
                      </a:lnTo>
                      <a:lnTo>
                        <a:pt x="212" y="343"/>
                      </a:lnTo>
                      <a:lnTo>
                        <a:pt x="210" y="346"/>
                      </a:lnTo>
                      <a:lnTo>
                        <a:pt x="209" y="346"/>
                      </a:lnTo>
                      <a:lnTo>
                        <a:pt x="206" y="346"/>
                      </a:lnTo>
                      <a:lnTo>
                        <a:pt x="202" y="346"/>
                      </a:lnTo>
                      <a:lnTo>
                        <a:pt x="200" y="346"/>
                      </a:lnTo>
                      <a:lnTo>
                        <a:pt x="196" y="346"/>
                      </a:lnTo>
                      <a:lnTo>
                        <a:pt x="193" y="346"/>
                      </a:lnTo>
                      <a:lnTo>
                        <a:pt x="189" y="346"/>
                      </a:lnTo>
                      <a:lnTo>
                        <a:pt x="187" y="346"/>
                      </a:lnTo>
                      <a:lnTo>
                        <a:pt x="184" y="346"/>
                      </a:lnTo>
                      <a:lnTo>
                        <a:pt x="180" y="346"/>
                      </a:lnTo>
                      <a:lnTo>
                        <a:pt x="178" y="346"/>
                      </a:lnTo>
                      <a:lnTo>
                        <a:pt x="174" y="346"/>
                      </a:lnTo>
                      <a:lnTo>
                        <a:pt x="171" y="346"/>
                      </a:lnTo>
                      <a:lnTo>
                        <a:pt x="169" y="346"/>
                      </a:lnTo>
                      <a:lnTo>
                        <a:pt x="165" y="346"/>
                      </a:lnTo>
                      <a:lnTo>
                        <a:pt x="162" y="346"/>
                      </a:lnTo>
                      <a:lnTo>
                        <a:pt x="159" y="346"/>
                      </a:lnTo>
                      <a:lnTo>
                        <a:pt x="156" y="346"/>
                      </a:lnTo>
                      <a:lnTo>
                        <a:pt x="152" y="346"/>
                      </a:lnTo>
                      <a:lnTo>
                        <a:pt x="150" y="346"/>
                      </a:lnTo>
                      <a:lnTo>
                        <a:pt x="146" y="346"/>
                      </a:lnTo>
                      <a:lnTo>
                        <a:pt x="143" y="346"/>
                      </a:lnTo>
                      <a:lnTo>
                        <a:pt x="141" y="346"/>
                      </a:lnTo>
                      <a:lnTo>
                        <a:pt x="137" y="346"/>
                      </a:lnTo>
                      <a:lnTo>
                        <a:pt x="134" y="346"/>
                      </a:lnTo>
                      <a:lnTo>
                        <a:pt x="131" y="346"/>
                      </a:lnTo>
                      <a:lnTo>
                        <a:pt x="128" y="346"/>
                      </a:lnTo>
                      <a:lnTo>
                        <a:pt x="124" y="346"/>
                      </a:lnTo>
                      <a:lnTo>
                        <a:pt x="122" y="346"/>
                      </a:lnTo>
                      <a:lnTo>
                        <a:pt x="119" y="346"/>
                      </a:lnTo>
                      <a:lnTo>
                        <a:pt x="115" y="346"/>
                      </a:lnTo>
                      <a:lnTo>
                        <a:pt x="113" y="346"/>
                      </a:lnTo>
                      <a:lnTo>
                        <a:pt x="109" y="346"/>
                      </a:lnTo>
                      <a:lnTo>
                        <a:pt x="106" y="346"/>
                      </a:lnTo>
                      <a:lnTo>
                        <a:pt x="103" y="346"/>
                      </a:lnTo>
                      <a:lnTo>
                        <a:pt x="100" y="346"/>
                      </a:lnTo>
                      <a:lnTo>
                        <a:pt x="96" y="346"/>
                      </a:lnTo>
                      <a:lnTo>
                        <a:pt x="94" y="346"/>
                      </a:lnTo>
                      <a:lnTo>
                        <a:pt x="91" y="346"/>
                      </a:lnTo>
                      <a:lnTo>
                        <a:pt x="87" y="346"/>
                      </a:lnTo>
                      <a:lnTo>
                        <a:pt x="85" y="346"/>
                      </a:lnTo>
                      <a:lnTo>
                        <a:pt x="81" y="346"/>
                      </a:lnTo>
                      <a:lnTo>
                        <a:pt x="78" y="346"/>
                      </a:lnTo>
                      <a:lnTo>
                        <a:pt x="74" y="346"/>
                      </a:lnTo>
                      <a:lnTo>
                        <a:pt x="72" y="346"/>
                      </a:lnTo>
                      <a:lnTo>
                        <a:pt x="68" y="346"/>
                      </a:lnTo>
                      <a:lnTo>
                        <a:pt x="65" y="346"/>
                      </a:lnTo>
                      <a:lnTo>
                        <a:pt x="63" y="346"/>
                      </a:lnTo>
                      <a:lnTo>
                        <a:pt x="59" y="346"/>
                      </a:lnTo>
                      <a:lnTo>
                        <a:pt x="56" y="346"/>
                      </a:lnTo>
                      <a:lnTo>
                        <a:pt x="53" y="346"/>
                      </a:lnTo>
                      <a:lnTo>
                        <a:pt x="50" y="346"/>
                      </a:lnTo>
                      <a:lnTo>
                        <a:pt x="46" y="346"/>
                      </a:lnTo>
                      <a:lnTo>
                        <a:pt x="44" y="346"/>
                      </a:lnTo>
                      <a:lnTo>
                        <a:pt x="41" y="346"/>
                      </a:lnTo>
                      <a:lnTo>
                        <a:pt x="37" y="346"/>
                      </a:lnTo>
                      <a:lnTo>
                        <a:pt x="35" y="346"/>
                      </a:lnTo>
                      <a:lnTo>
                        <a:pt x="31" y="346"/>
                      </a:lnTo>
                      <a:lnTo>
                        <a:pt x="28" y="346"/>
                      </a:lnTo>
                      <a:lnTo>
                        <a:pt x="25" y="346"/>
                      </a:lnTo>
                      <a:lnTo>
                        <a:pt x="22" y="346"/>
                      </a:lnTo>
                      <a:lnTo>
                        <a:pt x="18" y="346"/>
                      </a:lnTo>
                      <a:lnTo>
                        <a:pt x="16" y="346"/>
                      </a:lnTo>
                      <a:lnTo>
                        <a:pt x="13" y="346"/>
                      </a:lnTo>
                      <a:lnTo>
                        <a:pt x="9" y="346"/>
                      </a:lnTo>
                      <a:lnTo>
                        <a:pt x="9" y="336"/>
                      </a:lnTo>
                      <a:lnTo>
                        <a:pt x="9" y="327"/>
                      </a:lnTo>
                      <a:lnTo>
                        <a:pt x="9" y="316"/>
                      </a:lnTo>
                      <a:lnTo>
                        <a:pt x="9" y="307"/>
                      </a:lnTo>
                      <a:lnTo>
                        <a:pt x="9" y="296"/>
                      </a:lnTo>
                      <a:lnTo>
                        <a:pt x="9" y="286"/>
                      </a:lnTo>
                      <a:lnTo>
                        <a:pt x="9" y="275"/>
                      </a:lnTo>
                      <a:lnTo>
                        <a:pt x="9" y="266"/>
                      </a:lnTo>
                      <a:lnTo>
                        <a:pt x="9" y="255"/>
                      </a:lnTo>
                      <a:lnTo>
                        <a:pt x="9" y="245"/>
                      </a:lnTo>
                      <a:lnTo>
                        <a:pt x="9" y="234"/>
                      </a:lnTo>
                      <a:lnTo>
                        <a:pt x="9" y="224"/>
                      </a:lnTo>
                      <a:lnTo>
                        <a:pt x="9" y="215"/>
                      </a:lnTo>
                      <a:lnTo>
                        <a:pt x="9" y="204"/>
                      </a:lnTo>
                      <a:lnTo>
                        <a:pt x="9" y="194"/>
                      </a:lnTo>
                      <a:lnTo>
                        <a:pt x="9" y="183"/>
                      </a:lnTo>
                      <a:lnTo>
                        <a:pt x="9" y="176"/>
                      </a:lnTo>
                      <a:lnTo>
                        <a:pt x="9" y="169"/>
                      </a:lnTo>
                      <a:lnTo>
                        <a:pt x="9" y="166"/>
                      </a:lnTo>
                      <a:lnTo>
                        <a:pt x="9" y="154"/>
                      </a:lnTo>
                      <a:lnTo>
                        <a:pt x="9" y="148"/>
                      </a:lnTo>
                      <a:lnTo>
                        <a:pt x="9" y="147"/>
                      </a:lnTo>
                      <a:lnTo>
                        <a:pt x="9" y="134"/>
                      </a:lnTo>
                      <a:lnTo>
                        <a:pt x="9" y="132"/>
                      </a:lnTo>
                      <a:lnTo>
                        <a:pt x="9" y="117"/>
                      </a:lnTo>
                      <a:lnTo>
                        <a:pt x="9" y="103"/>
                      </a:lnTo>
                      <a:lnTo>
                        <a:pt x="9" y="96"/>
                      </a:lnTo>
                      <a:lnTo>
                        <a:pt x="9" y="92"/>
                      </a:lnTo>
                      <a:lnTo>
                        <a:pt x="9" y="90"/>
                      </a:lnTo>
                      <a:lnTo>
                        <a:pt x="9" y="87"/>
                      </a:lnTo>
                      <a:lnTo>
                        <a:pt x="6" y="82"/>
                      </a:lnTo>
                      <a:lnTo>
                        <a:pt x="6" y="79"/>
                      </a:lnTo>
                      <a:lnTo>
                        <a:pt x="6" y="78"/>
                      </a:lnTo>
                      <a:lnTo>
                        <a:pt x="6" y="76"/>
                      </a:lnTo>
                      <a:lnTo>
                        <a:pt x="6" y="75"/>
                      </a:lnTo>
                      <a:lnTo>
                        <a:pt x="6" y="73"/>
                      </a:lnTo>
                      <a:lnTo>
                        <a:pt x="3" y="71"/>
                      </a:lnTo>
                      <a:lnTo>
                        <a:pt x="3" y="69"/>
                      </a:lnTo>
                      <a:lnTo>
                        <a:pt x="4" y="68"/>
                      </a:lnTo>
                      <a:lnTo>
                        <a:pt x="4" y="66"/>
                      </a:lnTo>
                      <a:lnTo>
                        <a:pt x="4" y="65"/>
                      </a:lnTo>
                      <a:lnTo>
                        <a:pt x="1" y="58"/>
                      </a:lnTo>
                      <a:lnTo>
                        <a:pt x="0" y="57"/>
                      </a:lnTo>
                      <a:lnTo>
                        <a:pt x="0" y="56"/>
                      </a:lnTo>
                      <a:lnTo>
                        <a:pt x="0" y="55"/>
                      </a:lnTo>
                      <a:lnTo>
                        <a:pt x="1" y="54"/>
                      </a:lnTo>
                      <a:lnTo>
                        <a:pt x="2" y="51"/>
                      </a:lnTo>
                      <a:lnTo>
                        <a:pt x="2" y="50"/>
                      </a:lnTo>
                      <a:lnTo>
                        <a:pt x="3" y="49"/>
                      </a:lnTo>
                      <a:lnTo>
                        <a:pt x="3" y="48"/>
                      </a:lnTo>
                      <a:lnTo>
                        <a:pt x="4" y="47"/>
                      </a:lnTo>
                      <a:lnTo>
                        <a:pt x="7" y="44"/>
                      </a:lnTo>
                      <a:lnTo>
                        <a:pt x="7" y="43"/>
                      </a:lnTo>
                      <a:lnTo>
                        <a:pt x="8" y="42"/>
                      </a:lnTo>
                      <a:lnTo>
                        <a:pt x="8" y="41"/>
                      </a:lnTo>
                      <a:lnTo>
                        <a:pt x="8" y="38"/>
                      </a:lnTo>
                      <a:lnTo>
                        <a:pt x="9" y="36"/>
                      </a:lnTo>
                      <a:lnTo>
                        <a:pt x="9" y="35"/>
                      </a:lnTo>
                      <a:lnTo>
                        <a:pt x="9" y="34"/>
                      </a:lnTo>
                      <a:lnTo>
                        <a:pt x="10" y="33"/>
                      </a:lnTo>
                      <a:lnTo>
                        <a:pt x="9" y="30"/>
                      </a:lnTo>
                      <a:lnTo>
                        <a:pt x="8" y="28"/>
                      </a:lnTo>
                      <a:lnTo>
                        <a:pt x="8" y="26"/>
                      </a:lnTo>
                      <a:lnTo>
                        <a:pt x="7" y="23"/>
                      </a:lnTo>
                      <a:lnTo>
                        <a:pt x="6" y="19"/>
                      </a:lnTo>
                      <a:lnTo>
                        <a:pt x="6" y="16"/>
                      </a:lnTo>
                      <a:lnTo>
                        <a:pt x="6" y="13"/>
                      </a:lnTo>
                      <a:lnTo>
                        <a:pt x="6" y="12"/>
                      </a:lnTo>
                      <a:lnTo>
                        <a:pt x="6" y="10"/>
                      </a:lnTo>
                      <a:lnTo>
                        <a:pt x="10" y="6"/>
                      </a:lnTo>
                      <a:lnTo>
                        <a:pt x="11" y="2"/>
                      </a:lnTo>
                      <a:lnTo>
                        <a:pt x="13" y="1"/>
                      </a:lnTo>
                      <a:lnTo>
                        <a:pt x="15" y="0"/>
                      </a:lnTo>
                      <a:lnTo>
                        <a:pt x="15" y="2"/>
                      </a:lnTo>
                      <a:lnTo>
                        <a:pt x="16" y="3"/>
                      </a:lnTo>
                      <a:lnTo>
                        <a:pt x="16" y="5"/>
                      </a:lnTo>
                      <a:lnTo>
                        <a:pt x="17" y="5"/>
                      </a:lnTo>
                      <a:lnTo>
                        <a:pt x="18" y="5"/>
                      </a:lnTo>
                      <a:lnTo>
                        <a:pt x="20" y="6"/>
                      </a:lnTo>
                      <a:close/>
                    </a:path>
                  </a:pathLst>
                </a:custGeom>
                <a:solidFill>
                  <a:schemeClr val="accent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94" name="Freeform 90">
                  <a:extLst>
                    <a:ext uri="{FF2B5EF4-FFF2-40B4-BE49-F238E27FC236}">
                      <a16:creationId xmlns:a16="http://schemas.microsoft.com/office/drawing/2014/main" id="{5487143A-C492-9205-8369-DDB9552CF8EA}"/>
                    </a:ext>
                  </a:extLst>
                </p:cNvPr>
                <p:cNvSpPr>
                  <a:spLocks/>
                </p:cNvSpPr>
                <p:nvPr/>
              </p:nvSpPr>
              <p:spPr bwMode="auto">
                <a:xfrm>
                  <a:off x="6115518" y="3418928"/>
                  <a:ext cx="152524" cy="222836"/>
                </a:xfrm>
                <a:custGeom>
                  <a:avLst/>
                  <a:gdLst>
                    <a:gd name="T0" fmla="*/ 103 w 141"/>
                    <a:gd name="T1" fmla="*/ 4 h 206"/>
                    <a:gd name="T2" fmla="*/ 99 w 141"/>
                    <a:gd name="T3" fmla="*/ 13 h 206"/>
                    <a:gd name="T4" fmla="*/ 104 w 141"/>
                    <a:gd name="T5" fmla="*/ 20 h 206"/>
                    <a:gd name="T6" fmla="*/ 111 w 141"/>
                    <a:gd name="T7" fmla="*/ 24 h 206"/>
                    <a:gd name="T8" fmla="*/ 113 w 141"/>
                    <a:gd name="T9" fmla="*/ 30 h 206"/>
                    <a:gd name="T10" fmla="*/ 113 w 141"/>
                    <a:gd name="T11" fmla="*/ 37 h 206"/>
                    <a:gd name="T12" fmla="*/ 112 w 141"/>
                    <a:gd name="T13" fmla="*/ 46 h 206"/>
                    <a:gd name="T14" fmla="*/ 111 w 141"/>
                    <a:gd name="T15" fmla="*/ 51 h 206"/>
                    <a:gd name="T16" fmla="*/ 109 w 141"/>
                    <a:gd name="T17" fmla="*/ 51 h 206"/>
                    <a:gd name="T18" fmla="*/ 109 w 141"/>
                    <a:gd name="T19" fmla="*/ 55 h 206"/>
                    <a:gd name="T20" fmla="*/ 118 w 141"/>
                    <a:gd name="T21" fmla="*/ 54 h 206"/>
                    <a:gd name="T22" fmla="*/ 118 w 141"/>
                    <a:gd name="T23" fmla="*/ 62 h 206"/>
                    <a:gd name="T24" fmla="*/ 118 w 141"/>
                    <a:gd name="T25" fmla="*/ 72 h 206"/>
                    <a:gd name="T26" fmla="*/ 114 w 141"/>
                    <a:gd name="T27" fmla="*/ 76 h 206"/>
                    <a:gd name="T28" fmla="*/ 120 w 141"/>
                    <a:gd name="T29" fmla="*/ 84 h 206"/>
                    <a:gd name="T30" fmla="*/ 123 w 141"/>
                    <a:gd name="T31" fmla="*/ 94 h 206"/>
                    <a:gd name="T32" fmla="*/ 121 w 141"/>
                    <a:gd name="T33" fmla="*/ 102 h 206"/>
                    <a:gd name="T34" fmla="*/ 121 w 141"/>
                    <a:gd name="T35" fmla="*/ 111 h 206"/>
                    <a:gd name="T36" fmla="*/ 119 w 141"/>
                    <a:gd name="T37" fmla="*/ 119 h 206"/>
                    <a:gd name="T38" fmla="*/ 123 w 141"/>
                    <a:gd name="T39" fmla="*/ 124 h 206"/>
                    <a:gd name="T40" fmla="*/ 120 w 141"/>
                    <a:gd name="T41" fmla="*/ 135 h 206"/>
                    <a:gd name="T42" fmla="*/ 122 w 141"/>
                    <a:gd name="T43" fmla="*/ 142 h 206"/>
                    <a:gd name="T44" fmla="*/ 126 w 141"/>
                    <a:gd name="T45" fmla="*/ 150 h 206"/>
                    <a:gd name="T46" fmla="*/ 134 w 141"/>
                    <a:gd name="T47" fmla="*/ 154 h 206"/>
                    <a:gd name="T48" fmla="*/ 139 w 141"/>
                    <a:gd name="T49" fmla="*/ 164 h 206"/>
                    <a:gd name="T50" fmla="*/ 133 w 141"/>
                    <a:gd name="T51" fmla="*/ 172 h 206"/>
                    <a:gd name="T52" fmla="*/ 108 w 141"/>
                    <a:gd name="T53" fmla="*/ 174 h 206"/>
                    <a:gd name="T54" fmla="*/ 100 w 141"/>
                    <a:gd name="T55" fmla="*/ 179 h 206"/>
                    <a:gd name="T56" fmla="*/ 82 w 141"/>
                    <a:gd name="T57" fmla="*/ 188 h 206"/>
                    <a:gd name="T58" fmla="*/ 72 w 141"/>
                    <a:gd name="T59" fmla="*/ 191 h 206"/>
                    <a:gd name="T60" fmla="*/ 62 w 141"/>
                    <a:gd name="T61" fmla="*/ 195 h 206"/>
                    <a:gd name="T62" fmla="*/ 52 w 141"/>
                    <a:gd name="T63" fmla="*/ 196 h 206"/>
                    <a:gd name="T64" fmla="*/ 45 w 141"/>
                    <a:gd name="T65" fmla="*/ 202 h 206"/>
                    <a:gd name="T66" fmla="*/ 37 w 141"/>
                    <a:gd name="T67" fmla="*/ 205 h 206"/>
                    <a:gd name="T68" fmla="*/ 19 w 141"/>
                    <a:gd name="T69" fmla="*/ 198 h 206"/>
                    <a:gd name="T70" fmla="*/ 11 w 141"/>
                    <a:gd name="T71" fmla="*/ 194 h 206"/>
                    <a:gd name="T72" fmla="*/ 15 w 141"/>
                    <a:gd name="T73" fmla="*/ 191 h 206"/>
                    <a:gd name="T74" fmla="*/ 15 w 141"/>
                    <a:gd name="T75" fmla="*/ 180 h 206"/>
                    <a:gd name="T76" fmla="*/ 7 w 141"/>
                    <a:gd name="T77" fmla="*/ 175 h 206"/>
                    <a:gd name="T78" fmla="*/ 2 w 141"/>
                    <a:gd name="T79" fmla="*/ 158 h 206"/>
                    <a:gd name="T80" fmla="*/ 0 w 141"/>
                    <a:gd name="T81" fmla="*/ 139 h 206"/>
                    <a:gd name="T82" fmla="*/ 9 w 141"/>
                    <a:gd name="T83" fmla="*/ 116 h 206"/>
                    <a:gd name="T84" fmla="*/ 14 w 141"/>
                    <a:gd name="T85" fmla="*/ 105 h 206"/>
                    <a:gd name="T86" fmla="*/ 20 w 141"/>
                    <a:gd name="T87" fmla="*/ 98 h 206"/>
                    <a:gd name="T88" fmla="*/ 20 w 141"/>
                    <a:gd name="T89" fmla="*/ 77 h 206"/>
                    <a:gd name="T90" fmla="*/ 15 w 141"/>
                    <a:gd name="T91" fmla="*/ 69 h 206"/>
                    <a:gd name="T92" fmla="*/ 18 w 141"/>
                    <a:gd name="T93" fmla="*/ 63 h 206"/>
                    <a:gd name="T94" fmla="*/ 18 w 141"/>
                    <a:gd name="T95" fmla="*/ 56 h 206"/>
                    <a:gd name="T96" fmla="*/ 14 w 141"/>
                    <a:gd name="T97" fmla="*/ 49 h 206"/>
                    <a:gd name="T98" fmla="*/ 14 w 141"/>
                    <a:gd name="T99" fmla="*/ 40 h 206"/>
                    <a:gd name="T100" fmla="*/ 13 w 141"/>
                    <a:gd name="T101" fmla="*/ 30 h 206"/>
                    <a:gd name="T102" fmla="*/ 12 w 141"/>
                    <a:gd name="T103" fmla="*/ 25 h 206"/>
                    <a:gd name="T104" fmla="*/ 9 w 141"/>
                    <a:gd name="T105" fmla="*/ 17 h 206"/>
                    <a:gd name="T106" fmla="*/ 12 w 141"/>
                    <a:gd name="T107" fmla="*/ 9 h 206"/>
                    <a:gd name="T108" fmla="*/ 39 w 141"/>
                    <a:gd name="T109" fmla="*/ 6 h 206"/>
                    <a:gd name="T110" fmla="*/ 63 w 141"/>
                    <a:gd name="T111" fmla="*/ 6 h 206"/>
                    <a:gd name="T112" fmla="*/ 75 w 141"/>
                    <a:gd name="T113" fmla="*/ 5 h 206"/>
                    <a:gd name="T114" fmla="*/ 83 w 141"/>
                    <a:gd name="T115" fmla="*/ 6 h 206"/>
                    <a:gd name="T116" fmla="*/ 89 w 141"/>
                    <a:gd name="T117" fmla="*/ 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1" h="206">
                      <a:moveTo>
                        <a:pt x="97" y="0"/>
                      </a:moveTo>
                      <a:lnTo>
                        <a:pt x="97" y="2"/>
                      </a:lnTo>
                      <a:lnTo>
                        <a:pt x="98" y="3"/>
                      </a:lnTo>
                      <a:lnTo>
                        <a:pt x="99" y="3"/>
                      </a:lnTo>
                      <a:lnTo>
                        <a:pt x="100" y="2"/>
                      </a:lnTo>
                      <a:lnTo>
                        <a:pt x="101" y="3"/>
                      </a:lnTo>
                      <a:lnTo>
                        <a:pt x="103" y="3"/>
                      </a:lnTo>
                      <a:lnTo>
                        <a:pt x="103" y="4"/>
                      </a:lnTo>
                      <a:lnTo>
                        <a:pt x="103" y="5"/>
                      </a:lnTo>
                      <a:lnTo>
                        <a:pt x="103" y="6"/>
                      </a:lnTo>
                      <a:lnTo>
                        <a:pt x="101" y="6"/>
                      </a:lnTo>
                      <a:lnTo>
                        <a:pt x="100" y="10"/>
                      </a:lnTo>
                      <a:lnTo>
                        <a:pt x="100" y="11"/>
                      </a:lnTo>
                      <a:lnTo>
                        <a:pt x="100" y="12"/>
                      </a:lnTo>
                      <a:lnTo>
                        <a:pt x="99" y="12"/>
                      </a:lnTo>
                      <a:lnTo>
                        <a:pt x="99" y="13"/>
                      </a:lnTo>
                      <a:lnTo>
                        <a:pt x="99" y="14"/>
                      </a:lnTo>
                      <a:lnTo>
                        <a:pt x="99" y="16"/>
                      </a:lnTo>
                      <a:lnTo>
                        <a:pt x="99" y="17"/>
                      </a:lnTo>
                      <a:lnTo>
                        <a:pt x="99" y="18"/>
                      </a:lnTo>
                      <a:lnTo>
                        <a:pt x="100" y="18"/>
                      </a:lnTo>
                      <a:lnTo>
                        <a:pt x="101" y="18"/>
                      </a:lnTo>
                      <a:lnTo>
                        <a:pt x="103" y="19"/>
                      </a:lnTo>
                      <a:lnTo>
                        <a:pt x="104" y="20"/>
                      </a:lnTo>
                      <a:lnTo>
                        <a:pt x="105" y="21"/>
                      </a:lnTo>
                      <a:lnTo>
                        <a:pt x="106" y="21"/>
                      </a:lnTo>
                      <a:lnTo>
                        <a:pt x="107" y="25"/>
                      </a:lnTo>
                      <a:lnTo>
                        <a:pt x="108" y="25"/>
                      </a:lnTo>
                      <a:lnTo>
                        <a:pt x="108" y="24"/>
                      </a:lnTo>
                      <a:lnTo>
                        <a:pt x="108" y="25"/>
                      </a:lnTo>
                      <a:lnTo>
                        <a:pt x="109" y="25"/>
                      </a:lnTo>
                      <a:lnTo>
                        <a:pt x="111" y="24"/>
                      </a:lnTo>
                      <a:lnTo>
                        <a:pt x="111" y="25"/>
                      </a:lnTo>
                      <a:lnTo>
                        <a:pt x="111" y="26"/>
                      </a:lnTo>
                      <a:lnTo>
                        <a:pt x="112" y="26"/>
                      </a:lnTo>
                      <a:lnTo>
                        <a:pt x="112" y="27"/>
                      </a:lnTo>
                      <a:lnTo>
                        <a:pt x="113" y="27"/>
                      </a:lnTo>
                      <a:lnTo>
                        <a:pt x="114" y="27"/>
                      </a:lnTo>
                      <a:lnTo>
                        <a:pt x="114" y="28"/>
                      </a:lnTo>
                      <a:lnTo>
                        <a:pt x="113" y="30"/>
                      </a:lnTo>
                      <a:lnTo>
                        <a:pt x="113" y="31"/>
                      </a:lnTo>
                      <a:lnTo>
                        <a:pt x="113" y="32"/>
                      </a:lnTo>
                      <a:lnTo>
                        <a:pt x="113" y="33"/>
                      </a:lnTo>
                      <a:lnTo>
                        <a:pt x="113" y="34"/>
                      </a:lnTo>
                      <a:lnTo>
                        <a:pt x="114" y="34"/>
                      </a:lnTo>
                      <a:lnTo>
                        <a:pt x="114" y="35"/>
                      </a:lnTo>
                      <a:lnTo>
                        <a:pt x="114" y="37"/>
                      </a:lnTo>
                      <a:lnTo>
                        <a:pt x="113" y="37"/>
                      </a:lnTo>
                      <a:lnTo>
                        <a:pt x="113" y="38"/>
                      </a:lnTo>
                      <a:lnTo>
                        <a:pt x="113" y="39"/>
                      </a:lnTo>
                      <a:lnTo>
                        <a:pt x="114" y="39"/>
                      </a:lnTo>
                      <a:lnTo>
                        <a:pt x="113" y="40"/>
                      </a:lnTo>
                      <a:lnTo>
                        <a:pt x="113" y="41"/>
                      </a:lnTo>
                      <a:lnTo>
                        <a:pt x="113" y="42"/>
                      </a:lnTo>
                      <a:lnTo>
                        <a:pt x="112" y="45"/>
                      </a:lnTo>
                      <a:lnTo>
                        <a:pt x="112" y="46"/>
                      </a:lnTo>
                      <a:lnTo>
                        <a:pt x="113" y="46"/>
                      </a:lnTo>
                      <a:lnTo>
                        <a:pt x="113" y="47"/>
                      </a:lnTo>
                      <a:lnTo>
                        <a:pt x="113" y="48"/>
                      </a:lnTo>
                      <a:lnTo>
                        <a:pt x="112" y="48"/>
                      </a:lnTo>
                      <a:lnTo>
                        <a:pt x="111" y="47"/>
                      </a:lnTo>
                      <a:lnTo>
                        <a:pt x="111" y="48"/>
                      </a:lnTo>
                      <a:lnTo>
                        <a:pt x="111" y="49"/>
                      </a:lnTo>
                      <a:lnTo>
                        <a:pt x="111" y="51"/>
                      </a:lnTo>
                      <a:lnTo>
                        <a:pt x="112" y="51"/>
                      </a:lnTo>
                      <a:lnTo>
                        <a:pt x="113" y="49"/>
                      </a:lnTo>
                      <a:lnTo>
                        <a:pt x="114" y="49"/>
                      </a:lnTo>
                      <a:lnTo>
                        <a:pt x="114" y="51"/>
                      </a:lnTo>
                      <a:lnTo>
                        <a:pt x="113" y="51"/>
                      </a:lnTo>
                      <a:lnTo>
                        <a:pt x="112" y="51"/>
                      </a:lnTo>
                      <a:lnTo>
                        <a:pt x="111" y="52"/>
                      </a:lnTo>
                      <a:lnTo>
                        <a:pt x="109" y="51"/>
                      </a:lnTo>
                      <a:lnTo>
                        <a:pt x="109" y="52"/>
                      </a:lnTo>
                      <a:lnTo>
                        <a:pt x="109" y="53"/>
                      </a:lnTo>
                      <a:lnTo>
                        <a:pt x="111" y="53"/>
                      </a:lnTo>
                      <a:lnTo>
                        <a:pt x="112" y="53"/>
                      </a:lnTo>
                      <a:lnTo>
                        <a:pt x="112" y="54"/>
                      </a:lnTo>
                      <a:lnTo>
                        <a:pt x="111" y="54"/>
                      </a:lnTo>
                      <a:lnTo>
                        <a:pt x="109" y="54"/>
                      </a:lnTo>
                      <a:lnTo>
                        <a:pt x="109" y="55"/>
                      </a:lnTo>
                      <a:lnTo>
                        <a:pt x="109" y="56"/>
                      </a:lnTo>
                      <a:lnTo>
                        <a:pt x="111" y="56"/>
                      </a:lnTo>
                      <a:lnTo>
                        <a:pt x="112" y="55"/>
                      </a:lnTo>
                      <a:lnTo>
                        <a:pt x="113" y="55"/>
                      </a:lnTo>
                      <a:lnTo>
                        <a:pt x="113" y="54"/>
                      </a:lnTo>
                      <a:lnTo>
                        <a:pt x="114" y="54"/>
                      </a:lnTo>
                      <a:lnTo>
                        <a:pt x="115" y="54"/>
                      </a:lnTo>
                      <a:lnTo>
                        <a:pt x="118" y="54"/>
                      </a:lnTo>
                      <a:lnTo>
                        <a:pt x="118" y="55"/>
                      </a:lnTo>
                      <a:lnTo>
                        <a:pt x="119" y="56"/>
                      </a:lnTo>
                      <a:lnTo>
                        <a:pt x="119" y="58"/>
                      </a:lnTo>
                      <a:lnTo>
                        <a:pt x="119" y="59"/>
                      </a:lnTo>
                      <a:lnTo>
                        <a:pt x="119" y="60"/>
                      </a:lnTo>
                      <a:lnTo>
                        <a:pt x="119" y="61"/>
                      </a:lnTo>
                      <a:lnTo>
                        <a:pt x="118" y="61"/>
                      </a:lnTo>
                      <a:lnTo>
                        <a:pt x="118" y="62"/>
                      </a:lnTo>
                      <a:lnTo>
                        <a:pt x="119" y="63"/>
                      </a:lnTo>
                      <a:lnTo>
                        <a:pt x="118" y="65"/>
                      </a:lnTo>
                      <a:lnTo>
                        <a:pt x="116" y="65"/>
                      </a:lnTo>
                      <a:lnTo>
                        <a:pt x="116" y="66"/>
                      </a:lnTo>
                      <a:lnTo>
                        <a:pt x="116" y="67"/>
                      </a:lnTo>
                      <a:lnTo>
                        <a:pt x="116" y="68"/>
                      </a:lnTo>
                      <a:lnTo>
                        <a:pt x="116" y="69"/>
                      </a:lnTo>
                      <a:lnTo>
                        <a:pt x="118" y="72"/>
                      </a:lnTo>
                      <a:lnTo>
                        <a:pt x="119" y="74"/>
                      </a:lnTo>
                      <a:lnTo>
                        <a:pt x="118" y="75"/>
                      </a:lnTo>
                      <a:lnTo>
                        <a:pt x="118" y="76"/>
                      </a:lnTo>
                      <a:lnTo>
                        <a:pt x="116" y="76"/>
                      </a:lnTo>
                      <a:lnTo>
                        <a:pt x="115" y="76"/>
                      </a:lnTo>
                      <a:lnTo>
                        <a:pt x="115" y="77"/>
                      </a:lnTo>
                      <a:lnTo>
                        <a:pt x="115" y="76"/>
                      </a:lnTo>
                      <a:lnTo>
                        <a:pt x="114" y="76"/>
                      </a:lnTo>
                      <a:lnTo>
                        <a:pt x="114" y="77"/>
                      </a:lnTo>
                      <a:lnTo>
                        <a:pt x="114" y="79"/>
                      </a:lnTo>
                      <a:lnTo>
                        <a:pt x="115" y="80"/>
                      </a:lnTo>
                      <a:lnTo>
                        <a:pt x="116" y="82"/>
                      </a:lnTo>
                      <a:lnTo>
                        <a:pt x="118" y="83"/>
                      </a:lnTo>
                      <a:lnTo>
                        <a:pt x="119" y="83"/>
                      </a:lnTo>
                      <a:lnTo>
                        <a:pt x="119" y="84"/>
                      </a:lnTo>
                      <a:lnTo>
                        <a:pt x="120" y="84"/>
                      </a:lnTo>
                      <a:lnTo>
                        <a:pt x="122" y="86"/>
                      </a:lnTo>
                      <a:lnTo>
                        <a:pt x="122" y="87"/>
                      </a:lnTo>
                      <a:lnTo>
                        <a:pt x="123" y="88"/>
                      </a:lnTo>
                      <a:lnTo>
                        <a:pt x="125" y="89"/>
                      </a:lnTo>
                      <a:lnTo>
                        <a:pt x="125" y="90"/>
                      </a:lnTo>
                      <a:lnTo>
                        <a:pt x="125" y="91"/>
                      </a:lnTo>
                      <a:lnTo>
                        <a:pt x="125" y="93"/>
                      </a:lnTo>
                      <a:lnTo>
                        <a:pt x="123" y="94"/>
                      </a:lnTo>
                      <a:lnTo>
                        <a:pt x="122" y="94"/>
                      </a:lnTo>
                      <a:lnTo>
                        <a:pt x="121" y="95"/>
                      </a:lnTo>
                      <a:lnTo>
                        <a:pt x="121" y="96"/>
                      </a:lnTo>
                      <a:lnTo>
                        <a:pt x="121" y="97"/>
                      </a:lnTo>
                      <a:lnTo>
                        <a:pt x="121" y="98"/>
                      </a:lnTo>
                      <a:lnTo>
                        <a:pt x="121" y="100"/>
                      </a:lnTo>
                      <a:lnTo>
                        <a:pt x="121" y="101"/>
                      </a:lnTo>
                      <a:lnTo>
                        <a:pt x="121" y="102"/>
                      </a:lnTo>
                      <a:lnTo>
                        <a:pt x="121" y="103"/>
                      </a:lnTo>
                      <a:lnTo>
                        <a:pt x="122" y="104"/>
                      </a:lnTo>
                      <a:lnTo>
                        <a:pt x="122" y="105"/>
                      </a:lnTo>
                      <a:lnTo>
                        <a:pt x="122" y="107"/>
                      </a:lnTo>
                      <a:lnTo>
                        <a:pt x="122" y="109"/>
                      </a:lnTo>
                      <a:lnTo>
                        <a:pt x="122" y="110"/>
                      </a:lnTo>
                      <a:lnTo>
                        <a:pt x="122" y="111"/>
                      </a:lnTo>
                      <a:lnTo>
                        <a:pt x="121" y="111"/>
                      </a:lnTo>
                      <a:lnTo>
                        <a:pt x="121" y="112"/>
                      </a:lnTo>
                      <a:lnTo>
                        <a:pt x="121" y="114"/>
                      </a:lnTo>
                      <a:lnTo>
                        <a:pt x="120" y="114"/>
                      </a:lnTo>
                      <a:lnTo>
                        <a:pt x="120" y="115"/>
                      </a:lnTo>
                      <a:lnTo>
                        <a:pt x="119" y="115"/>
                      </a:lnTo>
                      <a:lnTo>
                        <a:pt x="119" y="116"/>
                      </a:lnTo>
                      <a:lnTo>
                        <a:pt x="119" y="117"/>
                      </a:lnTo>
                      <a:lnTo>
                        <a:pt x="119" y="119"/>
                      </a:lnTo>
                      <a:lnTo>
                        <a:pt x="119" y="121"/>
                      </a:lnTo>
                      <a:lnTo>
                        <a:pt x="120" y="121"/>
                      </a:lnTo>
                      <a:lnTo>
                        <a:pt x="121" y="122"/>
                      </a:lnTo>
                      <a:lnTo>
                        <a:pt x="121" y="121"/>
                      </a:lnTo>
                      <a:lnTo>
                        <a:pt x="122" y="121"/>
                      </a:lnTo>
                      <a:lnTo>
                        <a:pt x="123" y="121"/>
                      </a:lnTo>
                      <a:lnTo>
                        <a:pt x="123" y="123"/>
                      </a:lnTo>
                      <a:lnTo>
                        <a:pt x="123" y="124"/>
                      </a:lnTo>
                      <a:lnTo>
                        <a:pt x="123" y="125"/>
                      </a:lnTo>
                      <a:lnTo>
                        <a:pt x="122" y="126"/>
                      </a:lnTo>
                      <a:lnTo>
                        <a:pt x="122" y="129"/>
                      </a:lnTo>
                      <a:lnTo>
                        <a:pt x="122" y="130"/>
                      </a:lnTo>
                      <a:lnTo>
                        <a:pt x="122" y="131"/>
                      </a:lnTo>
                      <a:lnTo>
                        <a:pt x="122" y="132"/>
                      </a:lnTo>
                      <a:lnTo>
                        <a:pt x="121" y="133"/>
                      </a:lnTo>
                      <a:lnTo>
                        <a:pt x="120" y="135"/>
                      </a:lnTo>
                      <a:lnTo>
                        <a:pt x="119" y="135"/>
                      </a:lnTo>
                      <a:lnTo>
                        <a:pt x="120" y="136"/>
                      </a:lnTo>
                      <a:lnTo>
                        <a:pt x="120" y="137"/>
                      </a:lnTo>
                      <a:lnTo>
                        <a:pt x="120" y="138"/>
                      </a:lnTo>
                      <a:lnTo>
                        <a:pt x="120" y="139"/>
                      </a:lnTo>
                      <a:lnTo>
                        <a:pt x="121" y="140"/>
                      </a:lnTo>
                      <a:lnTo>
                        <a:pt x="121" y="142"/>
                      </a:lnTo>
                      <a:lnTo>
                        <a:pt x="122" y="142"/>
                      </a:lnTo>
                      <a:lnTo>
                        <a:pt x="123" y="142"/>
                      </a:lnTo>
                      <a:lnTo>
                        <a:pt x="123" y="143"/>
                      </a:lnTo>
                      <a:lnTo>
                        <a:pt x="123" y="145"/>
                      </a:lnTo>
                      <a:lnTo>
                        <a:pt x="125" y="146"/>
                      </a:lnTo>
                      <a:lnTo>
                        <a:pt x="126" y="146"/>
                      </a:lnTo>
                      <a:lnTo>
                        <a:pt x="126" y="147"/>
                      </a:lnTo>
                      <a:lnTo>
                        <a:pt x="126" y="149"/>
                      </a:lnTo>
                      <a:lnTo>
                        <a:pt x="126" y="150"/>
                      </a:lnTo>
                      <a:lnTo>
                        <a:pt x="127" y="150"/>
                      </a:lnTo>
                      <a:lnTo>
                        <a:pt x="127" y="151"/>
                      </a:lnTo>
                      <a:lnTo>
                        <a:pt x="128" y="152"/>
                      </a:lnTo>
                      <a:lnTo>
                        <a:pt x="129" y="152"/>
                      </a:lnTo>
                      <a:lnTo>
                        <a:pt x="130" y="153"/>
                      </a:lnTo>
                      <a:lnTo>
                        <a:pt x="130" y="154"/>
                      </a:lnTo>
                      <a:lnTo>
                        <a:pt x="132" y="154"/>
                      </a:lnTo>
                      <a:lnTo>
                        <a:pt x="134" y="154"/>
                      </a:lnTo>
                      <a:lnTo>
                        <a:pt x="135" y="157"/>
                      </a:lnTo>
                      <a:lnTo>
                        <a:pt x="136" y="158"/>
                      </a:lnTo>
                      <a:lnTo>
                        <a:pt x="137" y="159"/>
                      </a:lnTo>
                      <a:lnTo>
                        <a:pt x="139" y="160"/>
                      </a:lnTo>
                      <a:lnTo>
                        <a:pt x="141" y="160"/>
                      </a:lnTo>
                      <a:lnTo>
                        <a:pt x="141" y="161"/>
                      </a:lnTo>
                      <a:lnTo>
                        <a:pt x="140" y="163"/>
                      </a:lnTo>
                      <a:lnTo>
                        <a:pt x="139" y="164"/>
                      </a:lnTo>
                      <a:lnTo>
                        <a:pt x="136" y="165"/>
                      </a:lnTo>
                      <a:lnTo>
                        <a:pt x="136" y="166"/>
                      </a:lnTo>
                      <a:lnTo>
                        <a:pt x="135" y="167"/>
                      </a:lnTo>
                      <a:lnTo>
                        <a:pt x="135" y="168"/>
                      </a:lnTo>
                      <a:lnTo>
                        <a:pt x="135" y="170"/>
                      </a:lnTo>
                      <a:lnTo>
                        <a:pt x="135" y="171"/>
                      </a:lnTo>
                      <a:lnTo>
                        <a:pt x="134" y="172"/>
                      </a:lnTo>
                      <a:lnTo>
                        <a:pt x="133" y="172"/>
                      </a:lnTo>
                      <a:lnTo>
                        <a:pt x="127" y="173"/>
                      </a:lnTo>
                      <a:lnTo>
                        <a:pt x="115" y="172"/>
                      </a:lnTo>
                      <a:lnTo>
                        <a:pt x="114" y="172"/>
                      </a:lnTo>
                      <a:lnTo>
                        <a:pt x="113" y="172"/>
                      </a:lnTo>
                      <a:lnTo>
                        <a:pt x="113" y="173"/>
                      </a:lnTo>
                      <a:lnTo>
                        <a:pt x="112" y="173"/>
                      </a:lnTo>
                      <a:lnTo>
                        <a:pt x="111" y="173"/>
                      </a:lnTo>
                      <a:lnTo>
                        <a:pt x="108" y="174"/>
                      </a:lnTo>
                      <a:lnTo>
                        <a:pt x="107" y="175"/>
                      </a:lnTo>
                      <a:lnTo>
                        <a:pt x="106" y="175"/>
                      </a:lnTo>
                      <a:lnTo>
                        <a:pt x="106" y="177"/>
                      </a:lnTo>
                      <a:lnTo>
                        <a:pt x="105" y="177"/>
                      </a:lnTo>
                      <a:lnTo>
                        <a:pt x="105" y="178"/>
                      </a:lnTo>
                      <a:lnTo>
                        <a:pt x="103" y="178"/>
                      </a:lnTo>
                      <a:lnTo>
                        <a:pt x="101" y="179"/>
                      </a:lnTo>
                      <a:lnTo>
                        <a:pt x="100" y="179"/>
                      </a:lnTo>
                      <a:lnTo>
                        <a:pt x="94" y="181"/>
                      </a:lnTo>
                      <a:lnTo>
                        <a:pt x="92" y="181"/>
                      </a:lnTo>
                      <a:lnTo>
                        <a:pt x="90" y="184"/>
                      </a:lnTo>
                      <a:lnTo>
                        <a:pt x="89" y="185"/>
                      </a:lnTo>
                      <a:lnTo>
                        <a:pt x="87" y="186"/>
                      </a:lnTo>
                      <a:lnTo>
                        <a:pt x="85" y="186"/>
                      </a:lnTo>
                      <a:lnTo>
                        <a:pt x="84" y="187"/>
                      </a:lnTo>
                      <a:lnTo>
                        <a:pt x="82" y="188"/>
                      </a:lnTo>
                      <a:lnTo>
                        <a:pt x="79" y="189"/>
                      </a:lnTo>
                      <a:lnTo>
                        <a:pt x="79" y="191"/>
                      </a:lnTo>
                      <a:lnTo>
                        <a:pt x="78" y="191"/>
                      </a:lnTo>
                      <a:lnTo>
                        <a:pt x="76" y="191"/>
                      </a:lnTo>
                      <a:lnTo>
                        <a:pt x="75" y="191"/>
                      </a:lnTo>
                      <a:lnTo>
                        <a:pt x="73" y="191"/>
                      </a:lnTo>
                      <a:lnTo>
                        <a:pt x="72" y="192"/>
                      </a:lnTo>
                      <a:lnTo>
                        <a:pt x="72" y="191"/>
                      </a:lnTo>
                      <a:lnTo>
                        <a:pt x="71" y="191"/>
                      </a:lnTo>
                      <a:lnTo>
                        <a:pt x="70" y="192"/>
                      </a:lnTo>
                      <a:lnTo>
                        <a:pt x="68" y="193"/>
                      </a:lnTo>
                      <a:lnTo>
                        <a:pt x="66" y="193"/>
                      </a:lnTo>
                      <a:lnTo>
                        <a:pt x="65" y="194"/>
                      </a:lnTo>
                      <a:lnTo>
                        <a:pt x="64" y="194"/>
                      </a:lnTo>
                      <a:lnTo>
                        <a:pt x="62" y="194"/>
                      </a:lnTo>
                      <a:lnTo>
                        <a:pt x="62" y="195"/>
                      </a:lnTo>
                      <a:lnTo>
                        <a:pt x="61" y="195"/>
                      </a:lnTo>
                      <a:lnTo>
                        <a:pt x="59" y="195"/>
                      </a:lnTo>
                      <a:lnTo>
                        <a:pt x="58" y="195"/>
                      </a:lnTo>
                      <a:lnTo>
                        <a:pt x="57" y="196"/>
                      </a:lnTo>
                      <a:lnTo>
                        <a:pt x="55" y="196"/>
                      </a:lnTo>
                      <a:lnTo>
                        <a:pt x="54" y="198"/>
                      </a:lnTo>
                      <a:lnTo>
                        <a:pt x="54" y="196"/>
                      </a:lnTo>
                      <a:lnTo>
                        <a:pt x="52" y="196"/>
                      </a:lnTo>
                      <a:lnTo>
                        <a:pt x="52" y="198"/>
                      </a:lnTo>
                      <a:lnTo>
                        <a:pt x="52" y="199"/>
                      </a:lnTo>
                      <a:lnTo>
                        <a:pt x="51" y="199"/>
                      </a:lnTo>
                      <a:lnTo>
                        <a:pt x="50" y="200"/>
                      </a:lnTo>
                      <a:lnTo>
                        <a:pt x="49" y="200"/>
                      </a:lnTo>
                      <a:lnTo>
                        <a:pt x="48" y="201"/>
                      </a:lnTo>
                      <a:lnTo>
                        <a:pt x="48" y="202"/>
                      </a:lnTo>
                      <a:lnTo>
                        <a:pt x="45" y="202"/>
                      </a:lnTo>
                      <a:lnTo>
                        <a:pt x="43" y="203"/>
                      </a:lnTo>
                      <a:lnTo>
                        <a:pt x="43" y="205"/>
                      </a:lnTo>
                      <a:lnTo>
                        <a:pt x="42" y="205"/>
                      </a:lnTo>
                      <a:lnTo>
                        <a:pt x="42" y="206"/>
                      </a:lnTo>
                      <a:lnTo>
                        <a:pt x="41" y="206"/>
                      </a:lnTo>
                      <a:lnTo>
                        <a:pt x="39" y="206"/>
                      </a:lnTo>
                      <a:lnTo>
                        <a:pt x="37" y="206"/>
                      </a:lnTo>
                      <a:lnTo>
                        <a:pt x="37" y="205"/>
                      </a:lnTo>
                      <a:lnTo>
                        <a:pt x="36" y="205"/>
                      </a:lnTo>
                      <a:lnTo>
                        <a:pt x="35" y="205"/>
                      </a:lnTo>
                      <a:lnTo>
                        <a:pt x="34" y="203"/>
                      </a:lnTo>
                      <a:lnTo>
                        <a:pt x="33" y="203"/>
                      </a:lnTo>
                      <a:lnTo>
                        <a:pt x="33" y="202"/>
                      </a:lnTo>
                      <a:lnTo>
                        <a:pt x="29" y="201"/>
                      </a:lnTo>
                      <a:lnTo>
                        <a:pt x="23" y="200"/>
                      </a:lnTo>
                      <a:lnTo>
                        <a:pt x="19" y="198"/>
                      </a:lnTo>
                      <a:lnTo>
                        <a:pt x="14" y="198"/>
                      </a:lnTo>
                      <a:lnTo>
                        <a:pt x="9" y="196"/>
                      </a:lnTo>
                      <a:lnTo>
                        <a:pt x="5" y="195"/>
                      </a:lnTo>
                      <a:lnTo>
                        <a:pt x="6" y="195"/>
                      </a:lnTo>
                      <a:lnTo>
                        <a:pt x="8" y="195"/>
                      </a:lnTo>
                      <a:lnTo>
                        <a:pt x="9" y="195"/>
                      </a:lnTo>
                      <a:lnTo>
                        <a:pt x="11" y="195"/>
                      </a:lnTo>
                      <a:lnTo>
                        <a:pt x="11" y="194"/>
                      </a:lnTo>
                      <a:lnTo>
                        <a:pt x="12" y="194"/>
                      </a:lnTo>
                      <a:lnTo>
                        <a:pt x="13" y="194"/>
                      </a:lnTo>
                      <a:lnTo>
                        <a:pt x="15" y="194"/>
                      </a:lnTo>
                      <a:lnTo>
                        <a:pt x="15" y="193"/>
                      </a:lnTo>
                      <a:lnTo>
                        <a:pt x="16" y="193"/>
                      </a:lnTo>
                      <a:lnTo>
                        <a:pt x="16" y="192"/>
                      </a:lnTo>
                      <a:lnTo>
                        <a:pt x="15" y="192"/>
                      </a:lnTo>
                      <a:lnTo>
                        <a:pt x="15" y="191"/>
                      </a:lnTo>
                      <a:lnTo>
                        <a:pt x="15" y="189"/>
                      </a:lnTo>
                      <a:lnTo>
                        <a:pt x="15" y="187"/>
                      </a:lnTo>
                      <a:lnTo>
                        <a:pt x="16" y="187"/>
                      </a:lnTo>
                      <a:lnTo>
                        <a:pt x="18" y="186"/>
                      </a:lnTo>
                      <a:lnTo>
                        <a:pt x="16" y="186"/>
                      </a:lnTo>
                      <a:lnTo>
                        <a:pt x="16" y="184"/>
                      </a:lnTo>
                      <a:lnTo>
                        <a:pt x="15" y="181"/>
                      </a:lnTo>
                      <a:lnTo>
                        <a:pt x="15" y="180"/>
                      </a:lnTo>
                      <a:lnTo>
                        <a:pt x="15" y="179"/>
                      </a:lnTo>
                      <a:lnTo>
                        <a:pt x="14" y="179"/>
                      </a:lnTo>
                      <a:lnTo>
                        <a:pt x="12" y="178"/>
                      </a:lnTo>
                      <a:lnTo>
                        <a:pt x="11" y="179"/>
                      </a:lnTo>
                      <a:lnTo>
                        <a:pt x="9" y="179"/>
                      </a:lnTo>
                      <a:lnTo>
                        <a:pt x="9" y="178"/>
                      </a:lnTo>
                      <a:lnTo>
                        <a:pt x="9" y="175"/>
                      </a:lnTo>
                      <a:lnTo>
                        <a:pt x="7" y="175"/>
                      </a:lnTo>
                      <a:lnTo>
                        <a:pt x="7" y="172"/>
                      </a:lnTo>
                      <a:lnTo>
                        <a:pt x="7" y="171"/>
                      </a:lnTo>
                      <a:lnTo>
                        <a:pt x="7" y="170"/>
                      </a:lnTo>
                      <a:lnTo>
                        <a:pt x="6" y="167"/>
                      </a:lnTo>
                      <a:lnTo>
                        <a:pt x="5" y="161"/>
                      </a:lnTo>
                      <a:lnTo>
                        <a:pt x="4" y="159"/>
                      </a:lnTo>
                      <a:lnTo>
                        <a:pt x="2" y="159"/>
                      </a:lnTo>
                      <a:lnTo>
                        <a:pt x="2" y="158"/>
                      </a:lnTo>
                      <a:lnTo>
                        <a:pt x="0" y="147"/>
                      </a:lnTo>
                      <a:lnTo>
                        <a:pt x="0" y="146"/>
                      </a:lnTo>
                      <a:lnTo>
                        <a:pt x="0" y="145"/>
                      </a:lnTo>
                      <a:lnTo>
                        <a:pt x="1" y="144"/>
                      </a:lnTo>
                      <a:lnTo>
                        <a:pt x="0" y="143"/>
                      </a:lnTo>
                      <a:lnTo>
                        <a:pt x="0" y="142"/>
                      </a:lnTo>
                      <a:lnTo>
                        <a:pt x="0" y="140"/>
                      </a:lnTo>
                      <a:lnTo>
                        <a:pt x="0" y="139"/>
                      </a:lnTo>
                      <a:lnTo>
                        <a:pt x="5" y="133"/>
                      </a:lnTo>
                      <a:lnTo>
                        <a:pt x="6" y="132"/>
                      </a:lnTo>
                      <a:lnTo>
                        <a:pt x="7" y="131"/>
                      </a:lnTo>
                      <a:lnTo>
                        <a:pt x="7" y="130"/>
                      </a:lnTo>
                      <a:lnTo>
                        <a:pt x="8" y="129"/>
                      </a:lnTo>
                      <a:lnTo>
                        <a:pt x="8" y="128"/>
                      </a:lnTo>
                      <a:lnTo>
                        <a:pt x="8" y="126"/>
                      </a:lnTo>
                      <a:lnTo>
                        <a:pt x="9" y="116"/>
                      </a:lnTo>
                      <a:lnTo>
                        <a:pt x="9" y="115"/>
                      </a:lnTo>
                      <a:lnTo>
                        <a:pt x="12" y="110"/>
                      </a:lnTo>
                      <a:lnTo>
                        <a:pt x="13" y="109"/>
                      </a:lnTo>
                      <a:lnTo>
                        <a:pt x="13" y="108"/>
                      </a:lnTo>
                      <a:lnTo>
                        <a:pt x="14" y="108"/>
                      </a:lnTo>
                      <a:lnTo>
                        <a:pt x="14" y="107"/>
                      </a:lnTo>
                      <a:lnTo>
                        <a:pt x="14" y="104"/>
                      </a:lnTo>
                      <a:lnTo>
                        <a:pt x="14" y="105"/>
                      </a:lnTo>
                      <a:lnTo>
                        <a:pt x="15" y="104"/>
                      </a:lnTo>
                      <a:lnTo>
                        <a:pt x="16" y="103"/>
                      </a:lnTo>
                      <a:lnTo>
                        <a:pt x="18" y="102"/>
                      </a:lnTo>
                      <a:lnTo>
                        <a:pt x="19" y="102"/>
                      </a:lnTo>
                      <a:lnTo>
                        <a:pt x="20" y="102"/>
                      </a:lnTo>
                      <a:lnTo>
                        <a:pt x="20" y="101"/>
                      </a:lnTo>
                      <a:lnTo>
                        <a:pt x="20" y="100"/>
                      </a:lnTo>
                      <a:lnTo>
                        <a:pt x="20" y="98"/>
                      </a:lnTo>
                      <a:lnTo>
                        <a:pt x="19" y="98"/>
                      </a:lnTo>
                      <a:lnTo>
                        <a:pt x="20" y="97"/>
                      </a:lnTo>
                      <a:lnTo>
                        <a:pt x="21" y="97"/>
                      </a:lnTo>
                      <a:lnTo>
                        <a:pt x="22" y="96"/>
                      </a:lnTo>
                      <a:lnTo>
                        <a:pt x="23" y="96"/>
                      </a:lnTo>
                      <a:lnTo>
                        <a:pt x="21" y="87"/>
                      </a:lnTo>
                      <a:lnTo>
                        <a:pt x="20" y="79"/>
                      </a:lnTo>
                      <a:lnTo>
                        <a:pt x="20" y="77"/>
                      </a:lnTo>
                      <a:lnTo>
                        <a:pt x="19" y="77"/>
                      </a:lnTo>
                      <a:lnTo>
                        <a:pt x="20" y="76"/>
                      </a:lnTo>
                      <a:lnTo>
                        <a:pt x="19" y="74"/>
                      </a:lnTo>
                      <a:lnTo>
                        <a:pt x="19" y="73"/>
                      </a:lnTo>
                      <a:lnTo>
                        <a:pt x="18" y="72"/>
                      </a:lnTo>
                      <a:lnTo>
                        <a:pt x="18" y="70"/>
                      </a:lnTo>
                      <a:lnTo>
                        <a:pt x="16" y="69"/>
                      </a:lnTo>
                      <a:lnTo>
                        <a:pt x="15" y="69"/>
                      </a:lnTo>
                      <a:lnTo>
                        <a:pt x="14" y="69"/>
                      </a:lnTo>
                      <a:lnTo>
                        <a:pt x="14" y="68"/>
                      </a:lnTo>
                      <a:lnTo>
                        <a:pt x="14" y="67"/>
                      </a:lnTo>
                      <a:lnTo>
                        <a:pt x="14" y="66"/>
                      </a:lnTo>
                      <a:lnTo>
                        <a:pt x="15" y="66"/>
                      </a:lnTo>
                      <a:lnTo>
                        <a:pt x="16" y="65"/>
                      </a:lnTo>
                      <a:lnTo>
                        <a:pt x="16" y="63"/>
                      </a:lnTo>
                      <a:lnTo>
                        <a:pt x="18" y="63"/>
                      </a:lnTo>
                      <a:lnTo>
                        <a:pt x="18" y="62"/>
                      </a:lnTo>
                      <a:lnTo>
                        <a:pt x="18" y="61"/>
                      </a:lnTo>
                      <a:lnTo>
                        <a:pt x="16" y="61"/>
                      </a:lnTo>
                      <a:lnTo>
                        <a:pt x="16" y="60"/>
                      </a:lnTo>
                      <a:lnTo>
                        <a:pt x="18" y="59"/>
                      </a:lnTo>
                      <a:lnTo>
                        <a:pt x="18" y="58"/>
                      </a:lnTo>
                      <a:lnTo>
                        <a:pt x="16" y="58"/>
                      </a:lnTo>
                      <a:lnTo>
                        <a:pt x="18" y="56"/>
                      </a:lnTo>
                      <a:lnTo>
                        <a:pt x="18" y="55"/>
                      </a:lnTo>
                      <a:lnTo>
                        <a:pt x="16" y="55"/>
                      </a:lnTo>
                      <a:lnTo>
                        <a:pt x="15" y="54"/>
                      </a:lnTo>
                      <a:lnTo>
                        <a:pt x="14" y="53"/>
                      </a:lnTo>
                      <a:lnTo>
                        <a:pt x="14" y="52"/>
                      </a:lnTo>
                      <a:lnTo>
                        <a:pt x="14" y="51"/>
                      </a:lnTo>
                      <a:lnTo>
                        <a:pt x="15" y="49"/>
                      </a:lnTo>
                      <a:lnTo>
                        <a:pt x="14" y="49"/>
                      </a:lnTo>
                      <a:lnTo>
                        <a:pt x="14" y="48"/>
                      </a:lnTo>
                      <a:lnTo>
                        <a:pt x="13" y="48"/>
                      </a:lnTo>
                      <a:lnTo>
                        <a:pt x="13" y="47"/>
                      </a:lnTo>
                      <a:lnTo>
                        <a:pt x="14" y="46"/>
                      </a:lnTo>
                      <a:lnTo>
                        <a:pt x="15" y="45"/>
                      </a:lnTo>
                      <a:lnTo>
                        <a:pt x="15" y="44"/>
                      </a:lnTo>
                      <a:lnTo>
                        <a:pt x="14" y="42"/>
                      </a:lnTo>
                      <a:lnTo>
                        <a:pt x="14" y="40"/>
                      </a:lnTo>
                      <a:lnTo>
                        <a:pt x="14" y="39"/>
                      </a:lnTo>
                      <a:lnTo>
                        <a:pt x="13" y="38"/>
                      </a:lnTo>
                      <a:lnTo>
                        <a:pt x="13" y="34"/>
                      </a:lnTo>
                      <a:lnTo>
                        <a:pt x="13" y="33"/>
                      </a:lnTo>
                      <a:lnTo>
                        <a:pt x="13" y="32"/>
                      </a:lnTo>
                      <a:lnTo>
                        <a:pt x="14" y="31"/>
                      </a:lnTo>
                      <a:lnTo>
                        <a:pt x="14" y="30"/>
                      </a:lnTo>
                      <a:lnTo>
                        <a:pt x="13" y="30"/>
                      </a:lnTo>
                      <a:lnTo>
                        <a:pt x="13" y="28"/>
                      </a:lnTo>
                      <a:lnTo>
                        <a:pt x="12" y="28"/>
                      </a:lnTo>
                      <a:lnTo>
                        <a:pt x="12" y="27"/>
                      </a:lnTo>
                      <a:lnTo>
                        <a:pt x="12" y="26"/>
                      </a:lnTo>
                      <a:lnTo>
                        <a:pt x="13" y="26"/>
                      </a:lnTo>
                      <a:lnTo>
                        <a:pt x="14" y="25"/>
                      </a:lnTo>
                      <a:lnTo>
                        <a:pt x="13" y="25"/>
                      </a:lnTo>
                      <a:lnTo>
                        <a:pt x="12" y="25"/>
                      </a:lnTo>
                      <a:lnTo>
                        <a:pt x="11" y="24"/>
                      </a:lnTo>
                      <a:lnTo>
                        <a:pt x="11" y="23"/>
                      </a:lnTo>
                      <a:lnTo>
                        <a:pt x="9" y="23"/>
                      </a:lnTo>
                      <a:lnTo>
                        <a:pt x="9" y="21"/>
                      </a:lnTo>
                      <a:lnTo>
                        <a:pt x="9" y="20"/>
                      </a:lnTo>
                      <a:lnTo>
                        <a:pt x="8" y="19"/>
                      </a:lnTo>
                      <a:lnTo>
                        <a:pt x="8" y="18"/>
                      </a:lnTo>
                      <a:lnTo>
                        <a:pt x="9" y="17"/>
                      </a:lnTo>
                      <a:lnTo>
                        <a:pt x="9" y="16"/>
                      </a:lnTo>
                      <a:lnTo>
                        <a:pt x="8" y="16"/>
                      </a:lnTo>
                      <a:lnTo>
                        <a:pt x="9" y="14"/>
                      </a:lnTo>
                      <a:lnTo>
                        <a:pt x="9" y="13"/>
                      </a:lnTo>
                      <a:lnTo>
                        <a:pt x="11" y="11"/>
                      </a:lnTo>
                      <a:lnTo>
                        <a:pt x="11" y="10"/>
                      </a:lnTo>
                      <a:lnTo>
                        <a:pt x="12" y="10"/>
                      </a:lnTo>
                      <a:lnTo>
                        <a:pt x="12" y="9"/>
                      </a:lnTo>
                      <a:lnTo>
                        <a:pt x="12" y="7"/>
                      </a:lnTo>
                      <a:lnTo>
                        <a:pt x="12" y="6"/>
                      </a:lnTo>
                      <a:lnTo>
                        <a:pt x="14" y="6"/>
                      </a:lnTo>
                      <a:lnTo>
                        <a:pt x="15" y="6"/>
                      </a:lnTo>
                      <a:lnTo>
                        <a:pt x="18" y="6"/>
                      </a:lnTo>
                      <a:lnTo>
                        <a:pt x="23" y="6"/>
                      </a:lnTo>
                      <a:lnTo>
                        <a:pt x="32" y="6"/>
                      </a:lnTo>
                      <a:lnTo>
                        <a:pt x="39" y="6"/>
                      </a:lnTo>
                      <a:lnTo>
                        <a:pt x="45" y="6"/>
                      </a:lnTo>
                      <a:lnTo>
                        <a:pt x="50" y="6"/>
                      </a:lnTo>
                      <a:lnTo>
                        <a:pt x="51" y="6"/>
                      </a:lnTo>
                      <a:lnTo>
                        <a:pt x="51" y="5"/>
                      </a:lnTo>
                      <a:lnTo>
                        <a:pt x="56" y="5"/>
                      </a:lnTo>
                      <a:lnTo>
                        <a:pt x="57" y="6"/>
                      </a:lnTo>
                      <a:lnTo>
                        <a:pt x="58" y="6"/>
                      </a:lnTo>
                      <a:lnTo>
                        <a:pt x="63" y="6"/>
                      </a:lnTo>
                      <a:lnTo>
                        <a:pt x="66" y="6"/>
                      </a:lnTo>
                      <a:lnTo>
                        <a:pt x="66" y="5"/>
                      </a:lnTo>
                      <a:lnTo>
                        <a:pt x="68" y="5"/>
                      </a:lnTo>
                      <a:lnTo>
                        <a:pt x="72" y="5"/>
                      </a:lnTo>
                      <a:lnTo>
                        <a:pt x="72" y="6"/>
                      </a:lnTo>
                      <a:lnTo>
                        <a:pt x="73" y="6"/>
                      </a:lnTo>
                      <a:lnTo>
                        <a:pt x="75" y="6"/>
                      </a:lnTo>
                      <a:lnTo>
                        <a:pt x="75" y="5"/>
                      </a:lnTo>
                      <a:lnTo>
                        <a:pt x="76" y="5"/>
                      </a:lnTo>
                      <a:lnTo>
                        <a:pt x="76" y="6"/>
                      </a:lnTo>
                      <a:lnTo>
                        <a:pt x="79" y="6"/>
                      </a:lnTo>
                      <a:lnTo>
                        <a:pt x="80" y="6"/>
                      </a:lnTo>
                      <a:lnTo>
                        <a:pt x="79" y="7"/>
                      </a:lnTo>
                      <a:lnTo>
                        <a:pt x="82" y="9"/>
                      </a:lnTo>
                      <a:lnTo>
                        <a:pt x="83" y="7"/>
                      </a:lnTo>
                      <a:lnTo>
                        <a:pt x="83" y="6"/>
                      </a:lnTo>
                      <a:lnTo>
                        <a:pt x="84" y="6"/>
                      </a:lnTo>
                      <a:lnTo>
                        <a:pt x="85" y="6"/>
                      </a:lnTo>
                      <a:lnTo>
                        <a:pt x="85" y="5"/>
                      </a:lnTo>
                      <a:lnTo>
                        <a:pt x="86" y="5"/>
                      </a:lnTo>
                      <a:lnTo>
                        <a:pt x="87" y="4"/>
                      </a:lnTo>
                      <a:lnTo>
                        <a:pt x="87" y="3"/>
                      </a:lnTo>
                      <a:lnTo>
                        <a:pt x="87" y="2"/>
                      </a:lnTo>
                      <a:lnTo>
                        <a:pt x="89" y="2"/>
                      </a:lnTo>
                      <a:lnTo>
                        <a:pt x="90" y="3"/>
                      </a:lnTo>
                      <a:lnTo>
                        <a:pt x="91" y="2"/>
                      </a:lnTo>
                      <a:lnTo>
                        <a:pt x="92" y="2"/>
                      </a:lnTo>
                      <a:lnTo>
                        <a:pt x="92" y="0"/>
                      </a:lnTo>
                      <a:lnTo>
                        <a:pt x="97" y="0"/>
                      </a:lnTo>
                      <a:close/>
                    </a:path>
                  </a:pathLst>
                </a:custGeom>
                <a:solidFill>
                  <a:schemeClr val="bg2">
                    <a:lumMod val="9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95" name="Freeform 95">
                  <a:extLst>
                    <a:ext uri="{FF2B5EF4-FFF2-40B4-BE49-F238E27FC236}">
                      <a16:creationId xmlns:a16="http://schemas.microsoft.com/office/drawing/2014/main" id="{495C7E91-1D77-FB62-2CFC-B90800937CDF}"/>
                    </a:ext>
                  </a:extLst>
                </p:cNvPr>
                <p:cNvSpPr>
                  <a:spLocks noEditPoints="1"/>
                </p:cNvSpPr>
                <p:nvPr/>
              </p:nvSpPr>
              <p:spPr bwMode="auto">
                <a:xfrm>
                  <a:off x="7391962" y="3626620"/>
                  <a:ext cx="273679" cy="333173"/>
                </a:xfrm>
                <a:custGeom>
                  <a:avLst/>
                  <a:gdLst>
                    <a:gd name="T0" fmla="*/ 222 w 253"/>
                    <a:gd name="T1" fmla="*/ 228 h 308"/>
                    <a:gd name="T2" fmla="*/ 0 w 253"/>
                    <a:gd name="T3" fmla="*/ 174 h 308"/>
                    <a:gd name="T4" fmla="*/ 7 w 253"/>
                    <a:gd name="T5" fmla="*/ 172 h 308"/>
                    <a:gd name="T6" fmla="*/ 57 w 253"/>
                    <a:gd name="T7" fmla="*/ 15 h 308"/>
                    <a:gd name="T8" fmla="*/ 66 w 253"/>
                    <a:gd name="T9" fmla="*/ 18 h 308"/>
                    <a:gd name="T10" fmla="*/ 99 w 253"/>
                    <a:gd name="T11" fmla="*/ 23 h 308"/>
                    <a:gd name="T12" fmla="*/ 128 w 253"/>
                    <a:gd name="T13" fmla="*/ 42 h 308"/>
                    <a:gd name="T14" fmla="*/ 146 w 253"/>
                    <a:gd name="T15" fmla="*/ 44 h 308"/>
                    <a:gd name="T16" fmla="*/ 159 w 253"/>
                    <a:gd name="T17" fmla="*/ 49 h 308"/>
                    <a:gd name="T18" fmla="*/ 176 w 253"/>
                    <a:gd name="T19" fmla="*/ 51 h 308"/>
                    <a:gd name="T20" fmla="*/ 191 w 253"/>
                    <a:gd name="T21" fmla="*/ 37 h 308"/>
                    <a:gd name="T22" fmla="*/ 218 w 253"/>
                    <a:gd name="T23" fmla="*/ 25 h 308"/>
                    <a:gd name="T24" fmla="*/ 240 w 253"/>
                    <a:gd name="T25" fmla="*/ 36 h 308"/>
                    <a:gd name="T26" fmla="*/ 244 w 253"/>
                    <a:gd name="T27" fmla="*/ 46 h 308"/>
                    <a:gd name="T28" fmla="*/ 223 w 253"/>
                    <a:gd name="T29" fmla="*/ 73 h 308"/>
                    <a:gd name="T30" fmla="*/ 223 w 253"/>
                    <a:gd name="T31" fmla="*/ 118 h 308"/>
                    <a:gd name="T32" fmla="*/ 222 w 253"/>
                    <a:gd name="T33" fmla="*/ 163 h 308"/>
                    <a:gd name="T34" fmla="*/ 225 w 253"/>
                    <a:gd name="T35" fmla="*/ 191 h 308"/>
                    <a:gd name="T36" fmla="*/ 240 w 253"/>
                    <a:gd name="T37" fmla="*/ 213 h 308"/>
                    <a:gd name="T38" fmla="*/ 229 w 253"/>
                    <a:gd name="T39" fmla="*/ 223 h 308"/>
                    <a:gd name="T40" fmla="*/ 222 w 253"/>
                    <a:gd name="T41" fmla="*/ 221 h 308"/>
                    <a:gd name="T42" fmla="*/ 220 w 253"/>
                    <a:gd name="T43" fmla="*/ 226 h 308"/>
                    <a:gd name="T44" fmla="*/ 219 w 253"/>
                    <a:gd name="T45" fmla="*/ 231 h 308"/>
                    <a:gd name="T46" fmla="*/ 212 w 253"/>
                    <a:gd name="T47" fmla="*/ 240 h 308"/>
                    <a:gd name="T48" fmla="*/ 198 w 253"/>
                    <a:gd name="T49" fmla="*/ 246 h 308"/>
                    <a:gd name="T50" fmla="*/ 197 w 253"/>
                    <a:gd name="T51" fmla="*/ 256 h 308"/>
                    <a:gd name="T52" fmla="*/ 190 w 253"/>
                    <a:gd name="T53" fmla="*/ 267 h 308"/>
                    <a:gd name="T54" fmla="*/ 185 w 253"/>
                    <a:gd name="T55" fmla="*/ 273 h 308"/>
                    <a:gd name="T56" fmla="*/ 184 w 253"/>
                    <a:gd name="T57" fmla="*/ 284 h 308"/>
                    <a:gd name="T58" fmla="*/ 180 w 253"/>
                    <a:gd name="T59" fmla="*/ 286 h 308"/>
                    <a:gd name="T60" fmla="*/ 180 w 253"/>
                    <a:gd name="T61" fmla="*/ 289 h 308"/>
                    <a:gd name="T62" fmla="*/ 172 w 253"/>
                    <a:gd name="T63" fmla="*/ 304 h 308"/>
                    <a:gd name="T64" fmla="*/ 159 w 253"/>
                    <a:gd name="T65" fmla="*/ 303 h 308"/>
                    <a:gd name="T66" fmla="*/ 128 w 253"/>
                    <a:gd name="T67" fmla="*/ 280 h 308"/>
                    <a:gd name="T68" fmla="*/ 115 w 253"/>
                    <a:gd name="T69" fmla="*/ 268 h 308"/>
                    <a:gd name="T70" fmla="*/ 109 w 253"/>
                    <a:gd name="T71" fmla="*/ 252 h 308"/>
                    <a:gd name="T72" fmla="*/ 40 w 253"/>
                    <a:gd name="T73" fmla="*/ 212 h 308"/>
                    <a:gd name="T74" fmla="*/ 6 w 253"/>
                    <a:gd name="T75" fmla="*/ 191 h 308"/>
                    <a:gd name="T76" fmla="*/ 4 w 253"/>
                    <a:gd name="T77" fmla="*/ 178 h 308"/>
                    <a:gd name="T78" fmla="*/ 9 w 253"/>
                    <a:gd name="T79" fmla="*/ 172 h 308"/>
                    <a:gd name="T80" fmla="*/ 15 w 253"/>
                    <a:gd name="T81" fmla="*/ 176 h 308"/>
                    <a:gd name="T82" fmla="*/ 23 w 253"/>
                    <a:gd name="T83" fmla="*/ 170 h 308"/>
                    <a:gd name="T84" fmla="*/ 26 w 253"/>
                    <a:gd name="T85" fmla="*/ 163 h 308"/>
                    <a:gd name="T86" fmla="*/ 14 w 253"/>
                    <a:gd name="T87" fmla="*/ 164 h 308"/>
                    <a:gd name="T88" fmla="*/ 11 w 253"/>
                    <a:gd name="T89" fmla="*/ 169 h 308"/>
                    <a:gd name="T90" fmla="*/ 6 w 253"/>
                    <a:gd name="T91" fmla="*/ 161 h 308"/>
                    <a:gd name="T92" fmla="*/ 1 w 253"/>
                    <a:gd name="T93" fmla="*/ 156 h 308"/>
                    <a:gd name="T94" fmla="*/ 6 w 253"/>
                    <a:gd name="T95" fmla="*/ 141 h 308"/>
                    <a:gd name="T96" fmla="*/ 16 w 253"/>
                    <a:gd name="T97" fmla="*/ 128 h 308"/>
                    <a:gd name="T98" fmla="*/ 28 w 253"/>
                    <a:gd name="T99" fmla="*/ 119 h 308"/>
                    <a:gd name="T100" fmla="*/ 34 w 253"/>
                    <a:gd name="T101" fmla="*/ 98 h 308"/>
                    <a:gd name="T102" fmla="*/ 31 w 253"/>
                    <a:gd name="T103" fmla="*/ 80 h 308"/>
                    <a:gd name="T104" fmla="*/ 23 w 253"/>
                    <a:gd name="T105" fmla="*/ 69 h 308"/>
                    <a:gd name="T106" fmla="*/ 15 w 253"/>
                    <a:gd name="T107" fmla="*/ 51 h 308"/>
                    <a:gd name="T108" fmla="*/ 11 w 253"/>
                    <a:gd name="T109" fmla="*/ 41 h 308"/>
                    <a:gd name="T110" fmla="*/ 6 w 253"/>
                    <a:gd name="T111" fmla="*/ 37 h 308"/>
                    <a:gd name="T112" fmla="*/ 4 w 253"/>
                    <a:gd name="T113" fmla="*/ 27 h 308"/>
                    <a:gd name="T114" fmla="*/ 29 w 253"/>
                    <a:gd name="T115" fmla="*/ 7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3" h="308">
                      <a:moveTo>
                        <a:pt x="228" y="226"/>
                      </a:moveTo>
                      <a:lnTo>
                        <a:pt x="228" y="227"/>
                      </a:lnTo>
                      <a:lnTo>
                        <a:pt x="227" y="227"/>
                      </a:lnTo>
                      <a:lnTo>
                        <a:pt x="227" y="226"/>
                      </a:lnTo>
                      <a:lnTo>
                        <a:pt x="227" y="227"/>
                      </a:lnTo>
                      <a:lnTo>
                        <a:pt x="226" y="227"/>
                      </a:lnTo>
                      <a:lnTo>
                        <a:pt x="225" y="227"/>
                      </a:lnTo>
                      <a:lnTo>
                        <a:pt x="223" y="228"/>
                      </a:lnTo>
                      <a:lnTo>
                        <a:pt x="222" y="228"/>
                      </a:lnTo>
                      <a:lnTo>
                        <a:pt x="223" y="230"/>
                      </a:lnTo>
                      <a:lnTo>
                        <a:pt x="222" y="230"/>
                      </a:lnTo>
                      <a:lnTo>
                        <a:pt x="222" y="228"/>
                      </a:lnTo>
                      <a:lnTo>
                        <a:pt x="222" y="227"/>
                      </a:lnTo>
                      <a:lnTo>
                        <a:pt x="222" y="226"/>
                      </a:lnTo>
                      <a:lnTo>
                        <a:pt x="223" y="226"/>
                      </a:lnTo>
                      <a:lnTo>
                        <a:pt x="225" y="226"/>
                      </a:lnTo>
                      <a:lnTo>
                        <a:pt x="225" y="225"/>
                      </a:lnTo>
                      <a:lnTo>
                        <a:pt x="226" y="225"/>
                      </a:lnTo>
                      <a:lnTo>
                        <a:pt x="227" y="225"/>
                      </a:lnTo>
                      <a:lnTo>
                        <a:pt x="228" y="225"/>
                      </a:lnTo>
                      <a:lnTo>
                        <a:pt x="228" y="226"/>
                      </a:lnTo>
                      <a:close/>
                      <a:moveTo>
                        <a:pt x="2" y="175"/>
                      </a:moveTo>
                      <a:lnTo>
                        <a:pt x="1" y="175"/>
                      </a:lnTo>
                      <a:lnTo>
                        <a:pt x="0" y="174"/>
                      </a:lnTo>
                      <a:lnTo>
                        <a:pt x="1" y="174"/>
                      </a:lnTo>
                      <a:lnTo>
                        <a:pt x="2" y="174"/>
                      </a:lnTo>
                      <a:lnTo>
                        <a:pt x="2" y="172"/>
                      </a:lnTo>
                      <a:lnTo>
                        <a:pt x="4" y="172"/>
                      </a:lnTo>
                      <a:lnTo>
                        <a:pt x="4" y="174"/>
                      </a:lnTo>
                      <a:lnTo>
                        <a:pt x="4" y="175"/>
                      </a:lnTo>
                      <a:lnTo>
                        <a:pt x="2" y="175"/>
                      </a:lnTo>
                      <a:close/>
                      <a:moveTo>
                        <a:pt x="9" y="171"/>
                      </a:moveTo>
                      <a:lnTo>
                        <a:pt x="8" y="172"/>
                      </a:lnTo>
                      <a:lnTo>
                        <a:pt x="7" y="172"/>
                      </a:lnTo>
                      <a:lnTo>
                        <a:pt x="6" y="172"/>
                      </a:lnTo>
                      <a:lnTo>
                        <a:pt x="7" y="172"/>
                      </a:lnTo>
                      <a:lnTo>
                        <a:pt x="7" y="171"/>
                      </a:lnTo>
                      <a:lnTo>
                        <a:pt x="8" y="171"/>
                      </a:lnTo>
                      <a:lnTo>
                        <a:pt x="9" y="170"/>
                      </a:lnTo>
                      <a:lnTo>
                        <a:pt x="9" y="171"/>
                      </a:lnTo>
                      <a:close/>
                      <a:moveTo>
                        <a:pt x="48" y="1"/>
                      </a:moveTo>
                      <a:lnTo>
                        <a:pt x="47" y="3"/>
                      </a:lnTo>
                      <a:lnTo>
                        <a:pt x="50" y="3"/>
                      </a:lnTo>
                      <a:lnTo>
                        <a:pt x="52" y="4"/>
                      </a:lnTo>
                      <a:lnTo>
                        <a:pt x="51" y="8"/>
                      </a:lnTo>
                      <a:lnTo>
                        <a:pt x="52" y="10"/>
                      </a:lnTo>
                      <a:lnTo>
                        <a:pt x="54" y="14"/>
                      </a:lnTo>
                      <a:lnTo>
                        <a:pt x="57" y="15"/>
                      </a:lnTo>
                      <a:lnTo>
                        <a:pt x="57" y="14"/>
                      </a:lnTo>
                      <a:lnTo>
                        <a:pt x="57" y="13"/>
                      </a:lnTo>
                      <a:lnTo>
                        <a:pt x="58" y="11"/>
                      </a:lnTo>
                      <a:lnTo>
                        <a:pt x="59" y="11"/>
                      </a:lnTo>
                      <a:lnTo>
                        <a:pt x="59" y="14"/>
                      </a:lnTo>
                      <a:lnTo>
                        <a:pt x="62" y="14"/>
                      </a:lnTo>
                      <a:lnTo>
                        <a:pt x="64" y="14"/>
                      </a:lnTo>
                      <a:lnTo>
                        <a:pt x="64" y="15"/>
                      </a:lnTo>
                      <a:lnTo>
                        <a:pt x="64" y="16"/>
                      </a:lnTo>
                      <a:lnTo>
                        <a:pt x="64" y="17"/>
                      </a:lnTo>
                      <a:lnTo>
                        <a:pt x="65" y="17"/>
                      </a:lnTo>
                      <a:lnTo>
                        <a:pt x="66" y="18"/>
                      </a:lnTo>
                      <a:lnTo>
                        <a:pt x="68" y="20"/>
                      </a:lnTo>
                      <a:lnTo>
                        <a:pt x="72" y="20"/>
                      </a:lnTo>
                      <a:lnTo>
                        <a:pt x="73" y="18"/>
                      </a:lnTo>
                      <a:lnTo>
                        <a:pt x="75" y="20"/>
                      </a:lnTo>
                      <a:lnTo>
                        <a:pt x="80" y="20"/>
                      </a:lnTo>
                      <a:lnTo>
                        <a:pt x="86" y="20"/>
                      </a:lnTo>
                      <a:lnTo>
                        <a:pt x="93" y="20"/>
                      </a:lnTo>
                      <a:lnTo>
                        <a:pt x="94" y="20"/>
                      </a:lnTo>
                      <a:lnTo>
                        <a:pt x="97" y="21"/>
                      </a:lnTo>
                      <a:lnTo>
                        <a:pt x="98" y="22"/>
                      </a:lnTo>
                      <a:lnTo>
                        <a:pt x="99" y="22"/>
                      </a:lnTo>
                      <a:lnTo>
                        <a:pt x="99" y="23"/>
                      </a:lnTo>
                      <a:lnTo>
                        <a:pt x="100" y="23"/>
                      </a:lnTo>
                      <a:lnTo>
                        <a:pt x="100" y="24"/>
                      </a:lnTo>
                      <a:lnTo>
                        <a:pt x="101" y="24"/>
                      </a:lnTo>
                      <a:lnTo>
                        <a:pt x="102" y="25"/>
                      </a:lnTo>
                      <a:lnTo>
                        <a:pt x="106" y="28"/>
                      </a:lnTo>
                      <a:lnTo>
                        <a:pt x="109" y="29"/>
                      </a:lnTo>
                      <a:lnTo>
                        <a:pt x="113" y="31"/>
                      </a:lnTo>
                      <a:lnTo>
                        <a:pt x="115" y="34"/>
                      </a:lnTo>
                      <a:lnTo>
                        <a:pt x="119" y="35"/>
                      </a:lnTo>
                      <a:lnTo>
                        <a:pt x="121" y="37"/>
                      </a:lnTo>
                      <a:lnTo>
                        <a:pt x="125" y="39"/>
                      </a:lnTo>
                      <a:lnTo>
                        <a:pt x="128" y="42"/>
                      </a:lnTo>
                      <a:lnTo>
                        <a:pt x="129" y="43"/>
                      </a:lnTo>
                      <a:lnTo>
                        <a:pt x="130" y="44"/>
                      </a:lnTo>
                      <a:lnTo>
                        <a:pt x="130" y="45"/>
                      </a:lnTo>
                      <a:lnTo>
                        <a:pt x="132" y="45"/>
                      </a:lnTo>
                      <a:lnTo>
                        <a:pt x="133" y="45"/>
                      </a:lnTo>
                      <a:lnTo>
                        <a:pt x="134" y="45"/>
                      </a:lnTo>
                      <a:lnTo>
                        <a:pt x="135" y="45"/>
                      </a:lnTo>
                      <a:lnTo>
                        <a:pt x="139" y="46"/>
                      </a:lnTo>
                      <a:lnTo>
                        <a:pt x="142" y="46"/>
                      </a:lnTo>
                      <a:lnTo>
                        <a:pt x="143" y="46"/>
                      </a:lnTo>
                      <a:lnTo>
                        <a:pt x="146" y="45"/>
                      </a:lnTo>
                      <a:lnTo>
                        <a:pt x="146" y="44"/>
                      </a:lnTo>
                      <a:lnTo>
                        <a:pt x="147" y="45"/>
                      </a:lnTo>
                      <a:lnTo>
                        <a:pt x="147" y="46"/>
                      </a:lnTo>
                      <a:lnTo>
                        <a:pt x="148" y="46"/>
                      </a:lnTo>
                      <a:lnTo>
                        <a:pt x="150" y="46"/>
                      </a:lnTo>
                      <a:lnTo>
                        <a:pt x="150" y="45"/>
                      </a:lnTo>
                      <a:lnTo>
                        <a:pt x="151" y="46"/>
                      </a:lnTo>
                      <a:lnTo>
                        <a:pt x="151" y="48"/>
                      </a:lnTo>
                      <a:lnTo>
                        <a:pt x="152" y="48"/>
                      </a:lnTo>
                      <a:lnTo>
                        <a:pt x="155" y="49"/>
                      </a:lnTo>
                      <a:lnTo>
                        <a:pt x="157" y="49"/>
                      </a:lnTo>
                      <a:lnTo>
                        <a:pt x="158" y="49"/>
                      </a:lnTo>
                      <a:lnTo>
                        <a:pt x="159" y="49"/>
                      </a:lnTo>
                      <a:lnTo>
                        <a:pt x="161" y="49"/>
                      </a:lnTo>
                      <a:lnTo>
                        <a:pt x="162" y="49"/>
                      </a:lnTo>
                      <a:lnTo>
                        <a:pt x="163" y="49"/>
                      </a:lnTo>
                      <a:lnTo>
                        <a:pt x="164" y="49"/>
                      </a:lnTo>
                      <a:lnTo>
                        <a:pt x="166" y="50"/>
                      </a:lnTo>
                      <a:lnTo>
                        <a:pt x="168" y="50"/>
                      </a:lnTo>
                      <a:lnTo>
                        <a:pt x="169" y="50"/>
                      </a:lnTo>
                      <a:lnTo>
                        <a:pt x="170" y="50"/>
                      </a:lnTo>
                      <a:lnTo>
                        <a:pt x="171" y="50"/>
                      </a:lnTo>
                      <a:lnTo>
                        <a:pt x="171" y="51"/>
                      </a:lnTo>
                      <a:lnTo>
                        <a:pt x="175" y="51"/>
                      </a:lnTo>
                      <a:lnTo>
                        <a:pt x="176" y="51"/>
                      </a:lnTo>
                      <a:lnTo>
                        <a:pt x="176" y="52"/>
                      </a:lnTo>
                      <a:lnTo>
                        <a:pt x="177" y="52"/>
                      </a:lnTo>
                      <a:lnTo>
                        <a:pt x="178" y="52"/>
                      </a:lnTo>
                      <a:lnTo>
                        <a:pt x="179" y="50"/>
                      </a:lnTo>
                      <a:lnTo>
                        <a:pt x="180" y="49"/>
                      </a:lnTo>
                      <a:lnTo>
                        <a:pt x="183" y="46"/>
                      </a:lnTo>
                      <a:lnTo>
                        <a:pt x="185" y="44"/>
                      </a:lnTo>
                      <a:lnTo>
                        <a:pt x="186" y="43"/>
                      </a:lnTo>
                      <a:lnTo>
                        <a:pt x="186" y="41"/>
                      </a:lnTo>
                      <a:lnTo>
                        <a:pt x="187" y="38"/>
                      </a:lnTo>
                      <a:lnTo>
                        <a:pt x="189" y="38"/>
                      </a:lnTo>
                      <a:lnTo>
                        <a:pt x="191" y="37"/>
                      </a:lnTo>
                      <a:lnTo>
                        <a:pt x="193" y="36"/>
                      </a:lnTo>
                      <a:lnTo>
                        <a:pt x="197" y="34"/>
                      </a:lnTo>
                      <a:lnTo>
                        <a:pt x="198" y="34"/>
                      </a:lnTo>
                      <a:lnTo>
                        <a:pt x="198" y="32"/>
                      </a:lnTo>
                      <a:lnTo>
                        <a:pt x="199" y="32"/>
                      </a:lnTo>
                      <a:lnTo>
                        <a:pt x="203" y="31"/>
                      </a:lnTo>
                      <a:lnTo>
                        <a:pt x="205" y="31"/>
                      </a:lnTo>
                      <a:lnTo>
                        <a:pt x="205" y="30"/>
                      </a:lnTo>
                      <a:lnTo>
                        <a:pt x="210" y="29"/>
                      </a:lnTo>
                      <a:lnTo>
                        <a:pt x="213" y="28"/>
                      </a:lnTo>
                      <a:lnTo>
                        <a:pt x="215" y="27"/>
                      </a:lnTo>
                      <a:lnTo>
                        <a:pt x="218" y="25"/>
                      </a:lnTo>
                      <a:lnTo>
                        <a:pt x="220" y="28"/>
                      </a:lnTo>
                      <a:lnTo>
                        <a:pt x="221" y="29"/>
                      </a:lnTo>
                      <a:lnTo>
                        <a:pt x="222" y="30"/>
                      </a:lnTo>
                      <a:lnTo>
                        <a:pt x="223" y="30"/>
                      </a:lnTo>
                      <a:lnTo>
                        <a:pt x="225" y="31"/>
                      </a:lnTo>
                      <a:lnTo>
                        <a:pt x="227" y="35"/>
                      </a:lnTo>
                      <a:lnTo>
                        <a:pt x="228" y="35"/>
                      </a:lnTo>
                      <a:lnTo>
                        <a:pt x="229" y="36"/>
                      </a:lnTo>
                      <a:lnTo>
                        <a:pt x="232" y="36"/>
                      </a:lnTo>
                      <a:lnTo>
                        <a:pt x="235" y="36"/>
                      </a:lnTo>
                      <a:lnTo>
                        <a:pt x="239" y="36"/>
                      </a:lnTo>
                      <a:lnTo>
                        <a:pt x="240" y="36"/>
                      </a:lnTo>
                      <a:lnTo>
                        <a:pt x="241" y="35"/>
                      </a:lnTo>
                      <a:lnTo>
                        <a:pt x="243" y="35"/>
                      </a:lnTo>
                      <a:lnTo>
                        <a:pt x="244" y="35"/>
                      </a:lnTo>
                      <a:lnTo>
                        <a:pt x="246" y="35"/>
                      </a:lnTo>
                      <a:lnTo>
                        <a:pt x="247" y="35"/>
                      </a:lnTo>
                      <a:lnTo>
                        <a:pt x="248" y="35"/>
                      </a:lnTo>
                      <a:lnTo>
                        <a:pt x="249" y="36"/>
                      </a:lnTo>
                      <a:lnTo>
                        <a:pt x="251" y="36"/>
                      </a:lnTo>
                      <a:lnTo>
                        <a:pt x="253" y="35"/>
                      </a:lnTo>
                      <a:lnTo>
                        <a:pt x="250" y="38"/>
                      </a:lnTo>
                      <a:lnTo>
                        <a:pt x="247" y="43"/>
                      </a:lnTo>
                      <a:lnTo>
                        <a:pt x="244" y="46"/>
                      </a:lnTo>
                      <a:lnTo>
                        <a:pt x="242" y="50"/>
                      </a:lnTo>
                      <a:lnTo>
                        <a:pt x="240" y="52"/>
                      </a:lnTo>
                      <a:lnTo>
                        <a:pt x="239" y="55"/>
                      </a:lnTo>
                      <a:lnTo>
                        <a:pt x="237" y="57"/>
                      </a:lnTo>
                      <a:lnTo>
                        <a:pt x="235" y="59"/>
                      </a:lnTo>
                      <a:lnTo>
                        <a:pt x="233" y="62"/>
                      </a:lnTo>
                      <a:lnTo>
                        <a:pt x="230" y="65"/>
                      </a:lnTo>
                      <a:lnTo>
                        <a:pt x="227" y="67"/>
                      </a:lnTo>
                      <a:lnTo>
                        <a:pt x="225" y="70"/>
                      </a:lnTo>
                      <a:lnTo>
                        <a:pt x="223" y="71"/>
                      </a:lnTo>
                      <a:lnTo>
                        <a:pt x="223" y="72"/>
                      </a:lnTo>
                      <a:lnTo>
                        <a:pt x="223" y="73"/>
                      </a:lnTo>
                      <a:lnTo>
                        <a:pt x="223" y="78"/>
                      </a:lnTo>
                      <a:lnTo>
                        <a:pt x="223" y="81"/>
                      </a:lnTo>
                      <a:lnTo>
                        <a:pt x="223" y="84"/>
                      </a:lnTo>
                      <a:lnTo>
                        <a:pt x="223" y="87"/>
                      </a:lnTo>
                      <a:lnTo>
                        <a:pt x="223" y="91"/>
                      </a:lnTo>
                      <a:lnTo>
                        <a:pt x="223" y="94"/>
                      </a:lnTo>
                      <a:lnTo>
                        <a:pt x="223" y="98"/>
                      </a:lnTo>
                      <a:lnTo>
                        <a:pt x="223" y="101"/>
                      </a:lnTo>
                      <a:lnTo>
                        <a:pt x="223" y="105"/>
                      </a:lnTo>
                      <a:lnTo>
                        <a:pt x="223" y="109"/>
                      </a:lnTo>
                      <a:lnTo>
                        <a:pt x="223" y="113"/>
                      </a:lnTo>
                      <a:lnTo>
                        <a:pt x="223" y="118"/>
                      </a:lnTo>
                      <a:lnTo>
                        <a:pt x="223" y="121"/>
                      </a:lnTo>
                      <a:lnTo>
                        <a:pt x="222" y="125"/>
                      </a:lnTo>
                      <a:lnTo>
                        <a:pt x="222" y="129"/>
                      </a:lnTo>
                      <a:lnTo>
                        <a:pt x="222" y="133"/>
                      </a:lnTo>
                      <a:lnTo>
                        <a:pt x="222" y="136"/>
                      </a:lnTo>
                      <a:lnTo>
                        <a:pt x="222" y="141"/>
                      </a:lnTo>
                      <a:lnTo>
                        <a:pt x="222" y="144"/>
                      </a:lnTo>
                      <a:lnTo>
                        <a:pt x="222" y="149"/>
                      </a:lnTo>
                      <a:lnTo>
                        <a:pt x="222" y="153"/>
                      </a:lnTo>
                      <a:lnTo>
                        <a:pt x="222" y="156"/>
                      </a:lnTo>
                      <a:lnTo>
                        <a:pt x="222" y="161"/>
                      </a:lnTo>
                      <a:lnTo>
                        <a:pt x="222" y="163"/>
                      </a:lnTo>
                      <a:lnTo>
                        <a:pt x="222" y="165"/>
                      </a:lnTo>
                      <a:lnTo>
                        <a:pt x="222" y="168"/>
                      </a:lnTo>
                      <a:lnTo>
                        <a:pt x="222" y="171"/>
                      </a:lnTo>
                      <a:lnTo>
                        <a:pt x="222" y="174"/>
                      </a:lnTo>
                      <a:lnTo>
                        <a:pt x="222" y="177"/>
                      </a:lnTo>
                      <a:lnTo>
                        <a:pt x="222" y="181"/>
                      </a:lnTo>
                      <a:lnTo>
                        <a:pt x="222" y="183"/>
                      </a:lnTo>
                      <a:lnTo>
                        <a:pt x="222" y="185"/>
                      </a:lnTo>
                      <a:lnTo>
                        <a:pt x="222" y="188"/>
                      </a:lnTo>
                      <a:lnTo>
                        <a:pt x="223" y="189"/>
                      </a:lnTo>
                      <a:lnTo>
                        <a:pt x="225" y="190"/>
                      </a:lnTo>
                      <a:lnTo>
                        <a:pt x="225" y="191"/>
                      </a:lnTo>
                      <a:lnTo>
                        <a:pt x="226" y="192"/>
                      </a:lnTo>
                      <a:lnTo>
                        <a:pt x="227" y="195"/>
                      </a:lnTo>
                      <a:lnTo>
                        <a:pt x="229" y="196"/>
                      </a:lnTo>
                      <a:lnTo>
                        <a:pt x="230" y="198"/>
                      </a:lnTo>
                      <a:lnTo>
                        <a:pt x="233" y="200"/>
                      </a:lnTo>
                      <a:lnTo>
                        <a:pt x="234" y="203"/>
                      </a:lnTo>
                      <a:lnTo>
                        <a:pt x="235" y="204"/>
                      </a:lnTo>
                      <a:lnTo>
                        <a:pt x="237" y="206"/>
                      </a:lnTo>
                      <a:lnTo>
                        <a:pt x="239" y="209"/>
                      </a:lnTo>
                      <a:lnTo>
                        <a:pt x="240" y="210"/>
                      </a:lnTo>
                      <a:lnTo>
                        <a:pt x="240" y="211"/>
                      </a:lnTo>
                      <a:lnTo>
                        <a:pt x="240" y="213"/>
                      </a:lnTo>
                      <a:lnTo>
                        <a:pt x="240" y="214"/>
                      </a:lnTo>
                      <a:lnTo>
                        <a:pt x="237" y="217"/>
                      </a:lnTo>
                      <a:lnTo>
                        <a:pt x="236" y="218"/>
                      </a:lnTo>
                      <a:lnTo>
                        <a:pt x="236" y="219"/>
                      </a:lnTo>
                      <a:lnTo>
                        <a:pt x="234" y="220"/>
                      </a:lnTo>
                      <a:lnTo>
                        <a:pt x="233" y="223"/>
                      </a:lnTo>
                      <a:lnTo>
                        <a:pt x="232" y="223"/>
                      </a:lnTo>
                      <a:lnTo>
                        <a:pt x="232" y="221"/>
                      </a:lnTo>
                      <a:lnTo>
                        <a:pt x="230" y="223"/>
                      </a:lnTo>
                      <a:lnTo>
                        <a:pt x="230" y="221"/>
                      </a:lnTo>
                      <a:lnTo>
                        <a:pt x="229" y="221"/>
                      </a:lnTo>
                      <a:lnTo>
                        <a:pt x="229" y="223"/>
                      </a:lnTo>
                      <a:lnTo>
                        <a:pt x="229" y="224"/>
                      </a:lnTo>
                      <a:lnTo>
                        <a:pt x="228" y="223"/>
                      </a:lnTo>
                      <a:lnTo>
                        <a:pt x="227" y="223"/>
                      </a:lnTo>
                      <a:lnTo>
                        <a:pt x="226" y="223"/>
                      </a:lnTo>
                      <a:lnTo>
                        <a:pt x="226" y="224"/>
                      </a:lnTo>
                      <a:lnTo>
                        <a:pt x="225" y="224"/>
                      </a:lnTo>
                      <a:lnTo>
                        <a:pt x="225" y="225"/>
                      </a:lnTo>
                      <a:lnTo>
                        <a:pt x="223" y="225"/>
                      </a:lnTo>
                      <a:lnTo>
                        <a:pt x="222" y="225"/>
                      </a:lnTo>
                      <a:lnTo>
                        <a:pt x="222" y="224"/>
                      </a:lnTo>
                      <a:lnTo>
                        <a:pt x="222" y="223"/>
                      </a:lnTo>
                      <a:lnTo>
                        <a:pt x="222" y="221"/>
                      </a:lnTo>
                      <a:lnTo>
                        <a:pt x="223" y="220"/>
                      </a:lnTo>
                      <a:lnTo>
                        <a:pt x="222" y="221"/>
                      </a:lnTo>
                      <a:lnTo>
                        <a:pt x="222" y="225"/>
                      </a:lnTo>
                      <a:lnTo>
                        <a:pt x="221" y="226"/>
                      </a:lnTo>
                      <a:lnTo>
                        <a:pt x="221" y="225"/>
                      </a:lnTo>
                      <a:lnTo>
                        <a:pt x="220" y="224"/>
                      </a:lnTo>
                      <a:lnTo>
                        <a:pt x="220" y="223"/>
                      </a:lnTo>
                      <a:lnTo>
                        <a:pt x="219" y="223"/>
                      </a:lnTo>
                      <a:lnTo>
                        <a:pt x="219" y="224"/>
                      </a:lnTo>
                      <a:lnTo>
                        <a:pt x="220" y="224"/>
                      </a:lnTo>
                      <a:lnTo>
                        <a:pt x="220" y="225"/>
                      </a:lnTo>
                      <a:lnTo>
                        <a:pt x="220" y="226"/>
                      </a:lnTo>
                      <a:lnTo>
                        <a:pt x="220" y="228"/>
                      </a:lnTo>
                      <a:lnTo>
                        <a:pt x="220" y="230"/>
                      </a:lnTo>
                      <a:lnTo>
                        <a:pt x="221" y="231"/>
                      </a:lnTo>
                      <a:lnTo>
                        <a:pt x="222" y="231"/>
                      </a:lnTo>
                      <a:lnTo>
                        <a:pt x="222" y="232"/>
                      </a:lnTo>
                      <a:lnTo>
                        <a:pt x="221" y="233"/>
                      </a:lnTo>
                      <a:lnTo>
                        <a:pt x="220" y="233"/>
                      </a:lnTo>
                      <a:lnTo>
                        <a:pt x="221" y="232"/>
                      </a:lnTo>
                      <a:lnTo>
                        <a:pt x="220" y="231"/>
                      </a:lnTo>
                      <a:lnTo>
                        <a:pt x="219" y="231"/>
                      </a:lnTo>
                      <a:lnTo>
                        <a:pt x="220" y="231"/>
                      </a:lnTo>
                      <a:lnTo>
                        <a:pt x="219" y="231"/>
                      </a:lnTo>
                      <a:lnTo>
                        <a:pt x="218" y="231"/>
                      </a:lnTo>
                      <a:lnTo>
                        <a:pt x="218" y="232"/>
                      </a:lnTo>
                      <a:lnTo>
                        <a:pt x="216" y="233"/>
                      </a:lnTo>
                      <a:lnTo>
                        <a:pt x="216" y="232"/>
                      </a:lnTo>
                      <a:lnTo>
                        <a:pt x="216" y="233"/>
                      </a:lnTo>
                      <a:lnTo>
                        <a:pt x="216" y="234"/>
                      </a:lnTo>
                      <a:lnTo>
                        <a:pt x="218" y="234"/>
                      </a:lnTo>
                      <a:lnTo>
                        <a:pt x="218" y="235"/>
                      </a:lnTo>
                      <a:lnTo>
                        <a:pt x="216" y="237"/>
                      </a:lnTo>
                      <a:lnTo>
                        <a:pt x="215" y="238"/>
                      </a:lnTo>
                      <a:lnTo>
                        <a:pt x="214" y="238"/>
                      </a:lnTo>
                      <a:lnTo>
                        <a:pt x="212" y="240"/>
                      </a:lnTo>
                      <a:lnTo>
                        <a:pt x="211" y="241"/>
                      </a:lnTo>
                      <a:lnTo>
                        <a:pt x="210" y="240"/>
                      </a:lnTo>
                      <a:lnTo>
                        <a:pt x="208" y="240"/>
                      </a:lnTo>
                      <a:lnTo>
                        <a:pt x="207" y="240"/>
                      </a:lnTo>
                      <a:lnTo>
                        <a:pt x="204" y="241"/>
                      </a:lnTo>
                      <a:lnTo>
                        <a:pt x="203" y="242"/>
                      </a:lnTo>
                      <a:lnTo>
                        <a:pt x="201" y="242"/>
                      </a:lnTo>
                      <a:lnTo>
                        <a:pt x="200" y="242"/>
                      </a:lnTo>
                      <a:lnTo>
                        <a:pt x="199" y="244"/>
                      </a:lnTo>
                      <a:lnTo>
                        <a:pt x="199" y="245"/>
                      </a:lnTo>
                      <a:lnTo>
                        <a:pt x="198" y="245"/>
                      </a:lnTo>
                      <a:lnTo>
                        <a:pt x="198" y="246"/>
                      </a:lnTo>
                      <a:lnTo>
                        <a:pt x="197" y="247"/>
                      </a:lnTo>
                      <a:lnTo>
                        <a:pt x="197" y="248"/>
                      </a:lnTo>
                      <a:lnTo>
                        <a:pt x="198" y="249"/>
                      </a:lnTo>
                      <a:lnTo>
                        <a:pt x="197" y="249"/>
                      </a:lnTo>
                      <a:lnTo>
                        <a:pt x="197" y="252"/>
                      </a:lnTo>
                      <a:lnTo>
                        <a:pt x="197" y="253"/>
                      </a:lnTo>
                      <a:lnTo>
                        <a:pt x="197" y="254"/>
                      </a:lnTo>
                      <a:lnTo>
                        <a:pt x="198" y="254"/>
                      </a:lnTo>
                      <a:lnTo>
                        <a:pt x="199" y="254"/>
                      </a:lnTo>
                      <a:lnTo>
                        <a:pt x="198" y="254"/>
                      </a:lnTo>
                      <a:lnTo>
                        <a:pt x="198" y="255"/>
                      </a:lnTo>
                      <a:lnTo>
                        <a:pt x="197" y="256"/>
                      </a:lnTo>
                      <a:lnTo>
                        <a:pt x="197" y="259"/>
                      </a:lnTo>
                      <a:lnTo>
                        <a:pt x="196" y="259"/>
                      </a:lnTo>
                      <a:lnTo>
                        <a:pt x="196" y="261"/>
                      </a:lnTo>
                      <a:lnTo>
                        <a:pt x="196" y="262"/>
                      </a:lnTo>
                      <a:lnTo>
                        <a:pt x="196" y="263"/>
                      </a:lnTo>
                      <a:lnTo>
                        <a:pt x="194" y="263"/>
                      </a:lnTo>
                      <a:lnTo>
                        <a:pt x="194" y="265"/>
                      </a:lnTo>
                      <a:lnTo>
                        <a:pt x="192" y="265"/>
                      </a:lnTo>
                      <a:lnTo>
                        <a:pt x="192" y="266"/>
                      </a:lnTo>
                      <a:lnTo>
                        <a:pt x="191" y="266"/>
                      </a:lnTo>
                      <a:lnTo>
                        <a:pt x="191" y="267"/>
                      </a:lnTo>
                      <a:lnTo>
                        <a:pt x="190" y="267"/>
                      </a:lnTo>
                      <a:lnTo>
                        <a:pt x="191" y="266"/>
                      </a:lnTo>
                      <a:lnTo>
                        <a:pt x="191" y="265"/>
                      </a:lnTo>
                      <a:lnTo>
                        <a:pt x="190" y="265"/>
                      </a:lnTo>
                      <a:lnTo>
                        <a:pt x="190" y="266"/>
                      </a:lnTo>
                      <a:lnTo>
                        <a:pt x="190" y="267"/>
                      </a:lnTo>
                      <a:lnTo>
                        <a:pt x="190" y="268"/>
                      </a:lnTo>
                      <a:lnTo>
                        <a:pt x="189" y="270"/>
                      </a:lnTo>
                      <a:lnTo>
                        <a:pt x="189" y="272"/>
                      </a:lnTo>
                      <a:lnTo>
                        <a:pt x="187" y="273"/>
                      </a:lnTo>
                      <a:lnTo>
                        <a:pt x="187" y="274"/>
                      </a:lnTo>
                      <a:lnTo>
                        <a:pt x="186" y="274"/>
                      </a:lnTo>
                      <a:lnTo>
                        <a:pt x="185" y="273"/>
                      </a:lnTo>
                      <a:lnTo>
                        <a:pt x="184" y="273"/>
                      </a:lnTo>
                      <a:lnTo>
                        <a:pt x="185" y="273"/>
                      </a:lnTo>
                      <a:lnTo>
                        <a:pt x="184" y="273"/>
                      </a:lnTo>
                      <a:lnTo>
                        <a:pt x="184" y="274"/>
                      </a:lnTo>
                      <a:lnTo>
                        <a:pt x="185" y="274"/>
                      </a:lnTo>
                      <a:lnTo>
                        <a:pt x="185" y="275"/>
                      </a:lnTo>
                      <a:lnTo>
                        <a:pt x="186" y="274"/>
                      </a:lnTo>
                      <a:lnTo>
                        <a:pt x="186" y="275"/>
                      </a:lnTo>
                      <a:lnTo>
                        <a:pt x="187" y="275"/>
                      </a:lnTo>
                      <a:lnTo>
                        <a:pt x="187" y="276"/>
                      </a:lnTo>
                      <a:lnTo>
                        <a:pt x="184" y="283"/>
                      </a:lnTo>
                      <a:lnTo>
                        <a:pt x="184" y="284"/>
                      </a:lnTo>
                      <a:lnTo>
                        <a:pt x="183" y="284"/>
                      </a:lnTo>
                      <a:lnTo>
                        <a:pt x="182" y="284"/>
                      </a:lnTo>
                      <a:lnTo>
                        <a:pt x="182" y="283"/>
                      </a:lnTo>
                      <a:lnTo>
                        <a:pt x="182" y="284"/>
                      </a:lnTo>
                      <a:lnTo>
                        <a:pt x="182" y="286"/>
                      </a:lnTo>
                      <a:lnTo>
                        <a:pt x="183" y="286"/>
                      </a:lnTo>
                      <a:lnTo>
                        <a:pt x="183" y="287"/>
                      </a:lnTo>
                      <a:lnTo>
                        <a:pt x="182" y="287"/>
                      </a:lnTo>
                      <a:lnTo>
                        <a:pt x="182" y="288"/>
                      </a:lnTo>
                      <a:lnTo>
                        <a:pt x="180" y="288"/>
                      </a:lnTo>
                      <a:lnTo>
                        <a:pt x="180" y="287"/>
                      </a:lnTo>
                      <a:lnTo>
                        <a:pt x="180" y="286"/>
                      </a:lnTo>
                      <a:lnTo>
                        <a:pt x="179" y="286"/>
                      </a:lnTo>
                      <a:lnTo>
                        <a:pt x="178" y="286"/>
                      </a:lnTo>
                      <a:lnTo>
                        <a:pt x="179" y="286"/>
                      </a:lnTo>
                      <a:lnTo>
                        <a:pt x="179" y="287"/>
                      </a:lnTo>
                      <a:lnTo>
                        <a:pt x="178" y="287"/>
                      </a:lnTo>
                      <a:lnTo>
                        <a:pt x="177" y="287"/>
                      </a:lnTo>
                      <a:lnTo>
                        <a:pt x="177" y="288"/>
                      </a:lnTo>
                      <a:lnTo>
                        <a:pt x="177" y="289"/>
                      </a:lnTo>
                      <a:lnTo>
                        <a:pt x="178" y="288"/>
                      </a:lnTo>
                      <a:lnTo>
                        <a:pt x="179" y="288"/>
                      </a:lnTo>
                      <a:lnTo>
                        <a:pt x="180" y="288"/>
                      </a:lnTo>
                      <a:lnTo>
                        <a:pt x="180" y="289"/>
                      </a:lnTo>
                      <a:lnTo>
                        <a:pt x="180" y="290"/>
                      </a:lnTo>
                      <a:lnTo>
                        <a:pt x="179" y="293"/>
                      </a:lnTo>
                      <a:lnTo>
                        <a:pt x="178" y="295"/>
                      </a:lnTo>
                      <a:lnTo>
                        <a:pt x="177" y="298"/>
                      </a:lnTo>
                      <a:lnTo>
                        <a:pt x="177" y="300"/>
                      </a:lnTo>
                      <a:lnTo>
                        <a:pt x="176" y="300"/>
                      </a:lnTo>
                      <a:lnTo>
                        <a:pt x="176" y="301"/>
                      </a:lnTo>
                      <a:lnTo>
                        <a:pt x="175" y="301"/>
                      </a:lnTo>
                      <a:lnTo>
                        <a:pt x="173" y="304"/>
                      </a:lnTo>
                      <a:lnTo>
                        <a:pt x="173" y="303"/>
                      </a:lnTo>
                      <a:lnTo>
                        <a:pt x="172" y="303"/>
                      </a:lnTo>
                      <a:lnTo>
                        <a:pt x="172" y="304"/>
                      </a:lnTo>
                      <a:lnTo>
                        <a:pt x="171" y="304"/>
                      </a:lnTo>
                      <a:lnTo>
                        <a:pt x="171" y="305"/>
                      </a:lnTo>
                      <a:lnTo>
                        <a:pt x="172" y="305"/>
                      </a:lnTo>
                      <a:lnTo>
                        <a:pt x="171" y="307"/>
                      </a:lnTo>
                      <a:lnTo>
                        <a:pt x="170" y="305"/>
                      </a:lnTo>
                      <a:lnTo>
                        <a:pt x="169" y="305"/>
                      </a:lnTo>
                      <a:lnTo>
                        <a:pt x="168" y="305"/>
                      </a:lnTo>
                      <a:lnTo>
                        <a:pt x="166" y="305"/>
                      </a:lnTo>
                      <a:lnTo>
                        <a:pt x="166" y="307"/>
                      </a:lnTo>
                      <a:lnTo>
                        <a:pt x="165" y="308"/>
                      </a:lnTo>
                      <a:lnTo>
                        <a:pt x="163" y="305"/>
                      </a:lnTo>
                      <a:lnTo>
                        <a:pt x="159" y="303"/>
                      </a:lnTo>
                      <a:lnTo>
                        <a:pt x="157" y="302"/>
                      </a:lnTo>
                      <a:lnTo>
                        <a:pt x="155" y="300"/>
                      </a:lnTo>
                      <a:lnTo>
                        <a:pt x="152" y="297"/>
                      </a:lnTo>
                      <a:lnTo>
                        <a:pt x="149" y="296"/>
                      </a:lnTo>
                      <a:lnTo>
                        <a:pt x="147" y="294"/>
                      </a:lnTo>
                      <a:lnTo>
                        <a:pt x="144" y="291"/>
                      </a:lnTo>
                      <a:lnTo>
                        <a:pt x="141" y="290"/>
                      </a:lnTo>
                      <a:lnTo>
                        <a:pt x="139" y="288"/>
                      </a:lnTo>
                      <a:lnTo>
                        <a:pt x="136" y="286"/>
                      </a:lnTo>
                      <a:lnTo>
                        <a:pt x="133" y="284"/>
                      </a:lnTo>
                      <a:lnTo>
                        <a:pt x="130" y="282"/>
                      </a:lnTo>
                      <a:lnTo>
                        <a:pt x="128" y="280"/>
                      </a:lnTo>
                      <a:lnTo>
                        <a:pt x="125" y="279"/>
                      </a:lnTo>
                      <a:lnTo>
                        <a:pt x="122" y="276"/>
                      </a:lnTo>
                      <a:lnTo>
                        <a:pt x="121" y="275"/>
                      </a:lnTo>
                      <a:lnTo>
                        <a:pt x="120" y="274"/>
                      </a:lnTo>
                      <a:lnTo>
                        <a:pt x="120" y="272"/>
                      </a:lnTo>
                      <a:lnTo>
                        <a:pt x="119" y="272"/>
                      </a:lnTo>
                      <a:lnTo>
                        <a:pt x="119" y="270"/>
                      </a:lnTo>
                      <a:lnTo>
                        <a:pt x="118" y="270"/>
                      </a:lnTo>
                      <a:lnTo>
                        <a:pt x="116" y="270"/>
                      </a:lnTo>
                      <a:lnTo>
                        <a:pt x="115" y="270"/>
                      </a:lnTo>
                      <a:lnTo>
                        <a:pt x="115" y="269"/>
                      </a:lnTo>
                      <a:lnTo>
                        <a:pt x="115" y="268"/>
                      </a:lnTo>
                      <a:lnTo>
                        <a:pt x="114" y="268"/>
                      </a:lnTo>
                      <a:lnTo>
                        <a:pt x="115" y="268"/>
                      </a:lnTo>
                      <a:lnTo>
                        <a:pt x="115" y="267"/>
                      </a:lnTo>
                      <a:lnTo>
                        <a:pt x="116" y="266"/>
                      </a:lnTo>
                      <a:lnTo>
                        <a:pt x="118" y="266"/>
                      </a:lnTo>
                      <a:lnTo>
                        <a:pt x="118" y="265"/>
                      </a:lnTo>
                      <a:lnTo>
                        <a:pt x="119" y="265"/>
                      </a:lnTo>
                      <a:lnTo>
                        <a:pt x="118" y="260"/>
                      </a:lnTo>
                      <a:lnTo>
                        <a:pt x="118" y="256"/>
                      </a:lnTo>
                      <a:lnTo>
                        <a:pt x="116" y="255"/>
                      </a:lnTo>
                      <a:lnTo>
                        <a:pt x="114" y="254"/>
                      </a:lnTo>
                      <a:lnTo>
                        <a:pt x="109" y="252"/>
                      </a:lnTo>
                      <a:lnTo>
                        <a:pt x="107" y="251"/>
                      </a:lnTo>
                      <a:lnTo>
                        <a:pt x="100" y="247"/>
                      </a:lnTo>
                      <a:lnTo>
                        <a:pt x="94" y="242"/>
                      </a:lnTo>
                      <a:lnTo>
                        <a:pt x="87" y="239"/>
                      </a:lnTo>
                      <a:lnTo>
                        <a:pt x="80" y="235"/>
                      </a:lnTo>
                      <a:lnTo>
                        <a:pt x="73" y="232"/>
                      </a:lnTo>
                      <a:lnTo>
                        <a:pt x="66" y="227"/>
                      </a:lnTo>
                      <a:lnTo>
                        <a:pt x="61" y="224"/>
                      </a:lnTo>
                      <a:lnTo>
                        <a:pt x="54" y="220"/>
                      </a:lnTo>
                      <a:lnTo>
                        <a:pt x="47" y="216"/>
                      </a:lnTo>
                      <a:lnTo>
                        <a:pt x="41" y="213"/>
                      </a:lnTo>
                      <a:lnTo>
                        <a:pt x="40" y="212"/>
                      </a:lnTo>
                      <a:lnTo>
                        <a:pt x="33" y="209"/>
                      </a:lnTo>
                      <a:lnTo>
                        <a:pt x="26" y="205"/>
                      </a:lnTo>
                      <a:lnTo>
                        <a:pt x="24" y="204"/>
                      </a:lnTo>
                      <a:lnTo>
                        <a:pt x="20" y="200"/>
                      </a:lnTo>
                      <a:lnTo>
                        <a:pt x="13" y="197"/>
                      </a:lnTo>
                      <a:lnTo>
                        <a:pt x="6" y="193"/>
                      </a:lnTo>
                      <a:lnTo>
                        <a:pt x="5" y="192"/>
                      </a:lnTo>
                      <a:lnTo>
                        <a:pt x="4" y="192"/>
                      </a:lnTo>
                      <a:lnTo>
                        <a:pt x="5" y="191"/>
                      </a:lnTo>
                      <a:lnTo>
                        <a:pt x="4" y="191"/>
                      </a:lnTo>
                      <a:lnTo>
                        <a:pt x="5" y="190"/>
                      </a:lnTo>
                      <a:lnTo>
                        <a:pt x="6" y="191"/>
                      </a:lnTo>
                      <a:lnTo>
                        <a:pt x="6" y="190"/>
                      </a:lnTo>
                      <a:lnTo>
                        <a:pt x="6" y="189"/>
                      </a:lnTo>
                      <a:lnTo>
                        <a:pt x="6" y="188"/>
                      </a:lnTo>
                      <a:lnTo>
                        <a:pt x="7" y="188"/>
                      </a:lnTo>
                      <a:lnTo>
                        <a:pt x="8" y="186"/>
                      </a:lnTo>
                      <a:lnTo>
                        <a:pt x="7" y="185"/>
                      </a:lnTo>
                      <a:lnTo>
                        <a:pt x="6" y="185"/>
                      </a:lnTo>
                      <a:lnTo>
                        <a:pt x="5" y="184"/>
                      </a:lnTo>
                      <a:lnTo>
                        <a:pt x="4" y="183"/>
                      </a:lnTo>
                      <a:lnTo>
                        <a:pt x="4" y="182"/>
                      </a:lnTo>
                      <a:lnTo>
                        <a:pt x="4" y="179"/>
                      </a:lnTo>
                      <a:lnTo>
                        <a:pt x="4" y="178"/>
                      </a:lnTo>
                      <a:lnTo>
                        <a:pt x="5" y="178"/>
                      </a:lnTo>
                      <a:lnTo>
                        <a:pt x="5" y="177"/>
                      </a:lnTo>
                      <a:lnTo>
                        <a:pt x="4" y="177"/>
                      </a:lnTo>
                      <a:lnTo>
                        <a:pt x="5" y="177"/>
                      </a:lnTo>
                      <a:lnTo>
                        <a:pt x="5" y="176"/>
                      </a:lnTo>
                      <a:lnTo>
                        <a:pt x="6" y="176"/>
                      </a:lnTo>
                      <a:lnTo>
                        <a:pt x="7" y="176"/>
                      </a:lnTo>
                      <a:lnTo>
                        <a:pt x="7" y="174"/>
                      </a:lnTo>
                      <a:lnTo>
                        <a:pt x="8" y="172"/>
                      </a:lnTo>
                      <a:lnTo>
                        <a:pt x="9" y="172"/>
                      </a:lnTo>
                      <a:lnTo>
                        <a:pt x="8" y="172"/>
                      </a:lnTo>
                      <a:lnTo>
                        <a:pt x="9" y="172"/>
                      </a:lnTo>
                      <a:lnTo>
                        <a:pt x="11" y="174"/>
                      </a:lnTo>
                      <a:lnTo>
                        <a:pt x="12" y="175"/>
                      </a:lnTo>
                      <a:lnTo>
                        <a:pt x="12" y="174"/>
                      </a:lnTo>
                      <a:lnTo>
                        <a:pt x="13" y="174"/>
                      </a:lnTo>
                      <a:lnTo>
                        <a:pt x="13" y="175"/>
                      </a:lnTo>
                      <a:lnTo>
                        <a:pt x="13" y="174"/>
                      </a:lnTo>
                      <a:lnTo>
                        <a:pt x="14" y="174"/>
                      </a:lnTo>
                      <a:lnTo>
                        <a:pt x="13" y="174"/>
                      </a:lnTo>
                      <a:lnTo>
                        <a:pt x="14" y="174"/>
                      </a:lnTo>
                      <a:lnTo>
                        <a:pt x="15" y="174"/>
                      </a:lnTo>
                      <a:lnTo>
                        <a:pt x="15" y="175"/>
                      </a:lnTo>
                      <a:lnTo>
                        <a:pt x="15" y="176"/>
                      </a:lnTo>
                      <a:lnTo>
                        <a:pt x="16" y="175"/>
                      </a:lnTo>
                      <a:lnTo>
                        <a:pt x="18" y="175"/>
                      </a:lnTo>
                      <a:lnTo>
                        <a:pt x="18" y="174"/>
                      </a:lnTo>
                      <a:lnTo>
                        <a:pt x="16" y="172"/>
                      </a:lnTo>
                      <a:lnTo>
                        <a:pt x="16" y="171"/>
                      </a:lnTo>
                      <a:lnTo>
                        <a:pt x="16" y="170"/>
                      </a:lnTo>
                      <a:lnTo>
                        <a:pt x="18" y="170"/>
                      </a:lnTo>
                      <a:lnTo>
                        <a:pt x="19" y="169"/>
                      </a:lnTo>
                      <a:lnTo>
                        <a:pt x="20" y="169"/>
                      </a:lnTo>
                      <a:lnTo>
                        <a:pt x="20" y="170"/>
                      </a:lnTo>
                      <a:lnTo>
                        <a:pt x="21" y="170"/>
                      </a:lnTo>
                      <a:lnTo>
                        <a:pt x="23" y="170"/>
                      </a:lnTo>
                      <a:lnTo>
                        <a:pt x="26" y="170"/>
                      </a:lnTo>
                      <a:lnTo>
                        <a:pt x="26" y="169"/>
                      </a:lnTo>
                      <a:lnTo>
                        <a:pt x="26" y="168"/>
                      </a:lnTo>
                      <a:lnTo>
                        <a:pt x="27" y="169"/>
                      </a:lnTo>
                      <a:lnTo>
                        <a:pt x="27" y="168"/>
                      </a:lnTo>
                      <a:lnTo>
                        <a:pt x="28" y="169"/>
                      </a:lnTo>
                      <a:lnTo>
                        <a:pt x="29" y="169"/>
                      </a:lnTo>
                      <a:lnTo>
                        <a:pt x="29" y="168"/>
                      </a:lnTo>
                      <a:lnTo>
                        <a:pt x="28" y="168"/>
                      </a:lnTo>
                      <a:lnTo>
                        <a:pt x="27" y="165"/>
                      </a:lnTo>
                      <a:lnTo>
                        <a:pt x="26" y="164"/>
                      </a:lnTo>
                      <a:lnTo>
                        <a:pt x="26" y="163"/>
                      </a:lnTo>
                      <a:lnTo>
                        <a:pt x="26" y="162"/>
                      </a:lnTo>
                      <a:lnTo>
                        <a:pt x="24" y="162"/>
                      </a:lnTo>
                      <a:lnTo>
                        <a:pt x="23" y="162"/>
                      </a:lnTo>
                      <a:lnTo>
                        <a:pt x="23" y="163"/>
                      </a:lnTo>
                      <a:lnTo>
                        <a:pt x="22" y="163"/>
                      </a:lnTo>
                      <a:lnTo>
                        <a:pt x="21" y="163"/>
                      </a:lnTo>
                      <a:lnTo>
                        <a:pt x="20" y="164"/>
                      </a:lnTo>
                      <a:lnTo>
                        <a:pt x="19" y="164"/>
                      </a:lnTo>
                      <a:lnTo>
                        <a:pt x="18" y="165"/>
                      </a:lnTo>
                      <a:lnTo>
                        <a:pt x="16" y="164"/>
                      </a:lnTo>
                      <a:lnTo>
                        <a:pt x="15" y="165"/>
                      </a:lnTo>
                      <a:lnTo>
                        <a:pt x="14" y="164"/>
                      </a:lnTo>
                      <a:lnTo>
                        <a:pt x="13" y="164"/>
                      </a:lnTo>
                      <a:lnTo>
                        <a:pt x="13" y="165"/>
                      </a:lnTo>
                      <a:lnTo>
                        <a:pt x="13" y="167"/>
                      </a:lnTo>
                      <a:lnTo>
                        <a:pt x="14" y="167"/>
                      </a:lnTo>
                      <a:lnTo>
                        <a:pt x="14" y="168"/>
                      </a:lnTo>
                      <a:lnTo>
                        <a:pt x="14" y="169"/>
                      </a:lnTo>
                      <a:lnTo>
                        <a:pt x="12" y="170"/>
                      </a:lnTo>
                      <a:lnTo>
                        <a:pt x="12" y="171"/>
                      </a:lnTo>
                      <a:lnTo>
                        <a:pt x="11" y="171"/>
                      </a:lnTo>
                      <a:lnTo>
                        <a:pt x="11" y="170"/>
                      </a:lnTo>
                      <a:lnTo>
                        <a:pt x="9" y="169"/>
                      </a:lnTo>
                      <a:lnTo>
                        <a:pt x="11" y="169"/>
                      </a:lnTo>
                      <a:lnTo>
                        <a:pt x="9" y="169"/>
                      </a:lnTo>
                      <a:lnTo>
                        <a:pt x="11" y="168"/>
                      </a:lnTo>
                      <a:lnTo>
                        <a:pt x="9" y="167"/>
                      </a:lnTo>
                      <a:lnTo>
                        <a:pt x="8" y="167"/>
                      </a:lnTo>
                      <a:lnTo>
                        <a:pt x="8" y="165"/>
                      </a:lnTo>
                      <a:lnTo>
                        <a:pt x="7" y="165"/>
                      </a:lnTo>
                      <a:lnTo>
                        <a:pt x="6" y="165"/>
                      </a:lnTo>
                      <a:lnTo>
                        <a:pt x="5" y="164"/>
                      </a:lnTo>
                      <a:lnTo>
                        <a:pt x="5" y="163"/>
                      </a:lnTo>
                      <a:lnTo>
                        <a:pt x="6" y="163"/>
                      </a:lnTo>
                      <a:lnTo>
                        <a:pt x="6" y="162"/>
                      </a:lnTo>
                      <a:lnTo>
                        <a:pt x="6" y="161"/>
                      </a:lnTo>
                      <a:lnTo>
                        <a:pt x="5" y="161"/>
                      </a:lnTo>
                      <a:lnTo>
                        <a:pt x="4" y="162"/>
                      </a:lnTo>
                      <a:lnTo>
                        <a:pt x="5" y="162"/>
                      </a:lnTo>
                      <a:lnTo>
                        <a:pt x="4" y="162"/>
                      </a:lnTo>
                      <a:lnTo>
                        <a:pt x="2" y="162"/>
                      </a:lnTo>
                      <a:lnTo>
                        <a:pt x="2" y="161"/>
                      </a:lnTo>
                      <a:lnTo>
                        <a:pt x="2" y="160"/>
                      </a:lnTo>
                      <a:lnTo>
                        <a:pt x="1" y="158"/>
                      </a:lnTo>
                      <a:lnTo>
                        <a:pt x="1" y="157"/>
                      </a:lnTo>
                      <a:lnTo>
                        <a:pt x="0" y="157"/>
                      </a:lnTo>
                      <a:lnTo>
                        <a:pt x="0" y="156"/>
                      </a:lnTo>
                      <a:lnTo>
                        <a:pt x="1" y="156"/>
                      </a:lnTo>
                      <a:lnTo>
                        <a:pt x="1" y="155"/>
                      </a:lnTo>
                      <a:lnTo>
                        <a:pt x="1" y="154"/>
                      </a:lnTo>
                      <a:lnTo>
                        <a:pt x="2" y="153"/>
                      </a:lnTo>
                      <a:lnTo>
                        <a:pt x="2" y="151"/>
                      </a:lnTo>
                      <a:lnTo>
                        <a:pt x="4" y="149"/>
                      </a:lnTo>
                      <a:lnTo>
                        <a:pt x="5" y="149"/>
                      </a:lnTo>
                      <a:lnTo>
                        <a:pt x="5" y="148"/>
                      </a:lnTo>
                      <a:lnTo>
                        <a:pt x="5" y="147"/>
                      </a:lnTo>
                      <a:lnTo>
                        <a:pt x="5" y="146"/>
                      </a:lnTo>
                      <a:lnTo>
                        <a:pt x="5" y="144"/>
                      </a:lnTo>
                      <a:lnTo>
                        <a:pt x="6" y="144"/>
                      </a:lnTo>
                      <a:lnTo>
                        <a:pt x="6" y="141"/>
                      </a:lnTo>
                      <a:lnTo>
                        <a:pt x="7" y="140"/>
                      </a:lnTo>
                      <a:lnTo>
                        <a:pt x="8" y="140"/>
                      </a:lnTo>
                      <a:lnTo>
                        <a:pt x="9" y="139"/>
                      </a:lnTo>
                      <a:lnTo>
                        <a:pt x="11" y="139"/>
                      </a:lnTo>
                      <a:lnTo>
                        <a:pt x="11" y="137"/>
                      </a:lnTo>
                      <a:lnTo>
                        <a:pt x="12" y="136"/>
                      </a:lnTo>
                      <a:lnTo>
                        <a:pt x="12" y="135"/>
                      </a:lnTo>
                      <a:lnTo>
                        <a:pt x="14" y="134"/>
                      </a:lnTo>
                      <a:lnTo>
                        <a:pt x="15" y="132"/>
                      </a:lnTo>
                      <a:lnTo>
                        <a:pt x="16" y="130"/>
                      </a:lnTo>
                      <a:lnTo>
                        <a:pt x="16" y="129"/>
                      </a:lnTo>
                      <a:lnTo>
                        <a:pt x="16" y="128"/>
                      </a:lnTo>
                      <a:lnTo>
                        <a:pt x="16" y="127"/>
                      </a:lnTo>
                      <a:lnTo>
                        <a:pt x="18" y="126"/>
                      </a:lnTo>
                      <a:lnTo>
                        <a:pt x="18" y="125"/>
                      </a:lnTo>
                      <a:lnTo>
                        <a:pt x="19" y="125"/>
                      </a:lnTo>
                      <a:lnTo>
                        <a:pt x="20" y="125"/>
                      </a:lnTo>
                      <a:lnTo>
                        <a:pt x="20" y="123"/>
                      </a:lnTo>
                      <a:lnTo>
                        <a:pt x="21" y="122"/>
                      </a:lnTo>
                      <a:lnTo>
                        <a:pt x="22" y="122"/>
                      </a:lnTo>
                      <a:lnTo>
                        <a:pt x="23" y="121"/>
                      </a:lnTo>
                      <a:lnTo>
                        <a:pt x="27" y="121"/>
                      </a:lnTo>
                      <a:lnTo>
                        <a:pt x="28" y="120"/>
                      </a:lnTo>
                      <a:lnTo>
                        <a:pt x="28" y="119"/>
                      </a:lnTo>
                      <a:lnTo>
                        <a:pt x="28" y="118"/>
                      </a:lnTo>
                      <a:lnTo>
                        <a:pt x="27" y="116"/>
                      </a:lnTo>
                      <a:lnTo>
                        <a:pt x="27" y="115"/>
                      </a:lnTo>
                      <a:lnTo>
                        <a:pt x="29" y="114"/>
                      </a:lnTo>
                      <a:lnTo>
                        <a:pt x="29" y="112"/>
                      </a:lnTo>
                      <a:lnTo>
                        <a:pt x="30" y="111"/>
                      </a:lnTo>
                      <a:lnTo>
                        <a:pt x="31" y="109"/>
                      </a:lnTo>
                      <a:lnTo>
                        <a:pt x="33" y="107"/>
                      </a:lnTo>
                      <a:lnTo>
                        <a:pt x="34" y="106"/>
                      </a:lnTo>
                      <a:lnTo>
                        <a:pt x="34" y="100"/>
                      </a:lnTo>
                      <a:lnTo>
                        <a:pt x="34" y="99"/>
                      </a:lnTo>
                      <a:lnTo>
                        <a:pt x="34" y="98"/>
                      </a:lnTo>
                      <a:lnTo>
                        <a:pt x="33" y="98"/>
                      </a:lnTo>
                      <a:lnTo>
                        <a:pt x="33" y="97"/>
                      </a:lnTo>
                      <a:lnTo>
                        <a:pt x="33" y="95"/>
                      </a:lnTo>
                      <a:lnTo>
                        <a:pt x="33" y="93"/>
                      </a:lnTo>
                      <a:lnTo>
                        <a:pt x="31" y="90"/>
                      </a:lnTo>
                      <a:lnTo>
                        <a:pt x="31" y="88"/>
                      </a:lnTo>
                      <a:lnTo>
                        <a:pt x="30" y="85"/>
                      </a:lnTo>
                      <a:lnTo>
                        <a:pt x="29" y="84"/>
                      </a:lnTo>
                      <a:lnTo>
                        <a:pt x="30" y="83"/>
                      </a:lnTo>
                      <a:lnTo>
                        <a:pt x="31" y="83"/>
                      </a:lnTo>
                      <a:lnTo>
                        <a:pt x="31" y="81"/>
                      </a:lnTo>
                      <a:lnTo>
                        <a:pt x="31" y="80"/>
                      </a:lnTo>
                      <a:lnTo>
                        <a:pt x="30" y="79"/>
                      </a:lnTo>
                      <a:lnTo>
                        <a:pt x="30" y="78"/>
                      </a:lnTo>
                      <a:lnTo>
                        <a:pt x="30" y="77"/>
                      </a:lnTo>
                      <a:lnTo>
                        <a:pt x="29" y="77"/>
                      </a:lnTo>
                      <a:lnTo>
                        <a:pt x="29" y="78"/>
                      </a:lnTo>
                      <a:lnTo>
                        <a:pt x="28" y="77"/>
                      </a:lnTo>
                      <a:lnTo>
                        <a:pt x="27" y="74"/>
                      </a:lnTo>
                      <a:lnTo>
                        <a:pt x="27" y="72"/>
                      </a:lnTo>
                      <a:lnTo>
                        <a:pt x="26" y="70"/>
                      </a:lnTo>
                      <a:lnTo>
                        <a:pt x="26" y="69"/>
                      </a:lnTo>
                      <a:lnTo>
                        <a:pt x="24" y="69"/>
                      </a:lnTo>
                      <a:lnTo>
                        <a:pt x="23" y="69"/>
                      </a:lnTo>
                      <a:lnTo>
                        <a:pt x="22" y="69"/>
                      </a:lnTo>
                      <a:lnTo>
                        <a:pt x="22" y="67"/>
                      </a:lnTo>
                      <a:lnTo>
                        <a:pt x="21" y="66"/>
                      </a:lnTo>
                      <a:lnTo>
                        <a:pt x="20" y="62"/>
                      </a:lnTo>
                      <a:lnTo>
                        <a:pt x="20" y="60"/>
                      </a:lnTo>
                      <a:lnTo>
                        <a:pt x="19" y="60"/>
                      </a:lnTo>
                      <a:lnTo>
                        <a:pt x="18" y="60"/>
                      </a:lnTo>
                      <a:lnTo>
                        <a:pt x="16" y="59"/>
                      </a:lnTo>
                      <a:lnTo>
                        <a:pt x="16" y="55"/>
                      </a:lnTo>
                      <a:lnTo>
                        <a:pt x="15" y="53"/>
                      </a:lnTo>
                      <a:lnTo>
                        <a:pt x="15" y="52"/>
                      </a:lnTo>
                      <a:lnTo>
                        <a:pt x="15" y="51"/>
                      </a:lnTo>
                      <a:lnTo>
                        <a:pt x="15" y="50"/>
                      </a:lnTo>
                      <a:lnTo>
                        <a:pt x="14" y="50"/>
                      </a:lnTo>
                      <a:lnTo>
                        <a:pt x="15" y="49"/>
                      </a:lnTo>
                      <a:lnTo>
                        <a:pt x="16" y="48"/>
                      </a:lnTo>
                      <a:lnTo>
                        <a:pt x="16" y="46"/>
                      </a:lnTo>
                      <a:lnTo>
                        <a:pt x="16" y="44"/>
                      </a:lnTo>
                      <a:lnTo>
                        <a:pt x="16" y="43"/>
                      </a:lnTo>
                      <a:lnTo>
                        <a:pt x="15" y="43"/>
                      </a:lnTo>
                      <a:lnTo>
                        <a:pt x="14" y="42"/>
                      </a:lnTo>
                      <a:lnTo>
                        <a:pt x="13" y="42"/>
                      </a:lnTo>
                      <a:lnTo>
                        <a:pt x="12" y="42"/>
                      </a:lnTo>
                      <a:lnTo>
                        <a:pt x="11" y="41"/>
                      </a:lnTo>
                      <a:lnTo>
                        <a:pt x="11" y="39"/>
                      </a:lnTo>
                      <a:lnTo>
                        <a:pt x="9" y="39"/>
                      </a:lnTo>
                      <a:lnTo>
                        <a:pt x="8" y="39"/>
                      </a:lnTo>
                      <a:lnTo>
                        <a:pt x="8" y="41"/>
                      </a:lnTo>
                      <a:lnTo>
                        <a:pt x="7" y="39"/>
                      </a:lnTo>
                      <a:lnTo>
                        <a:pt x="8" y="39"/>
                      </a:lnTo>
                      <a:lnTo>
                        <a:pt x="8" y="38"/>
                      </a:lnTo>
                      <a:lnTo>
                        <a:pt x="7" y="38"/>
                      </a:lnTo>
                      <a:lnTo>
                        <a:pt x="8" y="37"/>
                      </a:lnTo>
                      <a:lnTo>
                        <a:pt x="9" y="37"/>
                      </a:lnTo>
                      <a:lnTo>
                        <a:pt x="8" y="36"/>
                      </a:lnTo>
                      <a:lnTo>
                        <a:pt x="6" y="37"/>
                      </a:lnTo>
                      <a:lnTo>
                        <a:pt x="5" y="37"/>
                      </a:lnTo>
                      <a:lnTo>
                        <a:pt x="5" y="36"/>
                      </a:lnTo>
                      <a:lnTo>
                        <a:pt x="6" y="36"/>
                      </a:lnTo>
                      <a:lnTo>
                        <a:pt x="6" y="35"/>
                      </a:lnTo>
                      <a:lnTo>
                        <a:pt x="6" y="34"/>
                      </a:lnTo>
                      <a:lnTo>
                        <a:pt x="5" y="34"/>
                      </a:lnTo>
                      <a:lnTo>
                        <a:pt x="5" y="32"/>
                      </a:lnTo>
                      <a:lnTo>
                        <a:pt x="5" y="31"/>
                      </a:lnTo>
                      <a:lnTo>
                        <a:pt x="5" y="30"/>
                      </a:lnTo>
                      <a:lnTo>
                        <a:pt x="4" y="29"/>
                      </a:lnTo>
                      <a:lnTo>
                        <a:pt x="4" y="28"/>
                      </a:lnTo>
                      <a:lnTo>
                        <a:pt x="4" y="27"/>
                      </a:lnTo>
                      <a:lnTo>
                        <a:pt x="2" y="27"/>
                      </a:lnTo>
                      <a:lnTo>
                        <a:pt x="2" y="25"/>
                      </a:lnTo>
                      <a:lnTo>
                        <a:pt x="5" y="23"/>
                      </a:lnTo>
                      <a:lnTo>
                        <a:pt x="8" y="20"/>
                      </a:lnTo>
                      <a:lnTo>
                        <a:pt x="12" y="16"/>
                      </a:lnTo>
                      <a:lnTo>
                        <a:pt x="15" y="14"/>
                      </a:lnTo>
                      <a:lnTo>
                        <a:pt x="18" y="11"/>
                      </a:lnTo>
                      <a:lnTo>
                        <a:pt x="20" y="10"/>
                      </a:lnTo>
                      <a:lnTo>
                        <a:pt x="22" y="10"/>
                      </a:lnTo>
                      <a:lnTo>
                        <a:pt x="23" y="9"/>
                      </a:lnTo>
                      <a:lnTo>
                        <a:pt x="27" y="8"/>
                      </a:lnTo>
                      <a:lnTo>
                        <a:pt x="29" y="7"/>
                      </a:lnTo>
                      <a:lnTo>
                        <a:pt x="31" y="6"/>
                      </a:lnTo>
                      <a:lnTo>
                        <a:pt x="35" y="4"/>
                      </a:lnTo>
                      <a:lnTo>
                        <a:pt x="37" y="3"/>
                      </a:lnTo>
                      <a:lnTo>
                        <a:pt x="40" y="2"/>
                      </a:lnTo>
                      <a:lnTo>
                        <a:pt x="42" y="2"/>
                      </a:lnTo>
                      <a:lnTo>
                        <a:pt x="43" y="3"/>
                      </a:lnTo>
                      <a:lnTo>
                        <a:pt x="45" y="2"/>
                      </a:lnTo>
                      <a:lnTo>
                        <a:pt x="48" y="0"/>
                      </a:lnTo>
                      <a:lnTo>
                        <a:pt x="48" y="1"/>
                      </a:lnTo>
                      <a:close/>
                    </a:path>
                  </a:pathLst>
                </a:custGeom>
                <a:solidFill>
                  <a:schemeClr val="accent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96" name="Freeform 99">
                  <a:extLst>
                    <a:ext uri="{FF2B5EF4-FFF2-40B4-BE49-F238E27FC236}">
                      <a16:creationId xmlns:a16="http://schemas.microsoft.com/office/drawing/2014/main" id="{4449ACEF-EEBB-50C8-6D3D-EDF5C7319221}"/>
                    </a:ext>
                  </a:extLst>
                </p:cNvPr>
                <p:cNvSpPr>
                  <a:spLocks/>
                </p:cNvSpPr>
                <p:nvPr/>
              </p:nvSpPr>
              <p:spPr bwMode="auto">
                <a:xfrm>
                  <a:off x="5631983" y="2477821"/>
                  <a:ext cx="547357" cy="581971"/>
                </a:xfrm>
                <a:custGeom>
                  <a:avLst/>
                  <a:gdLst>
                    <a:gd name="T0" fmla="*/ 369 w 506"/>
                    <a:gd name="T1" fmla="*/ 14 h 538"/>
                    <a:gd name="T2" fmla="*/ 389 w 506"/>
                    <a:gd name="T3" fmla="*/ 28 h 538"/>
                    <a:gd name="T4" fmla="*/ 417 w 506"/>
                    <a:gd name="T5" fmla="*/ 28 h 538"/>
                    <a:gd name="T6" fmla="*/ 432 w 506"/>
                    <a:gd name="T7" fmla="*/ 28 h 538"/>
                    <a:gd name="T8" fmla="*/ 444 w 506"/>
                    <a:gd name="T9" fmla="*/ 25 h 538"/>
                    <a:gd name="T10" fmla="*/ 446 w 506"/>
                    <a:gd name="T11" fmla="*/ 26 h 538"/>
                    <a:gd name="T12" fmla="*/ 466 w 506"/>
                    <a:gd name="T13" fmla="*/ 32 h 538"/>
                    <a:gd name="T14" fmla="*/ 476 w 506"/>
                    <a:gd name="T15" fmla="*/ 42 h 538"/>
                    <a:gd name="T16" fmla="*/ 483 w 506"/>
                    <a:gd name="T17" fmla="*/ 63 h 538"/>
                    <a:gd name="T18" fmla="*/ 486 w 506"/>
                    <a:gd name="T19" fmla="*/ 88 h 538"/>
                    <a:gd name="T20" fmla="*/ 490 w 506"/>
                    <a:gd name="T21" fmla="*/ 110 h 538"/>
                    <a:gd name="T22" fmla="*/ 504 w 506"/>
                    <a:gd name="T23" fmla="*/ 134 h 538"/>
                    <a:gd name="T24" fmla="*/ 502 w 506"/>
                    <a:gd name="T25" fmla="*/ 145 h 538"/>
                    <a:gd name="T26" fmla="*/ 479 w 506"/>
                    <a:gd name="T27" fmla="*/ 147 h 538"/>
                    <a:gd name="T28" fmla="*/ 444 w 506"/>
                    <a:gd name="T29" fmla="*/ 160 h 538"/>
                    <a:gd name="T30" fmla="*/ 417 w 506"/>
                    <a:gd name="T31" fmla="*/ 183 h 538"/>
                    <a:gd name="T32" fmla="*/ 426 w 506"/>
                    <a:gd name="T33" fmla="*/ 192 h 538"/>
                    <a:gd name="T34" fmla="*/ 384 w 506"/>
                    <a:gd name="T35" fmla="*/ 221 h 538"/>
                    <a:gd name="T36" fmla="*/ 345 w 506"/>
                    <a:gd name="T37" fmla="*/ 243 h 538"/>
                    <a:gd name="T38" fmla="*/ 299 w 506"/>
                    <a:gd name="T39" fmla="*/ 251 h 538"/>
                    <a:gd name="T40" fmla="*/ 274 w 506"/>
                    <a:gd name="T41" fmla="*/ 269 h 538"/>
                    <a:gd name="T42" fmla="*/ 263 w 506"/>
                    <a:gd name="T43" fmla="*/ 288 h 538"/>
                    <a:gd name="T44" fmla="*/ 261 w 506"/>
                    <a:gd name="T45" fmla="*/ 314 h 538"/>
                    <a:gd name="T46" fmla="*/ 254 w 506"/>
                    <a:gd name="T47" fmla="*/ 335 h 538"/>
                    <a:gd name="T48" fmla="*/ 220 w 506"/>
                    <a:gd name="T49" fmla="*/ 342 h 538"/>
                    <a:gd name="T50" fmla="*/ 184 w 506"/>
                    <a:gd name="T51" fmla="*/ 342 h 538"/>
                    <a:gd name="T52" fmla="*/ 168 w 506"/>
                    <a:gd name="T53" fmla="*/ 368 h 538"/>
                    <a:gd name="T54" fmla="*/ 152 w 506"/>
                    <a:gd name="T55" fmla="*/ 393 h 538"/>
                    <a:gd name="T56" fmla="*/ 128 w 506"/>
                    <a:gd name="T57" fmla="*/ 430 h 538"/>
                    <a:gd name="T58" fmla="*/ 100 w 506"/>
                    <a:gd name="T59" fmla="*/ 456 h 538"/>
                    <a:gd name="T60" fmla="*/ 89 w 506"/>
                    <a:gd name="T61" fmla="*/ 507 h 538"/>
                    <a:gd name="T62" fmla="*/ 72 w 506"/>
                    <a:gd name="T63" fmla="*/ 535 h 538"/>
                    <a:gd name="T64" fmla="*/ 3 w 506"/>
                    <a:gd name="T65" fmla="*/ 538 h 538"/>
                    <a:gd name="T66" fmla="*/ 3 w 506"/>
                    <a:gd name="T67" fmla="*/ 521 h 538"/>
                    <a:gd name="T68" fmla="*/ 19 w 506"/>
                    <a:gd name="T69" fmla="*/ 501 h 538"/>
                    <a:gd name="T70" fmla="*/ 27 w 506"/>
                    <a:gd name="T71" fmla="*/ 483 h 538"/>
                    <a:gd name="T72" fmla="*/ 33 w 506"/>
                    <a:gd name="T73" fmla="*/ 466 h 538"/>
                    <a:gd name="T74" fmla="*/ 38 w 506"/>
                    <a:gd name="T75" fmla="*/ 453 h 538"/>
                    <a:gd name="T76" fmla="*/ 32 w 506"/>
                    <a:gd name="T77" fmla="*/ 460 h 538"/>
                    <a:gd name="T78" fmla="*/ 46 w 506"/>
                    <a:gd name="T79" fmla="*/ 445 h 538"/>
                    <a:gd name="T80" fmla="*/ 61 w 506"/>
                    <a:gd name="T81" fmla="*/ 430 h 538"/>
                    <a:gd name="T82" fmla="*/ 68 w 506"/>
                    <a:gd name="T83" fmla="*/ 412 h 538"/>
                    <a:gd name="T84" fmla="*/ 74 w 506"/>
                    <a:gd name="T85" fmla="*/ 385 h 538"/>
                    <a:gd name="T86" fmla="*/ 86 w 506"/>
                    <a:gd name="T87" fmla="*/ 364 h 538"/>
                    <a:gd name="T88" fmla="*/ 112 w 506"/>
                    <a:gd name="T89" fmla="*/ 335 h 538"/>
                    <a:gd name="T90" fmla="*/ 125 w 506"/>
                    <a:gd name="T91" fmla="*/ 311 h 538"/>
                    <a:gd name="T92" fmla="*/ 174 w 506"/>
                    <a:gd name="T93" fmla="*/ 291 h 538"/>
                    <a:gd name="T94" fmla="*/ 185 w 506"/>
                    <a:gd name="T95" fmla="*/ 278 h 538"/>
                    <a:gd name="T96" fmla="*/ 213 w 506"/>
                    <a:gd name="T97" fmla="*/ 253 h 538"/>
                    <a:gd name="T98" fmla="*/ 228 w 506"/>
                    <a:gd name="T99" fmla="*/ 230 h 538"/>
                    <a:gd name="T100" fmla="*/ 227 w 506"/>
                    <a:gd name="T101" fmla="*/ 208 h 538"/>
                    <a:gd name="T102" fmla="*/ 224 w 506"/>
                    <a:gd name="T103" fmla="*/ 188 h 538"/>
                    <a:gd name="T104" fmla="*/ 228 w 506"/>
                    <a:gd name="T105" fmla="*/ 168 h 538"/>
                    <a:gd name="T106" fmla="*/ 241 w 506"/>
                    <a:gd name="T107" fmla="*/ 147 h 538"/>
                    <a:gd name="T108" fmla="*/ 250 w 506"/>
                    <a:gd name="T109" fmla="*/ 124 h 538"/>
                    <a:gd name="T110" fmla="*/ 271 w 506"/>
                    <a:gd name="T111" fmla="*/ 102 h 538"/>
                    <a:gd name="T112" fmla="*/ 292 w 506"/>
                    <a:gd name="T113" fmla="*/ 92 h 538"/>
                    <a:gd name="T114" fmla="*/ 306 w 506"/>
                    <a:gd name="T115" fmla="*/ 84 h 538"/>
                    <a:gd name="T116" fmla="*/ 328 w 506"/>
                    <a:gd name="T117" fmla="*/ 59 h 538"/>
                    <a:gd name="T118" fmla="*/ 347 w 506"/>
                    <a:gd name="T119" fmla="*/ 7 h 538"/>
                    <a:gd name="T120" fmla="*/ 360 w 506"/>
                    <a:gd name="T121" fmla="*/ 4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6" h="538">
                      <a:moveTo>
                        <a:pt x="364" y="0"/>
                      </a:moveTo>
                      <a:lnTo>
                        <a:pt x="364" y="1"/>
                      </a:lnTo>
                      <a:lnTo>
                        <a:pt x="364" y="3"/>
                      </a:lnTo>
                      <a:lnTo>
                        <a:pt x="366" y="3"/>
                      </a:lnTo>
                      <a:lnTo>
                        <a:pt x="366" y="4"/>
                      </a:lnTo>
                      <a:lnTo>
                        <a:pt x="366" y="5"/>
                      </a:lnTo>
                      <a:lnTo>
                        <a:pt x="367" y="7"/>
                      </a:lnTo>
                      <a:lnTo>
                        <a:pt x="367" y="8"/>
                      </a:lnTo>
                      <a:lnTo>
                        <a:pt x="367" y="10"/>
                      </a:lnTo>
                      <a:lnTo>
                        <a:pt x="368" y="10"/>
                      </a:lnTo>
                      <a:lnTo>
                        <a:pt x="368" y="11"/>
                      </a:lnTo>
                      <a:lnTo>
                        <a:pt x="369" y="13"/>
                      </a:lnTo>
                      <a:lnTo>
                        <a:pt x="369" y="14"/>
                      </a:lnTo>
                      <a:lnTo>
                        <a:pt x="370" y="14"/>
                      </a:lnTo>
                      <a:lnTo>
                        <a:pt x="371" y="15"/>
                      </a:lnTo>
                      <a:lnTo>
                        <a:pt x="373" y="17"/>
                      </a:lnTo>
                      <a:lnTo>
                        <a:pt x="375" y="20"/>
                      </a:lnTo>
                      <a:lnTo>
                        <a:pt x="376" y="21"/>
                      </a:lnTo>
                      <a:lnTo>
                        <a:pt x="377" y="21"/>
                      </a:lnTo>
                      <a:lnTo>
                        <a:pt x="378" y="22"/>
                      </a:lnTo>
                      <a:lnTo>
                        <a:pt x="380" y="24"/>
                      </a:lnTo>
                      <a:lnTo>
                        <a:pt x="381" y="25"/>
                      </a:lnTo>
                      <a:lnTo>
                        <a:pt x="382" y="25"/>
                      </a:lnTo>
                      <a:lnTo>
                        <a:pt x="383" y="27"/>
                      </a:lnTo>
                      <a:lnTo>
                        <a:pt x="385" y="27"/>
                      </a:lnTo>
                      <a:lnTo>
                        <a:pt x="389" y="28"/>
                      </a:lnTo>
                      <a:lnTo>
                        <a:pt x="394" y="29"/>
                      </a:lnTo>
                      <a:lnTo>
                        <a:pt x="398" y="31"/>
                      </a:lnTo>
                      <a:lnTo>
                        <a:pt x="399" y="31"/>
                      </a:lnTo>
                      <a:lnTo>
                        <a:pt x="401" y="29"/>
                      </a:lnTo>
                      <a:lnTo>
                        <a:pt x="405" y="28"/>
                      </a:lnTo>
                      <a:lnTo>
                        <a:pt x="409" y="27"/>
                      </a:lnTo>
                      <a:lnTo>
                        <a:pt x="411" y="27"/>
                      </a:lnTo>
                      <a:lnTo>
                        <a:pt x="412" y="26"/>
                      </a:lnTo>
                      <a:lnTo>
                        <a:pt x="412" y="27"/>
                      </a:lnTo>
                      <a:lnTo>
                        <a:pt x="413" y="28"/>
                      </a:lnTo>
                      <a:lnTo>
                        <a:pt x="415" y="28"/>
                      </a:lnTo>
                      <a:lnTo>
                        <a:pt x="416" y="28"/>
                      </a:lnTo>
                      <a:lnTo>
                        <a:pt x="417" y="28"/>
                      </a:lnTo>
                      <a:lnTo>
                        <a:pt x="418" y="27"/>
                      </a:lnTo>
                      <a:lnTo>
                        <a:pt x="418" y="26"/>
                      </a:lnTo>
                      <a:lnTo>
                        <a:pt x="418" y="25"/>
                      </a:lnTo>
                      <a:lnTo>
                        <a:pt x="419" y="25"/>
                      </a:lnTo>
                      <a:lnTo>
                        <a:pt x="420" y="25"/>
                      </a:lnTo>
                      <a:lnTo>
                        <a:pt x="420" y="26"/>
                      </a:lnTo>
                      <a:lnTo>
                        <a:pt x="423" y="27"/>
                      </a:lnTo>
                      <a:lnTo>
                        <a:pt x="425" y="27"/>
                      </a:lnTo>
                      <a:lnTo>
                        <a:pt x="426" y="28"/>
                      </a:lnTo>
                      <a:lnTo>
                        <a:pt x="427" y="28"/>
                      </a:lnTo>
                      <a:lnTo>
                        <a:pt x="428" y="28"/>
                      </a:lnTo>
                      <a:lnTo>
                        <a:pt x="431" y="28"/>
                      </a:lnTo>
                      <a:lnTo>
                        <a:pt x="432" y="28"/>
                      </a:lnTo>
                      <a:lnTo>
                        <a:pt x="435" y="27"/>
                      </a:lnTo>
                      <a:lnTo>
                        <a:pt x="437" y="26"/>
                      </a:lnTo>
                      <a:lnTo>
                        <a:pt x="438" y="25"/>
                      </a:lnTo>
                      <a:lnTo>
                        <a:pt x="439" y="25"/>
                      </a:lnTo>
                      <a:lnTo>
                        <a:pt x="440" y="24"/>
                      </a:lnTo>
                      <a:lnTo>
                        <a:pt x="441" y="20"/>
                      </a:lnTo>
                      <a:lnTo>
                        <a:pt x="442" y="19"/>
                      </a:lnTo>
                      <a:lnTo>
                        <a:pt x="444" y="19"/>
                      </a:lnTo>
                      <a:lnTo>
                        <a:pt x="444" y="20"/>
                      </a:lnTo>
                      <a:lnTo>
                        <a:pt x="444" y="21"/>
                      </a:lnTo>
                      <a:lnTo>
                        <a:pt x="444" y="22"/>
                      </a:lnTo>
                      <a:lnTo>
                        <a:pt x="442" y="24"/>
                      </a:lnTo>
                      <a:lnTo>
                        <a:pt x="444" y="25"/>
                      </a:lnTo>
                      <a:lnTo>
                        <a:pt x="444" y="26"/>
                      </a:lnTo>
                      <a:lnTo>
                        <a:pt x="445" y="25"/>
                      </a:lnTo>
                      <a:lnTo>
                        <a:pt x="445" y="26"/>
                      </a:lnTo>
                      <a:lnTo>
                        <a:pt x="445" y="27"/>
                      </a:lnTo>
                      <a:lnTo>
                        <a:pt x="445" y="28"/>
                      </a:lnTo>
                      <a:lnTo>
                        <a:pt x="445" y="29"/>
                      </a:lnTo>
                      <a:lnTo>
                        <a:pt x="446" y="31"/>
                      </a:lnTo>
                      <a:lnTo>
                        <a:pt x="447" y="31"/>
                      </a:lnTo>
                      <a:lnTo>
                        <a:pt x="448" y="31"/>
                      </a:lnTo>
                      <a:lnTo>
                        <a:pt x="451" y="32"/>
                      </a:lnTo>
                      <a:lnTo>
                        <a:pt x="448" y="31"/>
                      </a:lnTo>
                      <a:lnTo>
                        <a:pt x="446" y="27"/>
                      </a:lnTo>
                      <a:lnTo>
                        <a:pt x="446" y="26"/>
                      </a:lnTo>
                      <a:lnTo>
                        <a:pt x="446" y="27"/>
                      </a:lnTo>
                      <a:lnTo>
                        <a:pt x="448" y="28"/>
                      </a:lnTo>
                      <a:lnTo>
                        <a:pt x="449" y="31"/>
                      </a:lnTo>
                      <a:lnTo>
                        <a:pt x="451" y="31"/>
                      </a:lnTo>
                      <a:lnTo>
                        <a:pt x="453" y="32"/>
                      </a:lnTo>
                      <a:lnTo>
                        <a:pt x="456" y="32"/>
                      </a:lnTo>
                      <a:lnTo>
                        <a:pt x="458" y="32"/>
                      </a:lnTo>
                      <a:lnTo>
                        <a:pt x="459" y="32"/>
                      </a:lnTo>
                      <a:lnTo>
                        <a:pt x="460" y="31"/>
                      </a:lnTo>
                      <a:lnTo>
                        <a:pt x="461" y="29"/>
                      </a:lnTo>
                      <a:lnTo>
                        <a:pt x="463" y="31"/>
                      </a:lnTo>
                      <a:lnTo>
                        <a:pt x="465" y="31"/>
                      </a:lnTo>
                      <a:lnTo>
                        <a:pt x="466" y="32"/>
                      </a:lnTo>
                      <a:lnTo>
                        <a:pt x="467" y="32"/>
                      </a:lnTo>
                      <a:lnTo>
                        <a:pt x="467" y="34"/>
                      </a:lnTo>
                      <a:lnTo>
                        <a:pt x="467" y="35"/>
                      </a:lnTo>
                      <a:lnTo>
                        <a:pt x="468" y="35"/>
                      </a:lnTo>
                      <a:lnTo>
                        <a:pt x="469" y="36"/>
                      </a:lnTo>
                      <a:lnTo>
                        <a:pt x="470" y="36"/>
                      </a:lnTo>
                      <a:lnTo>
                        <a:pt x="472" y="38"/>
                      </a:lnTo>
                      <a:lnTo>
                        <a:pt x="473" y="39"/>
                      </a:lnTo>
                      <a:lnTo>
                        <a:pt x="474" y="39"/>
                      </a:lnTo>
                      <a:lnTo>
                        <a:pt x="474" y="40"/>
                      </a:lnTo>
                      <a:lnTo>
                        <a:pt x="475" y="40"/>
                      </a:lnTo>
                      <a:lnTo>
                        <a:pt x="475" y="41"/>
                      </a:lnTo>
                      <a:lnTo>
                        <a:pt x="476" y="42"/>
                      </a:lnTo>
                      <a:lnTo>
                        <a:pt x="477" y="43"/>
                      </a:lnTo>
                      <a:lnTo>
                        <a:pt x="481" y="45"/>
                      </a:lnTo>
                      <a:lnTo>
                        <a:pt x="482" y="46"/>
                      </a:lnTo>
                      <a:lnTo>
                        <a:pt x="481" y="46"/>
                      </a:lnTo>
                      <a:lnTo>
                        <a:pt x="481" y="48"/>
                      </a:lnTo>
                      <a:lnTo>
                        <a:pt x="479" y="50"/>
                      </a:lnTo>
                      <a:lnTo>
                        <a:pt x="479" y="52"/>
                      </a:lnTo>
                      <a:lnTo>
                        <a:pt x="482" y="55"/>
                      </a:lnTo>
                      <a:lnTo>
                        <a:pt x="483" y="55"/>
                      </a:lnTo>
                      <a:lnTo>
                        <a:pt x="484" y="56"/>
                      </a:lnTo>
                      <a:lnTo>
                        <a:pt x="481" y="60"/>
                      </a:lnTo>
                      <a:lnTo>
                        <a:pt x="482" y="61"/>
                      </a:lnTo>
                      <a:lnTo>
                        <a:pt x="483" y="63"/>
                      </a:lnTo>
                      <a:lnTo>
                        <a:pt x="486" y="70"/>
                      </a:lnTo>
                      <a:lnTo>
                        <a:pt x="486" y="71"/>
                      </a:lnTo>
                      <a:lnTo>
                        <a:pt x="486" y="73"/>
                      </a:lnTo>
                      <a:lnTo>
                        <a:pt x="484" y="78"/>
                      </a:lnTo>
                      <a:lnTo>
                        <a:pt x="484" y="81"/>
                      </a:lnTo>
                      <a:lnTo>
                        <a:pt x="484" y="82"/>
                      </a:lnTo>
                      <a:lnTo>
                        <a:pt x="484" y="83"/>
                      </a:lnTo>
                      <a:lnTo>
                        <a:pt x="484" y="84"/>
                      </a:lnTo>
                      <a:lnTo>
                        <a:pt x="483" y="85"/>
                      </a:lnTo>
                      <a:lnTo>
                        <a:pt x="483" y="87"/>
                      </a:lnTo>
                      <a:lnTo>
                        <a:pt x="484" y="87"/>
                      </a:lnTo>
                      <a:lnTo>
                        <a:pt x="484" y="88"/>
                      </a:lnTo>
                      <a:lnTo>
                        <a:pt x="486" y="88"/>
                      </a:lnTo>
                      <a:lnTo>
                        <a:pt x="488" y="91"/>
                      </a:lnTo>
                      <a:lnTo>
                        <a:pt x="488" y="92"/>
                      </a:lnTo>
                      <a:lnTo>
                        <a:pt x="487" y="94"/>
                      </a:lnTo>
                      <a:lnTo>
                        <a:pt x="487" y="95"/>
                      </a:lnTo>
                      <a:lnTo>
                        <a:pt x="486" y="97"/>
                      </a:lnTo>
                      <a:lnTo>
                        <a:pt x="486" y="98"/>
                      </a:lnTo>
                      <a:lnTo>
                        <a:pt x="486" y="103"/>
                      </a:lnTo>
                      <a:lnTo>
                        <a:pt x="486" y="104"/>
                      </a:lnTo>
                      <a:lnTo>
                        <a:pt x="488" y="105"/>
                      </a:lnTo>
                      <a:lnTo>
                        <a:pt x="488" y="106"/>
                      </a:lnTo>
                      <a:lnTo>
                        <a:pt x="488" y="108"/>
                      </a:lnTo>
                      <a:lnTo>
                        <a:pt x="489" y="109"/>
                      </a:lnTo>
                      <a:lnTo>
                        <a:pt x="490" y="110"/>
                      </a:lnTo>
                      <a:lnTo>
                        <a:pt x="491" y="110"/>
                      </a:lnTo>
                      <a:lnTo>
                        <a:pt x="491" y="111"/>
                      </a:lnTo>
                      <a:lnTo>
                        <a:pt x="491" y="112"/>
                      </a:lnTo>
                      <a:lnTo>
                        <a:pt x="491" y="113"/>
                      </a:lnTo>
                      <a:lnTo>
                        <a:pt x="491" y="115"/>
                      </a:lnTo>
                      <a:lnTo>
                        <a:pt x="489" y="116"/>
                      </a:lnTo>
                      <a:lnTo>
                        <a:pt x="494" y="123"/>
                      </a:lnTo>
                      <a:lnTo>
                        <a:pt x="495" y="124"/>
                      </a:lnTo>
                      <a:lnTo>
                        <a:pt x="497" y="124"/>
                      </a:lnTo>
                      <a:lnTo>
                        <a:pt x="506" y="131"/>
                      </a:lnTo>
                      <a:lnTo>
                        <a:pt x="506" y="132"/>
                      </a:lnTo>
                      <a:lnTo>
                        <a:pt x="505" y="134"/>
                      </a:lnTo>
                      <a:lnTo>
                        <a:pt x="504" y="134"/>
                      </a:lnTo>
                      <a:lnTo>
                        <a:pt x="503" y="136"/>
                      </a:lnTo>
                      <a:lnTo>
                        <a:pt x="502" y="136"/>
                      </a:lnTo>
                      <a:lnTo>
                        <a:pt x="501" y="136"/>
                      </a:lnTo>
                      <a:lnTo>
                        <a:pt x="501" y="137"/>
                      </a:lnTo>
                      <a:lnTo>
                        <a:pt x="499" y="137"/>
                      </a:lnTo>
                      <a:lnTo>
                        <a:pt x="499" y="139"/>
                      </a:lnTo>
                      <a:lnTo>
                        <a:pt x="499" y="143"/>
                      </a:lnTo>
                      <a:lnTo>
                        <a:pt x="499" y="144"/>
                      </a:lnTo>
                      <a:lnTo>
                        <a:pt x="498" y="144"/>
                      </a:lnTo>
                      <a:lnTo>
                        <a:pt x="498" y="145"/>
                      </a:lnTo>
                      <a:lnTo>
                        <a:pt x="499" y="145"/>
                      </a:lnTo>
                      <a:lnTo>
                        <a:pt x="501" y="145"/>
                      </a:lnTo>
                      <a:lnTo>
                        <a:pt x="502" y="145"/>
                      </a:lnTo>
                      <a:lnTo>
                        <a:pt x="502" y="146"/>
                      </a:lnTo>
                      <a:lnTo>
                        <a:pt x="501" y="147"/>
                      </a:lnTo>
                      <a:lnTo>
                        <a:pt x="499" y="147"/>
                      </a:lnTo>
                      <a:lnTo>
                        <a:pt x="497" y="147"/>
                      </a:lnTo>
                      <a:lnTo>
                        <a:pt x="496" y="147"/>
                      </a:lnTo>
                      <a:lnTo>
                        <a:pt x="495" y="147"/>
                      </a:lnTo>
                      <a:lnTo>
                        <a:pt x="494" y="147"/>
                      </a:lnTo>
                      <a:lnTo>
                        <a:pt x="491" y="147"/>
                      </a:lnTo>
                      <a:lnTo>
                        <a:pt x="489" y="147"/>
                      </a:lnTo>
                      <a:lnTo>
                        <a:pt x="487" y="147"/>
                      </a:lnTo>
                      <a:lnTo>
                        <a:pt x="484" y="147"/>
                      </a:lnTo>
                      <a:lnTo>
                        <a:pt x="482" y="147"/>
                      </a:lnTo>
                      <a:lnTo>
                        <a:pt x="479" y="147"/>
                      </a:lnTo>
                      <a:lnTo>
                        <a:pt x="476" y="147"/>
                      </a:lnTo>
                      <a:lnTo>
                        <a:pt x="473" y="147"/>
                      </a:lnTo>
                      <a:lnTo>
                        <a:pt x="470" y="147"/>
                      </a:lnTo>
                      <a:lnTo>
                        <a:pt x="468" y="146"/>
                      </a:lnTo>
                      <a:lnTo>
                        <a:pt x="466" y="146"/>
                      </a:lnTo>
                      <a:lnTo>
                        <a:pt x="463" y="146"/>
                      </a:lnTo>
                      <a:lnTo>
                        <a:pt x="459" y="146"/>
                      </a:lnTo>
                      <a:lnTo>
                        <a:pt x="453" y="148"/>
                      </a:lnTo>
                      <a:lnTo>
                        <a:pt x="447" y="148"/>
                      </a:lnTo>
                      <a:lnTo>
                        <a:pt x="446" y="150"/>
                      </a:lnTo>
                      <a:lnTo>
                        <a:pt x="448" y="155"/>
                      </a:lnTo>
                      <a:lnTo>
                        <a:pt x="449" y="159"/>
                      </a:lnTo>
                      <a:lnTo>
                        <a:pt x="444" y="160"/>
                      </a:lnTo>
                      <a:lnTo>
                        <a:pt x="437" y="162"/>
                      </a:lnTo>
                      <a:lnTo>
                        <a:pt x="427" y="164"/>
                      </a:lnTo>
                      <a:lnTo>
                        <a:pt x="426" y="165"/>
                      </a:lnTo>
                      <a:lnTo>
                        <a:pt x="425" y="164"/>
                      </a:lnTo>
                      <a:lnTo>
                        <a:pt x="423" y="165"/>
                      </a:lnTo>
                      <a:lnTo>
                        <a:pt x="423" y="175"/>
                      </a:lnTo>
                      <a:lnTo>
                        <a:pt x="420" y="175"/>
                      </a:lnTo>
                      <a:lnTo>
                        <a:pt x="418" y="176"/>
                      </a:lnTo>
                      <a:lnTo>
                        <a:pt x="418" y="178"/>
                      </a:lnTo>
                      <a:lnTo>
                        <a:pt x="418" y="180"/>
                      </a:lnTo>
                      <a:lnTo>
                        <a:pt x="418" y="181"/>
                      </a:lnTo>
                      <a:lnTo>
                        <a:pt x="417" y="182"/>
                      </a:lnTo>
                      <a:lnTo>
                        <a:pt x="417" y="183"/>
                      </a:lnTo>
                      <a:lnTo>
                        <a:pt x="417" y="185"/>
                      </a:lnTo>
                      <a:lnTo>
                        <a:pt x="418" y="185"/>
                      </a:lnTo>
                      <a:lnTo>
                        <a:pt x="418" y="183"/>
                      </a:lnTo>
                      <a:lnTo>
                        <a:pt x="419" y="183"/>
                      </a:lnTo>
                      <a:lnTo>
                        <a:pt x="420" y="182"/>
                      </a:lnTo>
                      <a:lnTo>
                        <a:pt x="420" y="183"/>
                      </a:lnTo>
                      <a:lnTo>
                        <a:pt x="422" y="183"/>
                      </a:lnTo>
                      <a:lnTo>
                        <a:pt x="422" y="185"/>
                      </a:lnTo>
                      <a:lnTo>
                        <a:pt x="423" y="186"/>
                      </a:lnTo>
                      <a:lnTo>
                        <a:pt x="424" y="186"/>
                      </a:lnTo>
                      <a:lnTo>
                        <a:pt x="424" y="187"/>
                      </a:lnTo>
                      <a:lnTo>
                        <a:pt x="425" y="188"/>
                      </a:lnTo>
                      <a:lnTo>
                        <a:pt x="426" y="192"/>
                      </a:lnTo>
                      <a:lnTo>
                        <a:pt x="425" y="194"/>
                      </a:lnTo>
                      <a:lnTo>
                        <a:pt x="423" y="195"/>
                      </a:lnTo>
                      <a:lnTo>
                        <a:pt x="423" y="197"/>
                      </a:lnTo>
                      <a:lnTo>
                        <a:pt x="424" y="200"/>
                      </a:lnTo>
                      <a:lnTo>
                        <a:pt x="418" y="203"/>
                      </a:lnTo>
                      <a:lnTo>
                        <a:pt x="412" y="204"/>
                      </a:lnTo>
                      <a:lnTo>
                        <a:pt x="408" y="206"/>
                      </a:lnTo>
                      <a:lnTo>
                        <a:pt x="403" y="207"/>
                      </a:lnTo>
                      <a:lnTo>
                        <a:pt x="401" y="208"/>
                      </a:lnTo>
                      <a:lnTo>
                        <a:pt x="397" y="213"/>
                      </a:lnTo>
                      <a:lnTo>
                        <a:pt x="392" y="216"/>
                      </a:lnTo>
                      <a:lnTo>
                        <a:pt x="388" y="218"/>
                      </a:lnTo>
                      <a:lnTo>
                        <a:pt x="384" y="221"/>
                      </a:lnTo>
                      <a:lnTo>
                        <a:pt x="382" y="223"/>
                      </a:lnTo>
                      <a:lnTo>
                        <a:pt x="378" y="225"/>
                      </a:lnTo>
                      <a:lnTo>
                        <a:pt x="375" y="228"/>
                      </a:lnTo>
                      <a:lnTo>
                        <a:pt x="371" y="231"/>
                      </a:lnTo>
                      <a:lnTo>
                        <a:pt x="369" y="236"/>
                      </a:lnTo>
                      <a:lnTo>
                        <a:pt x="367" y="241"/>
                      </a:lnTo>
                      <a:lnTo>
                        <a:pt x="363" y="245"/>
                      </a:lnTo>
                      <a:lnTo>
                        <a:pt x="360" y="246"/>
                      </a:lnTo>
                      <a:lnTo>
                        <a:pt x="358" y="245"/>
                      </a:lnTo>
                      <a:lnTo>
                        <a:pt x="356" y="242"/>
                      </a:lnTo>
                      <a:lnTo>
                        <a:pt x="352" y="243"/>
                      </a:lnTo>
                      <a:lnTo>
                        <a:pt x="348" y="243"/>
                      </a:lnTo>
                      <a:lnTo>
                        <a:pt x="345" y="243"/>
                      </a:lnTo>
                      <a:lnTo>
                        <a:pt x="340" y="243"/>
                      </a:lnTo>
                      <a:lnTo>
                        <a:pt x="335" y="244"/>
                      </a:lnTo>
                      <a:lnTo>
                        <a:pt x="331" y="245"/>
                      </a:lnTo>
                      <a:lnTo>
                        <a:pt x="326" y="246"/>
                      </a:lnTo>
                      <a:lnTo>
                        <a:pt x="324" y="249"/>
                      </a:lnTo>
                      <a:lnTo>
                        <a:pt x="318" y="246"/>
                      </a:lnTo>
                      <a:lnTo>
                        <a:pt x="314" y="246"/>
                      </a:lnTo>
                      <a:lnTo>
                        <a:pt x="312" y="246"/>
                      </a:lnTo>
                      <a:lnTo>
                        <a:pt x="307" y="248"/>
                      </a:lnTo>
                      <a:lnTo>
                        <a:pt x="305" y="251"/>
                      </a:lnTo>
                      <a:lnTo>
                        <a:pt x="302" y="251"/>
                      </a:lnTo>
                      <a:lnTo>
                        <a:pt x="300" y="251"/>
                      </a:lnTo>
                      <a:lnTo>
                        <a:pt x="299" y="251"/>
                      </a:lnTo>
                      <a:lnTo>
                        <a:pt x="298" y="251"/>
                      </a:lnTo>
                      <a:lnTo>
                        <a:pt x="297" y="251"/>
                      </a:lnTo>
                      <a:lnTo>
                        <a:pt x="296" y="251"/>
                      </a:lnTo>
                      <a:lnTo>
                        <a:pt x="294" y="253"/>
                      </a:lnTo>
                      <a:lnTo>
                        <a:pt x="291" y="255"/>
                      </a:lnTo>
                      <a:lnTo>
                        <a:pt x="290" y="257"/>
                      </a:lnTo>
                      <a:lnTo>
                        <a:pt x="287" y="259"/>
                      </a:lnTo>
                      <a:lnTo>
                        <a:pt x="283" y="262"/>
                      </a:lnTo>
                      <a:lnTo>
                        <a:pt x="282" y="263"/>
                      </a:lnTo>
                      <a:lnTo>
                        <a:pt x="278" y="264"/>
                      </a:lnTo>
                      <a:lnTo>
                        <a:pt x="276" y="266"/>
                      </a:lnTo>
                      <a:lnTo>
                        <a:pt x="275" y="267"/>
                      </a:lnTo>
                      <a:lnTo>
                        <a:pt x="274" y="269"/>
                      </a:lnTo>
                      <a:lnTo>
                        <a:pt x="273" y="269"/>
                      </a:lnTo>
                      <a:lnTo>
                        <a:pt x="271" y="271"/>
                      </a:lnTo>
                      <a:lnTo>
                        <a:pt x="270" y="272"/>
                      </a:lnTo>
                      <a:lnTo>
                        <a:pt x="269" y="272"/>
                      </a:lnTo>
                      <a:lnTo>
                        <a:pt x="268" y="273"/>
                      </a:lnTo>
                      <a:lnTo>
                        <a:pt x="264" y="276"/>
                      </a:lnTo>
                      <a:lnTo>
                        <a:pt x="263" y="277"/>
                      </a:lnTo>
                      <a:lnTo>
                        <a:pt x="263" y="278"/>
                      </a:lnTo>
                      <a:lnTo>
                        <a:pt x="263" y="280"/>
                      </a:lnTo>
                      <a:lnTo>
                        <a:pt x="263" y="281"/>
                      </a:lnTo>
                      <a:lnTo>
                        <a:pt x="263" y="284"/>
                      </a:lnTo>
                      <a:lnTo>
                        <a:pt x="263" y="286"/>
                      </a:lnTo>
                      <a:lnTo>
                        <a:pt x="263" y="288"/>
                      </a:lnTo>
                      <a:lnTo>
                        <a:pt x="263" y="291"/>
                      </a:lnTo>
                      <a:lnTo>
                        <a:pt x="263" y="293"/>
                      </a:lnTo>
                      <a:lnTo>
                        <a:pt x="263" y="295"/>
                      </a:lnTo>
                      <a:lnTo>
                        <a:pt x="263" y="297"/>
                      </a:lnTo>
                      <a:lnTo>
                        <a:pt x="263" y="299"/>
                      </a:lnTo>
                      <a:lnTo>
                        <a:pt x="263" y="301"/>
                      </a:lnTo>
                      <a:lnTo>
                        <a:pt x="263" y="304"/>
                      </a:lnTo>
                      <a:lnTo>
                        <a:pt x="263" y="306"/>
                      </a:lnTo>
                      <a:lnTo>
                        <a:pt x="263" y="308"/>
                      </a:lnTo>
                      <a:lnTo>
                        <a:pt x="263" y="311"/>
                      </a:lnTo>
                      <a:lnTo>
                        <a:pt x="263" y="313"/>
                      </a:lnTo>
                      <a:lnTo>
                        <a:pt x="263" y="314"/>
                      </a:lnTo>
                      <a:lnTo>
                        <a:pt x="261" y="314"/>
                      </a:lnTo>
                      <a:lnTo>
                        <a:pt x="259" y="314"/>
                      </a:lnTo>
                      <a:lnTo>
                        <a:pt x="260" y="316"/>
                      </a:lnTo>
                      <a:lnTo>
                        <a:pt x="260" y="319"/>
                      </a:lnTo>
                      <a:lnTo>
                        <a:pt x="261" y="322"/>
                      </a:lnTo>
                      <a:lnTo>
                        <a:pt x="260" y="323"/>
                      </a:lnTo>
                      <a:lnTo>
                        <a:pt x="260" y="326"/>
                      </a:lnTo>
                      <a:lnTo>
                        <a:pt x="260" y="327"/>
                      </a:lnTo>
                      <a:lnTo>
                        <a:pt x="261" y="329"/>
                      </a:lnTo>
                      <a:lnTo>
                        <a:pt x="261" y="332"/>
                      </a:lnTo>
                      <a:lnTo>
                        <a:pt x="261" y="333"/>
                      </a:lnTo>
                      <a:lnTo>
                        <a:pt x="260" y="334"/>
                      </a:lnTo>
                      <a:lnTo>
                        <a:pt x="257" y="335"/>
                      </a:lnTo>
                      <a:lnTo>
                        <a:pt x="254" y="335"/>
                      </a:lnTo>
                      <a:lnTo>
                        <a:pt x="250" y="335"/>
                      </a:lnTo>
                      <a:lnTo>
                        <a:pt x="247" y="335"/>
                      </a:lnTo>
                      <a:lnTo>
                        <a:pt x="245" y="335"/>
                      </a:lnTo>
                      <a:lnTo>
                        <a:pt x="242" y="335"/>
                      </a:lnTo>
                      <a:lnTo>
                        <a:pt x="240" y="335"/>
                      </a:lnTo>
                      <a:lnTo>
                        <a:pt x="238" y="337"/>
                      </a:lnTo>
                      <a:lnTo>
                        <a:pt x="235" y="339"/>
                      </a:lnTo>
                      <a:lnTo>
                        <a:pt x="232" y="342"/>
                      </a:lnTo>
                      <a:lnTo>
                        <a:pt x="230" y="344"/>
                      </a:lnTo>
                      <a:lnTo>
                        <a:pt x="227" y="344"/>
                      </a:lnTo>
                      <a:lnTo>
                        <a:pt x="225" y="344"/>
                      </a:lnTo>
                      <a:lnTo>
                        <a:pt x="223" y="343"/>
                      </a:lnTo>
                      <a:lnTo>
                        <a:pt x="220" y="342"/>
                      </a:lnTo>
                      <a:lnTo>
                        <a:pt x="219" y="342"/>
                      </a:lnTo>
                      <a:lnTo>
                        <a:pt x="218" y="343"/>
                      </a:lnTo>
                      <a:lnTo>
                        <a:pt x="216" y="344"/>
                      </a:lnTo>
                      <a:lnTo>
                        <a:pt x="213" y="344"/>
                      </a:lnTo>
                      <a:lnTo>
                        <a:pt x="210" y="343"/>
                      </a:lnTo>
                      <a:lnTo>
                        <a:pt x="206" y="341"/>
                      </a:lnTo>
                      <a:lnTo>
                        <a:pt x="204" y="340"/>
                      </a:lnTo>
                      <a:lnTo>
                        <a:pt x="200" y="340"/>
                      </a:lnTo>
                      <a:lnTo>
                        <a:pt x="197" y="339"/>
                      </a:lnTo>
                      <a:lnTo>
                        <a:pt x="195" y="339"/>
                      </a:lnTo>
                      <a:lnTo>
                        <a:pt x="192" y="339"/>
                      </a:lnTo>
                      <a:lnTo>
                        <a:pt x="188" y="341"/>
                      </a:lnTo>
                      <a:lnTo>
                        <a:pt x="184" y="342"/>
                      </a:lnTo>
                      <a:lnTo>
                        <a:pt x="181" y="343"/>
                      </a:lnTo>
                      <a:lnTo>
                        <a:pt x="177" y="344"/>
                      </a:lnTo>
                      <a:lnTo>
                        <a:pt x="178" y="347"/>
                      </a:lnTo>
                      <a:lnTo>
                        <a:pt x="179" y="349"/>
                      </a:lnTo>
                      <a:lnTo>
                        <a:pt x="179" y="351"/>
                      </a:lnTo>
                      <a:lnTo>
                        <a:pt x="178" y="353"/>
                      </a:lnTo>
                      <a:lnTo>
                        <a:pt x="177" y="355"/>
                      </a:lnTo>
                      <a:lnTo>
                        <a:pt x="175" y="357"/>
                      </a:lnTo>
                      <a:lnTo>
                        <a:pt x="174" y="358"/>
                      </a:lnTo>
                      <a:lnTo>
                        <a:pt x="172" y="361"/>
                      </a:lnTo>
                      <a:lnTo>
                        <a:pt x="171" y="363"/>
                      </a:lnTo>
                      <a:lnTo>
                        <a:pt x="169" y="365"/>
                      </a:lnTo>
                      <a:lnTo>
                        <a:pt x="168" y="368"/>
                      </a:lnTo>
                      <a:lnTo>
                        <a:pt x="168" y="370"/>
                      </a:lnTo>
                      <a:lnTo>
                        <a:pt x="167" y="372"/>
                      </a:lnTo>
                      <a:lnTo>
                        <a:pt x="166" y="372"/>
                      </a:lnTo>
                      <a:lnTo>
                        <a:pt x="162" y="374"/>
                      </a:lnTo>
                      <a:lnTo>
                        <a:pt x="160" y="374"/>
                      </a:lnTo>
                      <a:lnTo>
                        <a:pt x="157" y="375"/>
                      </a:lnTo>
                      <a:lnTo>
                        <a:pt x="156" y="376"/>
                      </a:lnTo>
                      <a:lnTo>
                        <a:pt x="155" y="378"/>
                      </a:lnTo>
                      <a:lnTo>
                        <a:pt x="155" y="381"/>
                      </a:lnTo>
                      <a:lnTo>
                        <a:pt x="155" y="382"/>
                      </a:lnTo>
                      <a:lnTo>
                        <a:pt x="154" y="385"/>
                      </a:lnTo>
                      <a:lnTo>
                        <a:pt x="153" y="389"/>
                      </a:lnTo>
                      <a:lnTo>
                        <a:pt x="152" y="393"/>
                      </a:lnTo>
                      <a:lnTo>
                        <a:pt x="150" y="397"/>
                      </a:lnTo>
                      <a:lnTo>
                        <a:pt x="149" y="403"/>
                      </a:lnTo>
                      <a:lnTo>
                        <a:pt x="148" y="407"/>
                      </a:lnTo>
                      <a:lnTo>
                        <a:pt x="147" y="412"/>
                      </a:lnTo>
                      <a:lnTo>
                        <a:pt x="146" y="416"/>
                      </a:lnTo>
                      <a:lnTo>
                        <a:pt x="145" y="418"/>
                      </a:lnTo>
                      <a:lnTo>
                        <a:pt x="142" y="419"/>
                      </a:lnTo>
                      <a:lnTo>
                        <a:pt x="141" y="421"/>
                      </a:lnTo>
                      <a:lnTo>
                        <a:pt x="139" y="423"/>
                      </a:lnTo>
                      <a:lnTo>
                        <a:pt x="136" y="425"/>
                      </a:lnTo>
                      <a:lnTo>
                        <a:pt x="133" y="427"/>
                      </a:lnTo>
                      <a:lnTo>
                        <a:pt x="129" y="428"/>
                      </a:lnTo>
                      <a:lnTo>
                        <a:pt x="128" y="430"/>
                      </a:lnTo>
                      <a:lnTo>
                        <a:pt x="127" y="431"/>
                      </a:lnTo>
                      <a:lnTo>
                        <a:pt x="125" y="433"/>
                      </a:lnTo>
                      <a:lnTo>
                        <a:pt x="124" y="437"/>
                      </a:lnTo>
                      <a:lnTo>
                        <a:pt x="122" y="439"/>
                      </a:lnTo>
                      <a:lnTo>
                        <a:pt x="120" y="444"/>
                      </a:lnTo>
                      <a:lnTo>
                        <a:pt x="118" y="446"/>
                      </a:lnTo>
                      <a:lnTo>
                        <a:pt x="118" y="448"/>
                      </a:lnTo>
                      <a:lnTo>
                        <a:pt x="114" y="449"/>
                      </a:lnTo>
                      <a:lnTo>
                        <a:pt x="112" y="451"/>
                      </a:lnTo>
                      <a:lnTo>
                        <a:pt x="108" y="452"/>
                      </a:lnTo>
                      <a:lnTo>
                        <a:pt x="106" y="453"/>
                      </a:lnTo>
                      <a:lnTo>
                        <a:pt x="103" y="454"/>
                      </a:lnTo>
                      <a:lnTo>
                        <a:pt x="100" y="456"/>
                      </a:lnTo>
                      <a:lnTo>
                        <a:pt x="99" y="459"/>
                      </a:lnTo>
                      <a:lnTo>
                        <a:pt x="98" y="461"/>
                      </a:lnTo>
                      <a:lnTo>
                        <a:pt x="96" y="465"/>
                      </a:lnTo>
                      <a:lnTo>
                        <a:pt x="95" y="468"/>
                      </a:lnTo>
                      <a:lnTo>
                        <a:pt x="95" y="470"/>
                      </a:lnTo>
                      <a:lnTo>
                        <a:pt x="92" y="479"/>
                      </a:lnTo>
                      <a:lnTo>
                        <a:pt x="92" y="483"/>
                      </a:lnTo>
                      <a:lnTo>
                        <a:pt x="91" y="487"/>
                      </a:lnTo>
                      <a:lnTo>
                        <a:pt x="91" y="490"/>
                      </a:lnTo>
                      <a:lnTo>
                        <a:pt x="90" y="496"/>
                      </a:lnTo>
                      <a:lnTo>
                        <a:pt x="90" y="502"/>
                      </a:lnTo>
                      <a:lnTo>
                        <a:pt x="90" y="504"/>
                      </a:lnTo>
                      <a:lnTo>
                        <a:pt x="89" y="507"/>
                      </a:lnTo>
                      <a:lnTo>
                        <a:pt x="88" y="509"/>
                      </a:lnTo>
                      <a:lnTo>
                        <a:pt x="86" y="510"/>
                      </a:lnTo>
                      <a:lnTo>
                        <a:pt x="84" y="512"/>
                      </a:lnTo>
                      <a:lnTo>
                        <a:pt x="82" y="515"/>
                      </a:lnTo>
                      <a:lnTo>
                        <a:pt x="82" y="516"/>
                      </a:lnTo>
                      <a:lnTo>
                        <a:pt x="79" y="517"/>
                      </a:lnTo>
                      <a:lnTo>
                        <a:pt x="78" y="521"/>
                      </a:lnTo>
                      <a:lnTo>
                        <a:pt x="76" y="522"/>
                      </a:lnTo>
                      <a:lnTo>
                        <a:pt x="77" y="523"/>
                      </a:lnTo>
                      <a:lnTo>
                        <a:pt x="77" y="525"/>
                      </a:lnTo>
                      <a:lnTo>
                        <a:pt x="76" y="528"/>
                      </a:lnTo>
                      <a:lnTo>
                        <a:pt x="75" y="531"/>
                      </a:lnTo>
                      <a:lnTo>
                        <a:pt x="72" y="535"/>
                      </a:lnTo>
                      <a:lnTo>
                        <a:pt x="70" y="536"/>
                      </a:lnTo>
                      <a:lnTo>
                        <a:pt x="65" y="537"/>
                      </a:lnTo>
                      <a:lnTo>
                        <a:pt x="60" y="537"/>
                      </a:lnTo>
                      <a:lnTo>
                        <a:pt x="55" y="537"/>
                      </a:lnTo>
                      <a:lnTo>
                        <a:pt x="50" y="537"/>
                      </a:lnTo>
                      <a:lnTo>
                        <a:pt x="46" y="536"/>
                      </a:lnTo>
                      <a:lnTo>
                        <a:pt x="41" y="536"/>
                      </a:lnTo>
                      <a:lnTo>
                        <a:pt x="35" y="535"/>
                      </a:lnTo>
                      <a:lnTo>
                        <a:pt x="32" y="536"/>
                      </a:lnTo>
                      <a:lnTo>
                        <a:pt x="27" y="536"/>
                      </a:lnTo>
                      <a:lnTo>
                        <a:pt x="14" y="536"/>
                      </a:lnTo>
                      <a:lnTo>
                        <a:pt x="10" y="537"/>
                      </a:lnTo>
                      <a:lnTo>
                        <a:pt x="3" y="538"/>
                      </a:lnTo>
                      <a:lnTo>
                        <a:pt x="0" y="538"/>
                      </a:lnTo>
                      <a:lnTo>
                        <a:pt x="1" y="532"/>
                      </a:lnTo>
                      <a:lnTo>
                        <a:pt x="1" y="531"/>
                      </a:lnTo>
                      <a:lnTo>
                        <a:pt x="1" y="530"/>
                      </a:lnTo>
                      <a:lnTo>
                        <a:pt x="1" y="529"/>
                      </a:lnTo>
                      <a:lnTo>
                        <a:pt x="3" y="528"/>
                      </a:lnTo>
                      <a:lnTo>
                        <a:pt x="3" y="526"/>
                      </a:lnTo>
                      <a:lnTo>
                        <a:pt x="1" y="526"/>
                      </a:lnTo>
                      <a:lnTo>
                        <a:pt x="1" y="525"/>
                      </a:lnTo>
                      <a:lnTo>
                        <a:pt x="1" y="524"/>
                      </a:lnTo>
                      <a:lnTo>
                        <a:pt x="3" y="523"/>
                      </a:lnTo>
                      <a:lnTo>
                        <a:pt x="3" y="522"/>
                      </a:lnTo>
                      <a:lnTo>
                        <a:pt x="3" y="521"/>
                      </a:lnTo>
                      <a:lnTo>
                        <a:pt x="6" y="514"/>
                      </a:lnTo>
                      <a:lnTo>
                        <a:pt x="7" y="512"/>
                      </a:lnTo>
                      <a:lnTo>
                        <a:pt x="8" y="511"/>
                      </a:lnTo>
                      <a:lnTo>
                        <a:pt x="8" y="510"/>
                      </a:lnTo>
                      <a:lnTo>
                        <a:pt x="10" y="509"/>
                      </a:lnTo>
                      <a:lnTo>
                        <a:pt x="11" y="509"/>
                      </a:lnTo>
                      <a:lnTo>
                        <a:pt x="11" y="508"/>
                      </a:lnTo>
                      <a:lnTo>
                        <a:pt x="12" y="509"/>
                      </a:lnTo>
                      <a:lnTo>
                        <a:pt x="15" y="508"/>
                      </a:lnTo>
                      <a:lnTo>
                        <a:pt x="17" y="507"/>
                      </a:lnTo>
                      <a:lnTo>
                        <a:pt x="18" y="505"/>
                      </a:lnTo>
                      <a:lnTo>
                        <a:pt x="18" y="501"/>
                      </a:lnTo>
                      <a:lnTo>
                        <a:pt x="19" y="501"/>
                      </a:lnTo>
                      <a:lnTo>
                        <a:pt x="20" y="498"/>
                      </a:lnTo>
                      <a:lnTo>
                        <a:pt x="21" y="496"/>
                      </a:lnTo>
                      <a:lnTo>
                        <a:pt x="21" y="493"/>
                      </a:lnTo>
                      <a:lnTo>
                        <a:pt x="21" y="491"/>
                      </a:lnTo>
                      <a:lnTo>
                        <a:pt x="21" y="490"/>
                      </a:lnTo>
                      <a:lnTo>
                        <a:pt x="22" y="489"/>
                      </a:lnTo>
                      <a:lnTo>
                        <a:pt x="22" y="488"/>
                      </a:lnTo>
                      <a:lnTo>
                        <a:pt x="22" y="487"/>
                      </a:lnTo>
                      <a:lnTo>
                        <a:pt x="24" y="487"/>
                      </a:lnTo>
                      <a:lnTo>
                        <a:pt x="25" y="487"/>
                      </a:lnTo>
                      <a:lnTo>
                        <a:pt x="25" y="486"/>
                      </a:lnTo>
                      <a:lnTo>
                        <a:pt x="26" y="484"/>
                      </a:lnTo>
                      <a:lnTo>
                        <a:pt x="27" y="483"/>
                      </a:lnTo>
                      <a:lnTo>
                        <a:pt x="27" y="482"/>
                      </a:lnTo>
                      <a:lnTo>
                        <a:pt x="27" y="481"/>
                      </a:lnTo>
                      <a:lnTo>
                        <a:pt x="26" y="481"/>
                      </a:lnTo>
                      <a:lnTo>
                        <a:pt x="25" y="481"/>
                      </a:lnTo>
                      <a:lnTo>
                        <a:pt x="25" y="480"/>
                      </a:lnTo>
                      <a:lnTo>
                        <a:pt x="26" y="480"/>
                      </a:lnTo>
                      <a:lnTo>
                        <a:pt x="26" y="479"/>
                      </a:lnTo>
                      <a:lnTo>
                        <a:pt x="27" y="477"/>
                      </a:lnTo>
                      <a:lnTo>
                        <a:pt x="29" y="472"/>
                      </a:lnTo>
                      <a:lnTo>
                        <a:pt x="31" y="472"/>
                      </a:lnTo>
                      <a:lnTo>
                        <a:pt x="31" y="470"/>
                      </a:lnTo>
                      <a:lnTo>
                        <a:pt x="32" y="468"/>
                      </a:lnTo>
                      <a:lnTo>
                        <a:pt x="33" y="466"/>
                      </a:lnTo>
                      <a:lnTo>
                        <a:pt x="33" y="465"/>
                      </a:lnTo>
                      <a:lnTo>
                        <a:pt x="34" y="462"/>
                      </a:lnTo>
                      <a:lnTo>
                        <a:pt x="36" y="460"/>
                      </a:lnTo>
                      <a:lnTo>
                        <a:pt x="36" y="459"/>
                      </a:lnTo>
                      <a:lnTo>
                        <a:pt x="38" y="459"/>
                      </a:lnTo>
                      <a:lnTo>
                        <a:pt x="38" y="458"/>
                      </a:lnTo>
                      <a:lnTo>
                        <a:pt x="39" y="456"/>
                      </a:lnTo>
                      <a:lnTo>
                        <a:pt x="39" y="455"/>
                      </a:lnTo>
                      <a:lnTo>
                        <a:pt x="39" y="454"/>
                      </a:lnTo>
                      <a:lnTo>
                        <a:pt x="39" y="453"/>
                      </a:lnTo>
                      <a:lnTo>
                        <a:pt x="39" y="452"/>
                      </a:lnTo>
                      <a:lnTo>
                        <a:pt x="38" y="452"/>
                      </a:lnTo>
                      <a:lnTo>
                        <a:pt x="38" y="453"/>
                      </a:lnTo>
                      <a:lnTo>
                        <a:pt x="38" y="454"/>
                      </a:lnTo>
                      <a:lnTo>
                        <a:pt x="36" y="454"/>
                      </a:lnTo>
                      <a:lnTo>
                        <a:pt x="35" y="454"/>
                      </a:lnTo>
                      <a:lnTo>
                        <a:pt x="35" y="455"/>
                      </a:lnTo>
                      <a:lnTo>
                        <a:pt x="34" y="455"/>
                      </a:lnTo>
                      <a:lnTo>
                        <a:pt x="34" y="456"/>
                      </a:lnTo>
                      <a:lnTo>
                        <a:pt x="34" y="458"/>
                      </a:lnTo>
                      <a:lnTo>
                        <a:pt x="34" y="459"/>
                      </a:lnTo>
                      <a:lnTo>
                        <a:pt x="33" y="459"/>
                      </a:lnTo>
                      <a:lnTo>
                        <a:pt x="33" y="460"/>
                      </a:lnTo>
                      <a:lnTo>
                        <a:pt x="32" y="461"/>
                      </a:lnTo>
                      <a:lnTo>
                        <a:pt x="31" y="461"/>
                      </a:lnTo>
                      <a:lnTo>
                        <a:pt x="32" y="460"/>
                      </a:lnTo>
                      <a:lnTo>
                        <a:pt x="32" y="459"/>
                      </a:lnTo>
                      <a:lnTo>
                        <a:pt x="33" y="456"/>
                      </a:lnTo>
                      <a:lnTo>
                        <a:pt x="35" y="454"/>
                      </a:lnTo>
                      <a:lnTo>
                        <a:pt x="35" y="453"/>
                      </a:lnTo>
                      <a:lnTo>
                        <a:pt x="36" y="453"/>
                      </a:lnTo>
                      <a:lnTo>
                        <a:pt x="36" y="452"/>
                      </a:lnTo>
                      <a:lnTo>
                        <a:pt x="39" y="449"/>
                      </a:lnTo>
                      <a:lnTo>
                        <a:pt x="40" y="449"/>
                      </a:lnTo>
                      <a:lnTo>
                        <a:pt x="41" y="448"/>
                      </a:lnTo>
                      <a:lnTo>
                        <a:pt x="42" y="448"/>
                      </a:lnTo>
                      <a:lnTo>
                        <a:pt x="43" y="447"/>
                      </a:lnTo>
                      <a:lnTo>
                        <a:pt x="44" y="446"/>
                      </a:lnTo>
                      <a:lnTo>
                        <a:pt x="46" y="445"/>
                      </a:lnTo>
                      <a:lnTo>
                        <a:pt x="47" y="444"/>
                      </a:lnTo>
                      <a:lnTo>
                        <a:pt x="48" y="442"/>
                      </a:lnTo>
                      <a:lnTo>
                        <a:pt x="48" y="441"/>
                      </a:lnTo>
                      <a:lnTo>
                        <a:pt x="49" y="440"/>
                      </a:lnTo>
                      <a:lnTo>
                        <a:pt x="51" y="438"/>
                      </a:lnTo>
                      <a:lnTo>
                        <a:pt x="54" y="437"/>
                      </a:lnTo>
                      <a:lnTo>
                        <a:pt x="55" y="433"/>
                      </a:lnTo>
                      <a:lnTo>
                        <a:pt x="56" y="432"/>
                      </a:lnTo>
                      <a:lnTo>
                        <a:pt x="57" y="431"/>
                      </a:lnTo>
                      <a:lnTo>
                        <a:pt x="58" y="431"/>
                      </a:lnTo>
                      <a:lnTo>
                        <a:pt x="58" y="430"/>
                      </a:lnTo>
                      <a:lnTo>
                        <a:pt x="60" y="430"/>
                      </a:lnTo>
                      <a:lnTo>
                        <a:pt x="61" y="430"/>
                      </a:lnTo>
                      <a:lnTo>
                        <a:pt x="62" y="428"/>
                      </a:lnTo>
                      <a:lnTo>
                        <a:pt x="62" y="427"/>
                      </a:lnTo>
                      <a:lnTo>
                        <a:pt x="63" y="426"/>
                      </a:lnTo>
                      <a:lnTo>
                        <a:pt x="64" y="425"/>
                      </a:lnTo>
                      <a:lnTo>
                        <a:pt x="65" y="425"/>
                      </a:lnTo>
                      <a:lnTo>
                        <a:pt x="65" y="424"/>
                      </a:lnTo>
                      <a:lnTo>
                        <a:pt x="67" y="421"/>
                      </a:lnTo>
                      <a:lnTo>
                        <a:pt x="67" y="419"/>
                      </a:lnTo>
                      <a:lnTo>
                        <a:pt x="68" y="417"/>
                      </a:lnTo>
                      <a:lnTo>
                        <a:pt x="68" y="416"/>
                      </a:lnTo>
                      <a:lnTo>
                        <a:pt x="68" y="414"/>
                      </a:lnTo>
                      <a:lnTo>
                        <a:pt x="68" y="413"/>
                      </a:lnTo>
                      <a:lnTo>
                        <a:pt x="68" y="412"/>
                      </a:lnTo>
                      <a:lnTo>
                        <a:pt x="68" y="411"/>
                      </a:lnTo>
                      <a:lnTo>
                        <a:pt x="68" y="410"/>
                      </a:lnTo>
                      <a:lnTo>
                        <a:pt x="68" y="406"/>
                      </a:lnTo>
                      <a:lnTo>
                        <a:pt x="67" y="405"/>
                      </a:lnTo>
                      <a:lnTo>
                        <a:pt x="68" y="402"/>
                      </a:lnTo>
                      <a:lnTo>
                        <a:pt x="68" y="400"/>
                      </a:lnTo>
                      <a:lnTo>
                        <a:pt x="69" y="397"/>
                      </a:lnTo>
                      <a:lnTo>
                        <a:pt x="70" y="395"/>
                      </a:lnTo>
                      <a:lnTo>
                        <a:pt x="71" y="395"/>
                      </a:lnTo>
                      <a:lnTo>
                        <a:pt x="72" y="392"/>
                      </a:lnTo>
                      <a:lnTo>
                        <a:pt x="72" y="390"/>
                      </a:lnTo>
                      <a:lnTo>
                        <a:pt x="72" y="389"/>
                      </a:lnTo>
                      <a:lnTo>
                        <a:pt x="74" y="385"/>
                      </a:lnTo>
                      <a:lnTo>
                        <a:pt x="76" y="382"/>
                      </a:lnTo>
                      <a:lnTo>
                        <a:pt x="77" y="379"/>
                      </a:lnTo>
                      <a:lnTo>
                        <a:pt x="77" y="378"/>
                      </a:lnTo>
                      <a:lnTo>
                        <a:pt x="78" y="377"/>
                      </a:lnTo>
                      <a:lnTo>
                        <a:pt x="78" y="376"/>
                      </a:lnTo>
                      <a:lnTo>
                        <a:pt x="78" y="374"/>
                      </a:lnTo>
                      <a:lnTo>
                        <a:pt x="78" y="372"/>
                      </a:lnTo>
                      <a:lnTo>
                        <a:pt x="78" y="371"/>
                      </a:lnTo>
                      <a:lnTo>
                        <a:pt x="78" y="370"/>
                      </a:lnTo>
                      <a:lnTo>
                        <a:pt x="81" y="368"/>
                      </a:lnTo>
                      <a:lnTo>
                        <a:pt x="83" y="368"/>
                      </a:lnTo>
                      <a:lnTo>
                        <a:pt x="84" y="367"/>
                      </a:lnTo>
                      <a:lnTo>
                        <a:pt x="86" y="364"/>
                      </a:lnTo>
                      <a:lnTo>
                        <a:pt x="88" y="363"/>
                      </a:lnTo>
                      <a:lnTo>
                        <a:pt x="88" y="362"/>
                      </a:lnTo>
                      <a:lnTo>
                        <a:pt x="89" y="362"/>
                      </a:lnTo>
                      <a:lnTo>
                        <a:pt x="92" y="361"/>
                      </a:lnTo>
                      <a:lnTo>
                        <a:pt x="96" y="360"/>
                      </a:lnTo>
                      <a:lnTo>
                        <a:pt x="102" y="355"/>
                      </a:lnTo>
                      <a:lnTo>
                        <a:pt x="106" y="353"/>
                      </a:lnTo>
                      <a:lnTo>
                        <a:pt x="107" y="350"/>
                      </a:lnTo>
                      <a:lnTo>
                        <a:pt x="110" y="346"/>
                      </a:lnTo>
                      <a:lnTo>
                        <a:pt x="110" y="344"/>
                      </a:lnTo>
                      <a:lnTo>
                        <a:pt x="111" y="341"/>
                      </a:lnTo>
                      <a:lnTo>
                        <a:pt x="111" y="339"/>
                      </a:lnTo>
                      <a:lnTo>
                        <a:pt x="112" y="335"/>
                      </a:lnTo>
                      <a:lnTo>
                        <a:pt x="113" y="333"/>
                      </a:lnTo>
                      <a:lnTo>
                        <a:pt x="115" y="329"/>
                      </a:lnTo>
                      <a:lnTo>
                        <a:pt x="115" y="328"/>
                      </a:lnTo>
                      <a:lnTo>
                        <a:pt x="118" y="325"/>
                      </a:lnTo>
                      <a:lnTo>
                        <a:pt x="118" y="320"/>
                      </a:lnTo>
                      <a:lnTo>
                        <a:pt x="119" y="319"/>
                      </a:lnTo>
                      <a:lnTo>
                        <a:pt x="119" y="318"/>
                      </a:lnTo>
                      <a:lnTo>
                        <a:pt x="119" y="316"/>
                      </a:lnTo>
                      <a:lnTo>
                        <a:pt x="120" y="315"/>
                      </a:lnTo>
                      <a:lnTo>
                        <a:pt x="121" y="314"/>
                      </a:lnTo>
                      <a:lnTo>
                        <a:pt x="122" y="314"/>
                      </a:lnTo>
                      <a:lnTo>
                        <a:pt x="124" y="313"/>
                      </a:lnTo>
                      <a:lnTo>
                        <a:pt x="125" y="311"/>
                      </a:lnTo>
                      <a:lnTo>
                        <a:pt x="125" y="308"/>
                      </a:lnTo>
                      <a:lnTo>
                        <a:pt x="126" y="307"/>
                      </a:lnTo>
                      <a:lnTo>
                        <a:pt x="127" y="307"/>
                      </a:lnTo>
                      <a:lnTo>
                        <a:pt x="129" y="306"/>
                      </a:lnTo>
                      <a:lnTo>
                        <a:pt x="135" y="305"/>
                      </a:lnTo>
                      <a:lnTo>
                        <a:pt x="140" y="305"/>
                      </a:lnTo>
                      <a:lnTo>
                        <a:pt x="146" y="302"/>
                      </a:lnTo>
                      <a:lnTo>
                        <a:pt x="155" y="301"/>
                      </a:lnTo>
                      <a:lnTo>
                        <a:pt x="155" y="300"/>
                      </a:lnTo>
                      <a:lnTo>
                        <a:pt x="156" y="300"/>
                      </a:lnTo>
                      <a:lnTo>
                        <a:pt x="163" y="297"/>
                      </a:lnTo>
                      <a:lnTo>
                        <a:pt x="172" y="292"/>
                      </a:lnTo>
                      <a:lnTo>
                        <a:pt x="174" y="291"/>
                      </a:lnTo>
                      <a:lnTo>
                        <a:pt x="175" y="290"/>
                      </a:lnTo>
                      <a:lnTo>
                        <a:pt x="176" y="288"/>
                      </a:lnTo>
                      <a:lnTo>
                        <a:pt x="176" y="287"/>
                      </a:lnTo>
                      <a:lnTo>
                        <a:pt x="177" y="287"/>
                      </a:lnTo>
                      <a:lnTo>
                        <a:pt x="177" y="286"/>
                      </a:lnTo>
                      <a:lnTo>
                        <a:pt x="178" y="285"/>
                      </a:lnTo>
                      <a:lnTo>
                        <a:pt x="179" y="284"/>
                      </a:lnTo>
                      <a:lnTo>
                        <a:pt x="182" y="281"/>
                      </a:lnTo>
                      <a:lnTo>
                        <a:pt x="183" y="280"/>
                      </a:lnTo>
                      <a:lnTo>
                        <a:pt x="183" y="279"/>
                      </a:lnTo>
                      <a:lnTo>
                        <a:pt x="184" y="279"/>
                      </a:lnTo>
                      <a:lnTo>
                        <a:pt x="184" y="278"/>
                      </a:lnTo>
                      <a:lnTo>
                        <a:pt x="185" y="278"/>
                      </a:lnTo>
                      <a:lnTo>
                        <a:pt x="185" y="277"/>
                      </a:lnTo>
                      <a:lnTo>
                        <a:pt x="186" y="276"/>
                      </a:lnTo>
                      <a:lnTo>
                        <a:pt x="196" y="271"/>
                      </a:lnTo>
                      <a:lnTo>
                        <a:pt x="198" y="270"/>
                      </a:lnTo>
                      <a:lnTo>
                        <a:pt x="200" y="269"/>
                      </a:lnTo>
                      <a:lnTo>
                        <a:pt x="202" y="267"/>
                      </a:lnTo>
                      <a:lnTo>
                        <a:pt x="206" y="264"/>
                      </a:lnTo>
                      <a:lnTo>
                        <a:pt x="209" y="258"/>
                      </a:lnTo>
                      <a:lnTo>
                        <a:pt x="210" y="257"/>
                      </a:lnTo>
                      <a:lnTo>
                        <a:pt x="211" y="257"/>
                      </a:lnTo>
                      <a:lnTo>
                        <a:pt x="212" y="256"/>
                      </a:lnTo>
                      <a:lnTo>
                        <a:pt x="213" y="255"/>
                      </a:lnTo>
                      <a:lnTo>
                        <a:pt x="213" y="253"/>
                      </a:lnTo>
                      <a:lnTo>
                        <a:pt x="214" y="252"/>
                      </a:lnTo>
                      <a:lnTo>
                        <a:pt x="216" y="251"/>
                      </a:lnTo>
                      <a:lnTo>
                        <a:pt x="216" y="250"/>
                      </a:lnTo>
                      <a:lnTo>
                        <a:pt x="217" y="248"/>
                      </a:lnTo>
                      <a:lnTo>
                        <a:pt x="218" y="248"/>
                      </a:lnTo>
                      <a:lnTo>
                        <a:pt x="218" y="246"/>
                      </a:lnTo>
                      <a:lnTo>
                        <a:pt x="218" y="245"/>
                      </a:lnTo>
                      <a:lnTo>
                        <a:pt x="218" y="244"/>
                      </a:lnTo>
                      <a:lnTo>
                        <a:pt x="220" y="243"/>
                      </a:lnTo>
                      <a:lnTo>
                        <a:pt x="220" y="242"/>
                      </a:lnTo>
                      <a:lnTo>
                        <a:pt x="221" y="241"/>
                      </a:lnTo>
                      <a:lnTo>
                        <a:pt x="226" y="236"/>
                      </a:lnTo>
                      <a:lnTo>
                        <a:pt x="228" y="230"/>
                      </a:lnTo>
                      <a:lnTo>
                        <a:pt x="231" y="224"/>
                      </a:lnTo>
                      <a:lnTo>
                        <a:pt x="231" y="223"/>
                      </a:lnTo>
                      <a:lnTo>
                        <a:pt x="232" y="218"/>
                      </a:lnTo>
                      <a:lnTo>
                        <a:pt x="232" y="216"/>
                      </a:lnTo>
                      <a:lnTo>
                        <a:pt x="232" y="215"/>
                      </a:lnTo>
                      <a:lnTo>
                        <a:pt x="232" y="214"/>
                      </a:lnTo>
                      <a:lnTo>
                        <a:pt x="231" y="214"/>
                      </a:lnTo>
                      <a:lnTo>
                        <a:pt x="231" y="213"/>
                      </a:lnTo>
                      <a:lnTo>
                        <a:pt x="230" y="210"/>
                      </a:lnTo>
                      <a:lnTo>
                        <a:pt x="230" y="209"/>
                      </a:lnTo>
                      <a:lnTo>
                        <a:pt x="228" y="209"/>
                      </a:lnTo>
                      <a:lnTo>
                        <a:pt x="227" y="209"/>
                      </a:lnTo>
                      <a:lnTo>
                        <a:pt x="227" y="208"/>
                      </a:lnTo>
                      <a:lnTo>
                        <a:pt x="225" y="207"/>
                      </a:lnTo>
                      <a:lnTo>
                        <a:pt x="224" y="207"/>
                      </a:lnTo>
                      <a:lnTo>
                        <a:pt x="224" y="206"/>
                      </a:lnTo>
                      <a:lnTo>
                        <a:pt x="223" y="206"/>
                      </a:lnTo>
                      <a:lnTo>
                        <a:pt x="223" y="204"/>
                      </a:lnTo>
                      <a:lnTo>
                        <a:pt x="224" y="203"/>
                      </a:lnTo>
                      <a:lnTo>
                        <a:pt x="225" y="201"/>
                      </a:lnTo>
                      <a:lnTo>
                        <a:pt x="225" y="200"/>
                      </a:lnTo>
                      <a:lnTo>
                        <a:pt x="225" y="199"/>
                      </a:lnTo>
                      <a:lnTo>
                        <a:pt x="225" y="197"/>
                      </a:lnTo>
                      <a:lnTo>
                        <a:pt x="225" y="190"/>
                      </a:lnTo>
                      <a:lnTo>
                        <a:pt x="225" y="189"/>
                      </a:lnTo>
                      <a:lnTo>
                        <a:pt x="224" y="188"/>
                      </a:lnTo>
                      <a:lnTo>
                        <a:pt x="225" y="187"/>
                      </a:lnTo>
                      <a:lnTo>
                        <a:pt x="225" y="182"/>
                      </a:lnTo>
                      <a:lnTo>
                        <a:pt x="225" y="180"/>
                      </a:lnTo>
                      <a:lnTo>
                        <a:pt x="225" y="179"/>
                      </a:lnTo>
                      <a:lnTo>
                        <a:pt x="224" y="178"/>
                      </a:lnTo>
                      <a:lnTo>
                        <a:pt x="225" y="176"/>
                      </a:lnTo>
                      <a:lnTo>
                        <a:pt x="226" y="175"/>
                      </a:lnTo>
                      <a:lnTo>
                        <a:pt x="226" y="173"/>
                      </a:lnTo>
                      <a:lnTo>
                        <a:pt x="226" y="172"/>
                      </a:lnTo>
                      <a:lnTo>
                        <a:pt x="227" y="172"/>
                      </a:lnTo>
                      <a:lnTo>
                        <a:pt x="227" y="171"/>
                      </a:lnTo>
                      <a:lnTo>
                        <a:pt x="228" y="169"/>
                      </a:lnTo>
                      <a:lnTo>
                        <a:pt x="228" y="168"/>
                      </a:lnTo>
                      <a:lnTo>
                        <a:pt x="230" y="166"/>
                      </a:lnTo>
                      <a:lnTo>
                        <a:pt x="230" y="165"/>
                      </a:lnTo>
                      <a:lnTo>
                        <a:pt x="232" y="161"/>
                      </a:lnTo>
                      <a:lnTo>
                        <a:pt x="233" y="160"/>
                      </a:lnTo>
                      <a:lnTo>
                        <a:pt x="234" y="160"/>
                      </a:lnTo>
                      <a:lnTo>
                        <a:pt x="234" y="159"/>
                      </a:lnTo>
                      <a:lnTo>
                        <a:pt x="235" y="158"/>
                      </a:lnTo>
                      <a:lnTo>
                        <a:pt x="239" y="153"/>
                      </a:lnTo>
                      <a:lnTo>
                        <a:pt x="240" y="152"/>
                      </a:lnTo>
                      <a:lnTo>
                        <a:pt x="240" y="151"/>
                      </a:lnTo>
                      <a:lnTo>
                        <a:pt x="240" y="150"/>
                      </a:lnTo>
                      <a:lnTo>
                        <a:pt x="241" y="148"/>
                      </a:lnTo>
                      <a:lnTo>
                        <a:pt x="241" y="147"/>
                      </a:lnTo>
                      <a:lnTo>
                        <a:pt x="242" y="146"/>
                      </a:lnTo>
                      <a:lnTo>
                        <a:pt x="242" y="141"/>
                      </a:lnTo>
                      <a:lnTo>
                        <a:pt x="241" y="141"/>
                      </a:lnTo>
                      <a:lnTo>
                        <a:pt x="241" y="140"/>
                      </a:lnTo>
                      <a:lnTo>
                        <a:pt x="242" y="138"/>
                      </a:lnTo>
                      <a:lnTo>
                        <a:pt x="242" y="137"/>
                      </a:lnTo>
                      <a:lnTo>
                        <a:pt x="242" y="136"/>
                      </a:lnTo>
                      <a:lnTo>
                        <a:pt x="241" y="136"/>
                      </a:lnTo>
                      <a:lnTo>
                        <a:pt x="241" y="134"/>
                      </a:lnTo>
                      <a:lnTo>
                        <a:pt x="241" y="133"/>
                      </a:lnTo>
                      <a:lnTo>
                        <a:pt x="242" y="132"/>
                      </a:lnTo>
                      <a:lnTo>
                        <a:pt x="247" y="129"/>
                      </a:lnTo>
                      <a:lnTo>
                        <a:pt x="250" y="124"/>
                      </a:lnTo>
                      <a:lnTo>
                        <a:pt x="253" y="122"/>
                      </a:lnTo>
                      <a:lnTo>
                        <a:pt x="254" y="120"/>
                      </a:lnTo>
                      <a:lnTo>
                        <a:pt x="257" y="116"/>
                      </a:lnTo>
                      <a:lnTo>
                        <a:pt x="262" y="111"/>
                      </a:lnTo>
                      <a:lnTo>
                        <a:pt x="262" y="110"/>
                      </a:lnTo>
                      <a:lnTo>
                        <a:pt x="262" y="109"/>
                      </a:lnTo>
                      <a:lnTo>
                        <a:pt x="266" y="105"/>
                      </a:lnTo>
                      <a:lnTo>
                        <a:pt x="266" y="106"/>
                      </a:lnTo>
                      <a:lnTo>
                        <a:pt x="267" y="106"/>
                      </a:lnTo>
                      <a:lnTo>
                        <a:pt x="268" y="106"/>
                      </a:lnTo>
                      <a:lnTo>
                        <a:pt x="269" y="105"/>
                      </a:lnTo>
                      <a:lnTo>
                        <a:pt x="270" y="104"/>
                      </a:lnTo>
                      <a:lnTo>
                        <a:pt x="271" y="102"/>
                      </a:lnTo>
                      <a:lnTo>
                        <a:pt x="273" y="101"/>
                      </a:lnTo>
                      <a:lnTo>
                        <a:pt x="274" y="101"/>
                      </a:lnTo>
                      <a:lnTo>
                        <a:pt x="278" y="99"/>
                      </a:lnTo>
                      <a:lnTo>
                        <a:pt x="282" y="98"/>
                      </a:lnTo>
                      <a:lnTo>
                        <a:pt x="283" y="97"/>
                      </a:lnTo>
                      <a:lnTo>
                        <a:pt x="284" y="97"/>
                      </a:lnTo>
                      <a:lnTo>
                        <a:pt x="285" y="96"/>
                      </a:lnTo>
                      <a:lnTo>
                        <a:pt x="287" y="96"/>
                      </a:lnTo>
                      <a:lnTo>
                        <a:pt x="287" y="95"/>
                      </a:lnTo>
                      <a:lnTo>
                        <a:pt x="289" y="95"/>
                      </a:lnTo>
                      <a:lnTo>
                        <a:pt x="290" y="94"/>
                      </a:lnTo>
                      <a:lnTo>
                        <a:pt x="291" y="94"/>
                      </a:lnTo>
                      <a:lnTo>
                        <a:pt x="292" y="92"/>
                      </a:lnTo>
                      <a:lnTo>
                        <a:pt x="294" y="92"/>
                      </a:lnTo>
                      <a:lnTo>
                        <a:pt x="295" y="92"/>
                      </a:lnTo>
                      <a:lnTo>
                        <a:pt x="296" y="91"/>
                      </a:lnTo>
                      <a:lnTo>
                        <a:pt x="297" y="91"/>
                      </a:lnTo>
                      <a:lnTo>
                        <a:pt x="298" y="91"/>
                      </a:lnTo>
                      <a:lnTo>
                        <a:pt x="298" y="90"/>
                      </a:lnTo>
                      <a:lnTo>
                        <a:pt x="299" y="89"/>
                      </a:lnTo>
                      <a:lnTo>
                        <a:pt x="300" y="89"/>
                      </a:lnTo>
                      <a:lnTo>
                        <a:pt x="300" y="88"/>
                      </a:lnTo>
                      <a:lnTo>
                        <a:pt x="302" y="88"/>
                      </a:lnTo>
                      <a:lnTo>
                        <a:pt x="303" y="88"/>
                      </a:lnTo>
                      <a:lnTo>
                        <a:pt x="305" y="85"/>
                      </a:lnTo>
                      <a:lnTo>
                        <a:pt x="306" y="84"/>
                      </a:lnTo>
                      <a:lnTo>
                        <a:pt x="307" y="84"/>
                      </a:lnTo>
                      <a:lnTo>
                        <a:pt x="309" y="83"/>
                      </a:lnTo>
                      <a:lnTo>
                        <a:pt x="310" y="83"/>
                      </a:lnTo>
                      <a:lnTo>
                        <a:pt x="311" y="83"/>
                      </a:lnTo>
                      <a:lnTo>
                        <a:pt x="312" y="82"/>
                      </a:lnTo>
                      <a:lnTo>
                        <a:pt x="313" y="82"/>
                      </a:lnTo>
                      <a:lnTo>
                        <a:pt x="316" y="78"/>
                      </a:lnTo>
                      <a:lnTo>
                        <a:pt x="319" y="75"/>
                      </a:lnTo>
                      <a:lnTo>
                        <a:pt x="323" y="70"/>
                      </a:lnTo>
                      <a:lnTo>
                        <a:pt x="324" y="66"/>
                      </a:lnTo>
                      <a:lnTo>
                        <a:pt x="327" y="61"/>
                      </a:lnTo>
                      <a:lnTo>
                        <a:pt x="328" y="60"/>
                      </a:lnTo>
                      <a:lnTo>
                        <a:pt x="328" y="59"/>
                      </a:lnTo>
                      <a:lnTo>
                        <a:pt x="330" y="57"/>
                      </a:lnTo>
                      <a:lnTo>
                        <a:pt x="337" y="42"/>
                      </a:lnTo>
                      <a:lnTo>
                        <a:pt x="339" y="33"/>
                      </a:lnTo>
                      <a:lnTo>
                        <a:pt x="345" y="18"/>
                      </a:lnTo>
                      <a:lnTo>
                        <a:pt x="345" y="17"/>
                      </a:lnTo>
                      <a:lnTo>
                        <a:pt x="345" y="15"/>
                      </a:lnTo>
                      <a:lnTo>
                        <a:pt x="346" y="14"/>
                      </a:lnTo>
                      <a:lnTo>
                        <a:pt x="346" y="12"/>
                      </a:lnTo>
                      <a:lnTo>
                        <a:pt x="346" y="11"/>
                      </a:lnTo>
                      <a:lnTo>
                        <a:pt x="347" y="11"/>
                      </a:lnTo>
                      <a:lnTo>
                        <a:pt x="347" y="10"/>
                      </a:lnTo>
                      <a:lnTo>
                        <a:pt x="347" y="8"/>
                      </a:lnTo>
                      <a:lnTo>
                        <a:pt x="347" y="7"/>
                      </a:lnTo>
                      <a:lnTo>
                        <a:pt x="347" y="6"/>
                      </a:lnTo>
                      <a:lnTo>
                        <a:pt x="348" y="6"/>
                      </a:lnTo>
                      <a:lnTo>
                        <a:pt x="349" y="6"/>
                      </a:lnTo>
                      <a:lnTo>
                        <a:pt x="352" y="6"/>
                      </a:lnTo>
                      <a:lnTo>
                        <a:pt x="353" y="6"/>
                      </a:lnTo>
                      <a:lnTo>
                        <a:pt x="353" y="5"/>
                      </a:lnTo>
                      <a:lnTo>
                        <a:pt x="354" y="5"/>
                      </a:lnTo>
                      <a:lnTo>
                        <a:pt x="355" y="4"/>
                      </a:lnTo>
                      <a:lnTo>
                        <a:pt x="355" y="5"/>
                      </a:lnTo>
                      <a:lnTo>
                        <a:pt x="356" y="4"/>
                      </a:lnTo>
                      <a:lnTo>
                        <a:pt x="358" y="4"/>
                      </a:lnTo>
                      <a:lnTo>
                        <a:pt x="358" y="5"/>
                      </a:lnTo>
                      <a:lnTo>
                        <a:pt x="360" y="4"/>
                      </a:lnTo>
                      <a:lnTo>
                        <a:pt x="360" y="3"/>
                      </a:lnTo>
                      <a:lnTo>
                        <a:pt x="361" y="1"/>
                      </a:lnTo>
                      <a:lnTo>
                        <a:pt x="362" y="1"/>
                      </a:lnTo>
                      <a:lnTo>
                        <a:pt x="362" y="0"/>
                      </a:lnTo>
                      <a:lnTo>
                        <a:pt x="363" y="0"/>
                      </a:lnTo>
                      <a:lnTo>
                        <a:pt x="363" y="1"/>
                      </a:lnTo>
                      <a:lnTo>
                        <a:pt x="364" y="1"/>
                      </a:lnTo>
                      <a:lnTo>
                        <a:pt x="364" y="0"/>
                      </a:lnTo>
                      <a:close/>
                    </a:path>
                  </a:pathLst>
                </a:custGeom>
                <a:solidFill>
                  <a:schemeClr val="bg2">
                    <a:lumMod val="9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97" name="Freeform 107">
                  <a:extLst>
                    <a:ext uri="{FF2B5EF4-FFF2-40B4-BE49-F238E27FC236}">
                      <a16:creationId xmlns:a16="http://schemas.microsoft.com/office/drawing/2014/main" id="{A5935EC8-5E43-5FCB-4752-5ED1A2D33D1E}"/>
                    </a:ext>
                  </a:extLst>
                </p:cNvPr>
                <p:cNvSpPr>
                  <a:spLocks noEditPoints="1"/>
                </p:cNvSpPr>
                <p:nvPr/>
              </p:nvSpPr>
              <p:spPr bwMode="auto">
                <a:xfrm>
                  <a:off x="6317802" y="3320490"/>
                  <a:ext cx="412141" cy="335336"/>
                </a:xfrm>
                <a:custGeom>
                  <a:avLst/>
                  <a:gdLst>
                    <a:gd name="T0" fmla="*/ 148 w 381"/>
                    <a:gd name="T1" fmla="*/ 301 h 310"/>
                    <a:gd name="T2" fmla="*/ 111 w 381"/>
                    <a:gd name="T3" fmla="*/ 7 h 310"/>
                    <a:gd name="T4" fmla="*/ 141 w 381"/>
                    <a:gd name="T5" fmla="*/ 27 h 310"/>
                    <a:gd name="T6" fmla="*/ 182 w 381"/>
                    <a:gd name="T7" fmla="*/ 26 h 310"/>
                    <a:gd name="T8" fmla="*/ 222 w 381"/>
                    <a:gd name="T9" fmla="*/ 34 h 310"/>
                    <a:gd name="T10" fmla="*/ 298 w 381"/>
                    <a:gd name="T11" fmla="*/ 24 h 310"/>
                    <a:gd name="T12" fmla="*/ 316 w 381"/>
                    <a:gd name="T13" fmla="*/ 19 h 310"/>
                    <a:gd name="T14" fmla="*/ 326 w 381"/>
                    <a:gd name="T15" fmla="*/ 12 h 310"/>
                    <a:gd name="T16" fmla="*/ 338 w 381"/>
                    <a:gd name="T17" fmla="*/ 5 h 310"/>
                    <a:gd name="T18" fmla="*/ 377 w 381"/>
                    <a:gd name="T19" fmla="*/ 53 h 310"/>
                    <a:gd name="T20" fmla="*/ 379 w 381"/>
                    <a:gd name="T21" fmla="*/ 70 h 310"/>
                    <a:gd name="T22" fmla="*/ 364 w 381"/>
                    <a:gd name="T23" fmla="*/ 84 h 310"/>
                    <a:gd name="T24" fmla="*/ 343 w 381"/>
                    <a:gd name="T25" fmla="*/ 117 h 310"/>
                    <a:gd name="T26" fmla="*/ 336 w 381"/>
                    <a:gd name="T27" fmla="*/ 136 h 310"/>
                    <a:gd name="T28" fmla="*/ 322 w 381"/>
                    <a:gd name="T29" fmla="*/ 164 h 310"/>
                    <a:gd name="T30" fmla="*/ 308 w 381"/>
                    <a:gd name="T31" fmla="*/ 175 h 310"/>
                    <a:gd name="T32" fmla="*/ 298 w 381"/>
                    <a:gd name="T33" fmla="*/ 202 h 310"/>
                    <a:gd name="T34" fmla="*/ 289 w 381"/>
                    <a:gd name="T35" fmla="*/ 221 h 310"/>
                    <a:gd name="T36" fmla="*/ 277 w 381"/>
                    <a:gd name="T37" fmla="*/ 238 h 310"/>
                    <a:gd name="T38" fmla="*/ 262 w 381"/>
                    <a:gd name="T39" fmla="*/ 228 h 310"/>
                    <a:gd name="T40" fmla="*/ 249 w 381"/>
                    <a:gd name="T41" fmla="*/ 226 h 310"/>
                    <a:gd name="T42" fmla="*/ 222 w 381"/>
                    <a:gd name="T43" fmla="*/ 237 h 310"/>
                    <a:gd name="T44" fmla="*/ 201 w 381"/>
                    <a:gd name="T45" fmla="*/ 257 h 310"/>
                    <a:gd name="T46" fmla="*/ 197 w 381"/>
                    <a:gd name="T47" fmla="*/ 269 h 310"/>
                    <a:gd name="T48" fmla="*/ 190 w 381"/>
                    <a:gd name="T49" fmla="*/ 291 h 310"/>
                    <a:gd name="T50" fmla="*/ 182 w 381"/>
                    <a:gd name="T51" fmla="*/ 291 h 310"/>
                    <a:gd name="T52" fmla="*/ 181 w 381"/>
                    <a:gd name="T53" fmla="*/ 296 h 310"/>
                    <a:gd name="T54" fmla="*/ 162 w 381"/>
                    <a:gd name="T55" fmla="*/ 301 h 310"/>
                    <a:gd name="T56" fmla="*/ 156 w 381"/>
                    <a:gd name="T57" fmla="*/ 298 h 310"/>
                    <a:gd name="T58" fmla="*/ 148 w 381"/>
                    <a:gd name="T59" fmla="*/ 301 h 310"/>
                    <a:gd name="T60" fmla="*/ 145 w 381"/>
                    <a:gd name="T61" fmla="*/ 301 h 310"/>
                    <a:gd name="T62" fmla="*/ 140 w 381"/>
                    <a:gd name="T63" fmla="*/ 296 h 310"/>
                    <a:gd name="T64" fmla="*/ 138 w 381"/>
                    <a:gd name="T65" fmla="*/ 299 h 310"/>
                    <a:gd name="T66" fmla="*/ 133 w 381"/>
                    <a:gd name="T67" fmla="*/ 299 h 310"/>
                    <a:gd name="T68" fmla="*/ 133 w 381"/>
                    <a:gd name="T69" fmla="*/ 298 h 310"/>
                    <a:gd name="T70" fmla="*/ 130 w 381"/>
                    <a:gd name="T71" fmla="*/ 301 h 310"/>
                    <a:gd name="T72" fmla="*/ 127 w 381"/>
                    <a:gd name="T73" fmla="*/ 307 h 310"/>
                    <a:gd name="T74" fmla="*/ 118 w 381"/>
                    <a:gd name="T75" fmla="*/ 308 h 310"/>
                    <a:gd name="T76" fmla="*/ 114 w 381"/>
                    <a:gd name="T77" fmla="*/ 307 h 310"/>
                    <a:gd name="T78" fmla="*/ 110 w 381"/>
                    <a:gd name="T79" fmla="*/ 308 h 310"/>
                    <a:gd name="T80" fmla="*/ 103 w 381"/>
                    <a:gd name="T81" fmla="*/ 304 h 310"/>
                    <a:gd name="T82" fmla="*/ 91 w 381"/>
                    <a:gd name="T83" fmla="*/ 293 h 310"/>
                    <a:gd name="T84" fmla="*/ 90 w 381"/>
                    <a:gd name="T85" fmla="*/ 280 h 310"/>
                    <a:gd name="T86" fmla="*/ 94 w 381"/>
                    <a:gd name="T87" fmla="*/ 273 h 310"/>
                    <a:gd name="T88" fmla="*/ 89 w 381"/>
                    <a:gd name="T89" fmla="*/ 272 h 310"/>
                    <a:gd name="T90" fmla="*/ 90 w 381"/>
                    <a:gd name="T91" fmla="*/ 268 h 310"/>
                    <a:gd name="T92" fmla="*/ 82 w 381"/>
                    <a:gd name="T93" fmla="*/ 268 h 310"/>
                    <a:gd name="T94" fmla="*/ 82 w 381"/>
                    <a:gd name="T95" fmla="*/ 259 h 310"/>
                    <a:gd name="T96" fmla="*/ 56 w 381"/>
                    <a:gd name="T97" fmla="*/ 243 h 310"/>
                    <a:gd name="T98" fmla="*/ 32 w 381"/>
                    <a:gd name="T99" fmla="*/ 238 h 310"/>
                    <a:gd name="T100" fmla="*/ 27 w 381"/>
                    <a:gd name="T101" fmla="*/ 236 h 310"/>
                    <a:gd name="T102" fmla="*/ 3 w 381"/>
                    <a:gd name="T103" fmla="*/ 240 h 310"/>
                    <a:gd name="T104" fmla="*/ 4 w 381"/>
                    <a:gd name="T105" fmla="*/ 222 h 310"/>
                    <a:gd name="T106" fmla="*/ 0 w 381"/>
                    <a:gd name="T107" fmla="*/ 195 h 310"/>
                    <a:gd name="T108" fmla="*/ 2 w 381"/>
                    <a:gd name="T109" fmla="*/ 167 h 310"/>
                    <a:gd name="T110" fmla="*/ 14 w 381"/>
                    <a:gd name="T111" fmla="*/ 152 h 310"/>
                    <a:gd name="T112" fmla="*/ 20 w 381"/>
                    <a:gd name="T113" fmla="*/ 133 h 310"/>
                    <a:gd name="T114" fmla="*/ 30 w 381"/>
                    <a:gd name="T115" fmla="*/ 114 h 310"/>
                    <a:gd name="T116" fmla="*/ 33 w 381"/>
                    <a:gd name="T117" fmla="*/ 102 h 310"/>
                    <a:gd name="T118" fmla="*/ 31 w 381"/>
                    <a:gd name="T119" fmla="*/ 69 h 310"/>
                    <a:gd name="T120" fmla="*/ 48 w 381"/>
                    <a:gd name="T121" fmla="*/ 14 h 310"/>
                    <a:gd name="T122" fmla="*/ 83 w 381"/>
                    <a:gd name="T123" fmla="*/ 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1" h="310">
                      <a:moveTo>
                        <a:pt x="153" y="303"/>
                      </a:moveTo>
                      <a:lnTo>
                        <a:pt x="154" y="303"/>
                      </a:lnTo>
                      <a:lnTo>
                        <a:pt x="155" y="303"/>
                      </a:lnTo>
                      <a:lnTo>
                        <a:pt x="156" y="303"/>
                      </a:lnTo>
                      <a:lnTo>
                        <a:pt x="158" y="301"/>
                      </a:lnTo>
                      <a:lnTo>
                        <a:pt x="158" y="303"/>
                      </a:lnTo>
                      <a:lnTo>
                        <a:pt x="156" y="303"/>
                      </a:lnTo>
                      <a:lnTo>
                        <a:pt x="155" y="303"/>
                      </a:lnTo>
                      <a:lnTo>
                        <a:pt x="153" y="304"/>
                      </a:lnTo>
                      <a:lnTo>
                        <a:pt x="151" y="304"/>
                      </a:lnTo>
                      <a:lnTo>
                        <a:pt x="149" y="304"/>
                      </a:lnTo>
                      <a:lnTo>
                        <a:pt x="149" y="303"/>
                      </a:lnTo>
                      <a:lnTo>
                        <a:pt x="151" y="303"/>
                      </a:lnTo>
                      <a:lnTo>
                        <a:pt x="152" y="301"/>
                      </a:lnTo>
                      <a:lnTo>
                        <a:pt x="153" y="303"/>
                      </a:lnTo>
                      <a:close/>
                      <a:moveTo>
                        <a:pt x="147" y="301"/>
                      </a:moveTo>
                      <a:lnTo>
                        <a:pt x="148" y="301"/>
                      </a:lnTo>
                      <a:lnTo>
                        <a:pt x="149" y="301"/>
                      </a:lnTo>
                      <a:lnTo>
                        <a:pt x="149" y="303"/>
                      </a:lnTo>
                      <a:lnTo>
                        <a:pt x="149" y="304"/>
                      </a:lnTo>
                      <a:lnTo>
                        <a:pt x="148" y="304"/>
                      </a:lnTo>
                      <a:lnTo>
                        <a:pt x="148" y="305"/>
                      </a:lnTo>
                      <a:lnTo>
                        <a:pt x="147" y="305"/>
                      </a:lnTo>
                      <a:lnTo>
                        <a:pt x="145" y="305"/>
                      </a:lnTo>
                      <a:lnTo>
                        <a:pt x="144" y="305"/>
                      </a:lnTo>
                      <a:lnTo>
                        <a:pt x="145" y="304"/>
                      </a:lnTo>
                      <a:lnTo>
                        <a:pt x="146" y="303"/>
                      </a:lnTo>
                      <a:lnTo>
                        <a:pt x="146" y="301"/>
                      </a:lnTo>
                      <a:lnTo>
                        <a:pt x="146" y="300"/>
                      </a:lnTo>
                      <a:lnTo>
                        <a:pt x="147" y="301"/>
                      </a:lnTo>
                      <a:close/>
                      <a:moveTo>
                        <a:pt x="99" y="5"/>
                      </a:moveTo>
                      <a:lnTo>
                        <a:pt x="109" y="9"/>
                      </a:lnTo>
                      <a:lnTo>
                        <a:pt x="110" y="9"/>
                      </a:lnTo>
                      <a:lnTo>
                        <a:pt x="111" y="7"/>
                      </a:lnTo>
                      <a:lnTo>
                        <a:pt x="112" y="7"/>
                      </a:lnTo>
                      <a:lnTo>
                        <a:pt x="113" y="7"/>
                      </a:lnTo>
                      <a:lnTo>
                        <a:pt x="114" y="7"/>
                      </a:lnTo>
                      <a:lnTo>
                        <a:pt x="117" y="9"/>
                      </a:lnTo>
                      <a:lnTo>
                        <a:pt x="121" y="13"/>
                      </a:lnTo>
                      <a:lnTo>
                        <a:pt x="126" y="19"/>
                      </a:lnTo>
                      <a:lnTo>
                        <a:pt x="128" y="24"/>
                      </a:lnTo>
                      <a:lnTo>
                        <a:pt x="130" y="25"/>
                      </a:lnTo>
                      <a:lnTo>
                        <a:pt x="132" y="27"/>
                      </a:lnTo>
                      <a:lnTo>
                        <a:pt x="133" y="28"/>
                      </a:lnTo>
                      <a:lnTo>
                        <a:pt x="134" y="28"/>
                      </a:lnTo>
                      <a:lnTo>
                        <a:pt x="134" y="30"/>
                      </a:lnTo>
                      <a:lnTo>
                        <a:pt x="135" y="30"/>
                      </a:lnTo>
                      <a:lnTo>
                        <a:pt x="138" y="30"/>
                      </a:lnTo>
                      <a:lnTo>
                        <a:pt x="139" y="30"/>
                      </a:lnTo>
                      <a:lnTo>
                        <a:pt x="140" y="28"/>
                      </a:lnTo>
                      <a:lnTo>
                        <a:pt x="141" y="27"/>
                      </a:lnTo>
                      <a:lnTo>
                        <a:pt x="144" y="25"/>
                      </a:lnTo>
                      <a:lnTo>
                        <a:pt x="147" y="26"/>
                      </a:lnTo>
                      <a:lnTo>
                        <a:pt x="148" y="26"/>
                      </a:lnTo>
                      <a:lnTo>
                        <a:pt x="149" y="25"/>
                      </a:lnTo>
                      <a:lnTo>
                        <a:pt x="161" y="18"/>
                      </a:lnTo>
                      <a:lnTo>
                        <a:pt x="162" y="18"/>
                      </a:lnTo>
                      <a:lnTo>
                        <a:pt x="163" y="18"/>
                      </a:lnTo>
                      <a:lnTo>
                        <a:pt x="172" y="19"/>
                      </a:lnTo>
                      <a:lnTo>
                        <a:pt x="173" y="19"/>
                      </a:lnTo>
                      <a:lnTo>
                        <a:pt x="173" y="20"/>
                      </a:lnTo>
                      <a:lnTo>
                        <a:pt x="174" y="20"/>
                      </a:lnTo>
                      <a:lnTo>
                        <a:pt x="175" y="21"/>
                      </a:lnTo>
                      <a:lnTo>
                        <a:pt x="176" y="21"/>
                      </a:lnTo>
                      <a:lnTo>
                        <a:pt x="177" y="23"/>
                      </a:lnTo>
                      <a:lnTo>
                        <a:pt x="178" y="24"/>
                      </a:lnTo>
                      <a:lnTo>
                        <a:pt x="181" y="26"/>
                      </a:lnTo>
                      <a:lnTo>
                        <a:pt x="182" y="26"/>
                      </a:lnTo>
                      <a:lnTo>
                        <a:pt x="183" y="26"/>
                      </a:lnTo>
                      <a:lnTo>
                        <a:pt x="184" y="26"/>
                      </a:lnTo>
                      <a:lnTo>
                        <a:pt x="185" y="27"/>
                      </a:lnTo>
                      <a:lnTo>
                        <a:pt x="187" y="27"/>
                      </a:lnTo>
                      <a:lnTo>
                        <a:pt x="188" y="28"/>
                      </a:lnTo>
                      <a:lnTo>
                        <a:pt x="189" y="30"/>
                      </a:lnTo>
                      <a:lnTo>
                        <a:pt x="189" y="31"/>
                      </a:lnTo>
                      <a:lnTo>
                        <a:pt x="190" y="31"/>
                      </a:lnTo>
                      <a:lnTo>
                        <a:pt x="198" y="33"/>
                      </a:lnTo>
                      <a:lnTo>
                        <a:pt x="199" y="34"/>
                      </a:lnTo>
                      <a:lnTo>
                        <a:pt x="209" y="34"/>
                      </a:lnTo>
                      <a:lnTo>
                        <a:pt x="210" y="34"/>
                      </a:lnTo>
                      <a:lnTo>
                        <a:pt x="212" y="34"/>
                      </a:lnTo>
                      <a:lnTo>
                        <a:pt x="219" y="35"/>
                      </a:lnTo>
                      <a:lnTo>
                        <a:pt x="220" y="35"/>
                      </a:lnTo>
                      <a:lnTo>
                        <a:pt x="220" y="34"/>
                      </a:lnTo>
                      <a:lnTo>
                        <a:pt x="222" y="34"/>
                      </a:lnTo>
                      <a:lnTo>
                        <a:pt x="226" y="27"/>
                      </a:lnTo>
                      <a:lnTo>
                        <a:pt x="227" y="26"/>
                      </a:lnTo>
                      <a:lnTo>
                        <a:pt x="229" y="26"/>
                      </a:lnTo>
                      <a:lnTo>
                        <a:pt x="230" y="25"/>
                      </a:lnTo>
                      <a:lnTo>
                        <a:pt x="230" y="24"/>
                      </a:lnTo>
                      <a:lnTo>
                        <a:pt x="236" y="20"/>
                      </a:lnTo>
                      <a:lnTo>
                        <a:pt x="238" y="20"/>
                      </a:lnTo>
                      <a:lnTo>
                        <a:pt x="253" y="17"/>
                      </a:lnTo>
                      <a:lnTo>
                        <a:pt x="254" y="16"/>
                      </a:lnTo>
                      <a:lnTo>
                        <a:pt x="256" y="16"/>
                      </a:lnTo>
                      <a:lnTo>
                        <a:pt x="262" y="17"/>
                      </a:lnTo>
                      <a:lnTo>
                        <a:pt x="279" y="17"/>
                      </a:lnTo>
                      <a:lnTo>
                        <a:pt x="288" y="19"/>
                      </a:lnTo>
                      <a:lnTo>
                        <a:pt x="291" y="20"/>
                      </a:lnTo>
                      <a:lnTo>
                        <a:pt x="296" y="23"/>
                      </a:lnTo>
                      <a:lnTo>
                        <a:pt x="297" y="24"/>
                      </a:lnTo>
                      <a:lnTo>
                        <a:pt x="298" y="24"/>
                      </a:lnTo>
                      <a:lnTo>
                        <a:pt x="300" y="25"/>
                      </a:lnTo>
                      <a:lnTo>
                        <a:pt x="301" y="25"/>
                      </a:lnTo>
                      <a:lnTo>
                        <a:pt x="302" y="24"/>
                      </a:lnTo>
                      <a:lnTo>
                        <a:pt x="304" y="25"/>
                      </a:lnTo>
                      <a:lnTo>
                        <a:pt x="305" y="25"/>
                      </a:lnTo>
                      <a:lnTo>
                        <a:pt x="307" y="25"/>
                      </a:lnTo>
                      <a:lnTo>
                        <a:pt x="308" y="25"/>
                      </a:lnTo>
                      <a:lnTo>
                        <a:pt x="309" y="25"/>
                      </a:lnTo>
                      <a:lnTo>
                        <a:pt x="310" y="26"/>
                      </a:lnTo>
                      <a:lnTo>
                        <a:pt x="311" y="26"/>
                      </a:lnTo>
                      <a:lnTo>
                        <a:pt x="311" y="25"/>
                      </a:lnTo>
                      <a:lnTo>
                        <a:pt x="312" y="24"/>
                      </a:lnTo>
                      <a:lnTo>
                        <a:pt x="313" y="23"/>
                      </a:lnTo>
                      <a:lnTo>
                        <a:pt x="313" y="21"/>
                      </a:lnTo>
                      <a:lnTo>
                        <a:pt x="313" y="20"/>
                      </a:lnTo>
                      <a:lnTo>
                        <a:pt x="315" y="19"/>
                      </a:lnTo>
                      <a:lnTo>
                        <a:pt x="316" y="19"/>
                      </a:lnTo>
                      <a:lnTo>
                        <a:pt x="316" y="18"/>
                      </a:lnTo>
                      <a:lnTo>
                        <a:pt x="317" y="18"/>
                      </a:lnTo>
                      <a:lnTo>
                        <a:pt x="317" y="19"/>
                      </a:lnTo>
                      <a:lnTo>
                        <a:pt x="318" y="18"/>
                      </a:lnTo>
                      <a:lnTo>
                        <a:pt x="319" y="18"/>
                      </a:lnTo>
                      <a:lnTo>
                        <a:pt x="319" y="17"/>
                      </a:lnTo>
                      <a:lnTo>
                        <a:pt x="320" y="16"/>
                      </a:lnTo>
                      <a:lnTo>
                        <a:pt x="322" y="16"/>
                      </a:lnTo>
                      <a:lnTo>
                        <a:pt x="322" y="14"/>
                      </a:lnTo>
                      <a:lnTo>
                        <a:pt x="323" y="14"/>
                      </a:lnTo>
                      <a:lnTo>
                        <a:pt x="323" y="13"/>
                      </a:lnTo>
                      <a:lnTo>
                        <a:pt x="324" y="13"/>
                      </a:lnTo>
                      <a:lnTo>
                        <a:pt x="324" y="12"/>
                      </a:lnTo>
                      <a:lnTo>
                        <a:pt x="323" y="12"/>
                      </a:lnTo>
                      <a:lnTo>
                        <a:pt x="324" y="12"/>
                      </a:lnTo>
                      <a:lnTo>
                        <a:pt x="325" y="12"/>
                      </a:lnTo>
                      <a:lnTo>
                        <a:pt x="326" y="12"/>
                      </a:lnTo>
                      <a:lnTo>
                        <a:pt x="329" y="10"/>
                      </a:lnTo>
                      <a:lnTo>
                        <a:pt x="330" y="10"/>
                      </a:lnTo>
                      <a:lnTo>
                        <a:pt x="331" y="10"/>
                      </a:lnTo>
                      <a:lnTo>
                        <a:pt x="330" y="11"/>
                      </a:lnTo>
                      <a:lnTo>
                        <a:pt x="331" y="11"/>
                      </a:lnTo>
                      <a:lnTo>
                        <a:pt x="332" y="10"/>
                      </a:lnTo>
                      <a:lnTo>
                        <a:pt x="332" y="11"/>
                      </a:lnTo>
                      <a:lnTo>
                        <a:pt x="332" y="10"/>
                      </a:lnTo>
                      <a:lnTo>
                        <a:pt x="333" y="10"/>
                      </a:lnTo>
                      <a:lnTo>
                        <a:pt x="332" y="11"/>
                      </a:lnTo>
                      <a:lnTo>
                        <a:pt x="333" y="11"/>
                      </a:lnTo>
                      <a:lnTo>
                        <a:pt x="334" y="10"/>
                      </a:lnTo>
                      <a:lnTo>
                        <a:pt x="336" y="9"/>
                      </a:lnTo>
                      <a:lnTo>
                        <a:pt x="336" y="7"/>
                      </a:lnTo>
                      <a:lnTo>
                        <a:pt x="337" y="7"/>
                      </a:lnTo>
                      <a:lnTo>
                        <a:pt x="338" y="6"/>
                      </a:lnTo>
                      <a:lnTo>
                        <a:pt x="338" y="5"/>
                      </a:lnTo>
                      <a:lnTo>
                        <a:pt x="339" y="4"/>
                      </a:lnTo>
                      <a:lnTo>
                        <a:pt x="347" y="5"/>
                      </a:lnTo>
                      <a:lnTo>
                        <a:pt x="354" y="14"/>
                      </a:lnTo>
                      <a:lnTo>
                        <a:pt x="361" y="25"/>
                      </a:lnTo>
                      <a:lnTo>
                        <a:pt x="364" y="34"/>
                      </a:lnTo>
                      <a:lnTo>
                        <a:pt x="366" y="42"/>
                      </a:lnTo>
                      <a:lnTo>
                        <a:pt x="366" y="45"/>
                      </a:lnTo>
                      <a:lnTo>
                        <a:pt x="366" y="46"/>
                      </a:lnTo>
                      <a:lnTo>
                        <a:pt x="366" y="47"/>
                      </a:lnTo>
                      <a:lnTo>
                        <a:pt x="366" y="48"/>
                      </a:lnTo>
                      <a:lnTo>
                        <a:pt x="367" y="48"/>
                      </a:lnTo>
                      <a:lnTo>
                        <a:pt x="373" y="48"/>
                      </a:lnTo>
                      <a:lnTo>
                        <a:pt x="375" y="49"/>
                      </a:lnTo>
                      <a:lnTo>
                        <a:pt x="376" y="49"/>
                      </a:lnTo>
                      <a:lnTo>
                        <a:pt x="376" y="51"/>
                      </a:lnTo>
                      <a:lnTo>
                        <a:pt x="377" y="52"/>
                      </a:lnTo>
                      <a:lnTo>
                        <a:pt x="377" y="53"/>
                      </a:lnTo>
                      <a:lnTo>
                        <a:pt x="379" y="53"/>
                      </a:lnTo>
                      <a:lnTo>
                        <a:pt x="380" y="54"/>
                      </a:lnTo>
                      <a:lnTo>
                        <a:pt x="381" y="54"/>
                      </a:lnTo>
                      <a:lnTo>
                        <a:pt x="381" y="55"/>
                      </a:lnTo>
                      <a:lnTo>
                        <a:pt x="380" y="55"/>
                      </a:lnTo>
                      <a:lnTo>
                        <a:pt x="380" y="56"/>
                      </a:lnTo>
                      <a:lnTo>
                        <a:pt x="380" y="59"/>
                      </a:lnTo>
                      <a:lnTo>
                        <a:pt x="379" y="59"/>
                      </a:lnTo>
                      <a:lnTo>
                        <a:pt x="379" y="60"/>
                      </a:lnTo>
                      <a:lnTo>
                        <a:pt x="380" y="61"/>
                      </a:lnTo>
                      <a:lnTo>
                        <a:pt x="380" y="62"/>
                      </a:lnTo>
                      <a:lnTo>
                        <a:pt x="380" y="63"/>
                      </a:lnTo>
                      <a:lnTo>
                        <a:pt x="379" y="67"/>
                      </a:lnTo>
                      <a:lnTo>
                        <a:pt x="379" y="68"/>
                      </a:lnTo>
                      <a:lnTo>
                        <a:pt x="377" y="69"/>
                      </a:lnTo>
                      <a:lnTo>
                        <a:pt x="377" y="70"/>
                      </a:lnTo>
                      <a:lnTo>
                        <a:pt x="379" y="70"/>
                      </a:lnTo>
                      <a:lnTo>
                        <a:pt x="380" y="72"/>
                      </a:lnTo>
                      <a:lnTo>
                        <a:pt x="380" y="73"/>
                      </a:lnTo>
                      <a:lnTo>
                        <a:pt x="380" y="74"/>
                      </a:lnTo>
                      <a:lnTo>
                        <a:pt x="380" y="75"/>
                      </a:lnTo>
                      <a:lnTo>
                        <a:pt x="379" y="76"/>
                      </a:lnTo>
                      <a:lnTo>
                        <a:pt x="376" y="77"/>
                      </a:lnTo>
                      <a:lnTo>
                        <a:pt x="375" y="79"/>
                      </a:lnTo>
                      <a:lnTo>
                        <a:pt x="374" y="79"/>
                      </a:lnTo>
                      <a:lnTo>
                        <a:pt x="373" y="80"/>
                      </a:lnTo>
                      <a:lnTo>
                        <a:pt x="372" y="80"/>
                      </a:lnTo>
                      <a:lnTo>
                        <a:pt x="369" y="83"/>
                      </a:lnTo>
                      <a:lnTo>
                        <a:pt x="368" y="83"/>
                      </a:lnTo>
                      <a:lnTo>
                        <a:pt x="367" y="83"/>
                      </a:lnTo>
                      <a:lnTo>
                        <a:pt x="367" y="84"/>
                      </a:lnTo>
                      <a:lnTo>
                        <a:pt x="366" y="84"/>
                      </a:lnTo>
                      <a:lnTo>
                        <a:pt x="365" y="84"/>
                      </a:lnTo>
                      <a:lnTo>
                        <a:pt x="364" y="84"/>
                      </a:lnTo>
                      <a:lnTo>
                        <a:pt x="361" y="84"/>
                      </a:lnTo>
                      <a:lnTo>
                        <a:pt x="360" y="83"/>
                      </a:lnTo>
                      <a:lnTo>
                        <a:pt x="359" y="83"/>
                      </a:lnTo>
                      <a:lnTo>
                        <a:pt x="358" y="84"/>
                      </a:lnTo>
                      <a:lnTo>
                        <a:pt x="357" y="86"/>
                      </a:lnTo>
                      <a:lnTo>
                        <a:pt x="357" y="87"/>
                      </a:lnTo>
                      <a:lnTo>
                        <a:pt x="355" y="89"/>
                      </a:lnTo>
                      <a:lnTo>
                        <a:pt x="354" y="90"/>
                      </a:lnTo>
                      <a:lnTo>
                        <a:pt x="353" y="91"/>
                      </a:lnTo>
                      <a:lnTo>
                        <a:pt x="352" y="93"/>
                      </a:lnTo>
                      <a:lnTo>
                        <a:pt x="352" y="94"/>
                      </a:lnTo>
                      <a:lnTo>
                        <a:pt x="352" y="95"/>
                      </a:lnTo>
                      <a:lnTo>
                        <a:pt x="346" y="103"/>
                      </a:lnTo>
                      <a:lnTo>
                        <a:pt x="345" y="104"/>
                      </a:lnTo>
                      <a:lnTo>
                        <a:pt x="344" y="109"/>
                      </a:lnTo>
                      <a:lnTo>
                        <a:pt x="344" y="115"/>
                      </a:lnTo>
                      <a:lnTo>
                        <a:pt x="343" y="117"/>
                      </a:lnTo>
                      <a:lnTo>
                        <a:pt x="343" y="118"/>
                      </a:lnTo>
                      <a:lnTo>
                        <a:pt x="343" y="119"/>
                      </a:lnTo>
                      <a:lnTo>
                        <a:pt x="341" y="121"/>
                      </a:lnTo>
                      <a:lnTo>
                        <a:pt x="340" y="122"/>
                      </a:lnTo>
                      <a:lnTo>
                        <a:pt x="337" y="122"/>
                      </a:lnTo>
                      <a:lnTo>
                        <a:pt x="336" y="123"/>
                      </a:lnTo>
                      <a:lnTo>
                        <a:pt x="336" y="124"/>
                      </a:lnTo>
                      <a:lnTo>
                        <a:pt x="336" y="125"/>
                      </a:lnTo>
                      <a:lnTo>
                        <a:pt x="337" y="125"/>
                      </a:lnTo>
                      <a:lnTo>
                        <a:pt x="336" y="126"/>
                      </a:lnTo>
                      <a:lnTo>
                        <a:pt x="336" y="128"/>
                      </a:lnTo>
                      <a:lnTo>
                        <a:pt x="336" y="129"/>
                      </a:lnTo>
                      <a:lnTo>
                        <a:pt x="336" y="130"/>
                      </a:lnTo>
                      <a:lnTo>
                        <a:pt x="337" y="131"/>
                      </a:lnTo>
                      <a:lnTo>
                        <a:pt x="337" y="132"/>
                      </a:lnTo>
                      <a:lnTo>
                        <a:pt x="336" y="133"/>
                      </a:lnTo>
                      <a:lnTo>
                        <a:pt x="336" y="136"/>
                      </a:lnTo>
                      <a:lnTo>
                        <a:pt x="336" y="137"/>
                      </a:lnTo>
                      <a:lnTo>
                        <a:pt x="334" y="139"/>
                      </a:lnTo>
                      <a:lnTo>
                        <a:pt x="332" y="140"/>
                      </a:lnTo>
                      <a:lnTo>
                        <a:pt x="330" y="140"/>
                      </a:lnTo>
                      <a:lnTo>
                        <a:pt x="327" y="142"/>
                      </a:lnTo>
                      <a:lnTo>
                        <a:pt x="326" y="144"/>
                      </a:lnTo>
                      <a:lnTo>
                        <a:pt x="324" y="145"/>
                      </a:lnTo>
                      <a:lnTo>
                        <a:pt x="325" y="146"/>
                      </a:lnTo>
                      <a:lnTo>
                        <a:pt x="325" y="147"/>
                      </a:lnTo>
                      <a:lnTo>
                        <a:pt x="325" y="149"/>
                      </a:lnTo>
                      <a:lnTo>
                        <a:pt x="325" y="150"/>
                      </a:lnTo>
                      <a:lnTo>
                        <a:pt x="324" y="152"/>
                      </a:lnTo>
                      <a:lnTo>
                        <a:pt x="323" y="154"/>
                      </a:lnTo>
                      <a:lnTo>
                        <a:pt x="323" y="156"/>
                      </a:lnTo>
                      <a:lnTo>
                        <a:pt x="323" y="157"/>
                      </a:lnTo>
                      <a:lnTo>
                        <a:pt x="323" y="163"/>
                      </a:lnTo>
                      <a:lnTo>
                        <a:pt x="322" y="164"/>
                      </a:lnTo>
                      <a:lnTo>
                        <a:pt x="322" y="165"/>
                      </a:lnTo>
                      <a:lnTo>
                        <a:pt x="320" y="165"/>
                      </a:lnTo>
                      <a:lnTo>
                        <a:pt x="319" y="165"/>
                      </a:lnTo>
                      <a:lnTo>
                        <a:pt x="319" y="166"/>
                      </a:lnTo>
                      <a:lnTo>
                        <a:pt x="318" y="167"/>
                      </a:lnTo>
                      <a:lnTo>
                        <a:pt x="318" y="168"/>
                      </a:lnTo>
                      <a:lnTo>
                        <a:pt x="315" y="170"/>
                      </a:lnTo>
                      <a:lnTo>
                        <a:pt x="313" y="170"/>
                      </a:lnTo>
                      <a:lnTo>
                        <a:pt x="312" y="170"/>
                      </a:lnTo>
                      <a:lnTo>
                        <a:pt x="311" y="170"/>
                      </a:lnTo>
                      <a:lnTo>
                        <a:pt x="310" y="170"/>
                      </a:lnTo>
                      <a:lnTo>
                        <a:pt x="309" y="170"/>
                      </a:lnTo>
                      <a:lnTo>
                        <a:pt x="310" y="172"/>
                      </a:lnTo>
                      <a:lnTo>
                        <a:pt x="310" y="173"/>
                      </a:lnTo>
                      <a:lnTo>
                        <a:pt x="309" y="174"/>
                      </a:lnTo>
                      <a:lnTo>
                        <a:pt x="308" y="174"/>
                      </a:lnTo>
                      <a:lnTo>
                        <a:pt x="308" y="175"/>
                      </a:lnTo>
                      <a:lnTo>
                        <a:pt x="307" y="175"/>
                      </a:lnTo>
                      <a:lnTo>
                        <a:pt x="305" y="175"/>
                      </a:lnTo>
                      <a:lnTo>
                        <a:pt x="304" y="177"/>
                      </a:lnTo>
                      <a:lnTo>
                        <a:pt x="304" y="178"/>
                      </a:lnTo>
                      <a:lnTo>
                        <a:pt x="304" y="180"/>
                      </a:lnTo>
                      <a:lnTo>
                        <a:pt x="304" y="182"/>
                      </a:lnTo>
                      <a:lnTo>
                        <a:pt x="304" y="184"/>
                      </a:lnTo>
                      <a:lnTo>
                        <a:pt x="303" y="186"/>
                      </a:lnTo>
                      <a:lnTo>
                        <a:pt x="303" y="187"/>
                      </a:lnTo>
                      <a:lnTo>
                        <a:pt x="303" y="188"/>
                      </a:lnTo>
                      <a:lnTo>
                        <a:pt x="303" y="189"/>
                      </a:lnTo>
                      <a:lnTo>
                        <a:pt x="303" y="191"/>
                      </a:lnTo>
                      <a:lnTo>
                        <a:pt x="302" y="192"/>
                      </a:lnTo>
                      <a:lnTo>
                        <a:pt x="298" y="196"/>
                      </a:lnTo>
                      <a:lnTo>
                        <a:pt x="297" y="199"/>
                      </a:lnTo>
                      <a:lnTo>
                        <a:pt x="297" y="200"/>
                      </a:lnTo>
                      <a:lnTo>
                        <a:pt x="298" y="202"/>
                      </a:lnTo>
                      <a:lnTo>
                        <a:pt x="297" y="202"/>
                      </a:lnTo>
                      <a:lnTo>
                        <a:pt x="297" y="203"/>
                      </a:lnTo>
                      <a:lnTo>
                        <a:pt x="296" y="205"/>
                      </a:lnTo>
                      <a:lnTo>
                        <a:pt x="294" y="207"/>
                      </a:lnTo>
                      <a:lnTo>
                        <a:pt x="293" y="208"/>
                      </a:lnTo>
                      <a:lnTo>
                        <a:pt x="290" y="212"/>
                      </a:lnTo>
                      <a:lnTo>
                        <a:pt x="289" y="212"/>
                      </a:lnTo>
                      <a:lnTo>
                        <a:pt x="289" y="213"/>
                      </a:lnTo>
                      <a:lnTo>
                        <a:pt x="290" y="213"/>
                      </a:lnTo>
                      <a:lnTo>
                        <a:pt x="290" y="214"/>
                      </a:lnTo>
                      <a:lnTo>
                        <a:pt x="291" y="216"/>
                      </a:lnTo>
                      <a:lnTo>
                        <a:pt x="293" y="217"/>
                      </a:lnTo>
                      <a:lnTo>
                        <a:pt x="294" y="217"/>
                      </a:lnTo>
                      <a:lnTo>
                        <a:pt x="293" y="219"/>
                      </a:lnTo>
                      <a:lnTo>
                        <a:pt x="291" y="219"/>
                      </a:lnTo>
                      <a:lnTo>
                        <a:pt x="290" y="220"/>
                      </a:lnTo>
                      <a:lnTo>
                        <a:pt x="289" y="221"/>
                      </a:lnTo>
                      <a:lnTo>
                        <a:pt x="288" y="221"/>
                      </a:lnTo>
                      <a:lnTo>
                        <a:pt x="287" y="222"/>
                      </a:lnTo>
                      <a:lnTo>
                        <a:pt x="286" y="223"/>
                      </a:lnTo>
                      <a:lnTo>
                        <a:pt x="283" y="226"/>
                      </a:lnTo>
                      <a:lnTo>
                        <a:pt x="282" y="227"/>
                      </a:lnTo>
                      <a:lnTo>
                        <a:pt x="283" y="227"/>
                      </a:lnTo>
                      <a:lnTo>
                        <a:pt x="283" y="228"/>
                      </a:lnTo>
                      <a:lnTo>
                        <a:pt x="283" y="229"/>
                      </a:lnTo>
                      <a:lnTo>
                        <a:pt x="283" y="230"/>
                      </a:lnTo>
                      <a:lnTo>
                        <a:pt x="282" y="233"/>
                      </a:lnTo>
                      <a:lnTo>
                        <a:pt x="282" y="234"/>
                      </a:lnTo>
                      <a:lnTo>
                        <a:pt x="281" y="234"/>
                      </a:lnTo>
                      <a:lnTo>
                        <a:pt x="280" y="234"/>
                      </a:lnTo>
                      <a:lnTo>
                        <a:pt x="279" y="235"/>
                      </a:lnTo>
                      <a:lnTo>
                        <a:pt x="279" y="236"/>
                      </a:lnTo>
                      <a:lnTo>
                        <a:pt x="279" y="237"/>
                      </a:lnTo>
                      <a:lnTo>
                        <a:pt x="277" y="238"/>
                      </a:lnTo>
                      <a:lnTo>
                        <a:pt x="276" y="240"/>
                      </a:lnTo>
                      <a:lnTo>
                        <a:pt x="275" y="240"/>
                      </a:lnTo>
                      <a:lnTo>
                        <a:pt x="274" y="238"/>
                      </a:lnTo>
                      <a:lnTo>
                        <a:pt x="274" y="240"/>
                      </a:lnTo>
                      <a:lnTo>
                        <a:pt x="273" y="240"/>
                      </a:lnTo>
                      <a:lnTo>
                        <a:pt x="272" y="240"/>
                      </a:lnTo>
                      <a:lnTo>
                        <a:pt x="270" y="240"/>
                      </a:lnTo>
                      <a:lnTo>
                        <a:pt x="269" y="240"/>
                      </a:lnTo>
                      <a:lnTo>
                        <a:pt x="268" y="238"/>
                      </a:lnTo>
                      <a:lnTo>
                        <a:pt x="268" y="237"/>
                      </a:lnTo>
                      <a:lnTo>
                        <a:pt x="267" y="235"/>
                      </a:lnTo>
                      <a:lnTo>
                        <a:pt x="267" y="234"/>
                      </a:lnTo>
                      <a:lnTo>
                        <a:pt x="267" y="233"/>
                      </a:lnTo>
                      <a:lnTo>
                        <a:pt x="267" y="231"/>
                      </a:lnTo>
                      <a:lnTo>
                        <a:pt x="267" y="229"/>
                      </a:lnTo>
                      <a:lnTo>
                        <a:pt x="266" y="229"/>
                      </a:lnTo>
                      <a:lnTo>
                        <a:pt x="262" y="228"/>
                      </a:lnTo>
                      <a:lnTo>
                        <a:pt x="261" y="227"/>
                      </a:lnTo>
                      <a:lnTo>
                        <a:pt x="261" y="226"/>
                      </a:lnTo>
                      <a:lnTo>
                        <a:pt x="261" y="224"/>
                      </a:lnTo>
                      <a:lnTo>
                        <a:pt x="260" y="223"/>
                      </a:lnTo>
                      <a:lnTo>
                        <a:pt x="259" y="222"/>
                      </a:lnTo>
                      <a:lnTo>
                        <a:pt x="256" y="221"/>
                      </a:lnTo>
                      <a:lnTo>
                        <a:pt x="254" y="220"/>
                      </a:lnTo>
                      <a:lnTo>
                        <a:pt x="253" y="220"/>
                      </a:lnTo>
                      <a:lnTo>
                        <a:pt x="253" y="219"/>
                      </a:lnTo>
                      <a:lnTo>
                        <a:pt x="252" y="217"/>
                      </a:lnTo>
                      <a:lnTo>
                        <a:pt x="252" y="219"/>
                      </a:lnTo>
                      <a:lnTo>
                        <a:pt x="251" y="220"/>
                      </a:lnTo>
                      <a:lnTo>
                        <a:pt x="251" y="221"/>
                      </a:lnTo>
                      <a:lnTo>
                        <a:pt x="251" y="223"/>
                      </a:lnTo>
                      <a:lnTo>
                        <a:pt x="249" y="223"/>
                      </a:lnTo>
                      <a:lnTo>
                        <a:pt x="249" y="224"/>
                      </a:lnTo>
                      <a:lnTo>
                        <a:pt x="249" y="226"/>
                      </a:lnTo>
                      <a:lnTo>
                        <a:pt x="241" y="226"/>
                      </a:lnTo>
                      <a:lnTo>
                        <a:pt x="240" y="226"/>
                      </a:lnTo>
                      <a:lnTo>
                        <a:pt x="240" y="224"/>
                      </a:lnTo>
                      <a:lnTo>
                        <a:pt x="239" y="224"/>
                      </a:lnTo>
                      <a:lnTo>
                        <a:pt x="239" y="222"/>
                      </a:lnTo>
                      <a:lnTo>
                        <a:pt x="239" y="221"/>
                      </a:lnTo>
                      <a:lnTo>
                        <a:pt x="238" y="221"/>
                      </a:lnTo>
                      <a:lnTo>
                        <a:pt x="238" y="222"/>
                      </a:lnTo>
                      <a:lnTo>
                        <a:pt x="230" y="228"/>
                      </a:lnTo>
                      <a:lnTo>
                        <a:pt x="229" y="229"/>
                      </a:lnTo>
                      <a:lnTo>
                        <a:pt x="229" y="228"/>
                      </a:lnTo>
                      <a:lnTo>
                        <a:pt x="227" y="228"/>
                      </a:lnTo>
                      <a:lnTo>
                        <a:pt x="226" y="229"/>
                      </a:lnTo>
                      <a:lnTo>
                        <a:pt x="224" y="236"/>
                      </a:lnTo>
                      <a:lnTo>
                        <a:pt x="224" y="237"/>
                      </a:lnTo>
                      <a:lnTo>
                        <a:pt x="223" y="237"/>
                      </a:lnTo>
                      <a:lnTo>
                        <a:pt x="222" y="237"/>
                      </a:lnTo>
                      <a:lnTo>
                        <a:pt x="220" y="237"/>
                      </a:lnTo>
                      <a:lnTo>
                        <a:pt x="220" y="238"/>
                      </a:lnTo>
                      <a:lnTo>
                        <a:pt x="219" y="240"/>
                      </a:lnTo>
                      <a:lnTo>
                        <a:pt x="218" y="241"/>
                      </a:lnTo>
                      <a:lnTo>
                        <a:pt x="217" y="241"/>
                      </a:lnTo>
                      <a:lnTo>
                        <a:pt x="216" y="243"/>
                      </a:lnTo>
                      <a:lnTo>
                        <a:pt x="215" y="243"/>
                      </a:lnTo>
                      <a:lnTo>
                        <a:pt x="213" y="243"/>
                      </a:lnTo>
                      <a:lnTo>
                        <a:pt x="212" y="244"/>
                      </a:lnTo>
                      <a:lnTo>
                        <a:pt x="211" y="245"/>
                      </a:lnTo>
                      <a:lnTo>
                        <a:pt x="211" y="247"/>
                      </a:lnTo>
                      <a:lnTo>
                        <a:pt x="206" y="250"/>
                      </a:lnTo>
                      <a:lnTo>
                        <a:pt x="203" y="254"/>
                      </a:lnTo>
                      <a:lnTo>
                        <a:pt x="203" y="255"/>
                      </a:lnTo>
                      <a:lnTo>
                        <a:pt x="202" y="256"/>
                      </a:lnTo>
                      <a:lnTo>
                        <a:pt x="202" y="257"/>
                      </a:lnTo>
                      <a:lnTo>
                        <a:pt x="201" y="257"/>
                      </a:lnTo>
                      <a:lnTo>
                        <a:pt x="199" y="257"/>
                      </a:lnTo>
                      <a:lnTo>
                        <a:pt x="198" y="258"/>
                      </a:lnTo>
                      <a:lnTo>
                        <a:pt x="197" y="258"/>
                      </a:lnTo>
                      <a:lnTo>
                        <a:pt x="197" y="259"/>
                      </a:lnTo>
                      <a:lnTo>
                        <a:pt x="197" y="261"/>
                      </a:lnTo>
                      <a:lnTo>
                        <a:pt x="198" y="261"/>
                      </a:lnTo>
                      <a:lnTo>
                        <a:pt x="198" y="262"/>
                      </a:lnTo>
                      <a:lnTo>
                        <a:pt x="197" y="262"/>
                      </a:lnTo>
                      <a:lnTo>
                        <a:pt x="197" y="263"/>
                      </a:lnTo>
                      <a:lnTo>
                        <a:pt x="196" y="263"/>
                      </a:lnTo>
                      <a:lnTo>
                        <a:pt x="197" y="264"/>
                      </a:lnTo>
                      <a:lnTo>
                        <a:pt x="198" y="265"/>
                      </a:lnTo>
                      <a:lnTo>
                        <a:pt x="199" y="266"/>
                      </a:lnTo>
                      <a:lnTo>
                        <a:pt x="199" y="268"/>
                      </a:lnTo>
                      <a:lnTo>
                        <a:pt x="198" y="268"/>
                      </a:lnTo>
                      <a:lnTo>
                        <a:pt x="198" y="269"/>
                      </a:lnTo>
                      <a:lnTo>
                        <a:pt x="197" y="269"/>
                      </a:lnTo>
                      <a:lnTo>
                        <a:pt x="197" y="270"/>
                      </a:lnTo>
                      <a:lnTo>
                        <a:pt x="197" y="271"/>
                      </a:lnTo>
                      <a:lnTo>
                        <a:pt x="197" y="272"/>
                      </a:lnTo>
                      <a:lnTo>
                        <a:pt x="197" y="273"/>
                      </a:lnTo>
                      <a:lnTo>
                        <a:pt x="196" y="275"/>
                      </a:lnTo>
                      <a:lnTo>
                        <a:pt x="197" y="276"/>
                      </a:lnTo>
                      <a:lnTo>
                        <a:pt x="196" y="280"/>
                      </a:lnTo>
                      <a:lnTo>
                        <a:pt x="195" y="280"/>
                      </a:lnTo>
                      <a:lnTo>
                        <a:pt x="195" y="282"/>
                      </a:lnTo>
                      <a:lnTo>
                        <a:pt x="194" y="283"/>
                      </a:lnTo>
                      <a:lnTo>
                        <a:pt x="194" y="284"/>
                      </a:lnTo>
                      <a:lnTo>
                        <a:pt x="192" y="285"/>
                      </a:lnTo>
                      <a:lnTo>
                        <a:pt x="191" y="287"/>
                      </a:lnTo>
                      <a:lnTo>
                        <a:pt x="191" y="289"/>
                      </a:lnTo>
                      <a:lnTo>
                        <a:pt x="190" y="289"/>
                      </a:lnTo>
                      <a:lnTo>
                        <a:pt x="190" y="290"/>
                      </a:lnTo>
                      <a:lnTo>
                        <a:pt x="190" y="291"/>
                      </a:lnTo>
                      <a:lnTo>
                        <a:pt x="189" y="291"/>
                      </a:lnTo>
                      <a:lnTo>
                        <a:pt x="188" y="291"/>
                      </a:lnTo>
                      <a:lnTo>
                        <a:pt x="188" y="292"/>
                      </a:lnTo>
                      <a:lnTo>
                        <a:pt x="188" y="293"/>
                      </a:lnTo>
                      <a:lnTo>
                        <a:pt x="188" y="294"/>
                      </a:lnTo>
                      <a:lnTo>
                        <a:pt x="187" y="294"/>
                      </a:lnTo>
                      <a:lnTo>
                        <a:pt x="185" y="294"/>
                      </a:lnTo>
                      <a:lnTo>
                        <a:pt x="185" y="293"/>
                      </a:lnTo>
                      <a:lnTo>
                        <a:pt x="184" y="293"/>
                      </a:lnTo>
                      <a:lnTo>
                        <a:pt x="183" y="293"/>
                      </a:lnTo>
                      <a:lnTo>
                        <a:pt x="183" y="292"/>
                      </a:lnTo>
                      <a:lnTo>
                        <a:pt x="184" y="291"/>
                      </a:lnTo>
                      <a:lnTo>
                        <a:pt x="183" y="291"/>
                      </a:lnTo>
                      <a:lnTo>
                        <a:pt x="183" y="292"/>
                      </a:lnTo>
                      <a:lnTo>
                        <a:pt x="182" y="292"/>
                      </a:lnTo>
                      <a:lnTo>
                        <a:pt x="181" y="291"/>
                      </a:lnTo>
                      <a:lnTo>
                        <a:pt x="182" y="291"/>
                      </a:lnTo>
                      <a:lnTo>
                        <a:pt x="181" y="291"/>
                      </a:lnTo>
                      <a:lnTo>
                        <a:pt x="181" y="290"/>
                      </a:lnTo>
                      <a:lnTo>
                        <a:pt x="180" y="289"/>
                      </a:lnTo>
                      <a:lnTo>
                        <a:pt x="178" y="289"/>
                      </a:lnTo>
                      <a:lnTo>
                        <a:pt x="178" y="287"/>
                      </a:lnTo>
                      <a:lnTo>
                        <a:pt x="177" y="287"/>
                      </a:lnTo>
                      <a:lnTo>
                        <a:pt x="177" y="286"/>
                      </a:lnTo>
                      <a:lnTo>
                        <a:pt x="176" y="286"/>
                      </a:lnTo>
                      <a:lnTo>
                        <a:pt x="178" y="287"/>
                      </a:lnTo>
                      <a:lnTo>
                        <a:pt x="178" y="289"/>
                      </a:lnTo>
                      <a:lnTo>
                        <a:pt x="180" y="290"/>
                      </a:lnTo>
                      <a:lnTo>
                        <a:pt x="180" y="291"/>
                      </a:lnTo>
                      <a:lnTo>
                        <a:pt x="178" y="291"/>
                      </a:lnTo>
                      <a:lnTo>
                        <a:pt x="180" y="292"/>
                      </a:lnTo>
                      <a:lnTo>
                        <a:pt x="181" y="292"/>
                      </a:lnTo>
                      <a:lnTo>
                        <a:pt x="181" y="294"/>
                      </a:lnTo>
                      <a:lnTo>
                        <a:pt x="181" y="296"/>
                      </a:lnTo>
                      <a:lnTo>
                        <a:pt x="181" y="297"/>
                      </a:lnTo>
                      <a:lnTo>
                        <a:pt x="182" y="297"/>
                      </a:lnTo>
                      <a:lnTo>
                        <a:pt x="182" y="298"/>
                      </a:lnTo>
                      <a:lnTo>
                        <a:pt x="181" y="298"/>
                      </a:lnTo>
                      <a:lnTo>
                        <a:pt x="181" y="299"/>
                      </a:lnTo>
                      <a:lnTo>
                        <a:pt x="180" y="300"/>
                      </a:lnTo>
                      <a:lnTo>
                        <a:pt x="178" y="300"/>
                      </a:lnTo>
                      <a:lnTo>
                        <a:pt x="176" y="300"/>
                      </a:lnTo>
                      <a:lnTo>
                        <a:pt x="174" y="300"/>
                      </a:lnTo>
                      <a:lnTo>
                        <a:pt x="173" y="299"/>
                      </a:lnTo>
                      <a:lnTo>
                        <a:pt x="172" y="299"/>
                      </a:lnTo>
                      <a:lnTo>
                        <a:pt x="170" y="300"/>
                      </a:lnTo>
                      <a:lnTo>
                        <a:pt x="169" y="300"/>
                      </a:lnTo>
                      <a:lnTo>
                        <a:pt x="163" y="301"/>
                      </a:lnTo>
                      <a:lnTo>
                        <a:pt x="163" y="300"/>
                      </a:lnTo>
                      <a:lnTo>
                        <a:pt x="162" y="300"/>
                      </a:lnTo>
                      <a:lnTo>
                        <a:pt x="162" y="301"/>
                      </a:lnTo>
                      <a:lnTo>
                        <a:pt x="163" y="301"/>
                      </a:lnTo>
                      <a:lnTo>
                        <a:pt x="162" y="301"/>
                      </a:lnTo>
                      <a:lnTo>
                        <a:pt x="161" y="301"/>
                      </a:lnTo>
                      <a:lnTo>
                        <a:pt x="160" y="301"/>
                      </a:lnTo>
                      <a:lnTo>
                        <a:pt x="156" y="300"/>
                      </a:lnTo>
                      <a:lnTo>
                        <a:pt x="158" y="300"/>
                      </a:lnTo>
                      <a:lnTo>
                        <a:pt x="156" y="300"/>
                      </a:lnTo>
                      <a:lnTo>
                        <a:pt x="156" y="299"/>
                      </a:lnTo>
                      <a:lnTo>
                        <a:pt x="156" y="298"/>
                      </a:lnTo>
                      <a:lnTo>
                        <a:pt x="155" y="297"/>
                      </a:lnTo>
                      <a:lnTo>
                        <a:pt x="156" y="297"/>
                      </a:lnTo>
                      <a:lnTo>
                        <a:pt x="156" y="294"/>
                      </a:lnTo>
                      <a:lnTo>
                        <a:pt x="156" y="296"/>
                      </a:lnTo>
                      <a:lnTo>
                        <a:pt x="155" y="296"/>
                      </a:lnTo>
                      <a:lnTo>
                        <a:pt x="155" y="297"/>
                      </a:lnTo>
                      <a:lnTo>
                        <a:pt x="155" y="298"/>
                      </a:lnTo>
                      <a:lnTo>
                        <a:pt x="156" y="298"/>
                      </a:lnTo>
                      <a:lnTo>
                        <a:pt x="155" y="298"/>
                      </a:lnTo>
                      <a:lnTo>
                        <a:pt x="155" y="299"/>
                      </a:lnTo>
                      <a:lnTo>
                        <a:pt x="154" y="299"/>
                      </a:lnTo>
                      <a:lnTo>
                        <a:pt x="153" y="300"/>
                      </a:lnTo>
                      <a:lnTo>
                        <a:pt x="152" y="299"/>
                      </a:lnTo>
                      <a:lnTo>
                        <a:pt x="151" y="299"/>
                      </a:lnTo>
                      <a:lnTo>
                        <a:pt x="149" y="299"/>
                      </a:lnTo>
                      <a:lnTo>
                        <a:pt x="149" y="298"/>
                      </a:lnTo>
                      <a:lnTo>
                        <a:pt x="148" y="298"/>
                      </a:lnTo>
                      <a:lnTo>
                        <a:pt x="148" y="299"/>
                      </a:lnTo>
                      <a:lnTo>
                        <a:pt x="147" y="299"/>
                      </a:lnTo>
                      <a:lnTo>
                        <a:pt x="148" y="299"/>
                      </a:lnTo>
                      <a:lnTo>
                        <a:pt x="147" y="300"/>
                      </a:lnTo>
                      <a:lnTo>
                        <a:pt x="148" y="300"/>
                      </a:lnTo>
                      <a:lnTo>
                        <a:pt x="149" y="300"/>
                      </a:lnTo>
                      <a:lnTo>
                        <a:pt x="149" y="301"/>
                      </a:lnTo>
                      <a:lnTo>
                        <a:pt x="148" y="301"/>
                      </a:lnTo>
                      <a:lnTo>
                        <a:pt x="147" y="300"/>
                      </a:lnTo>
                      <a:lnTo>
                        <a:pt x="145" y="298"/>
                      </a:lnTo>
                      <a:lnTo>
                        <a:pt x="145" y="297"/>
                      </a:lnTo>
                      <a:lnTo>
                        <a:pt x="144" y="297"/>
                      </a:lnTo>
                      <a:lnTo>
                        <a:pt x="142" y="297"/>
                      </a:lnTo>
                      <a:lnTo>
                        <a:pt x="142" y="296"/>
                      </a:lnTo>
                      <a:lnTo>
                        <a:pt x="141" y="294"/>
                      </a:lnTo>
                      <a:lnTo>
                        <a:pt x="141" y="293"/>
                      </a:lnTo>
                      <a:lnTo>
                        <a:pt x="141" y="294"/>
                      </a:lnTo>
                      <a:lnTo>
                        <a:pt x="141" y="296"/>
                      </a:lnTo>
                      <a:lnTo>
                        <a:pt x="142" y="297"/>
                      </a:lnTo>
                      <a:lnTo>
                        <a:pt x="144" y="297"/>
                      </a:lnTo>
                      <a:lnTo>
                        <a:pt x="145" y="298"/>
                      </a:lnTo>
                      <a:lnTo>
                        <a:pt x="145" y="299"/>
                      </a:lnTo>
                      <a:lnTo>
                        <a:pt x="144" y="300"/>
                      </a:lnTo>
                      <a:lnTo>
                        <a:pt x="145" y="300"/>
                      </a:lnTo>
                      <a:lnTo>
                        <a:pt x="145" y="301"/>
                      </a:lnTo>
                      <a:lnTo>
                        <a:pt x="144" y="303"/>
                      </a:lnTo>
                      <a:lnTo>
                        <a:pt x="142" y="303"/>
                      </a:lnTo>
                      <a:lnTo>
                        <a:pt x="142" y="304"/>
                      </a:lnTo>
                      <a:lnTo>
                        <a:pt x="142" y="303"/>
                      </a:lnTo>
                      <a:lnTo>
                        <a:pt x="141" y="303"/>
                      </a:lnTo>
                      <a:lnTo>
                        <a:pt x="141" y="301"/>
                      </a:lnTo>
                      <a:lnTo>
                        <a:pt x="141" y="303"/>
                      </a:lnTo>
                      <a:lnTo>
                        <a:pt x="141" y="304"/>
                      </a:lnTo>
                      <a:lnTo>
                        <a:pt x="140" y="304"/>
                      </a:lnTo>
                      <a:lnTo>
                        <a:pt x="140" y="303"/>
                      </a:lnTo>
                      <a:lnTo>
                        <a:pt x="140" y="300"/>
                      </a:lnTo>
                      <a:lnTo>
                        <a:pt x="139" y="300"/>
                      </a:lnTo>
                      <a:lnTo>
                        <a:pt x="139" y="299"/>
                      </a:lnTo>
                      <a:lnTo>
                        <a:pt x="140" y="299"/>
                      </a:lnTo>
                      <a:lnTo>
                        <a:pt x="140" y="298"/>
                      </a:lnTo>
                      <a:lnTo>
                        <a:pt x="140" y="297"/>
                      </a:lnTo>
                      <a:lnTo>
                        <a:pt x="140" y="296"/>
                      </a:lnTo>
                      <a:lnTo>
                        <a:pt x="139" y="296"/>
                      </a:lnTo>
                      <a:lnTo>
                        <a:pt x="139" y="294"/>
                      </a:lnTo>
                      <a:lnTo>
                        <a:pt x="139" y="296"/>
                      </a:lnTo>
                      <a:lnTo>
                        <a:pt x="138" y="296"/>
                      </a:lnTo>
                      <a:lnTo>
                        <a:pt x="138" y="294"/>
                      </a:lnTo>
                      <a:lnTo>
                        <a:pt x="138" y="296"/>
                      </a:lnTo>
                      <a:lnTo>
                        <a:pt x="138" y="297"/>
                      </a:lnTo>
                      <a:lnTo>
                        <a:pt x="139" y="298"/>
                      </a:lnTo>
                      <a:lnTo>
                        <a:pt x="138" y="298"/>
                      </a:lnTo>
                      <a:lnTo>
                        <a:pt x="137" y="298"/>
                      </a:lnTo>
                      <a:lnTo>
                        <a:pt x="137" y="297"/>
                      </a:lnTo>
                      <a:lnTo>
                        <a:pt x="135" y="296"/>
                      </a:lnTo>
                      <a:lnTo>
                        <a:pt x="135" y="297"/>
                      </a:lnTo>
                      <a:lnTo>
                        <a:pt x="137" y="297"/>
                      </a:lnTo>
                      <a:lnTo>
                        <a:pt x="137" y="298"/>
                      </a:lnTo>
                      <a:lnTo>
                        <a:pt x="137" y="299"/>
                      </a:lnTo>
                      <a:lnTo>
                        <a:pt x="138" y="299"/>
                      </a:lnTo>
                      <a:lnTo>
                        <a:pt x="139" y="299"/>
                      </a:lnTo>
                      <a:lnTo>
                        <a:pt x="138" y="301"/>
                      </a:lnTo>
                      <a:lnTo>
                        <a:pt x="138" y="303"/>
                      </a:lnTo>
                      <a:lnTo>
                        <a:pt x="139" y="305"/>
                      </a:lnTo>
                      <a:lnTo>
                        <a:pt x="140" y="305"/>
                      </a:lnTo>
                      <a:lnTo>
                        <a:pt x="140" y="306"/>
                      </a:lnTo>
                      <a:lnTo>
                        <a:pt x="139" y="306"/>
                      </a:lnTo>
                      <a:lnTo>
                        <a:pt x="138" y="305"/>
                      </a:lnTo>
                      <a:lnTo>
                        <a:pt x="138" y="306"/>
                      </a:lnTo>
                      <a:lnTo>
                        <a:pt x="137" y="305"/>
                      </a:lnTo>
                      <a:lnTo>
                        <a:pt x="135" y="305"/>
                      </a:lnTo>
                      <a:lnTo>
                        <a:pt x="134" y="305"/>
                      </a:lnTo>
                      <a:lnTo>
                        <a:pt x="134" y="304"/>
                      </a:lnTo>
                      <a:lnTo>
                        <a:pt x="134" y="303"/>
                      </a:lnTo>
                      <a:lnTo>
                        <a:pt x="133" y="301"/>
                      </a:lnTo>
                      <a:lnTo>
                        <a:pt x="133" y="300"/>
                      </a:lnTo>
                      <a:lnTo>
                        <a:pt x="133" y="299"/>
                      </a:lnTo>
                      <a:lnTo>
                        <a:pt x="134" y="299"/>
                      </a:lnTo>
                      <a:lnTo>
                        <a:pt x="134" y="298"/>
                      </a:lnTo>
                      <a:lnTo>
                        <a:pt x="133" y="298"/>
                      </a:lnTo>
                      <a:lnTo>
                        <a:pt x="133" y="297"/>
                      </a:lnTo>
                      <a:lnTo>
                        <a:pt x="132" y="296"/>
                      </a:lnTo>
                      <a:lnTo>
                        <a:pt x="132" y="294"/>
                      </a:lnTo>
                      <a:lnTo>
                        <a:pt x="132" y="293"/>
                      </a:lnTo>
                      <a:lnTo>
                        <a:pt x="132" y="292"/>
                      </a:lnTo>
                      <a:lnTo>
                        <a:pt x="131" y="292"/>
                      </a:lnTo>
                      <a:lnTo>
                        <a:pt x="131" y="291"/>
                      </a:lnTo>
                      <a:lnTo>
                        <a:pt x="130" y="291"/>
                      </a:lnTo>
                      <a:lnTo>
                        <a:pt x="130" y="292"/>
                      </a:lnTo>
                      <a:lnTo>
                        <a:pt x="131" y="293"/>
                      </a:lnTo>
                      <a:lnTo>
                        <a:pt x="132" y="294"/>
                      </a:lnTo>
                      <a:lnTo>
                        <a:pt x="132" y="296"/>
                      </a:lnTo>
                      <a:lnTo>
                        <a:pt x="132" y="297"/>
                      </a:lnTo>
                      <a:lnTo>
                        <a:pt x="133" y="298"/>
                      </a:lnTo>
                      <a:lnTo>
                        <a:pt x="133" y="299"/>
                      </a:lnTo>
                      <a:lnTo>
                        <a:pt x="133" y="300"/>
                      </a:lnTo>
                      <a:lnTo>
                        <a:pt x="133" y="303"/>
                      </a:lnTo>
                      <a:lnTo>
                        <a:pt x="133" y="304"/>
                      </a:lnTo>
                      <a:lnTo>
                        <a:pt x="134" y="305"/>
                      </a:lnTo>
                      <a:lnTo>
                        <a:pt x="134" y="306"/>
                      </a:lnTo>
                      <a:lnTo>
                        <a:pt x="135" y="306"/>
                      </a:lnTo>
                      <a:lnTo>
                        <a:pt x="134" y="306"/>
                      </a:lnTo>
                      <a:lnTo>
                        <a:pt x="133" y="307"/>
                      </a:lnTo>
                      <a:lnTo>
                        <a:pt x="132" y="307"/>
                      </a:lnTo>
                      <a:lnTo>
                        <a:pt x="131" y="307"/>
                      </a:lnTo>
                      <a:lnTo>
                        <a:pt x="130" y="306"/>
                      </a:lnTo>
                      <a:lnTo>
                        <a:pt x="130" y="304"/>
                      </a:lnTo>
                      <a:lnTo>
                        <a:pt x="131" y="304"/>
                      </a:lnTo>
                      <a:lnTo>
                        <a:pt x="130" y="304"/>
                      </a:lnTo>
                      <a:lnTo>
                        <a:pt x="130" y="303"/>
                      </a:lnTo>
                      <a:lnTo>
                        <a:pt x="130" y="301"/>
                      </a:lnTo>
                      <a:lnTo>
                        <a:pt x="131" y="299"/>
                      </a:lnTo>
                      <a:lnTo>
                        <a:pt x="131" y="298"/>
                      </a:lnTo>
                      <a:lnTo>
                        <a:pt x="130" y="299"/>
                      </a:lnTo>
                      <a:lnTo>
                        <a:pt x="130" y="300"/>
                      </a:lnTo>
                      <a:lnTo>
                        <a:pt x="130" y="301"/>
                      </a:lnTo>
                      <a:lnTo>
                        <a:pt x="130" y="303"/>
                      </a:lnTo>
                      <a:lnTo>
                        <a:pt x="130" y="304"/>
                      </a:lnTo>
                      <a:lnTo>
                        <a:pt x="128" y="303"/>
                      </a:lnTo>
                      <a:lnTo>
                        <a:pt x="128" y="301"/>
                      </a:lnTo>
                      <a:lnTo>
                        <a:pt x="128" y="300"/>
                      </a:lnTo>
                      <a:lnTo>
                        <a:pt x="128" y="301"/>
                      </a:lnTo>
                      <a:lnTo>
                        <a:pt x="128" y="304"/>
                      </a:lnTo>
                      <a:lnTo>
                        <a:pt x="128" y="305"/>
                      </a:lnTo>
                      <a:lnTo>
                        <a:pt x="130" y="306"/>
                      </a:lnTo>
                      <a:lnTo>
                        <a:pt x="130" y="307"/>
                      </a:lnTo>
                      <a:lnTo>
                        <a:pt x="128" y="307"/>
                      </a:lnTo>
                      <a:lnTo>
                        <a:pt x="127" y="307"/>
                      </a:lnTo>
                      <a:lnTo>
                        <a:pt x="126" y="306"/>
                      </a:lnTo>
                      <a:lnTo>
                        <a:pt x="126" y="305"/>
                      </a:lnTo>
                      <a:lnTo>
                        <a:pt x="126" y="304"/>
                      </a:lnTo>
                      <a:lnTo>
                        <a:pt x="126" y="303"/>
                      </a:lnTo>
                      <a:lnTo>
                        <a:pt x="126" y="301"/>
                      </a:lnTo>
                      <a:lnTo>
                        <a:pt x="125" y="301"/>
                      </a:lnTo>
                      <a:lnTo>
                        <a:pt x="126" y="303"/>
                      </a:lnTo>
                      <a:lnTo>
                        <a:pt x="126" y="304"/>
                      </a:lnTo>
                      <a:lnTo>
                        <a:pt x="126" y="305"/>
                      </a:lnTo>
                      <a:lnTo>
                        <a:pt x="125" y="306"/>
                      </a:lnTo>
                      <a:lnTo>
                        <a:pt x="125" y="307"/>
                      </a:lnTo>
                      <a:lnTo>
                        <a:pt x="124" y="307"/>
                      </a:lnTo>
                      <a:lnTo>
                        <a:pt x="121" y="307"/>
                      </a:lnTo>
                      <a:lnTo>
                        <a:pt x="120" y="307"/>
                      </a:lnTo>
                      <a:lnTo>
                        <a:pt x="119" y="307"/>
                      </a:lnTo>
                      <a:lnTo>
                        <a:pt x="119" y="308"/>
                      </a:lnTo>
                      <a:lnTo>
                        <a:pt x="118" y="308"/>
                      </a:lnTo>
                      <a:lnTo>
                        <a:pt x="117" y="308"/>
                      </a:lnTo>
                      <a:lnTo>
                        <a:pt x="116" y="308"/>
                      </a:lnTo>
                      <a:lnTo>
                        <a:pt x="116" y="307"/>
                      </a:lnTo>
                      <a:lnTo>
                        <a:pt x="116" y="306"/>
                      </a:lnTo>
                      <a:lnTo>
                        <a:pt x="118" y="304"/>
                      </a:lnTo>
                      <a:lnTo>
                        <a:pt x="117" y="304"/>
                      </a:lnTo>
                      <a:lnTo>
                        <a:pt x="116" y="305"/>
                      </a:lnTo>
                      <a:lnTo>
                        <a:pt x="116" y="304"/>
                      </a:lnTo>
                      <a:lnTo>
                        <a:pt x="114" y="303"/>
                      </a:lnTo>
                      <a:lnTo>
                        <a:pt x="114" y="304"/>
                      </a:lnTo>
                      <a:lnTo>
                        <a:pt x="116" y="305"/>
                      </a:lnTo>
                      <a:lnTo>
                        <a:pt x="114" y="305"/>
                      </a:lnTo>
                      <a:lnTo>
                        <a:pt x="114" y="304"/>
                      </a:lnTo>
                      <a:lnTo>
                        <a:pt x="113" y="304"/>
                      </a:lnTo>
                      <a:lnTo>
                        <a:pt x="114" y="305"/>
                      </a:lnTo>
                      <a:lnTo>
                        <a:pt x="114" y="306"/>
                      </a:lnTo>
                      <a:lnTo>
                        <a:pt x="114" y="307"/>
                      </a:lnTo>
                      <a:lnTo>
                        <a:pt x="113" y="307"/>
                      </a:lnTo>
                      <a:lnTo>
                        <a:pt x="113" y="308"/>
                      </a:lnTo>
                      <a:lnTo>
                        <a:pt x="114" y="308"/>
                      </a:lnTo>
                      <a:lnTo>
                        <a:pt x="113" y="308"/>
                      </a:lnTo>
                      <a:lnTo>
                        <a:pt x="112" y="308"/>
                      </a:lnTo>
                      <a:lnTo>
                        <a:pt x="111" y="308"/>
                      </a:lnTo>
                      <a:lnTo>
                        <a:pt x="111" y="310"/>
                      </a:lnTo>
                      <a:lnTo>
                        <a:pt x="110" y="308"/>
                      </a:lnTo>
                      <a:lnTo>
                        <a:pt x="110" y="307"/>
                      </a:lnTo>
                      <a:lnTo>
                        <a:pt x="111" y="306"/>
                      </a:lnTo>
                      <a:lnTo>
                        <a:pt x="110" y="306"/>
                      </a:lnTo>
                      <a:lnTo>
                        <a:pt x="110" y="305"/>
                      </a:lnTo>
                      <a:lnTo>
                        <a:pt x="109" y="305"/>
                      </a:lnTo>
                      <a:lnTo>
                        <a:pt x="109" y="306"/>
                      </a:lnTo>
                      <a:lnTo>
                        <a:pt x="109" y="307"/>
                      </a:lnTo>
                      <a:lnTo>
                        <a:pt x="110" y="307"/>
                      </a:lnTo>
                      <a:lnTo>
                        <a:pt x="110" y="308"/>
                      </a:lnTo>
                      <a:lnTo>
                        <a:pt x="109" y="308"/>
                      </a:lnTo>
                      <a:lnTo>
                        <a:pt x="108" y="308"/>
                      </a:lnTo>
                      <a:lnTo>
                        <a:pt x="108" y="307"/>
                      </a:lnTo>
                      <a:lnTo>
                        <a:pt x="108" y="306"/>
                      </a:lnTo>
                      <a:lnTo>
                        <a:pt x="106" y="305"/>
                      </a:lnTo>
                      <a:lnTo>
                        <a:pt x="108" y="305"/>
                      </a:lnTo>
                      <a:lnTo>
                        <a:pt x="106" y="305"/>
                      </a:lnTo>
                      <a:lnTo>
                        <a:pt x="106" y="306"/>
                      </a:lnTo>
                      <a:lnTo>
                        <a:pt x="106" y="305"/>
                      </a:lnTo>
                      <a:lnTo>
                        <a:pt x="106" y="306"/>
                      </a:lnTo>
                      <a:lnTo>
                        <a:pt x="106" y="307"/>
                      </a:lnTo>
                      <a:lnTo>
                        <a:pt x="105" y="307"/>
                      </a:lnTo>
                      <a:lnTo>
                        <a:pt x="105" y="306"/>
                      </a:lnTo>
                      <a:lnTo>
                        <a:pt x="104" y="306"/>
                      </a:lnTo>
                      <a:lnTo>
                        <a:pt x="103" y="306"/>
                      </a:lnTo>
                      <a:lnTo>
                        <a:pt x="103" y="305"/>
                      </a:lnTo>
                      <a:lnTo>
                        <a:pt x="103" y="304"/>
                      </a:lnTo>
                      <a:lnTo>
                        <a:pt x="103" y="305"/>
                      </a:lnTo>
                      <a:lnTo>
                        <a:pt x="102" y="305"/>
                      </a:lnTo>
                      <a:lnTo>
                        <a:pt x="102" y="304"/>
                      </a:lnTo>
                      <a:lnTo>
                        <a:pt x="101" y="304"/>
                      </a:lnTo>
                      <a:lnTo>
                        <a:pt x="101" y="303"/>
                      </a:lnTo>
                      <a:lnTo>
                        <a:pt x="101" y="304"/>
                      </a:lnTo>
                      <a:lnTo>
                        <a:pt x="101" y="303"/>
                      </a:lnTo>
                      <a:lnTo>
                        <a:pt x="99" y="303"/>
                      </a:lnTo>
                      <a:lnTo>
                        <a:pt x="98" y="301"/>
                      </a:lnTo>
                      <a:lnTo>
                        <a:pt x="97" y="300"/>
                      </a:lnTo>
                      <a:lnTo>
                        <a:pt x="95" y="298"/>
                      </a:lnTo>
                      <a:lnTo>
                        <a:pt x="94" y="297"/>
                      </a:lnTo>
                      <a:lnTo>
                        <a:pt x="94" y="296"/>
                      </a:lnTo>
                      <a:lnTo>
                        <a:pt x="94" y="294"/>
                      </a:lnTo>
                      <a:lnTo>
                        <a:pt x="92" y="294"/>
                      </a:lnTo>
                      <a:lnTo>
                        <a:pt x="92" y="293"/>
                      </a:lnTo>
                      <a:lnTo>
                        <a:pt x="91" y="293"/>
                      </a:lnTo>
                      <a:lnTo>
                        <a:pt x="91" y="292"/>
                      </a:lnTo>
                      <a:lnTo>
                        <a:pt x="90" y="291"/>
                      </a:lnTo>
                      <a:lnTo>
                        <a:pt x="91" y="292"/>
                      </a:lnTo>
                      <a:lnTo>
                        <a:pt x="91" y="291"/>
                      </a:lnTo>
                      <a:lnTo>
                        <a:pt x="90" y="290"/>
                      </a:lnTo>
                      <a:lnTo>
                        <a:pt x="89" y="287"/>
                      </a:lnTo>
                      <a:lnTo>
                        <a:pt x="89" y="286"/>
                      </a:lnTo>
                      <a:lnTo>
                        <a:pt x="89" y="285"/>
                      </a:lnTo>
                      <a:lnTo>
                        <a:pt x="89" y="284"/>
                      </a:lnTo>
                      <a:lnTo>
                        <a:pt x="88" y="284"/>
                      </a:lnTo>
                      <a:lnTo>
                        <a:pt x="88" y="283"/>
                      </a:lnTo>
                      <a:lnTo>
                        <a:pt x="88" y="282"/>
                      </a:lnTo>
                      <a:lnTo>
                        <a:pt x="89" y="282"/>
                      </a:lnTo>
                      <a:lnTo>
                        <a:pt x="90" y="283"/>
                      </a:lnTo>
                      <a:lnTo>
                        <a:pt x="90" y="282"/>
                      </a:lnTo>
                      <a:lnTo>
                        <a:pt x="91" y="282"/>
                      </a:lnTo>
                      <a:lnTo>
                        <a:pt x="90" y="280"/>
                      </a:lnTo>
                      <a:lnTo>
                        <a:pt x="89" y="282"/>
                      </a:lnTo>
                      <a:lnTo>
                        <a:pt x="88" y="282"/>
                      </a:lnTo>
                      <a:lnTo>
                        <a:pt x="87" y="282"/>
                      </a:lnTo>
                      <a:lnTo>
                        <a:pt x="87" y="280"/>
                      </a:lnTo>
                      <a:lnTo>
                        <a:pt x="87" y="279"/>
                      </a:lnTo>
                      <a:lnTo>
                        <a:pt x="87" y="278"/>
                      </a:lnTo>
                      <a:lnTo>
                        <a:pt x="87" y="276"/>
                      </a:lnTo>
                      <a:lnTo>
                        <a:pt x="87" y="275"/>
                      </a:lnTo>
                      <a:lnTo>
                        <a:pt x="89" y="275"/>
                      </a:lnTo>
                      <a:lnTo>
                        <a:pt x="90" y="275"/>
                      </a:lnTo>
                      <a:lnTo>
                        <a:pt x="90" y="276"/>
                      </a:lnTo>
                      <a:lnTo>
                        <a:pt x="91" y="275"/>
                      </a:lnTo>
                      <a:lnTo>
                        <a:pt x="92" y="275"/>
                      </a:lnTo>
                      <a:lnTo>
                        <a:pt x="92" y="273"/>
                      </a:lnTo>
                      <a:lnTo>
                        <a:pt x="94" y="273"/>
                      </a:lnTo>
                      <a:lnTo>
                        <a:pt x="94" y="275"/>
                      </a:lnTo>
                      <a:lnTo>
                        <a:pt x="94" y="273"/>
                      </a:lnTo>
                      <a:lnTo>
                        <a:pt x="92" y="273"/>
                      </a:lnTo>
                      <a:lnTo>
                        <a:pt x="92" y="272"/>
                      </a:lnTo>
                      <a:lnTo>
                        <a:pt x="92" y="271"/>
                      </a:lnTo>
                      <a:lnTo>
                        <a:pt x="94" y="270"/>
                      </a:lnTo>
                      <a:lnTo>
                        <a:pt x="95" y="270"/>
                      </a:lnTo>
                      <a:lnTo>
                        <a:pt x="96" y="269"/>
                      </a:lnTo>
                      <a:lnTo>
                        <a:pt x="95" y="269"/>
                      </a:lnTo>
                      <a:lnTo>
                        <a:pt x="95" y="270"/>
                      </a:lnTo>
                      <a:lnTo>
                        <a:pt x="94" y="270"/>
                      </a:lnTo>
                      <a:lnTo>
                        <a:pt x="92" y="270"/>
                      </a:lnTo>
                      <a:lnTo>
                        <a:pt x="91" y="270"/>
                      </a:lnTo>
                      <a:lnTo>
                        <a:pt x="91" y="271"/>
                      </a:lnTo>
                      <a:lnTo>
                        <a:pt x="91" y="272"/>
                      </a:lnTo>
                      <a:lnTo>
                        <a:pt x="91" y="273"/>
                      </a:lnTo>
                      <a:lnTo>
                        <a:pt x="90" y="273"/>
                      </a:lnTo>
                      <a:lnTo>
                        <a:pt x="89" y="273"/>
                      </a:lnTo>
                      <a:lnTo>
                        <a:pt x="89" y="272"/>
                      </a:lnTo>
                      <a:lnTo>
                        <a:pt x="89" y="273"/>
                      </a:lnTo>
                      <a:lnTo>
                        <a:pt x="88" y="273"/>
                      </a:lnTo>
                      <a:lnTo>
                        <a:pt x="83" y="272"/>
                      </a:lnTo>
                      <a:lnTo>
                        <a:pt x="82" y="271"/>
                      </a:lnTo>
                      <a:lnTo>
                        <a:pt x="82" y="270"/>
                      </a:lnTo>
                      <a:lnTo>
                        <a:pt x="81" y="270"/>
                      </a:lnTo>
                      <a:lnTo>
                        <a:pt x="81" y="269"/>
                      </a:lnTo>
                      <a:lnTo>
                        <a:pt x="82" y="269"/>
                      </a:lnTo>
                      <a:lnTo>
                        <a:pt x="82" y="268"/>
                      </a:lnTo>
                      <a:lnTo>
                        <a:pt x="83" y="268"/>
                      </a:lnTo>
                      <a:lnTo>
                        <a:pt x="85" y="268"/>
                      </a:lnTo>
                      <a:lnTo>
                        <a:pt x="87" y="269"/>
                      </a:lnTo>
                      <a:lnTo>
                        <a:pt x="88" y="269"/>
                      </a:lnTo>
                      <a:lnTo>
                        <a:pt x="88" y="268"/>
                      </a:lnTo>
                      <a:lnTo>
                        <a:pt x="89" y="266"/>
                      </a:lnTo>
                      <a:lnTo>
                        <a:pt x="90" y="266"/>
                      </a:lnTo>
                      <a:lnTo>
                        <a:pt x="90" y="268"/>
                      </a:lnTo>
                      <a:lnTo>
                        <a:pt x="91" y="268"/>
                      </a:lnTo>
                      <a:lnTo>
                        <a:pt x="91" y="266"/>
                      </a:lnTo>
                      <a:lnTo>
                        <a:pt x="90" y="266"/>
                      </a:lnTo>
                      <a:lnTo>
                        <a:pt x="90" y="265"/>
                      </a:lnTo>
                      <a:lnTo>
                        <a:pt x="89" y="265"/>
                      </a:lnTo>
                      <a:lnTo>
                        <a:pt x="88" y="266"/>
                      </a:lnTo>
                      <a:lnTo>
                        <a:pt x="88" y="268"/>
                      </a:lnTo>
                      <a:lnTo>
                        <a:pt x="87" y="268"/>
                      </a:lnTo>
                      <a:lnTo>
                        <a:pt x="85" y="268"/>
                      </a:lnTo>
                      <a:lnTo>
                        <a:pt x="85" y="266"/>
                      </a:lnTo>
                      <a:lnTo>
                        <a:pt x="85" y="264"/>
                      </a:lnTo>
                      <a:lnTo>
                        <a:pt x="85" y="263"/>
                      </a:lnTo>
                      <a:lnTo>
                        <a:pt x="85" y="265"/>
                      </a:lnTo>
                      <a:lnTo>
                        <a:pt x="84" y="266"/>
                      </a:lnTo>
                      <a:lnTo>
                        <a:pt x="83" y="266"/>
                      </a:lnTo>
                      <a:lnTo>
                        <a:pt x="83" y="268"/>
                      </a:lnTo>
                      <a:lnTo>
                        <a:pt x="82" y="268"/>
                      </a:lnTo>
                      <a:lnTo>
                        <a:pt x="81" y="268"/>
                      </a:lnTo>
                      <a:lnTo>
                        <a:pt x="80" y="268"/>
                      </a:lnTo>
                      <a:lnTo>
                        <a:pt x="80" y="266"/>
                      </a:lnTo>
                      <a:lnTo>
                        <a:pt x="78" y="265"/>
                      </a:lnTo>
                      <a:lnTo>
                        <a:pt x="78" y="264"/>
                      </a:lnTo>
                      <a:lnTo>
                        <a:pt x="78" y="263"/>
                      </a:lnTo>
                      <a:lnTo>
                        <a:pt x="78" y="262"/>
                      </a:lnTo>
                      <a:lnTo>
                        <a:pt x="78" y="261"/>
                      </a:lnTo>
                      <a:lnTo>
                        <a:pt x="80" y="261"/>
                      </a:lnTo>
                      <a:lnTo>
                        <a:pt x="80" y="262"/>
                      </a:lnTo>
                      <a:lnTo>
                        <a:pt x="81" y="262"/>
                      </a:lnTo>
                      <a:lnTo>
                        <a:pt x="80" y="261"/>
                      </a:lnTo>
                      <a:lnTo>
                        <a:pt x="81" y="259"/>
                      </a:lnTo>
                      <a:lnTo>
                        <a:pt x="83" y="258"/>
                      </a:lnTo>
                      <a:lnTo>
                        <a:pt x="84" y="257"/>
                      </a:lnTo>
                      <a:lnTo>
                        <a:pt x="83" y="258"/>
                      </a:lnTo>
                      <a:lnTo>
                        <a:pt x="82" y="259"/>
                      </a:lnTo>
                      <a:lnTo>
                        <a:pt x="78" y="261"/>
                      </a:lnTo>
                      <a:lnTo>
                        <a:pt x="77" y="262"/>
                      </a:lnTo>
                      <a:lnTo>
                        <a:pt x="76" y="262"/>
                      </a:lnTo>
                      <a:lnTo>
                        <a:pt x="75" y="259"/>
                      </a:lnTo>
                      <a:lnTo>
                        <a:pt x="71" y="255"/>
                      </a:lnTo>
                      <a:lnTo>
                        <a:pt x="70" y="254"/>
                      </a:lnTo>
                      <a:lnTo>
                        <a:pt x="69" y="254"/>
                      </a:lnTo>
                      <a:lnTo>
                        <a:pt x="69" y="252"/>
                      </a:lnTo>
                      <a:lnTo>
                        <a:pt x="68" y="251"/>
                      </a:lnTo>
                      <a:lnTo>
                        <a:pt x="67" y="250"/>
                      </a:lnTo>
                      <a:lnTo>
                        <a:pt x="66" y="250"/>
                      </a:lnTo>
                      <a:lnTo>
                        <a:pt x="63" y="248"/>
                      </a:lnTo>
                      <a:lnTo>
                        <a:pt x="62" y="248"/>
                      </a:lnTo>
                      <a:lnTo>
                        <a:pt x="61" y="245"/>
                      </a:lnTo>
                      <a:lnTo>
                        <a:pt x="60" y="245"/>
                      </a:lnTo>
                      <a:lnTo>
                        <a:pt x="59" y="244"/>
                      </a:lnTo>
                      <a:lnTo>
                        <a:pt x="56" y="243"/>
                      </a:lnTo>
                      <a:lnTo>
                        <a:pt x="54" y="243"/>
                      </a:lnTo>
                      <a:lnTo>
                        <a:pt x="47" y="242"/>
                      </a:lnTo>
                      <a:lnTo>
                        <a:pt x="39" y="241"/>
                      </a:lnTo>
                      <a:lnTo>
                        <a:pt x="26" y="242"/>
                      </a:lnTo>
                      <a:lnTo>
                        <a:pt x="25" y="242"/>
                      </a:lnTo>
                      <a:lnTo>
                        <a:pt x="24" y="242"/>
                      </a:lnTo>
                      <a:lnTo>
                        <a:pt x="24" y="241"/>
                      </a:lnTo>
                      <a:lnTo>
                        <a:pt x="25" y="241"/>
                      </a:lnTo>
                      <a:lnTo>
                        <a:pt x="25" y="242"/>
                      </a:lnTo>
                      <a:lnTo>
                        <a:pt x="26" y="241"/>
                      </a:lnTo>
                      <a:lnTo>
                        <a:pt x="27" y="241"/>
                      </a:lnTo>
                      <a:lnTo>
                        <a:pt x="28" y="241"/>
                      </a:lnTo>
                      <a:lnTo>
                        <a:pt x="30" y="241"/>
                      </a:lnTo>
                      <a:lnTo>
                        <a:pt x="30" y="240"/>
                      </a:lnTo>
                      <a:lnTo>
                        <a:pt x="30" y="238"/>
                      </a:lnTo>
                      <a:lnTo>
                        <a:pt x="31" y="238"/>
                      </a:lnTo>
                      <a:lnTo>
                        <a:pt x="32" y="238"/>
                      </a:lnTo>
                      <a:lnTo>
                        <a:pt x="33" y="238"/>
                      </a:lnTo>
                      <a:lnTo>
                        <a:pt x="34" y="238"/>
                      </a:lnTo>
                      <a:lnTo>
                        <a:pt x="35" y="237"/>
                      </a:lnTo>
                      <a:lnTo>
                        <a:pt x="35" y="236"/>
                      </a:lnTo>
                      <a:lnTo>
                        <a:pt x="37" y="236"/>
                      </a:lnTo>
                      <a:lnTo>
                        <a:pt x="39" y="236"/>
                      </a:lnTo>
                      <a:lnTo>
                        <a:pt x="38" y="236"/>
                      </a:lnTo>
                      <a:lnTo>
                        <a:pt x="37" y="235"/>
                      </a:lnTo>
                      <a:lnTo>
                        <a:pt x="34" y="236"/>
                      </a:lnTo>
                      <a:lnTo>
                        <a:pt x="33" y="237"/>
                      </a:lnTo>
                      <a:lnTo>
                        <a:pt x="31" y="237"/>
                      </a:lnTo>
                      <a:lnTo>
                        <a:pt x="30" y="237"/>
                      </a:lnTo>
                      <a:lnTo>
                        <a:pt x="30" y="238"/>
                      </a:lnTo>
                      <a:lnTo>
                        <a:pt x="28" y="238"/>
                      </a:lnTo>
                      <a:lnTo>
                        <a:pt x="27" y="238"/>
                      </a:lnTo>
                      <a:lnTo>
                        <a:pt x="26" y="237"/>
                      </a:lnTo>
                      <a:lnTo>
                        <a:pt x="27" y="236"/>
                      </a:lnTo>
                      <a:lnTo>
                        <a:pt x="26" y="236"/>
                      </a:lnTo>
                      <a:lnTo>
                        <a:pt x="25" y="237"/>
                      </a:lnTo>
                      <a:lnTo>
                        <a:pt x="24" y="237"/>
                      </a:lnTo>
                      <a:lnTo>
                        <a:pt x="24" y="238"/>
                      </a:lnTo>
                      <a:lnTo>
                        <a:pt x="25" y="238"/>
                      </a:lnTo>
                      <a:lnTo>
                        <a:pt x="24" y="240"/>
                      </a:lnTo>
                      <a:lnTo>
                        <a:pt x="24" y="241"/>
                      </a:lnTo>
                      <a:lnTo>
                        <a:pt x="24" y="242"/>
                      </a:lnTo>
                      <a:lnTo>
                        <a:pt x="24" y="243"/>
                      </a:lnTo>
                      <a:lnTo>
                        <a:pt x="21" y="243"/>
                      </a:lnTo>
                      <a:lnTo>
                        <a:pt x="18" y="243"/>
                      </a:lnTo>
                      <a:lnTo>
                        <a:pt x="14" y="243"/>
                      </a:lnTo>
                      <a:lnTo>
                        <a:pt x="10" y="243"/>
                      </a:lnTo>
                      <a:lnTo>
                        <a:pt x="2" y="244"/>
                      </a:lnTo>
                      <a:lnTo>
                        <a:pt x="2" y="242"/>
                      </a:lnTo>
                      <a:lnTo>
                        <a:pt x="3" y="241"/>
                      </a:lnTo>
                      <a:lnTo>
                        <a:pt x="3" y="240"/>
                      </a:lnTo>
                      <a:lnTo>
                        <a:pt x="3" y="237"/>
                      </a:lnTo>
                      <a:lnTo>
                        <a:pt x="3" y="236"/>
                      </a:lnTo>
                      <a:lnTo>
                        <a:pt x="3" y="235"/>
                      </a:lnTo>
                      <a:lnTo>
                        <a:pt x="3" y="234"/>
                      </a:lnTo>
                      <a:lnTo>
                        <a:pt x="4" y="234"/>
                      </a:lnTo>
                      <a:lnTo>
                        <a:pt x="4" y="233"/>
                      </a:lnTo>
                      <a:lnTo>
                        <a:pt x="4" y="231"/>
                      </a:lnTo>
                      <a:lnTo>
                        <a:pt x="3" y="231"/>
                      </a:lnTo>
                      <a:lnTo>
                        <a:pt x="3" y="230"/>
                      </a:lnTo>
                      <a:lnTo>
                        <a:pt x="3" y="229"/>
                      </a:lnTo>
                      <a:lnTo>
                        <a:pt x="3" y="228"/>
                      </a:lnTo>
                      <a:lnTo>
                        <a:pt x="3" y="227"/>
                      </a:lnTo>
                      <a:lnTo>
                        <a:pt x="3" y="226"/>
                      </a:lnTo>
                      <a:lnTo>
                        <a:pt x="3" y="224"/>
                      </a:lnTo>
                      <a:lnTo>
                        <a:pt x="3" y="223"/>
                      </a:lnTo>
                      <a:lnTo>
                        <a:pt x="4" y="223"/>
                      </a:lnTo>
                      <a:lnTo>
                        <a:pt x="4" y="222"/>
                      </a:lnTo>
                      <a:lnTo>
                        <a:pt x="3" y="221"/>
                      </a:lnTo>
                      <a:lnTo>
                        <a:pt x="3" y="220"/>
                      </a:lnTo>
                      <a:lnTo>
                        <a:pt x="4" y="219"/>
                      </a:lnTo>
                      <a:lnTo>
                        <a:pt x="3" y="210"/>
                      </a:lnTo>
                      <a:lnTo>
                        <a:pt x="4" y="210"/>
                      </a:lnTo>
                      <a:lnTo>
                        <a:pt x="4" y="209"/>
                      </a:lnTo>
                      <a:lnTo>
                        <a:pt x="5" y="208"/>
                      </a:lnTo>
                      <a:lnTo>
                        <a:pt x="4" y="207"/>
                      </a:lnTo>
                      <a:lnTo>
                        <a:pt x="3" y="206"/>
                      </a:lnTo>
                      <a:lnTo>
                        <a:pt x="3" y="205"/>
                      </a:lnTo>
                      <a:lnTo>
                        <a:pt x="2" y="203"/>
                      </a:lnTo>
                      <a:lnTo>
                        <a:pt x="2" y="202"/>
                      </a:lnTo>
                      <a:lnTo>
                        <a:pt x="3" y="199"/>
                      </a:lnTo>
                      <a:lnTo>
                        <a:pt x="3" y="198"/>
                      </a:lnTo>
                      <a:lnTo>
                        <a:pt x="2" y="198"/>
                      </a:lnTo>
                      <a:lnTo>
                        <a:pt x="2" y="196"/>
                      </a:lnTo>
                      <a:lnTo>
                        <a:pt x="0" y="195"/>
                      </a:lnTo>
                      <a:lnTo>
                        <a:pt x="0" y="194"/>
                      </a:lnTo>
                      <a:lnTo>
                        <a:pt x="2" y="194"/>
                      </a:lnTo>
                      <a:lnTo>
                        <a:pt x="2" y="192"/>
                      </a:lnTo>
                      <a:lnTo>
                        <a:pt x="2" y="189"/>
                      </a:lnTo>
                      <a:lnTo>
                        <a:pt x="2" y="188"/>
                      </a:lnTo>
                      <a:lnTo>
                        <a:pt x="2" y="187"/>
                      </a:lnTo>
                      <a:lnTo>
                        <a:pt x="3" y="186"/>
                      </a:lnTo>
                      <a:lnTo>
                        <a:pt x="3" y="185"/>
                      </a:lnTo>
                      <a:lnTo>
                        <a:pt x="2" y="182"/>
                      </a:lnTo>
                      <a:lnTo>
                        <a:pt x="2" y="181"/>
                      </a:lnTo>
                      <a:lnTo>
                        <a:pt x="2" y="179"/>
                      </a:lnTo>
                      <a:lnTo>
                        <a:pt x="2" y="178"/>
                      </a:lnTo>
                      <a:lnTo>
                        <a:pt x="3" y="178"/>
                      </a:lnTo>
                      <a:lnTo>
                        <a:pt x="3" y="177"/>
                      </a:lnTo>
                      <a:lnTo>
                        <a:pt x="3" y="175"/>
                      </a:lnTo>
                      <a:lnTo>
                        <a:pt x="3" y="174"/>
                      </a:lnTo>
                      <a:lnTo>
                        <a:pt x="2" y="167"/>
                      </a:lnTo>
                      <a:lnTo>
                        <a:pt x="2" y="166"/>
                      </a:lnTo>
                      <a:lnTo>
                        <a:pt x="3" y="166"/>
                      </a:lnTo>
                      <a:lnTo>
                        <a:pt x="3" y="165"/>
                      </a:lnTo>
                      <a:lnTo>
                        <a:pt x="3" y="164"/>
                      </a:lnTo>
                      <a:lnTo>
                        <a:pt x="3" y="163"/>
                      </a:lnTo>
                      <a:lnTo>
                        <a:pt x="3" y="161"/>
                      </a:lnTo>
                      <a:lnTo>
                        <a:pt x="3" y="160"/>
                      </a:lnTo>
                      <a:lnTo>
                        <a:pt x="4" y="159"/>
                      </a:lnTo>
                      <a:lnTo>
                        <a:pt x="3" y="158"/>
                      </a:lnTo>
                      <a:lnTo>
                        <a:pt x="6" y="158"/>
                      </a:lnTo>
                      <a:lnTo>
                        <a:pt x="7" y="157"/>
                      </a:lnTo>
                      <a:lnTo>
                        <a:pt x="9" y="157"/>
                      </a:lnTo>
                      <a:lnTo>
                        <a:pt x="10" y="158"/>
                      </a:lnTo>
                      <a:lnTo>
                        <a:pt x="12" y="157"/>
                      </a:lnTo>
                      <a:lnTo>
                        <a:pt x="13" y="157"/>
                      </a:lnTo>
                      <a:lnTo>
                        <a:pt x="13" y="156"/>
                      </a:lnTo>
                      <a:lnTo>
                        <a:pt x="14" y="152"/>
                      </a:lnTo>
                      <a:lnTo>
                        <a:pt x="16" y="151"/>
                      </a:lnTo>
                      <a:lnTo>
                        <a:pt x="16" y="150"/>
                      </a:lnTo>
                      <a:lnTo>
                        <a:pt x="16" y="149"/>
                      </a:lnTo>
                      <a:lnTo>
                        <a:pt x="16" y="147"/>
                      </a:lnTo>
                      <a:lnTo>
                        <a:pt x="14" y="146"/>
                      </a:lnTo>
                      <a:lnTo>
                        <a:pt x="14" y="145"/>
                      </a:lnTo>
                      <a:lnTo>
                        <a:pt x="16" y="144"/>
                      </a:lnTo>
                      <a:lnTo>
                        <a:pt x="17" y="143"/>
                      </a:lnTo>
                      <a:lnTo>
                        <a:pt x="18" y="140"/>
                      </a:lnTo>
                      <a:lnTo>
                        <a:pt x="18" y="139"/>
                      </a:lnTo>
                      <a:lnTo>
                        <a:pt x="19" y="139"/>
                      </a:lnTo>
                      <a:lnTo>
                        <a:pt x="20" y="139"/>
                      </a:lnTo>
                      <a:lnTo>
                        <a:pt x="21" y="138"/>
                      </a:lnTo>
                      <a:lnTo>
                        <a:pt x="21" y="137"/>
                      </a:lnTo>
                      <a:lnTo>
                        <a:pt x="20" y="136"/>
                      </a:lnTo>
                      <a:lnTo>
                        <a:pt x="20" y="135"/>
                      </a:lnTo>
                      <a:lnTo>
                        <a:pt x="20" y="133"/>
                      </a:lnTo>
                      <a:lnTo>
                        <a:pt x="21" y="133"/>
                      </a:lnTo>
                      <a:lnTo>
                        <a:pt x="24" y="132"/>
                      </a:lnTo>
                      <a:lnTo>
                        <a:pt x="25" y="132"/>
                      </a:lnTo>
                      <a:lnTo>
                        <a:pt x="27" y="132"/>
                      </a:lnTo>
                      <a:lnTo>
                        <a:pt x="28" y="130"/>
                      </a:lnTo>
                      <a:lnTo>
                        <a:pt x="30" y="129"/>
                      </a:lnTo>
                      <a:lnTo>
                        <a:pt x="30" y="125"/>
                      </a:lnTo>
                      <a:lnTo>
                        <a:pt x="31" y="124"/>
                      </a:lnTo>
                      <a:lnTo>
                        <a:pt x="32" y="123"/>
                      </a:lnTo>
                      <a:lnTo>
                        <a:pt x="32" y="122"/>
                      </a:lnTo>
                      <a:lnTo>
                        <a:pt x="31" y="122"/>
                      </a:lnTo>
                      <a:lnTo>
                        <a:pt x="28" y="119"/>
                      </a:lnTo>
                      <a:lnTo>
                        <a:pt x="28" y="118"/>
                      </a:lnTo>
                      <a:lnTo>
                        <a:pt x="30" y="117"/>
                      </a:lnTo>
                      <a:lnTo>
                        <a:pt x="30" y="116"/>
                      </a:lnTo>
                      <a:lnTo>
                        <a:pt x="30" y="115"/>
                      </a:lnTo>
                      <a:lnTo>
                        <a:pt x="30" y="114"/>
                      </a:lnTo>
                      <a:lnTo>
                        <a:pt x="31" y="114"/>
                      </a:lnTo>
                      <a:lnTo>
                        <a:pt x="32" y="114"/>
                      </a:lnTo>
                      <a:lnTo>
                        <a:pt x="34" y="114"/>
                      </a:lnTo>
                      <a:lnTo>
                        <a:pt x="35" y="114"/>
                      </a:lnTo>
                      <a:lnTo>
                        <a:pt x="35" y="112"/>
                      </a:lnTo>
                      <a:lnTo>
                        <a:pt x="35" y="111"/>
                      </a:lnTo>
                      <a:lnTo>
                        <a:pt x="35" y="110"/>
                      </a:lnTo>
                      <a:lnTo>
                        <a:pt x="37" y="109"/>
                      </a:lnTo>
                      <a:lnTo>
                        <a:pt x="37" y="108"/>
                      </a:lnTo>
                      <a:lnTo>
                        <a:pt x="37" y="107"/>
                      </a:lnTo>
                      <a:lnTo>
                        <a:pt x="37" y="105"/>
                      </a:lnTo>
                      <a:lnTo>
                        <a:pt x="37" y="104"/>
                      </a:lnTo>
                      <a:lnTo>
                        <a:pt x="35" y="104"/>
                      </a:lnTo>
                      <a:lnTo>
                        <a:pt x="34" y="104"/>
                      </a:lnTo>
                      <a:lnTo>
                        <a:pt x="34" y="103"/>
                      </a:lnTo>
                      <a:lnTo>
                        <a:pt x="34" y="102"/>
                      </a:lnTo>
                      <a:lnTo>
                        <a:pt x="33" y="102"/>
                      </a:lnTo>
                      <a:lnTo>
                        <a:pt x="33" y="101"/>
                      </a:lnTo>
                      <a:lnTo>
                        <a:pt x="34" y="98"/>
                      </a:lnTo>
                      <a:lnTo>
                        <a:pt x="33" y="95"/>
                      </a:lnTo>
                      <a:lnTo>
                        <a:pt x="33" y="94"/>
                      </a:lnTo>
                      <a:lnTo>
                        <a:pt x="33" y="93"/>
                      </a:lnTo>
                      <a:lnTo>
                        <a:pt x="33" y="91"/>
                      </a:lnTo>
                      <a:lnTo>
                        <a:pt x="32" y="91"/>
                      </a:lnTo>
                      <a:lnTo>
                        <a:pt x="31" y="90"/>
                      </a:lnTo>
                      <a:lnTo>
                        <a:pt x="25" y="82"/>
                      </a:lnTo>
                      <a:lnTo>
                        <a:pt x="25" y="81"/>
                      </a:lnTo>
                      <a:lnTo>
                        <a:pt x="25" y="79"/>
                      </a:lnTo>
                      <a:lnTo>
                        <a:pt x="26" y="79"/>
                      </a:lnTo>
                      <a:lnTo>
                        <a:pt x="26" y="77"/>
                      </a:lnTo>
                      <a:lnTo>
                        <a:pt x="28" y="73"/>
                      </a:lnTo>
                      <a:lnTo>
                        <a:pt x="31" y="72"/>
                      </a:lnTo>
                      <a:lnTo>
                        <a:pt x="31" y="70"/>
                      </a:lnTo>
                      <a:lnTo>
                        <a:pt x="31" y="69"/>
                      </a:lnTo>
                      <a:lnTo>
                        <a:pt x="30" y="68"/>
                      </a:lnTo>
                      <a:lnTo>
                        <a:pt x="28" y="66"/>
                      </a:lnTo>
                      <a:lnTo>
                        <a:pt x="30" y="66"/>
                      </a:lnTo>
                      <a:lnTo>
                        <a:pt x="30" y="65"/>
                      </a:lnTo>
                      <a:lnTo>
                        <a:pt x="31" y="63"/>
                      </a:lnTo>
                      <a:lnTo>
                        <a:pt x="31" y="62"/>
                      </a:lnTo>
                      <a:lnTo>
                        <a:pt x="30" y="60"/>
                      </a:lnTo>
                      <a:lnTo>
                        <a:pt x="30" y="59"/>
                      </a:lnTo>
                      <a:lnTo>
                        <a:pt x="31" y="54"/>
                      </a:lnTo>
                      <a:lnTo>
                        <a:pt x="30" y="46"/>
                      </a:lnTo>
                      <a:lnTo>
                        <a:pt x="37" y="40"/>
                      </a:lnTo>
                      <a:lnTo>
                        <a:pt x="39" y="38"/>
                      </a:lnTo>
                      <a:lnTo>
                        <a:pt x="44" y="30"/>
                      </a:lnTo>
                      <a:lnTo>
                        <a:pt x="45" y="23"/>
                      </a:lnTo>
                      <a:lnTo>
                        <a:pt x="45" y="14"/>
                      </a:lnTo>
                      <a:lnTo>
                        <a:pt x="47" y="14"/>
                      </a:lnTo>
                      <a:lnTo>
                        <a:pt x="48" y="14"/>
                      </a:lnTo>
                      <a:lnTo>
                        <a:pt x="49" y="14"/>
                      </a:lnTo>
                      <a:lnTo>
                        <a:pt x="54" y="9"/>
                      </a:lnTo>
                      <a:lnTo>
                        <a:pt x="55" y="7"/>
                      </a:lnTo>
                      <a:lnTo>
                        <a:pt x="57" y="7"/>
                      </a:lnTo>
                      <a:lnTo>
                        <a:pt x="61" y="6"/>
                      </a:lnTo>
                      <a:lnTo>
                        <a:pt x="67" y="5"/>
                      </a:lnTo>
                      <a:lnTo>
                        <a:pt x="68" y="5"/>
                      </a:lnTo>
                      <a:lnTo>
                        <a:pt x="69" y="5"/>
                      </a:lnTo>
                      <a:lnTo>
                        <a:pt x="70" y="6"/>
                      </a:lnTo>
                      <a:lnTo>
                        <a:pt x="73" y="6"/>
                      </a:lnTo>
                      <a:lnTo>
                        <a:pt x="75" y="5"/>
                      </a:lnTo>
                      <a:lnTo>
                        <a:pt x="80" y="5"/>
                      </a:lnTo>
                      <a:lnTo>
                        <a:pt x="81" y="5"/>
                      </a:lnTo>
                      <a:lnTo>
                        <a:pt x="82" y="5"/>
                      </a:lnTo>
                      <a:lnTo>
                        <a:pt x="82" y="4"/>
                      </a:lnTo>
                      <a:lnTo>
                        <a:pt x="83" y="4"/>
                      </a:lnTo>
                      <a:lnTo>
                        <a:pt x="83" y="3"/>
                      </a:lnTo>
                      <a:lnTo>
                        <a:pt x="84" y="3"/>
                      </a:lnTo>
                      <a:lnTo>
                        <a:pt x="84" y="2"/>
                      </a:lnTo>
                      <a:lnTo>
                        <a:pt x="89" y="0"/>
                      </a:lnTo>
                      <a:lnTo>
                        <a:pt x="90" y="2"/>
                      </a:lnTo>
                      <a:lnTo>
                        <a:pt x="99" y="5"/>
                      </a:lnTo>
                      <a:close/>
                    </a:path>
                  </a:pathLst>
                </a:custGeom>
                <a:solidFill>
                  <a:schemeClr val="accent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99" name="Freeform 108">
                  <a:extLst>
                    <a:ext uri="{FF2B5EF4-FFF2-40B4-BE49-F238E27FC236}">
                      <a16:creationId xmlns:a16="http://schemas.microsoft.com/office/drawing/2014/main" id="{CF7EEC5E-896F-1264-2D68-E4AEFFAFD55B}"/>
                    </a:ext>
                  </a:extLst>
                </p:cNvPr>
                <p:cNvSpPr>
                  <a:spLocks/>
                </p:cNvSpPr>
                <p:nvPr/>
              </p:nvSpPr>
              <p:spPr bwMode="auto">
                <a:xfrm>
                  <a:off x="7217802" y="3834313"/>
                  <a:ext cx="69230" cy="60578"/>
                </a:xfrm>
                <a:custGeom>
                  <a:avLst/>
                  <a:gdLst>
                    <a:gd name="T0" fmla="*/ 52 w 64"/>
                    <a:gd name="T1" fmla="*/ 3 h 56"/>
                    <a:gd name="T2" fmla="*/ 52 w 64"/>
                    <a:gd name="T3" fmla="*/ 4 h 56"/>
                    <a:gd name="T4" fmla="*/ 54 w 64"/>
                    <a:gd name="T5" fmla="*/ 6 h 56"/>
                    <a:gd name="T6" fmla="*/ 54 w 64"/>
                    <a:gd name="T7" fmla="*/ 8 h 56"/>
                    <a:gd name="T8" fmla="*/ 59 w 64"/>
                    <a:gd name="T9" fmla="*/ 11 h 56"/>
                    <a:gd name="T10" fmla="*/ 60 w 64"/>
                    <a:gd name="T11" fmla="*/ 14 h 56"/>
                    <a:gd name="T12" fmla="*/ 63 w 64"/>
                    <a:gd name="T13" fmla="*/ 18 h 56"/>
                    <a:gd name="T14" fmla="*/ 62 w 64"/>
                    <a:gd name="T15" fmla="*/ 24 h 56"/>
                    <a:gd name="T16" fmla="*/ 62 w 64"/>
                    <a:gd name="T17" fmla="*/ 27 h 56"/>
                    <a:gd name="T18" fmla="*/ 63 w 64"/>
                    <a:gd name="T19" fmla="*/ 31 h 56"/>
                    <a:gd name="T20" fmla="*/ 63 w 64"/>
                    <a:gd name="T21" fmla="*/ 40 h 56"/>
                    <a:gd name="T22" fmla="*/ 60 w 64"/>
                    <a:gd name="T23" fmla="*/ 42 h 56"/>
                    <a:gd name="T24" fmla="*/ 56 w 64"/>
                    <a:gd name="T25" fmla="*/ 42 h 56"/>
                    <a:gd name="T26" fmla="*/ 49 w 64"/>
                    <a:gd name="T27" fmla="*/ 40 h 56"/>
                    <a:gd name="T28" fmla="*/ 48 w 64"/>
                    <a:gd name="T29" fmla="*/ 40 h 56"/>
                    <a:gd name="T30" fmla="*/ 45 w 64"/>
                    <a:gd name="T31" fmla="*/ 41 h 56"/>
                    <a:gd name="T32" fmla="*/ 42 w 64"/>
                    <a:gd name="T33" fmla="*/ 41 h 56"/>
                    <a:gd name="T34" fmla="*/ 37 w 64"/>
                    <a:gd name="T35" fmla="*/ 41 h 56"/>
                    <a:gd name="T36" fmla="*/ 35 w 64"/>
                    <a:gd name="T37" fmla="*/ 40 h 56"/>
                    <a:gd name="T38" fmla="*/ 34 w 64"/>
                    <a:gd name="T39" fmla="*/ 45 h 56"/>
                    <a:gd name="T40" fmla="*/ 32 w 64"/>
                    <a:gd name="T41" fmla="*/ 53 h 56"/>
                    <a:gd name="T42" fmla="*/ 28 w 64"/>
                    <a:gd name="T43" fmla="*/ 54 h 56"/>
                    <a:gd name="T44" fmla="*/ 25 w 64"/>
                    <a:gd name="T45" fmla="*/ 55 h 56"/>
                    <a:gd name="T46" fmla="*/ 21 w 64"/>
                    <a:gd name="T47" fmla="*/ 55 h 56"/>
                    <a:gd name="T48" fmla="*/ 16 w 64"/>
                    <a:gd name="T49" fmla="*/ 56 h 56"/>
                    <a:gd name="T50" fmla="*/ 16 w 64"/>
                    <a:gd name="T51" fmla="*/ 53 h 56"/>
                    <a:gd name="T52" fmla="*/ 14 w 64"/>
                    <a:gd name="T53" fmla="*/ 50 h 56"/>
                    <a:gd name="T54" fmla="*/ 6 w 64"/>
                    <a:gd name="T55" fmla="*/ 48 h 56"/>
                    <a:gd name="T56" fmla="*/ 2 w 64"/>
                    <a:gd name="T57" fmla="*/ 50 h 56"/>
                    <a:gd name="T58" fmla="*/ 0 w 64"/>
                    <a:gd name="T59" fmla="*/ 46 h 56"/>
                    <a:gd name="T60" fmla="*/ 2 w 64"/>
                    <a:gd name="T61" fmla="*/ 42 h 56"/>
                    <a:gd name="T62" fmla="*/ 5 w 64"/>
                    <a:gd name="T63" fmla="*/ 41 h 56"/>
                    <a:gd name="T64" fmla="*/ 6 w 64"/>
                    <a:gd name="T65" fmla="*/ 41 h 56"/>
                    <a:gd name="T66" fmla="*/ 7 w 64"/>
                    <a:gd name="T67" fmla="*/ 40 h 56"/>
                    <a:gd name="T68" fmla="*/ 7 w 64"/>
                    <a:gd name="T69" fmla="*/ 39 h 56"/>
                    <a:gd name="T70" fmla="*/ 10 w 64"/>
                    <a:gd name="T71" fmla="*/ 38 h 56"/>
                    <a:gd name="T72" fmla="*/ 10 w 64"/>
                    <a:gd name="T73" fmla="*/ 36 h 56"/>
                    <a:gd name="T74" fmla="*/ 13 w 64"/>
                    <a:gd name="T75" fmla="*/ 35 h 56"/>
                    <a:gd name="T76" fmla="*/ 13 w 64"/>
                    <a:gd name="T77" fmla="*/ 32 h 56"/>
                    <a:gd name="T78" fmla="*/ 13 w 64"/>
                    <a:gd name="T79" fmla="*/ 32 h 56"/>
                    <a:gd name="T80" fmla="*/ 14 w 64"/>
                    <a:gd name="T81" fmla="*/ 32 h 56"/>
                    <a:gd name="T82" fmla="*/ 16 w 64"/>
                    <a:gd name="T83" fmla="*/ 32 h 56"/>
                    <a:gd name="T84" fmla="*/ 16 w 64"/>
                    <a:gd name="T85" fmla="*/ 28 h 56"/>
                    <a:gd name="T86" fmla="*/ 13 w 64"/>
                    <a:gd name="T87" fmla="*/ 26 h 56"/>
                    <a:gd name="T88" fmla="*/ 13 w 64"/>
                    <a:gd name="T89" fmla="*/ 21 h 56"/>
                    <a:gd name="T90" fmla="*/ 13 w 64"/>
                    <a:gd name="T91" fmla="*/ 20 h 56"/>
                    <a:gd name="T92" fmla="*/ 14 w 64"/>
                    <a:gd name="T93" fmla="*/ 17 h 56"/>
                    <a:gd name="T94" fmla="*/ 19 w 64"/>
                    <a:gd name="T95" fmla="*/ 14 h 56"/>
                    <a:gd name="T96" fmla="*/ 25 w 64"/>
                    <a:gd name="T97" fmla="*/ 11 h 56"/>
                    <a:gd name="T98" fmla="*/ 28 w 64"/>
                    <a:gd name="T99" fmla="*/ 10 h 56"/>
                    <a:gd name="T100" fmla="*/ 31 w 64"/>
                    <a:gd name="T101" fmla="*/ 8 h 56"/>
                    <a:gd name="T102" fmla="*/ 33 w 64"/>
                    <a:gd name="T103" fmla="*/ 13 h 56"/>
                    <a:gd name="T104" fmla="*/ 38 w 64"/>
                    <a:gd name="T105" fmla="*/ 11 h 56"/>
                    <a:gd name="T106" fmla="*/ 41 w 64"/>
                    <a:gd name="T107" fmla="*/ 7 h 56"/>
                    <a:gd name="T108" fmla="*/ 45 w 64"/>
                    <a:gd name="T109" fmla="*/ 5 h 56"/>
                    <a:gd name="T110" fmla="*/ 46 w 64"/>
                    <a:gd name="T111" fmla="*/ 3 h 56"/>
                    <a:gd name="T112" fmla="*/ 48 w 64"/>
                    <a:gd name="T11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 h="56">
                      <a:moveTo>
                        <a:pt x="52" y="0"/>
                      </a:moveTo>
                      <a:lnTo>
                        <a:pt x="51" y="0"/>
                      </a:lnTo>
                      <a:lnTo>
                        <a:pt x="51" y="1"/>
                      </a:lnTo>
                      <a:lnTo>
                        <a:pt x="51" y="1"/>
                      </a:lnTo>
                      <a:lnTo>
                        <a:pt x="51" y="1"/>
                      </a:lnTo>
                      <a:lnTo>
                        <a:pt x="52" y="1"/>
                      </a:lnTo>
                      <a:lnTo>
                        <a:pt x="52" y="3"/>
                      </a:lnTo>
                      <a:lnTo>
                        <a:pt x="52" y="3"/>
                      </a:lnTo>
                      <a:lnTo>
                        <a:pt x="52" y="3"/>
                      </a:lnTo>
                      <a:lnTo>
                        <a:pt x="51" y="3"/>
                      </a:lnTo>
                      <a:lnTo>
                        <a:pt x="51" y="3"/>
                      </a:lnTo>
                      <a:lnTo>
                        <a:pt x="52" y="4"/>
                      </a:lnTo>
                      <a:lnTo>
                        <a:pt x="52" y="4"/>
                      </a:lnTo>
                      <a:lnTo>
                        <a:pt x="52" y="4"/>
                      </a:lnTo>
                      <a:lnTo>
                        <a:pt x="52" y="3"/>
                      </a:lnTo>
                      <a:lnTo>
                        <a:pt x="53" y="4"/>
                      </a:lnTo>
                      <a:lnTo>
                        <a:pt x="53" y="4"/>
                      </a:lnTo>
                      <a:lnTo>
                        <a:pt x="53" y="5"/>
                      </a:lnTo>
                      <a:lnTo>
                        <a:pt x="53" y="5"/>
                      </a:lnTo>
                      <a:lnTo>
                        <a:pt x="53" y="6"/>
                      </a:lnTo>
                      <a:lnTo>
                        <a:pt x="54" y="6"/>
                      </a:lnTo>
                      <a:lnTo>
                        <a:pt x="54" y="7"/>
                      </a:lnTo>
                      <a:lnTo>
                        <a:pt x="54" y="7"/>
                      </a:lnTo>
                      <a:lnTo>
                        <a:pt x="54" y="7"/>
                      </a:lnTo>
                      <a:lnTo>
                        <a:pt x="54" y="7"/>
                      </a:lnTo>
                      <a:lnTo>
                        <a:pt x="54" y="7"/>
                      </a:lnTo>
                      <a:lnTo>
                        <a:pt x="54" y="7"/>
                      </a:lnTo>
                      <a:lnTo>
                        <a:pt x="54" y="8"/>
                      </a:lnTo>
                      <a:lnTo>
                        <a:pt x="54" y="8"/>
                      </a:lnTo>
                      <a:lnTo>
                        <a:pt x="55" y="8"/>
                      </a:lnTo>
                      <a:lnTo>
                        <a:pt x="55" y="10"/>
                      </a:lnTo>
                      <a:lnTo>
                        <a:pt x="56" y="10"/>
                      </a:lnTo>
                      <a:lnTo>
                        <a:pt x="56" y="10"/>
                      </a:lnTo>
                      <a:lnTo>
                        <a:pt x="59" y="11"/>
                      </a:lnTo>
                      <a:lnTo>
                        <a:pt x="59" y="11"/>
                      </a:lnTo>
                      <a:lnTo>
                        <a:pt x="60" y="11"/>
                      </a:lnTo>
                      <a:lnTo>
                        <a:pt x="60" y="12"/>
                      </a:lnTo>
                      <a:lnTo>
                        <a:pt x="60" y="13"/>
                      </a:lnTo>
                      <a:lnTo>
                        <a:pt x="60" y="13"/>
                      </a:lnTo>
                      <a:lnTo>
                        <a:pt x="60" y="13"/>
                      </a:lnTo>
                      <a:lnTo>
                        <a:pt x="60" y="14"/>
                      </a:lnTo>
                      <a:lnTo>
                        <a:pt x="60" y="14"/>
                      </a:lnTo>
                      <a:lnTo>
                        <a:pt x="61" y="14"/>
                      </a:lnTo>
                      <a:lnTo>
                        <a:pt x="61" y="15"/>
                      </a:lnTo>
                      <a:lnTo>
                        <a:pt x="61" y="17"/>
                      </a:lnTo>
                      <a:lnTo>
                        <a:pt x="61" y="17"/>
                      </a:lnTo>
                      <a:lnTo>
                        <a:pt x="62" y="18"/>
                      </a:lnTo>
                      <a:lnTo>
                        <a:pt x="62" y="17"/>
                      </a:lnTo>
                      <a:lnTo>
                        <a:pt x="63" y="18"/>
                      </a:lnTo>
                      <a:lnTo>
                        <a:pt x="63" y="19"/>
                      </a:lnTo>
                      <a:lnTo>
                        <a:pt x="62" y="21"/>
                      </a:lnTo>
                      <a:lnTo>
                        <a:pt x="62" y="21"/>
                      </a:lnTo>
                      <a:lnTo>
                        <a:pt x="62" y="21"/>
                      </a:lnTo>
                      <a:lnTo>
                        <a:pt x="62" y="22"/>
                      </a:lnTo>
                      <a:lnTo>
                        <a:pt x="63" y="22"/>
                      </a:lnTo>
                      <a:lnTo>
                        <a:pt x="62" y="24"/>
                      </a:lnTo>
                      <a:lnTo>
                        <a:pt x="62" y="24"/>
                      </a:lnTo>
                      <a:lnTo>
                        <a:pt x="63" y="25"/>
                      </a:lnTo>
                      <a:lnTo>
                        <a:pt x="62" y="25"/>
                      </a:lnTo>
                      <a:lnTo>
                        <a:pt x="62" y="26"/>
                      </a:lnTo>
                      <a:lnTo>
                        <a:pt x="62" y="26"/>
                      </a:lnTo>
                      <a:lnTo>
                        <a:pt x="62" y="27"/>
                      </a:lnTo>
                      <a:lnTo>
                        <a:pt x="62" y="27"/>
                      </a:lnTo>
                      <a:lnTo>
                        <a:pt x="62" y="27"/>
                      </a:lnTo>
                      <a:lnTo>
                        <a:pt x="61" y="27"/>
                      </a:lnTo>
                      <a:lnTo>
                        <a:pt x="62" y="28"/>
                      </a:lnTo>
                      <a:lnTo>
                        <a:pt x="62" y="28"/>
                      </a:lnTo>
                      <a:lnTo>
                        <a:pt x="62" y="31"/>
                      </a:lnTo>
                      <a:lnTo>
                        <a:pt x="62" y="31"/>
                      </a:lnTo>
                      <a:lnTo>
                        <a:pt x="63" y="31"/>
                      </a:lnTo>
                      <a:lnTo>
                        <a:pt x="63" y="31"/>
                      </a:lnTo>
                      <a:lnTo>
                        <a:pt x="64" y="32"/>
                      </a:lnTo>
                      <a:lnTo>
                        <a:pt x="64" y="33"/>
                      </a:lnTo>
                      <a:lnTo>
                        <a:pt x="63" y="36"/>
                      </a:lnTo>
                      <a:lnTo>
                        <a:pt x="63" y="38"/>
                      </a:lnTo>
                      <a:lnTo>
                        <a:pt x="63" y="40"/>
                      </a:lnTo>
                      <a:lnTo>
                        <a:pt x="63" y="40"/>
                      </a:lnTo>
                      <a:lnTo>
                        <a:pt x="62" y="41"/>
                      </a:lnTo>
                      <a:lnTo>
                        <a:pt x="62" y="41"/>
                      </a:lnTo>
                      <a:lnTo>
                        <a:pt x="62" y="41"/>
                      </a:lnTo>
                      <a:lnTo>
                        <a:pt x="61" y="41"/>
                      </a:lnTo>
                      <a:lnTo>
                        <a:pt x="61" y="41"/>
                      </a:lnTo>
                      <a:lnTo>
                        <a:pt x="61" y="42"/>
                      </a:lnTo>
                      <a:lnTo>
                        <a:pt x="60" y="42"/>
                      </a:lnTo>
                      <a:lnTo>
                        <a:pt x="60" y="42"/>
                      </a:lnTo>
                      <a:lnTo>
                        <a:pt x="59" y="41"/>
                      </a:lnTo>
                      <a:lnTo>
                        <a:pt x="57" y="41"/>
                      </a:lnTo>
                      <a:lnTo>
                        <a:pt x="57" y="41"/>
                      </a:lnTo>
                      <a:lnTo>
                        <a:pt x="57" y="41"/>
                      </a:lnTo>
                      <a:lnTo>
                        <a:pt x="56" y="42"/>
                      </a:lnTo>
                      <a:lnTo>
                        <a:pt x="56" y="42"/>
                      </a:lnTo>
                      <a:lnTo>
                        <a:pt x="55" y="42"/>
                      </a:lnTo>
                      <a:lnTo>
                        <a:pt x="55" y="42"/>
                      </a:lnTo>
                      <a:lnTo>
                        <a:pt x="54" y="42"/>
                      </a:lnTo>
                      <a:lnTo>
                        <a:pt x="54" y="42"/>
                      </a:lnTo>
                      <a:lnTo>
                        <a:pt x="53" y="42"/>
                      </a:lnTo>
                      <a:lnTo>
                        <a:pt x="52" y="42"/>
                      </a:lnTo>
                      <a:lnTo>
                        <a:pt x="49" y="40"/>
                      </a:lnTo>
                      <a:lnTo>
                        <a:pt x="49" y="40"/>
                      </a:lnTo>
                      <a:lnTo>
                        <a:pt x="49" y="40"/>
                      </a:lnTo>
                      <a:lnTo>
                        <a:pt x="49" y="40"/>
                      </a:lnTo>
                      <a:lnTo>
                        <a:pt x="49" y="40"/>
                      </a:lnTo>
                      <a:lnTo>
                        <a:pt x="48" y="40"/>
                      </a:lnTo>
                      <a:lnTo>
                        <a:pt x="48" y="39"/>
                      </a:lnTo>
                      <a:lnTo>
                        <a:pt x="48" y="40"/>
                      </a:lnTo>
                      <a:lnTo>
                        <a:pt x="47" y="40"/>
                      </a:lnTo>
                      <a:lnTo>
                        <a:pt x="47" y="40"/>
                      </a:lnTo>
                      <a:lnTo>
                        <a:pt x="47" y="40"/>
                      </a:lnTo>
                      <a:lnTo>
                        <a:pt x="47" y="40"/>
                      </a:lnTo>
                      <a:lnTo>
                        <a:pt x="46" y="41"/>
                      </a:lnTo>
                      <a:lnTo>
                        <a:pt x="46" y="41"/>
                      </a:lnTo>
                      <a:lnTo>
                        <a:pt x="45" y="41"/>
                      </a:lnTo>
                      <a:lnTo>
                        <a:pt x="45" y="41"/>
                      </a:lnTo>
                      <a:lnTo>
                        <a:pt x="45" y="41"/>
                      </a:lnTo>
                      <a:lnTo>
                        <a:pt x="44" y="40"/>
                      </a:lnTo>
                      <a:lnTo>
                        <a:pt x="42" y="40"/>
                      </a:lnTo>
                      <a:lnTo>
                        <a:pt x="42" y="41"/>
                      </a:lnTo>
                      <a:lnTo>
                        <a:pt x="42" y="41"/>
                      </a:lnTo>
                      <a:lnTo>
                        <a:pt x="42" y="41"/>
                      </a:lnTo>
                      <a:lnTo>
                        <a:pt x="41" y="43"/>
                      </a:lnTo>
                      <a:lnTo>
                        <a:pt x="40" y="43"/>
                      </a:lnTo>
                      <a:lnTo>
                        <a:pt x="40" y="43"/>
                      </a:lnTo>
                      <a:lnTo>
                        <a:pt x="39" y="43"/>
                      </a:lnTo>
                      <a:lnTo>
                        <a:pt x="39" y="42"/>
                      </a:lnTo>
                      <a:lnTo>
                        <a:pt x="38" y="42"/>
                      </a:lnTo>
                      <a:lnTo>
                        <a:pt x="37" y="41"/>
                      </a:lnTo>
                      <a:lnTo>
                        <a:pt x="37" y="41"/>
                      </a:lnTo>
                      <a:lnTo>
                        <a:pt x="37" y="41"/>
                      </a:lnTo>
                      <a:lnTo>
                        <a:pt x="35" y="41"/>
                      </a:lnTo>
                      <a:lnTo>
                        <a:pt x="35" y="41"/>
                      </a:lnTo>
                      <a:lnTo>
                        <a:pt x="35" y="41"/>
                      </a:lnTo>
                      <a:lnTo>
                        <a:pt x="35" y="40"/>
                      </a:lnTo>
                      <a:lnTo>
                        <a:pt x="35" y="40"/>
                      </a:lnTo>
                      <a:lnTo>
                        <a:pt x="34" y="40"/>
                      </a:lnTo>
                      <a:lnTo>
                        <a:pt x="34" y="40"/>
                      </a:lnTo>
                      <a:lnTo>
                        <a:pt x="34" y="40"/>
                      </a:lnTo>
                      <a:lnTo>
                        <a:pt x="34" y="40"/>
                      </a:lnTo>
                      <a:lnTo>
                        <a:pt x="34" y="40"/>
                      </a:lnTo>
                      <a:lnTo>
                        <a:pt x="34" y="42"/>
                      </a:lnTo>
                      <a:lnTo>
                        <a:pt x="34" y="45"/>
                      </a:lnTo>
                      <a:lnTo>
                        <a:pt x="33" y="47"/>
                      </a:lnTo>
                      <a:lnTo>
                        <a:pt x="33" y="49"/>
                      </a:lnTo>
                      <a:lnTo>
                        <a:pt x="33" y="50"/>
                      </a:lnTo>
                      <a:lnTo>
                        <a:pt x="33" y="50"/>
                      </a:lnTo>
                      <a:lnTo>
                        <a:pt x="33" y="52"/>
                      </a:lnTo>
                      <a:lnTo>
                        <a:pt x="32" y="53"/>
                      </a:lnTo>
                      <a:lnTo>
                        <a:pt x="32" y="53"/>
                      </a:lnTo>
                      <a:lnTo>
                        <a:pt x="31" y="54"/>
                      </a:lnTo>
                      <a:lnTo>
                        <a:pt x="31" y="54"/>
                      </a:lnTo>
                      <a:lnTo>
                        <a:pt x="30" y="54"/>
                      </a:lnTo>
                      <a:lnTo>
                        <a:pt x="30" y="54"/>
                      </a:lnTo>
                      <a:lnTo>
                        <a:pt x="28" y="54"/>
                      </a:lnTo>
                      <a:lnTo>
                        <a:pt x="28" y="54"/>
                      </a:lnTo>
                      <a:lnTo>
                        <a:pt x="28" y="54"/>
                      </a:lnTo>
                      <a:lnTo>
                        <a:pt x="27" y="55"/>
                      </a:lnTo>
                      <a:lnTo>
                        <a:pt x="27" y="55"/>
                      </a:lnTo>
                      <a:lnTo>
                        <a:pt x="27" y="55"/>
                      </a:lnTo>
                      <a:lnTo>
                        <a:pt x="26" y="55"/>
                      </a:lnTo>
                      <a:lnTo>
                        <a:pt x="26" y="55"/>
                      </a:lnTo>
                      <a:lnTo>
                        <a:pt x="25" y="55"/>
                      </a:lnTo>
                      <a:lnTo>
                        <a:pt x="25" y="55"/>
                      </a:lnTo>
                      <a:lnTo>
                        <a:pt x="24" y="55"/>
                      </a:lnTo>
                      <a:lnTo>
                        <a:pt x="24" y="55"/>
                      </a:lnTo>
                      <a:lnTo>
                        <a:pt x="23" y="55"/>
                      </a:lnTo>
                      <a:lnTo>
                        <a:pt x="23" y="55"/>
                      </a:lnTo>
                      <a:lnTo>
                        <a:pt x="23" y="55"/>
                      </a:lnTo>
                      <a:lnTo>
                        <a:pt x="21" y="55"/>
                      </a:lnTo>
                      <a:lnTo>
                        <a:pt x="21" y="55"/>
                      </a:lnTo>
                      <a:lnTo>
                        <a:pt x="20" y="56"/>
                      </a:lnTo>
                      <a:lnTo>
                        <a:pt x="20" y="55"/>
                      </a:lnTo>
                      <a:lnTo>
                        <a:pt x="19" y="55"/>
                      </a:lnTo>
                      <a:lnTo>
                        <a:pt x="18" y="55"/>
                      </a:lnTo>
                      <a:lnTo>
                        <a:pt x="18" y="55"/>
                      </a:lnTo>
                      <a:lnTo>
                        <a:pt x="16" y="55"/>
                      </a:lnTo>
                      <a:lnTo>
                        <a:pt x="16" y="56"/>
                      </a:lnTo>
                      <a:lnTo>
                        <a:pt x="14" y="55"/>
                      </a:lnTo>
                      <a:lnTo>
                        <a:pt x="14" y="55"/>
                      </a:lnTo>
                      <a:lnTo>
                        <a:pt x="14" y="54"/>
                      </a:lnTo>
                      <a:lnTo>
                        <a:pt x="14" y="54"/>
                      </a:lnTo>
                      <a:lnTo>
                        <a:pt x="14" y="54"/>
                      </a:lnTo>
                      <a:lnTo>
                        <a:pt x="16" y="53"/>
                      </a:lnTo>
                      <a:lnTo>
                        <a:pt x="16" y="53"/>
                      </a:lnTo>
                      <a:lnTo>
                        <a:pt x="16" y="52"/>
                      </a:lnTo>
                      <a:lnTo>
                        <a:pt x="14" y="52"/>
                      </a:lnTo>
                      <a:lnTo>
                        <a:pt x="14" y="52"/>
                      </a:lnTo>
                      <a:lnTo>
                        <a:pt x="14" y="52"/>
                      </a:lnTo>
                      <a:lnTo>
                        <a:pt x="14" y="50"/>
                      </a:lnTo>
                      <a:lnTo>
                        <a:pt x="14" y="50"/>
                      </a:lnTo>
                      <a:lnTo>
                        <a:pt x="14" y="50"/>
                      </a:lnTo>
                      <a:lnTo>
                        <a:pt x="13" y="50"/>
                      </a:lnTo>
                      <a:lnTo>
                        <a:pt x="12" y="49"/>
                      </a:lnTo>
                      <a:lnTo>
                        <a:pt x="11" y="49"/>
                      </a:lnTo>
                      <a:lnTo>
                        <a:pt x="11" y="49"/>
                      </a:lnTo>
                      <a:lnTo>
                        <a:pt x="9" y="48"/>
                      </a:lnTo>
                      <a:lnTo>
                        <a:pt x="9" y="48"/>
                      </a:lnTo>
                      <a:lnTo>
                        <a:pt x="6" y="48"/>
                      </a:lnTo>
                      <a:lnTo>
                        <a:pt x="5" y="49"/>
                      </a:lnTo>
                      <a:lnTo>
                        <a:pt x="5" y="53"/>
                      </a:lnTo>
                      <a:lnTo>
                        <a:pt x="5" y="52"/>
                      </a:lnTo>
                      <a:lnTo>
                        <a:pt x="4" y="52"/>
                      </a:lnTo>
                      <a:lnTo>
                        <a:pt x="3" y="52"/>
                      </a:lnTo>
                      <a:lnTo>
                        <a:pt x="3" y="52"/>
                      </a:lnTo>
                      <a:lnTo>
                        <a:pt x="2" y="50"/>
                      </a:lnTo>
                      <a:lnTo>
                        <a:pt x="2" y="50"/>
                      </a:lnTo>
                      <a:lnTo>
                        <a:pt x="2" y="48"/>
                      </a:lnTo>
                      <a:lnTo>
                        <a:pt x="2" y="47"/>
                      </a:lnTo>
                      <a:lnTo>
                        <a:pt x="0" y="47"/>
                      </a:lnTo>
                      <a:lnTo>
                        <a:pt x="0" y="47"/>
                      </a:lnTo>
                      <a:lnTo>
                        <a:pt x="0" y="47"/>
                      </a:lnTo>
                      <a:lnTo>
                        <a:pt x="0" y="46"/>
                      </a:lnTo>
                      <a:lnTo>
                        <a:pt x="0" y="46"/>
                      </a:lnTo>
                      <a:lnTo>
                        <a:pt x="0" y="45"/>
                      </a:lnTo>
                      <a:lnTo>
                        <a:pt x="0" y="45"/>
                      </a:lnTo>
                      <a:lnTo>
                        <a:pt x="0" y="45"/>
                      </a:lnTo>
                      <a:lnTo>
                        <a:pt x="0" y="45"/>
                      </a:lnTo>
                      <a:lnTo>
                        <a:pt x="2" y="43"/>
                      </a:lnTo>
                      <a:lnTo>
                        <a:pt x="2" y="42"/>
                      </a:lnTo>
                      <a:lnTo>
                        <a:pt x="2" y="42"/>
                      </a:lnTo>
                      <a:lnTo>
                        <a:pt x="4" y="41"/>
                      </a:lnTo>
                      <a:lnTo>
                        <a:pt x="4" y="41"/>
                      </a:lnTo>
                      <a:lnTo>
                        <a:pt x="4" y="41"/>
                      </a:lnTo>
                      <a:lnTo>
                        <a:pt x="4" y="41"/>
                      </a:lnTo>
                      <a:lnTo>
                        <a:pt x="4" y="41"/>
                      </a:lnTo>
                      <a:lnTo>
                        <a:pt x="5" y="41"/>
                      </a:lnTo>
                      <a:lnTo>
                        <a:pt x="5" y="39"/>
                      </a:lnTo>
                      <a:lnTo>
                        <a:pt x="5" y="39"/>
                      </a:lnTo>
                      <a:lnTo>
                        <a:pt x="5" y="39"/>
                      </a:lnTo>
                      <a:lnTo>
                        <a:pt x="6" y="39"/>
                      </a:lnTo>
                      <a:lnTo>
                        <a:pt x="6" y="40"/>
                      </a:lnTo>
                      <a:lnTo>
                        <a:pt x="6" y="40"/>
                      </a:lnTo>
                      <a:lnTo>
                        <a:pt x="6" y="41"/>
                      </a:lnTo>
                      <a:lnTo>
                        <a:pt x="6" y="41"/>
                      </a:lnTo>
                      <a:lnTo>
                        <a:pt x="6" y="42"/>
                      </a:lnTo>
                      <a:lnTo>
                        <a:pt x="6" y="42"/>
                      </a:lnTo>
                      <a:lnTo>
                        <a:pt x="6" y="41"/>
                      </a:lnTo>
                      <a:lnTo>
                        <a:pt x="6" y="41"/>
                      </a:lnTo>
                      <a:lnTo>
                        <a:pt x="7" y="40"/>
                      </a:lnTo>
                      <a:lnTo>
                        <a:pt x="7" y="40"/>
                      </a:lnTo>
                      <a:lnTo>
                        <a:pt x="7" y="40"/>
                      </a:lnTo>
                      <a:lnTo>
                        <a:pt x="7" y="40"/>
                      </a:lnTo>
                      <a:lnTo>
                        <a:pt x="7" y="40"/>
                      </a:lnTo>
                      <a:lnTo>
                        <a:pt x="7" y="40"/>
                      </a:lnTo>
                      <a:lnTo>
                        <a:pt x="7" y="40"/>
                      </a:lnTo>
                      <a:lnTo>
                        <a:pt x="7" y="40"/>
                      </a:lnTo>
                      <a:lnTo>
                        <a:pt x="7" y="39"/>
                      </a:lnTo>
                      <a:lnTo>
                        <a:pt x="9" y="39"/>
                      </a:lnTo>
                      <a:lnTo>
                        <a:pt x="9" y="39"/>
                      </a:lnTo>
                      <a:lnTo>
                        <a:pt x="9" y="39"/>
                      </a:lnTo>
                      <a:lnTo>
                        <a:pt x="9" y="39"/>
                      </a:lnTo>
                      <a:lnTo>
                        <a:pt x="9" y="40"/>
                      </a:lnTo>
                      <a:lnTo>
                        <a:pt x="9" y="40"/>
                      </a:lnTo>
                      <a:lnTo>
                        <a:pt x="10" y="38"/>
                      </a:lnTo>
                      <a:lnTo>
                        <a:pt x="10" y="38"/>
                      </a:lnTo>
                      <a:lnTo>
                        <a:pt x="11" y="38"/>
                      </a:lnTo>
                      <a:lnTo>
                        <a:pt x="11" y="38"/>
                      </a:lnTo>
                      <a:lnTo>
                        <a:pt x="11" y="38"/>
                      </a:lnTo>
                      <a:lnTo>
                        <a:pt x="11" y="38"/>
                      </a:lnTo>
                      <a:lnTo>
                        <a:pt x="11" y="38"/>
                      </a:lnTo>
                      <a:lnTo>
                        <a:pt x="10" y="36"/>
                      </a:lnTo>
                      <a:lnTo>
                        <a:pt x="11" y="36"/>
                      </a:lnTo>
                      <a:lnTo>
                        <a:pt x="11" y="35"/>
                      </a:lnTo>
                      <a:lnTo>
                        <a:pt x="11" y="36"/>
                      </a:lnTo>
                      <a:lnTo>
                        <a:pt x="11" y="35"/>
                      </a:lnTo>
                      <a:lnTo>
                        <a:pt x="12" y="34"/>
                      </a:lnTo>
                      <a:lnTo>
                        <a:pt x="12" y="34"/>
                      </a:lnTo>
                      <a:lnTo>
                        <a:pt x="13" y="35"/>
                      </a:lnTo>
                      <a:lnTo>
                        <a:pt x="13" y="34"/>
                      </a:lnTo>
                      <a:lnTo>
                        <a:pt x="13" y="34"/>
                      </a:lnTo>
                      <a:lnTo>
                        <a:pt x="12" y="34"/>
                      </a:lnTo>
                      <a:lnTo>
                        <a:pt x="12" y="34"/>
                      </a:lnTo>
                      <a:lnTo>
                        <a:pt x="12" y="33"/>
                      </a:lnTo>
                      <a:lnTo>
                        <a:pt x="12" y="33"/>
                      </a:lnTo>
                      <a:lnTo>
                        <a:pt x="13" y="32"/>
                      </a:lnTo>
                      <a:lnTo>
                        <a:pt x="13" y="33"/>
                      </a:lnTo>
                      <a:lnTo>
                        <a:pt x="13" y="33"/>
                      </a:lnTo>
                      <a:lnTo>
                        <a:pt x="13" y="34"/>
                      </a:lnTo>
                      <a:lnTo>
                        <a:pt x="13" y="34"/>
                      </a:lnTo>
                      <a:lnTo>
                        <a:pt x="13" y="33"/>
                      </a:lnTo>
                      <a:lnTo>
                        <a:pt x="13" y="32"/>
                      </a:lnTo>
                      <a:lnTo>
                        <a:pt x="13" y="32"/>
                      </a:lnTo>
                      <a:lnTo>
                        <a:pt x="14" y="32"/>
                      </a:lnTo>
                      <a:lnTo>
                        <a:pt x="14" y="32"/>
                      </a:lnTo>
                      <a:lnTo>
                        <a:pt x="14" y="33"/>
                      </a:lnTo>
                      <a:lnTo>
                        <a:pt x="14" y="33"/>
                      </a:lnTo>
                      <a:lnTo>
                        <a:pt x="14" y="32"/>
                      </a:lnTo>
                      <a:lnTo>
                        <a:pt x="14" y="32"/>
                      </a:lnTo>
                      <a:lnTo>
                        <a:pt x="14" y="32"/>
                      </a:lnTo>
                      <a:lnTo>
                        <a:pt x="14" y="32"/>
                      </a:lnTo>
                      <a:lnTo>
                        <a:pt x="16" y="32"/>
                      </a:lnTo>
                      <a:lnTo>
                        <a:pt x="16" y="31"/>
                      </a:lnTo>
                      <a:lnTo>
                        <a:pt x="16" y="31"/>
                      </a:lnTo>
                      <a:lnTo>
                        <a:pt x="16" y="31"/>
                      </a:lnTo>
                      <a:lnTo>
                        <a:pt x="16" y="32"/>
                      </a:lnTo>
                      <a:lnTo>
                        <a:pt x="16" y="32"/>
                      </a:lnTo>
                      <a:lnTo>
                        <a:pt x="16" y="31"/>
                      </a:lnTo>
                      <a:lnTo>
                        <a:pt x="16" y="31"/>
                      </a:lnTo>
                      <a:lnTo>
                        <a:pt x="16" y="29"/>
                      </a:lnTo>
                      <a:lnTo>
                        <a:pt x="16" y="29"/>
                      </a:lnTo>
                      <a:lnTo>
                        <a:pt x="16" y="28"/>
                      </a:lnTo>
                      <a:lnTo>
                        <a:pt x="16" y="29"/>
                      </a:lnTo>
                      <a:lnTo>
                        <a:pt x="16" y="28"/>
                      </a:lnTo>
                      <a:lnTo>
                        <a:pt x="14" y="28"/>
                      </a:lnTo>
                      <a:lnTo>
                        <a:pt x="14" y="28"/>
                      </a:lnTo>
                      <a:lnTo>
                        <a:pt x="14" y="27"/>
                      </a:lnTo>
                      <a:lnTo>
                        <a:pt x="14" y="27"/>
                      </a:lnTo>
                      <a:lnTo>
                        <a:pt x="14" y="27"/>
                      </a:lnTo>
                      <a:lnTo>
                        <a:pt x="13" y="27"/>
                      </a:lnTo>
                      <a:lnTo>
                        <a:pt x="13" y="26"/>
                      </a:lnTo>
                      <a:lnTo>
                        <a:pt x="13" y="26"/>
                      </a:lnTo>
                      <a:lnTo>
                        <a:pt x="13" y="25"/>
                      </a:lnTo>
                      <a:lnTo>
                        <a:pt x="13" y="24"/>
                      </a:lnTo>
                      <a:lnTo>
                        <a:pt x="13" y="22"/>
                      </a:lnTo>
                      <a:lnTo>
                        <a:pt x="13" y="22"/>
                      </a:lnTo>
                      <a:lnTo>
                        <a:pt x="13" y="22"/>
                      </a:lnTo>
                      <a:lnTo>
                        <a:pt x="13" y="21"/>
                      </a:lnTo>
                      <a:lnTo>
                        <a:pt x="13" y="21"/>
                      </a:lnTo>
                      <a:lnTo>
                        <a:pt x="13" y="21"/>
                      </a:lnTo>
                      <a:lnTo>
                        <a:pt x="12" y="21"/>
                      </a:lnTo>
                      <a:lnTo>
                        <a:pt x="12" y="21"/>
                      </a:lnTo>
                      <a:lnTo>
                        <a:pt x="12" y="21"/>
                      </a:lnTo>
                      <a:lnTo>
                        <a:pt x="12" y="20"/>
                      </a:lnTo>
                      <a:lnTo>
                        <a:pt x="13" y="20"/>
                      </a:lnTo>
                      <a:lnTo>
                        <a:pt x="12" y="20"/>
                      </a:lnTo>
                      <a:lnTo>
                        <a:pt x="12" y="20"/>
                      </a:lnTo>
                      <a:lnTo>
                        <a:pt x="12" y="20"/>
                      </a:lnTo>
                      <a:lnTo>
                        <a:pt x="12" y="19"/>
                      </a:lnTo>
                      <a:lnTo>
                        <a:pt x="12" y="19"/>
                      </a:lnTo>
                      <a:lnTo>
                        <a:pt x="14" y="17"/>
                      </a:lnTo>
                      <a:lnTo>
                        <a:pt x="14" y="17"/>
                      </a:lnTo>
                      <a:lnTo>
                        <a:pt x="16" y="15"/>
                      </a:lnTo>
                      <a:lnTo>
                        <a:pt x="16" y="14"/>
                      </a:lnTo>
                      <a:lnTo>
                        <a:pt x="16" y="14"/>
                      </a:lnTo>
                      <a:lnTo>
                        <a:pt x="18" y="14"/>
                      </a:lnTo>
                      <a:lnTo>
                        <a:pt x="18" y="14"/>
                      </a:lnTo>
                      <a:lnTo>
                        <a:pt x="19" y="14"/>
                      </a:lnTo>
                      <a:lnTo>
                        <a:pt x="19" y="14"/>
                      </a:lnTo>
                      <a:lnTo>
                        <a:pt x="19" y="14"/>
                      </a:lnTo>
                      <a:lnTo>
                        <a:pt x="19" y="13"/>
                      </a:lnTo>
                      <a:lnTo>
                        <a:pt x="20" y="12"/>
                      </a:lnTo>
                      <a:lnTo>
                        <a:pt x="21" y="11"/>
                      </a:lnTo>
                      <a:lnTo>
                        <a:pt x="23" y="11"/>
                      </a:lnTo>
                      <a:lnTo>
                        <a:pt x="24" y="11"/>
                      </a:lnTo>
                      <a:lnTo>
                        <a:pt x="25" y="11"/>
                      </a:lnTo>
                      <a:lnTo>
                        <a:pt x="25" y="11"/>
                      </a:lnTo>
                      <a:lnTo>
                        <a:pt x="26" y="10"/>
                      </a:lnTo>
                      <a:lnTo>
                        <a:pt x="26" y="10"/>
                      </a:lnTo>
                      <a:lnTo>
                        <a:pt x="27" y="10"/>
                      </a:lnTo>
                      <a:lnTo>
                        <a:pt x="28" y="10"/>
                      </a:lnTo>
                      <a:lnTo>
                        <a:pt x="28" y="10"/>
                      </a:lnTo>
                      <a:lnTo>
                        <a:pt x="28" y="10"/>
                      </a:lnTo>
                      <a:lnTo>
                        <a:pt x="30" y="10"/>
                      </a:lnTo>
                      <a:lnTo>
                        <a:pt x="30" y="10"/>
                      </a:lnTo>
                      <a:lnTo>
                        <a:pt x="30" y="8"/>
                      </a:lnTo>
                      <a:lnTo>
                        <a:pt x="30" y="8"/>
                      </a:lnTo>
                      <a:lnTo>
                        <a:pt x="31" y="8"/>
                      </a:lnTo>
                      <a:lnTo>
                        <a:pt x="31" y="8"/>
                      </a:lnTo>
                      <a:lnTo>
                        <a:pt x="31" y="8"/>
                      </a:lnTo>
                      <a:lnTo>
                        <a:pt x="31" y="8"/>
                      </a:lnTo>
                      <a:lnTo>
                        <a:pt x="31" y="8"/>
                      </a:lnTo>
                      <a:lnTo>
                        <a:pt x="32" y="10"/>
                      </a:lnTo>
                      <a:lnTo>
                        <a:pt x="32" y="11"/>
                      </a:lnTo>
                      <a:lnTo>
                        <a:pt x="32" y="12"/>
                      </a:lnTo>
                      <a:lnTo>
                        <a:pt x="33" y="12"/>
                      </a:lnTo>
                      <a:lnTo>
                        <a:pt x="33" y="13"/>
                      </a:lnTo>
                      <a:lnTo>
                        <a:pt x="34" y="13"/>
                      </a:lnTo>
                      <a:lnTo>
                        <a:pt x="34" y="13"/>
                      </a:lnTo>
                      <a:lnTo>
                        <a:pt x="35" y="13"/>
                      </a:lnTo>
                      <a:lnTo>
                        <a:pt x="38" y="12"/>
                      </a:lnTo>
                      <a:lnTo>
                        <a:pt x="38" y="12"/>
                      </a:lnTo>
                      <a:lnTo>
                        <a:pt x="38" y="11"/>
                      </a:lnTo>
                      <a:lnTo>
                        <a:pt x="38" y="11"/>
                      </a:lnTo>
                      <a:lnTo>
                        <a:pt x="39" y="11"/>
                      </a:lnTo>
                      <a:lnTo>
                        <a:pt x="39" y="10"/>
                      </a:lnTo>
                      <a:lnTo>
                        <a:pt x="40" y="10"/>
                      </a:lnTo>
                      <a:lnTo>
                        <a:pt x="41" y="10"/>
                      </a:lnTo>
                      <a:lnTo>
                        <a:pt x="41" y="8"/>
                      </a:lnTo>
                      <a:lnTo>
                        <a:pt x="41" y="7"/>
                      </a:lnTo>
                      <a:lnTo>
                        <a:pt x="41" y="7"/>
                      </a:lnTo>
                      <a:lnTo>
                        <a:pt x="41" y="7"/>
                      </a:lnTo>
                      <a:lnTo>
                        <a:pt x="42" y="7"/>
                      </a:lnTo>
                      <a:lnTo>
                        <a:pt x="42" y="7"/>
                      </a:lnTo>
                      <a:lnTo>
                        <a:pt x="42" y="7"/>
                      </a:lnTo>
                      <a:lnTo>
                        <a:pt x="44" y="6"/>
                      </a:lnTo>
                      <a:lnTo>
                        <a:pt x="45" y="5"/>
                      </a:lnTo>
                      <a:lnTo>
                        <a:pt x="45" y="5"/>
                      </a:lnTo>
                      <a:lnTo>
                        <a:pt x="45" y="4"/>
                      </a:lnTo>
                      <a:lnTo>
                        <a:pt x="45" y="4"/>
                      </a:lnTo>
                      <a:lnTo>
                        <a:pt x="46" y="4"/>
                      </a:lnTo>
                      <a:lnTo>
                        <a:pt x="46" y="3"/>
                      </a:lnTo>
                      <a:lnTo>
                        <a:pt x="46" y="3"/>
                      </a:lnTo>
                      <a:lnTo>
                        <a:pt x="46" y="3"/>
                      </a:lnTo>
                      <a:lnTo>
                        <a:pt x="46" y="3"/>
                      </a:lnTo>
                      <a:lnTo>
                        <a:pt x="46" y="3"/>
                      </a:lnTo>
                      <a:lnTo>
                        <a:pt x="47" y="3"/>
                      </a:lnTo>
                      <a:lnTo>
                        <a:pt x="47" y="0"/>
                      </a:lnTo>
                      <a:lnTo>
                        <a:pt x="47" y="0"/>
                      </a:lnTo>
                      <a:lnTo>
                        <a:pt x="47" y="0"/>
                      </a:lnTo>
                      <a:lnTo>
                        <a:pt x="48" y="0"/>
                      </a:lnTo>
                      <a:lnTo>
                        <a:pt x="48" y="0"/>
                      </a:lnTo>
                      <a:lnTo>
                        <a:pt x="49" y="0"/>
                      </a:lnTo>
                      <a:lnTo>
                        <a:pt x="49" y="0"/>
                      </a:lnTo>
                      <a:lnTo>
                        <a:pt x="51" y="0"/>
                      </a:lnTo>
                      <a:lnTo>
                        <a:pt x="51" y="0"/>
                      </a:lnTo>
                      <a:lnTo>
                        <a:pt x="51" y="0"/>
                      </a:lnTo>
                      <a:lnTo>
                        <a:pt x="52" y="0"/>
                      </a:lnTo>
                      <a:close/>
                    </a:path>
                  </a:pathLst>
                </a:custGeom>
                <a:solidFill>
                  <a:srgbClr val="AFD7F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0" name="Freeform 112">
                  <a:extLst>
                    <a:ext uri="{FF2B5EF4-FFF2-40B4-BE49-F238E27FC236}">
                      <a16:creationId xmlns:a16="http://schemas.microsoft.com/office/drawing/2014/main" id="{F361FAB8-7BD0-0294-8B02-41009E3D4D15}"/>
                    </a:ext>
                  </a:extLst>
                </p:cNvPr>
                <p:cNvSpPr>
                  <a:spLocks/>
                </p:cNvSpPr>
                <p:nvPr/>
              </p:nvSpPr>
              <p:spPr bwMode="auto">
                <a:xfrm>
                  <a:off x="5620084" y="3231788"/>
                  <a:ext cx="212019" cy="154688"/>
                </a:xfrm>
                <a:custGeom>
                  <a:avLst/>
                  <a:gdLst>
                    <a:gd name="T0" fmla="*/ 168 w 196"/>
                    <a:gd name="T1" fmla="*/ 70 h 143"/>
                    <a:gd name="T2" fmla="*/ 175 w 196"/>
                    <a:gd name="T3" fmla="*/ 86 h 143"/>
                    <a:gd name="T4" fmla="*/ 175 w 196"/>
                    <a:gd name="T5" fmla="*/ 100 h 143"/>
                    <a:gd name="T6" fmla="*/ 183 w 196"/>
                    <a:gd name="T7" fmla="*/ 108 h 143"/>
                    <a:gd name="T8" fmla="*/ 190 w 196"/>
                    <a:gd name="T9" fmla="*/ 113 h 143"/>
                    <a:gd name="T10" fmla="*/ 195 w 196"/>
                    <a:gd name="T11" fmla="*/ 119 h 143"/>
                    <a:gd name="T12" fmla="*/ 194 w 196"/>
                    <a:gd name="T13" fmla="*/ 130 h 143"/>
                    <a:gd name="T14" fmla="*/ 196 w 196"/>
                    <a:gd name="T15" fmla="*/ 137 h 143"/>
                    <a:gd name="T16" fmla="*/ 179 w 196"/>
                    <a:gd name="T17" fmla="*/ 138 h 143"/>
                    <a:gd name="T18" fmla="*/ 160 w 196"/>
                    <a:gd name="T19" fmla="*/ 140 h 143"/>
                    <a:gd name="T20" fmla="*/ 146 w 196"/>
                    <a:gd name="T21" fmla="*/ 135 h 143"/>
                    <a:gd name="T22" fmla="*/ 138 w 196"/>
                    <a:gd name="T23" fmla="*/ 131 h 143"/>
                    <a:gd name="T24" fmla="*/ 76 w 196"/>
                    <a:gd name="T25" fmla="*/ 131 h 143"/>
                    <a:gd name="T26" fmla="*/ 47 w 196"/>
                    <a:gd name="T27" fmla="*/ 138 h 143"/>
                    <a:gd name="T28" fmla="*/ 26 w 196"/>
                    <a:gd name="T29" fmla="*/ 142 h 143"/>
                    <a:gd name="T30" fmla="*/ 32 w 196"/>
                    <a:gd name="T31" fmla="*/ 136 h 143"/>
                    <a:gd name="T32" fmla="*/ 43 w 196"/>
                    <a:gd name="T33" fmla="*/ 135 h 143"/>
                    <a:gd name="T34" fmla="*/ 57 w 196"/>
                    <a:gd name="T35" fmla="*/ 135 h 143"/>
                    <a:gd name="T36" fmla="*/ 64 w 196"/>
                    <a:gd name="T37" fmla="*/ 130 h 143"/>
                    <a:gd name="T38" fmla="*/ 64 w 196"/>
                    <a:gd name="T39" fmla="*/ 128 h 143"/>
                    <a:gd name="T40" fmla="*/ 54 w 196"/>
                    <a:gd name="T41" fmla="*/ 135 h 143"/>
                    <a:gd name="T42" fmla="*/ 47 w 196"/>
                    <a:gd name="T43" fmla="*/ 133 h 143"/>
                    <a:gd name="T44" fmla="*/ 37 w 196"/>
                    <a:gd name="T45" fmla="*/ 135 h 143"/>
                    <a:gd name="T46" fmla="*/ 31 w 196"/>
                    <a:gd name="T47" fmla="*/ 133 h 143"/>
                    <a:gd name="T48" fmla="*/ 29 w 196"/>
                    <a:gd name="T49" fmla="*/ 133 h 143"/>
                    <a:gd name="T50" fmla="*/ 26 w 196"/>
                    <a:gd name="T51" fmla="*/ 130 h 143"/>
                    <a:gd name="T52" fmla="*/ 25 w 196"/>
                    <a:gd name="T53" fmla="*/ 120 h 143"/>
                    <a:gd name="T54" fmla="*/ 54 w 196"/>
                    <a:gd name="T55" fmla="*/ 116 h 143"/>
                    <a:gd name="T56" fmla="*/ 69 w 196"/>
                    <a:gd name="T57" fmla="*/ 109 h 143"/>
                    <a:gd name="T58" fmla="*/ 80 w 196"/>
                    <a:gd name="T59" fmla="*/ 105 h 143"/>
                    <a:gd name="T60" fmla="*/ 94 w 196"/>
                    <a:gd name="T61" fmla="*/ 109 h 143"/>
                    <a:gd name="T62" fmla="*/ 111 w 196"/>
                    <a:gd name="T63" fmla="*/ 110 h 143"/>
                    <a:gd name="T64" fmla="*/ 114 w 196"/>
                    <a:gd name="T65" fmla="*/ 101 h 143"/>
                    <a:gd name="T66" fmla="*/ 97 w 196"/>
                    <a:gd name="T67" fmla="*/ 103 h 143"/>
                    <a:gd name="T68" fmla="*/ 86 w 196"/>
                    <a:gd name="T69" fmla="*/ 98 h 143"/>
                    <a:gd name="T70" fmla="*/ 67 w 196"/>
                    <a:gd name="T71" fmla="*/ 96 h 143"/>
                    <a:gd name="T72" fmla="*/ 53 w 196"/>
                    <a:gd name="T73" fmla="*/ 102 h 143"/>
                    <a:gd name="T74" fmla="*/ 31 w 196"/>
                    <a:gd name="T75" fmla="*/ 102 h 143"/>
                    <a:gd name="T76" fmla="*/ 29 w 196"/>
                    <a:gd name="T77" fmla="*/ 99 h 143"/>
                    <a:gd name="T78" fmla="*/ 32 w 196"/>
                    <a:gd name="T79" fmla="*/ 93 h 143"/>
                    <a:gd name="T80" fmla="*/ 25 w 196"/>
                    <a:gd name="T81" fmla="*/ 95 h 143"/>
                    <a:gd name="T82" fmla="*/ 31 w 196"/>
                    <a:gd name="T83" fmla="*/ 88 h 143"/>
                    <a:gd name="T84" fmla="*/ 35 w 196"/>
                    <a:gd name="T85" fmla="*/ 84 h 143"/>
                    <a:gd name="T86" fmla="*/ 26 w 196"/>
                    <a:gd name="T87" fmla="*/ 88 h 143"/>
                    <a:gd name="T88" fmla="*/ 23 w 196"/>
                    <a:gd name="T89" fmla="*/ 87 h 143"/>
                    <a:gd name="T90" fmla="*/ 15 w 196"/>
                    <a:gd name="T91" fmla="*/ 74 h 143"/>
                    <a:gd name="T92" fmla="*/ 3 w 196"/>
                    <a:gd name="T93" fmla="*/ 65 h 143"/>
                    <a:gd name="T94" fmla="*/ 17 w 196"/>
                    <a:gd name="T95" fmla="*/ 53 h 143"/>
                    <a:gd name="T96" fmla="*/ 32 w 196"/>
                    <a:gd name="T97" fmla="*/ 17 h 143"/>
                    <a:gd name="T98" fmla="*/ 43 w 196"/>
                    <a:gd name="T99" fmla="*/ 4 h 143"/>
                    <a:gd name="T100" fmla="*/ 57 w 196"/>
                    <a:gd name="T101" fmla="*/ 7 h 143"/>
                    <a:gd name="T102" fmla="*/ 68 w 196"/>
                    <a:gd name="T103" fmla="*/ 4 h 143"/>
                    <a:gd name="T104" fmla="*/ 79 w 196"/>
                    <a:gd name="T105" fmla="*/ 1 h 143"/>
                    <a:gd name="T106" fmla="*/ 96 w 196"/>
                    <a:gd name="T107" fmla="*/ 1 h 143"/>
                    <a:gd name="T108" fmla="*/ 107 w 196"/>
                    <a:gd name="T109" fmla="*/ 7 h 143"/>
                    <a:gd name="T110" fmla="*/ 115 w 196"/>
                    <a:gd name="T111" fmla="*/ 16 h 143"/>
                    <a:gd name="T112" fmla="*/ 119 w 196"/>
                    <a:gd name="T113" fmla="*/ 16 h 143"/>
                    <a:gd name="T114" fmla="*/ 126 w 196"/>
                    <a:gd name="T115" fmla="*/ 18 h 143"/>
                    <a:gd name="T116" fmla="*/ 135 w 196"/>
                    <a:gd name="T117" fmla="*/ 28 h 143"/>
                    <a:gd name="T118" fmla="*/ 140 w 196"/>
                    <a:gd name="T119" fmla="*/ 35 h 143"/>
                    <a:gd name="T120" fmla="*/ 146 w 196"/>
                    <a:gd name="T121" fmla="*/ 42 h 143"/>
                    <a:gd name="T122" fmla="*/ 151 w 196"/>
                    <a:gd name="T123" fmla="*/ 50 h 143"/>
                    <a:gd name="T124" fmla="*/ 163 w 196"/>
                    <a:gd name="T125" fmla="*/ 5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 h="143">
                      <a:moveTo>
                        <a:pt x="167" y="61"/>
                      </a:moveTo>
                      <a:lnTo>
                        <a:pt x="167" y="63"/>
                      </a:lnTo>
                      <a:lnTo>
                        <a:pt x="168" y="63"/>
                      </a:lnTo>
                      <a:lnTo>
                        <a:pt x="168" y="64"/>
                      </a:lnTo>
                      <a:lnTo>
                        <a:pt x="170" y="64"/>
                      </a:lnTo>
                      <a:lnTo>
                        <a:pt x="170" y="65"/>
                      </a:lnTo>
                      <a:lnTo>
                        <a:pt x="171" y="65"/>
                      </a:lnTo>
                      <a:lnTo>
                        <a:pt x="171" y="66"/>
                      </a:lnTo>
                      <a:lnTo>
                        <a:pt x="170" y="67"/>
                      </a:lnTo>
                      <a:lnTo>
                        <a:pt x="170" y="68"/>
                      </a:lnTo>
                      <a:lnTo>
                        <a:pt x="168" y="68"/>
                      </a:lnTo>
                      <a:lnTo>
                        <a:pt x="168" y="70"/>
                      </a:lnTo>
                      <a:lnTo>
                        <a:pt x="168" y="72"/>
                      </a:lnTo>
                      <a:lnTo>
                        <a:pt x="168" y="74"/>
                      </a:lnTo>
                      <a:lnTo>
                        <a:pt x="170" y="74"/>
                      </a:lnTo>
                      <a:lnTo>
                        <a:pt x="172" y="74"/>
                      </a:lnTo>
                      <a:lnTo>
                        <a:pt x="172" y="75"/>
                      </a:lnTo>
                      <a:lnTo>
                        <a:pt x="172" y="77"/>
                      </a:lnTo>
                      <a:lnTo>
                        <a:pt x="173" y="77"/>
                      </a:lnTo>
                      <a:lnTo>
                        <a:pt x="174" y="78"/>
                      </a:lnTo>
                      <a:lnTo>
                        <a:pt x="175" y="78"/>
                      </a:lnTo>
                      <a:lnTo>
                        <a:pt x="177" y="81"/>
                      </a:lnTo>
                      <a:lnTo>
                        <a:pt x="175" y="82"/>
                      </a:lnTo>
                      <a:lnTo>
                        <a:pt x="175" y="86"/>
                      </a:lnTo>
                      <a:lnTo>
                        <a:pt x="175" y="87"/>
                      </a:lnTo>
                      <a:lnTo>
                        <a:pt x="175" y="88"/>
                      </a:lnTo>
                      <a:lnTo>
                        <a:pt x="177" y="88"/>
                      </a:lnTo>
                      <a:lnTo>
                        <a:pt x="178" y="89"/>
                      </a:lnTo>
                      <a:lnTo>
                        <a:pt x="178" y="91"/>
                      </a:lnTo>
                      <a:lnTo>
                        <a:pt x="178" y="92"/>
                      </a:lnTo>
                      <a:lnTo>
                        <a:pt x="177" y="93"/>
                      </a:lnTo>
                      <a:lnTo>
                        <a:pt x="175" y="94"/>
                      </a:lnTo>
                      <a:lnTo>
                        <a:pt x="173" y="96"/>
                      </a:lnTo>
                      <a:lnTo>
                        <a:pt x="174" y="98"/>
                      </a:lnTo>
                      <a:lnTo>
                        <a:pt x="174" y="99"/>
                      </a:lnTo>
                      <a:lnTo>
                        <a:pt x="175" y="100"/>
                      </a:lnTo>
                      <a:lnTo>
                        <a:pt x="175" y="101"/>
                      </a:lnTo>
                      <a:lnTo>
                        <a:pt x="177" y="101"/>
                      </a:lnTo>
                      <a:lnTo>
                        <a:pt x="178" y="102"/>
                      </a:lnTo>
                      <a:lnTo>
                        <a:pt x="179" y="102"/>
                      </a:lnTo>
                      <a:lnTo>
                        <a:pt x="179" y="103"/>
                      </a:lnTo>
                      <a:lnTo>
                        <a:pt x="180" y="103"/>
                      </a:lnTo>
                      <a:lnTo>
                        <a:pt x="180" y="105"/>
                      </a:lnTo>
                      <a:lnTo>
                        <a:pt x="180" y="107"/>
                      </a:lnTo>
                      <a:lnTo>
                        <a:pt x="181" y="107"/>
                      </a:lnTo>
                      <a:lnTo>
                        <a:pt x="181" y="108"/>
                      </a:lnTo>
                      <a:lnTo>
                        <a:pt x="182" y="109"/>
                      </a:lnTo>
                      <a:lnTo>
                        <a:pt x="183" y="108"/>
                      </a:lnTo>
                      <a:lnTo>
                        <a:pt x="183" y="107"/>
                      </a:lnTo>
                      <a:lnTo>
                        <a:pt x="185" y="106"/>
                      </a:lnTo>
                      <a:lnTo>
                        <a:pt x="186" y="106"/>
                      </a:lnTo>
                      <a:lnTo>
                        <a:pt x="186" y="107"/>
                      </a:lnTo>
                      <a:lnTo>
                        <a:pt x="187" y="106"/>
                      </a:lnTo>
                      <a:lnTo>
                        <a:pt x="188" y="107"/>
                      </a:lnTo>
                      <a:lnTo>
                        <a:pt x="188" y="108"/>
                      </a:lnTo>
                      <a:lnTo>
                        <a:pt x="189" y="108"/>
                      </a:lnTo>
                      <a:lnTo>
                        <a:pt x="189" y="109"/>
                      </a:lnTo>
                      <a:lnTo>
                        <a:pt x="190" y="110"/>
                      </a:lnTo>
                      <a:lnTo>
                        <a:pt x="190" y="112"/>
                      </a:lnTo>
                      <a:lnTo>
                        <a:pt x="190" y="113"/>
                      </a:lnTo>
                      <a:lnTo>
                        <a:pt x="192" y="114"/>
                      </a:lnTo>
                      <a:lnTo>
                        <a:pt x="192" y="115"/>
                      </a:lnTo>
                      <a:lnTo>
                        <a:pt x="193" y="115"/>
                      </a:lnTo>
                      <a:lnTo>
                        <a:pt x="193" y="116"/>
                      </a:lnTo>
                      <a:lnTo>
                        <a:pt x="194" y="116"/>
                      </a:lnTo>
                      <a:lnTo>
                        <a:pt x="194" y="117"/>
                      </a:lnTo>
                      <a:lnTo>
                        <a:pt x="194" y="119"/>
                      </a:lnTo>
                      <a:lnTo>
                        <a:pt x="195" y="119"/>
                      </a:lnTo>
                      <a:lnTo>
                        <a:pt x="195" y="120"/>
                      </a:lnTo>
                      <a:lnTo>
                        <a:pt x="194" y="120"/>
                      </a:lnTo>
                      <a:lnTo>
                        <a:pt x="195" y="120"/>
                      </a:lnTo>
                      <a:lnTo>
                        <a:pt x="195" y="119"/>
                      </a:lnTo>
                      <a:lnTo>
                        <a:pt x="196" y="120"/>
                      </a:lnTo>
                      <a:lnTo>
                        <a:pt x="196" y="121"/>
                      </a:lnTo>
                      <a:lnTo>
                        <a:pt x="195" y="121"/>
                      </a:lnTo>
                      <a:lnTo>
                        <a:pt x="195" y="122"/>
                      </a:lnTo>
                      <a:lnTo>
                        <a:pt x="195" y="123"/>
                      </a:lnTo>
                      <a:lnTo>
                        <a:pt x="195" y="124"/>
                      </a:lnTo>
                      <a:lnTo>
                        <a:pt x="195" y="126"/>
                      </a:lnTo>
                      <a:lnTo>
                        <a:pt x="195" y="127"/>
                      </a:lnTo>
                      <a:lnTo>
                        <a:pt x="196" y="128"/>
                      </a:lnTo>
                      <a:lnTo>
                        <a:pt x="195" y="128"/>
                      </a:lnTo>
                      <a:lnTo>
                        <a:pt x="194" y="129"/>
                      </a:lnTo>
                      <a:lnTo>
                        <a:pt x="194" y="130"/>
                      </a:lnTo>
                      <a:lnTo>
                        <a:pt x="195" y="130"/>
                      </a:lnTo>
                      <a:lnTo>
                        <a:pt x="195" y="131"/>
                      </a:lnTo>
                      <a:lnTo>
                        <a:pt x="195" y="133"/>
                      </a:lnTo>
                      <a:lnTo>
                        <a:pt x="194" y="134"/>
                      </a:lnTo>
                      <a:lnTo>
                        <a:pt x="195" y="135"/>
                      </a:lnTo>
                      <a:lnTo>
                        <a:pt x="195" y="134"/>
                      </a:lnTo>
                      <a:lnTo>
                        <a:pt x="195" y="135"/>
                      </a:lnTo>
                      <a:lnTo>
                        <a:pt x="196" y="135"/>
                      </a:lnTo>
                      <a:lnTo>
                        <a:pt x="196" y="136"/>
                      </a:lnTo>
                      <a:lnTo>
                        <a:pt x="196" y="135"/>
                      </a:lnTo>
                      <a:lnTo>
                        <a:pt x="196" y="136"/>
                      </a:lnTo>
                      <a:lnTo>
                        <a:pt x="196" y="137"/>
                      </a:lnTo>
                      <a:lnTo>
                        <a:pt x="196" y="138"/>
                      </a:lnTo>
                      <a:lnTo>
                        <a:pt x="195" y="138"/>
                      </a:lnTo>
                      <a:lnTo>
                        <a:pt x="194" y="137"/>
                      </a:lnTo>
                      <a:lnTo>
                        <a:pt x="193" y="137"/>
                      </a:lnTo>
                      <a:lnTo>
                        <a:pt x="189" y="137"/>
                      </a:lnTo>
                      <a:lnTo>
                        <a:pt x="188" y="137"/>
                      </a:lnTo>
                      <a:lnTo>
                        <a:pt x="186" y="138"/>
                      </a:lnTo>
                      <a:lnTo>
                        <a:pt x="185" y="138"/>
                      </a:lnTo>
                      <a:lnTo>
                        <a:pt x="182" y="138"/>
                      </a:lnTo>
                      <a:lnTo>
                        <a:pt x="181" y="138"/>
                      </a:lnTo>
                      <a:lnTo>
                        <a:pt x="180" y="138"/>
                      </a:lnTo>
                      <a:lnTo>
                        <a:pt x="179" y="138"/>
                      </a:lnTo>
                      <a:lnTo>
                        <a:pt x="178" y="138"/>
                      </a:lnTo>
                      <a:lnTo>
                        <a:pt x="177" y="138"/>
                      </a:lnTo>
                      <a:lnTo>
                        <a:pt x="174" y="138"/>
                      </a:lnTo>
                      <a:lnTo>
                        <a:pt x="173" y="138"/>
                      </a:lnTo>
                      <a:lnTo>
                        <a:pt x="172" y="140"/>
                      </a:lnTo>
                      <a:lnTo>
                        <a:pt x="171" y="141"/>
                      </a:lnTo>
                      <a:lnTo>
                        <a:pt x="166" y="142"/>
                      </a:lnTo>
                      <a:lnTo>
                        <a:pt x="165" y="142"/>
                      </a:lnTo>
                      <a:lnTo>
                        <a:pt x="164" y="140"/>
                      </a:lnTo>
                      <a:lnTo>
                        <a:pt x="163" y="140"/>
                      </a:lnTo>
                      <a:lnTo>
                        <a:pt x="161" y="140"/>
                      </a:lnTo>
                      <a:lnTo>
                        <a:pt x="160" y="140"/>
                      </a:lnTo>
                      <a:lnTo>
                        <a:pt x="159" y="140"/>
                      </a:lnTo>
                      <a:lnTo>
                        <a:pt x="158" y="140"/>
                      </a:lnTo>
                      <a:lnTo>
                        <a:pt x="157" y="138"/>
                      </a:lnTo>
                      <a:lnTo>
                        <a:pt x="156" y="137"/>
                      </a:lnTo>
                      <a:lnTo>
                        <a:pt x="153" y="138"/>
                      </a:lnTo>
                      <a:lnTo>
                        <a:pt x="152" y="137"/>
                      </a:lnTo>
                      <a:lnTo>
                        <a:pt x="151" y="137"/>
                      </a:lnTo>
                      <a:lnTo>
                        <a:pt x="150" y="137"/>
                      </a:lnTo>
                      <a:lnTo>
                        <a:pt x="150" y="136"/>
                      </a:lnTo>
                      <a:lnTo>
                        <a:pt x="149" y="135"/>
                      </a:lnTo>
                      <a:lnTo>
                        <a:pt x="147" y="135"/>
                      </a:lnTo>
                      <a:lnTo>
                        <a:pt x="146" y="135"/>
                      </a:lnTo>
                      <a:lnTo>
                        <a:pt x="146" y="136"/>
                      </a:lnTo>
                      <a:lnTo>
                        <a:pt x="145" y="137"/>
                      </a:lnTo>
                      <a:lnTo>
                        <a:pt x="144" y="137"/>
                      </a:lnTo>
                      <a:lnTo>
                        <a:pt x="143" y="136"/>
                      </a:lnTo>
                      <a:lnTo>
                        <a:pt x="143" y="135"/>
                      </a:lnTo>
                      <a:lnTo>
                        <a:pt x="143" y="134"/>
                      </a:lnTo>
                      <a:lnTo>
                        <a:pt x="143" y="133"/>
                      </a:lnTo>
                      <a:lnTo>
                        <a:pt x="143" y="131"/>
                      </a:lnTo>
                      <a:lnTo>
                        <a:pt x="142" y="131"/>
                      </a:lnTo>
                      <a:lnTo>
                        <a:pt x="140" y="131"/>
                      </a:lnTo>
                      <a:lnTo>
                        <a:pt x="139" y="131"/>
                      </a:lnTo>
                      <a:lnTo>
                        <a:pt x="138" y="131"/>
                      </a:lnTo>
                      <a:lnTo>
                        <a:pt x="137" y="131"/>
                      </a:lnTo>
                      <a:lnTo>
                        <a:pt x="136" y="131"/>
                      </a:lnTo>
                      <a:lnTo>
                        <a:pt x="135" y="131"/>
                      </a:lnTo>
                      <a:lnTo>
                        <a:pt x="133" y="131"/>
                      </a:lnTo>
                      <a:lnTo>
                        <a:pt x="132" y="130"/>
                      </a:lnTo>
                      <a:lnTo>
                        <a:pt x="122" y="130"/>
                      </a:lnTo>
                      <a:lnTo>
                        <a:pt x="110" y="130"/>
                      </a:lnTo>
                      <a:lnTo>
                        <a:pt x="102" y="131"/>
                      </a:lnTo>
                      <a:lnTo>
                        <a:pt x="100" y="131"/>
                      </a:lnTo>
                      <a:lnTo>
                        <a:pt x="88" y="131"/>
                      </a:lnTo>
                      <a:lnTo>
                        <a:pt x="86" y="131"/>
                      </a:lnTo>
                      <a:lnTo>
                        <a:pt x="76" y="131"/>
                      </a:lnTo>
                      <a:lnTo>
                        <a:pt x="75" y="131"/>
                      </a:lnTo>
                      <a:lnTo>
                        <a:pt x="74" y="131"/>
                      </a:lnTo>
                      <a:lnTo>
                        <a:pt x="73" y="131"/>
                      </a:lnTo>
                      <a:lnTo>
                        <a:pt x="72" y="134"/>
                      </a:lnTo>
                      <a:lnTo>
                        <a:pt x="69" y="134"/>
                      </a:lnTo>
                      <a:lnTo>
                        <a:pt x="68" y="135"/>
                      </a:lnTo>
                      <a:lnTo>
                        <a:pt x="60" y="140"/>
                      </a:lnTo>
                      <a:lnTo>
                        <a:pt x="59" y="140"/>
                      </a:lnTo>
                      <a:lnTo>
                        <a:pt x="53" y="140"/>
                      </a:lnTo>
                      <a:lnTo>
                        <a:pt x="51" y="140"/>
                      </a:lnTo>
                      <a:lnTo>
                        <a:pt x="50" y="140"/>
                      </a:lnTo>
                      <a:lnTo>
                        <a:pt x="47" y="138"/>
                      </a:lnTo>
                      <a:lnTo>
                        <a:pt x="46" y="138"/>
                      </a:lnTo>
                      <a:lnTo>
                        <a:pt x="44" y="140"/>
                      </a:lnTo>
                      <a:lnTo>
                        <a:pt x="43" y="140"/>
                      </a:lnTo>
                      <a:lnTo>
                        <a:pt x="40" y="141"/>
                      </a:lnTo>
                      <a:lnTo>
                        <a:pt x="37" y="142"/>
                      </a:lnTo>
                      <a:lnTo>
                        <a:pt x="35" y="142"/>
                      </a:lnTo>
                      <a:lnTo>
                        <a:pt x="33" y="143"/>
                      </a:lnTo>
                      <a:lnTo>
                        <a:pt x="32" y="143"/>
                      </a:lnTo>
                      <a:lnTo>
                        <a:pt x="29" y="143"/>
                      </a:lnTo>
                      <a:lnTo>
                        <a:pt x="28" y="143"/>
                      </a:lnTo>
                      <a:lnTo>
                        <a:pt x="26" y="143"/>
                      </a:lnTo>
                      <a:lnTo>
                        <a:pt x="26" y="142"/>
                      </a:lnTo>
                      <a:lnTo>
                        <a:pt x="25" y="142"/>
                      </a:lnTo>
                      <a:lnTo>
                        <a:pt x="24" y="141"/>
                      </a:lnTo>
                      <a:lnTo>
                        <a:pt x="24" y="140"/>
                      </a:lnTo>
                      <a:lnTo>
                        <a:pt x="24" y="138"/>
                      </a:lnTo>
                      <a:lnTo>
                        <a:pt x="24" y="137"/>
                      </a:lnTo>
                      <a:lnTo>
                        <a:pt x="26" y="136"/>
                      </a:lnTo>
                      <a:lnTo>
                        <a:pt x="28" y="136"/>
                      </a:lnTo>
                      <a:lnTo>
                        <a:pt x="29" y="136"/>
                      </a:lnTo>
                      <a:lnTo>
                        <a:pt x="29" y="135"/>
                      </a:lnTo>
                      <a:lnTo>
                        <a:pt x="30" y="135"/>
                      </a:lnTo>
                      <a:lnTo>
                        <a:pt x="31" y="134"/>
                      </a:lnTo>
                      <a:lnTo>
                        <a:pt x="32" y="136"/>
                      </a:lnTo>
                      <a:lnTo>
                        <a:pt x="32" y="135"/>
                      </a:lnTo>
                      <a:lnTo>
                        <a:pt x="33" y="135"/>
                      </a:lnTo>
                      <a:lnTo>
                        <a:pt x="35" y="135"/>
                      </a:lnTo>
                      <a:lnTo>
                        <a:pt x="36" y="136"/>
                      </a:lnTo>
                      <a:lnTo>
                        <a:pt x="37" y="136"/>
                      </a:lnTo>
                      <a:lnTo>
                        <a:pt x="38" y="136"/>
                      </a:lnTo>
                      <a:lnTo>
                        <a:pt x="39" y="135"/>
                      </a:lnTo>
                      <a:lnTo>
                        <a:pt x="40" y="135"/>
                      </a:lnTo>
                      <a:lnTo>
                        <a:pt x="42" y="135"/>
                      </a:lnTo>
                      <a:lnTo>
                        <a:pt x="43" y="135"/>
                      </a:lnTo>
                      <a:lnTo>
                        <a:pt x="43" y="134"/>
                      </a:lnTo>
                      <a:lnTo>
                        <a:pt x="43" y="135"/>
                      </a:lnTo>
                      <a:lnTo>
                        <a:pt x="44" y="135"/>
                      </a:lnTo>
                      <a:lnTo>
                        <a:pt x="46" y="134"/>
                      </a:lnTo>
                      <a:lnTo>
                        <a:pt x="47" y="134"/>
                      </a:lnTo>
                      <a:lnTo>
                        <a:pt x="49" y="134"/>
                      </a:lnTo>
                      <a:lnTo>
                        <a:pt x="50" y="134"/>
                      </a:lnTo>
                      <a:lnTo>
                        <a:pt x="51" y="134"/>
                      </a:lnTo>
                      <a:lnTo>
                        <a:pt x="51" y="135"/>
                      </a:lnTo>
                      <a:lnTo>
                        <a:pt x="52" y="135"/>
                      </a:lnTo>
                      <a:lnTo>
                        <a:pt x="54" y="135"/>
                      </a:lnTo>
                      <a:lnTo>
                        <a:pt x="54" y="136"/>
                      </a:lnTo>
                      <a:lnTo>
                        <a:pt x="55" y="135"/>
                      </a:lnTo>
                      <a:lnTo>
                        <a:pt x="57" y="135"/>
                      </a:lnTo>
                      <a:lnTo>
                        <a:pt x="58" y="135"/>
                      </a:lnTo>
                      <a:lnTo>
                        <a:pt x="59" y="135"/>
                      </a:lnTo>
                      <a:lnTo>
                        <a:pt x="59" y="136"/>
                      </a:lnTo>
                      <a:lnTo>
                        <a:pt x="60" y="136"/>
                      </a:lnTo>
                      <a:lnTo>
                        <a:pt x="61" y="136"/>
                      </a:lnTo>
                      <a:lnTo>
                        <a:pt x="62" y="135"/>
                      </a:lnTo>
                      <a:lnTo>
                        <a:pt x="64" y="135"/>
                      </a:lnTo>
                      <a:lnTo>
                        <a:pt x="64" y="134"/>
                      </a:lnTo>
                      <a:lnTo>
                        <a:pt x="65" y="134"/>
                      </a:lnTo>
                      <a:lnTo>
                        <a:pt x="65" y="133"/>
                      </a:lnTo>
                      <a:lnTo>
                        <a:pt x="65" y="131"/>
                      </a:lnTo>
                      <a:lnTo>
                        <a:pt x="64" y="130"/>
                      </a:lnTo>
                      <a:lnTo>
                        <a:pt x="64" y="129"/>
                      </a:lnTo>
                      <a:lnTo>
                        <a:pt x="64" y="128"/>
                      </a:lnTo>
                      <a:lnTo>
                        <a:pt x="65" y="128"/>
                      </a:lnTo>
                      <a:lnTo>
                        <a:pt x="66" y="128"/>
                      </a:lnTo>
                      <a:lnTo>
                        <a:pt x="67" y="128"/>
                      </a:lnTo>
                      <a:lnTo>
                        <a:pt x="67" y="127"/>
                      </a:lnTo>
                      <a:lnTo>
                        <a:pt x="68" y="128"/>
                      </a:lnTo>
                      <a:lnTo>
                        <a:pt x="68" y="127"/>
                      </a:lnTo>
                      <a:lnTo>
                        <a:pt x="67" y="127"/>
                      </a:lnTo>
                      <a:lnTo>
                        <a:pt x="66" y="127"/>
                      </a:lnTo>
                      <a:lnTo>
                        <a:pt x="65" y="128"/>
                      </a:lnTo>
                      <a:lnTo>
                        <a:pt x="64" y="128"/>
                      </a:lnTo>
                      <a:lnTo>
                        <a:pt x="64" y="130"/>
                      </a:lnTo>
                      <a:lnTo>
                        <a:pt x="64" y="131"/>
                      </a:lnTo>
                      <a:lnTo>
                        <a:pt x="64" y="133"/>
                      </a:lnTo>
                      <a:lnTo>
                        <a:pt x="64" y="134"/>
                      </a:lnTo>
                      <a:lnTo>
                        <a:pt x="62" y="134"/>
                      </a:lnTo>
                      <a:lnTo>
                        <a:pt x="61" y="135"/>
                      </a:lnTo>
                      <a:lnTo>
                        <a:pt x="60" y="135"/>
                      </a:lnTo>
                      <a:lnTo>
                        <a:pt x="60" y="134"/>
                      </a:lnTo>
                      <a:lnTo>
                        <a:pt x="59" y="134"/>
                      </a:lnTo>
                      <a:lnTo>
                        <a:pt x="57" y="134"/>
                      </a:lnTo>
                      <a:lnTo>
                        <a:pt x="55" y="135"/>
                      </a:lnTo>
                      <a:lnTo>
                        <a:pt x="54" y="135"/>
                      </a:lnTo>
                      <a:lnTo>
                        <a:pt x="54" y="134"/>
                      </a:lnTo>
                      <a:lnTo>
                        <a:pt x="53" y="134"/>
                      </a:lnTo>
                      <a:lnTo>
                        <a:pt x="52" y="135"/>
                      </a:lnTo>
                      <a:lnTo>
                        <a:pt x="52" y="134"/>
                      </a:lnTo>
                      <a:lnTo>
                        <a:pt x="51" y="134"/>
                      </a:lnTo>
                      <a:lnTo>
                        <a:pt x="51" y="133"/>
                      </a:lnTo>
                      <a:lnTo>
                        <a:pt x="50" y="133"/>
                      </a:lnTo>
                      <a:lnTo>
                        <a:pt x="50" y="131"/>
                      </a:lnTo>
                      <a:lnTo>
                        <a:pt x="49" y="131"/>
                      </a:lnTo>
                      <a:lnTo>
                        <a:pt x="49" y="130"/>
                      </a:lnTo>
                      <a:lnTo>
                        <a:pt x="49" y="131"/>
                      </a:lnTo>
                      <a:lnTo>
                        <a:pt x="47" y="133"/>
                      </a:lnTo>
                      <a:lnTo>
                        <a:pt x="46" y="134"/>
                      </a:lnTo>
                      <a:lnTo>
                        <a:pt x="45" y="134"/>
                      </a:lnTo>
                      <a:lnTo>
                        <a:pt x="44" y="134"/>
                      </a:lnTo>
                      <a:lnTo>
                        <a:pt x="43" y="134"/>
                      </a:lnTo>
                      <a:lnTo>
                        <a:pt x="42" y="134"/>
                      </a:lnTo>
                      <a:lnTo>
                        <a:pt x="40" y="134"/>
                      </a:lnTo>
                      <a:lnTo>
                        <a:pt x="40" y="135"/>
                      </a:lnTo>
                      <a:lnTo>
                        <a:pt x="39" y="134"/>
                      </a:lnTo>
                      <a:lnTo>
                        <a:pt x="39" y="135"/>
                      </a:lnTo>
                      <a:lnTo>
                        <a:pt x="38" y="135"/>
                      </a:lnTo>
                      <a:lnTo>
                        <a:pt x="38" y="136"/>
                      </a:lnTo>
                      <a:lnTo>
                        <a:pt x="37" y="135"/>
                      </a:lnTo>
                      <a:lnTo>
                        <a:pt x="36" y="135"/>
                      </a:lnTo>
                      <a:lnTo>
                        <a:pt x="35" y="135"/>
                      </a:lnTo>
                      <a:lnTo>
                        <a:pt x="35" y="134"/>
                      </a:lnTo>
                      <a:lnTo>
                        <a:pt x="33" y="134"/>
                      </a:lnTo>
                      <a:lnTo>
                        <a:pt x="33" y="133"/>
                      </a:lnTo>
                      <a:lnTo>
                        <a:pt x="35" y="133"/>
                      </a:lnTo>
                      <a:lnTo>
                        <a:pt x="33" y="131"/>
                      </a:lnTo>
                      <a:lnTo>
                        <a:pt x="33" y="134"/>
                      </a:lnTo>
                      <a:lnTo>
                        <a:pt x="32" y="134"/>
                      </a:lnTo>
                      <a:lnTo>
                        <a:pt x="31" y="133"/>
                      </a:lnTo>
                      <a:lnTo>
                        <a:pt x="31" y="131"/>
                      </a:lnTo>
                      <a:lnTo>
                        <a:pt x="31" y="133"/>
                      </a:lnTo>
                      <a:lnTo>
                        <a:pt x="30" y="133"/>
                      </a:lnTo>
                      <a:lnTo>
                        <a:pt x="29" y="133"/>
                      </a:lnTo>
                      <a:lnTo>
                        <a:pt x="29" y="131"/>
                      </a:lnTo>
                      <a:lnTo>
                        <a:pt x="30" y="131"/>
                      </a:lnTo>
                      <a:lnTo>
                        <a:pt x="30" y="130"/>
                      </a:lnTo>
                      <a:lnTo>
                        <a:pt x="31" y="129"/>
                      </a:lnTo>
                      <a:lnTo>
                        <a:pt x="30" y="128"/>
                      </a:lnTo>
                      <a:lnTo>
                        <a:pt x="30" y="129"/>
                      </a:lnTo>
                      <a:lnTo>
                        <a:pt x="30" y="130"/>
                      </a:lnTo>
                      <a:lnTo>
                        <a:pt x="29" y="130"/>
                      </a:lnTo>
                      <a:lnTo>
                        <a:pt x="29" y="131"/>
                      </a:lnTo>
                      <a:lnTo>
                        <a:pt x="29" y="133"/>
                      </a:lnTo>
                      <a:lnTo>
                        <a:pt x="29" y="134"/>
                      </a:lnTo>
                      <a:lnTo>
                        <a:pt x="28" y="134"/>
                      </a:lnTo>
                      <a:lnTo>
                        <a:pt x="26" y="135"/>
                      </a:lnTo>
                      <a:lnTo>
                        <a:pt x="25" y="136"/>
                      </a:lnTo>
                      <a:lnTo>
                        <a:pt x="25" y="135"/>
                      </a:lnTo>
                      <a:lnTo>
                        <a:pt x="24" y="135"/>
                      </a:lnTo>
                      <a:lnTo>
                        <a:pt x="24" y="134"/>
                      </a:lnTo>
                      <a:lnTo>
                        <a:pt x="24" y="133"/>
                      </a:lnTo>
                      <a:lnTo>
                        <a:pt x="25" y="131"/>
                      </a:lnTo>
                      <a:lnTo>
                        <a:pt x="26" y="130"/>
                      </a:lnTo>
                      <a:lnTo>
                        <a:pt x="28" y="130"/>
                      </a:lnTo>
                      <a:lnTo>
                        <a:pt x="26" y="130"/>
                      </a:lnTo>
                      <a:lnTo>
                        <a:pt x="25" y="130"/>
                      </a:lnTo>
                      <a:lnTo>
                        <a:pt x="25" y="131"/>
                      </a:lnTo>
                      <a:lnTo>
                        <a:pt x="24" y="131"/>
                      </a:lnTo>
                      <a:lnTo>
                        <a:pt x="24" y="130"/>
                      </a:lnTo>
                      <a:lnTo>
                        <a:pt x="25" y="129"/>
                      </a:lnTo>
                      <a:lnTo>
                        <a:pt x="24" y="128"/>
                      </a:lnTo>
                      <a:lnTo>
                        <a:pt x="24" y="127"/>
                      </a:lnTo>
                      <a:lnTo>
                        <a:pt x="25" y="126"/>
                      </a:lnTo>
                      <a:lnTo>
                        <a:pt x="25" y="124"/>
                      </a:lnTo>
                      <a:lnTo>
                        <a:pt x="25" y="123"/>
                      </a:lnTo>
                      <a:lnTo>
                        <a:pt x="25" y="121"/>
                      </a:lnTo>
                      <a:lnTo>
                        <a:pt x="25" y="120"/>
                      </a:lnTo>
                      <a:lnTo>
                        <a:pt x="25" y="119"/>
                      </a:lnTo>
                      <a:lnTo>
                        <a:pt x="26" y="117"/>
                      </a:lnTo>
                      <a:lnTo>
                        <a:pt x="26" y="116"/>
                      </a:lnTo>
                      <a:lnTo>
                        <a:pt x="28" y="116"/>
                      </a:lnTo>
                      <a:lnTo>
                        <a:pt x="29" y="116"/>
                      </a:lnTo>
                      <a:lnTo>
                        <a:pt x="35" y="116"/>
                      </a:lnTo>
                      <a:lnTo>
                        <a:pt x="39" y="116"/>
                      </a:lnTo>
                      <a:lnTo>
                        <a:pt x="46" y="116"/>
                      </a:lnTo>
                      <a:lnTo>
                        <a:pt x="51" y="116"/>
                      </a:lnTo>
                      <a:lnTo>
                        <a:pt x="52" y="116"/>
                      </a:lnTo>
                      <a:lnTo>
                        <a:pt x="53" y="116"/>
                      </a:lnTo>
                      <a:lnTo>
                        <a:pt x="54" y="116"/>
                      </a:lnTo>
                      <a:lnTo>
                        <a:pt x="54" y="114"/>
                      </a:lnTo>
                      <a:lnTo>
                        <a:pt x="54" y="113"/>
                      </a:lnTo>
                      <a:lnTo>
                        <a:pt x="54" y="110"/>
                      </a:lnTo>
                      <a:lnTo>
                        <a:pt x="55" y="110"/>
                      </a:lnTo>
                      <a:lnTo>
                        <a:pt x="58" y="110"/>
                      </a:lnTo>
                      <a:lnTo>
                        <a:pt x="59" y="109"/>
                      </a:lnTo>
                      <a:lnTo>
                        <a:pt x="61" y="109"/>
                      </a:lnTo>
                      <a:lnTo>
                        <a:pt x="62" y="109"/>
                      </a:lnTo>
                      <a:lnTo>
                        <a:pt x="64" y="109"/>
                      </a:lnTo>
                      <a:lnTo>
                        <a:pt x="65" y="108"/>
                      </a:lnTo>
                      <a:lnTo>
                        <a:pt x="68" y="109"/>
                      </a:lnTo>
                      <a:lnTo>
                        <a:pt x="69" y="109"/>
                      </a:lnTo>
                      <a:lnTo>
                        <a:pt x="71" y="109"/>
                      </a:lnTo>
                      <a:lnTo>
                        <a:pt x="72" y="108"/>
                      </a:lnTo>
                      <a:lnTo>
                        <a:pt x="73" y="108"/>
                      </a:lnTo>
                      <a:lnTo>
                        <a:pt x="73" y="107"/>
                      </a:lnTo>
                      <a:lnTo>
                        <a:pt x="74" y="106"/>
                      </a:lnTo>
                      <a:lnTo>
                        <a:pt x="74" y="105"/>
                      </a:lnTo>
                      <a:lnTo>
                        <a:pt x="74" y="103"/>
                      </a:lnTo>
                      <a:lnTo>
                        <a:pt x="75" y="102"/>
                      </a:lnTo>
                      <a:lnTo>
                        <a:pt x="76" y="101"/>
                      </a:lnTo>
                      <a:lnTo>
                        <a:pt x="78" y="102"/>
                      </a:lnTo>
                      <a:lnTo>
                        <a:pt x="79" y="103"/>
                      </a:lnTo>
                      <a:lnTo>
                        <a:pt x="80" y="105"/>
                      </a:lnTo>
                      <a:lnTo>
                        <a:pt x="82" y="106"/>
                      </a:lnTo>
                      <a:lnTo>
                        <a:pt x="83" y="106"/>
                      </a:lnTo>
                      <a:lnTo>
                        <a:pt x="85" y="106"/>
                      </a:lnTo>
                      <a:lnTo>
                        <a:pt x="86" y="107"/>
                      </a:lnTo>
                      <a:lnTo>
                        <a:pt x="87" y="107"/>
                      </a:lnTo>
                      <a:lnTo>
                        <a:pt x="88" y="107"/>
                      </a:lnTo>
                      <a:lnTo>
                        <a:pt x="88" y="108"/>
                      </a:lnTo>
                      <a:lnTo>
                        <a:pt x="89" y="109"/>
                      </a:lnTo>
                      <a:lnTo>
                        <a:pt x="90" y="109"/>
                      </a:lnTo>
                      <a:lnTo>
                        <a:pt x="92" y="109"/>
                      </a:lnTo>
                      <a:lnTo>
                        <a:pt x="93" y="109"/>
                      </a:lnTo>
                      <a:lnTo>
                        <a:pt x="94" y="109"/>
                      </a:lnTo>
                      <a:lnTo>
                        <a:pt x="95" y="110"/>
                      </a:lnTo>
                      <a:lnTo>
                        <a:pt x="96" y="110"/>
                      </a:lnTo>
                      <a:lnTo>
                        <a:pt x="97" y="110"/>
                      </a:lnTo>
                      <a:lnTo>
                        <a:pt x="99" y="112"/>
                      </a:lnTo>
                      <a:lnTo>
                        <a:pt x="100" y="113"/>
                      </a:lnTo>
                      <a:lnTo>
                        <a:pt x="101" y="113"/>
                      </a:lnTo>
                      <a:lnTo>
                        <a:pt x="102" y="113"/>
                      </a:lnTo>
                      <a:lnTo>
                        <a:pt x="103" y="113"/>
                      </a:lnTo>
                      <a:lnTo>
                        <a:pt x="106" y="113"/>
                      </a:lnTo>
                      <a:lnTo>
                        <a:pt x="107" y="113"/>
                      </a:lnTo>
                      <a:lnTo>
                        <a:pt x="109" y="112"/>
                      </a:lnTo>
                      <a:lnTo>
                        <a:pt x="111" y="110"/>
                      </a:lnTo>
                      <a:lnTo>
                        <a:pt x="113" y="110"/>
                      </a:lnTo>
                      <a:lnTo>
                        <a:pt x="114" y="110"/>
                      </a:lnTo>
                      <a:lnTo>
                        <a:pt x="116" y="109"/>
                      </a:lnTo>
                      <a:lnTo>
                        <a:pt x="117" y="109"/>
                      </a:lnTo>
                      <a:lnTo>
                        <a:pt x="118" y="108"/>
                      </a:lnTo>
                      <a:lnTo>
                        <a:pt x="118" y="106"/>
                      </a:lnTo>
                      <a:lnTo>
                        <a:pt x="117" y="105"/>
                      </a:lnTo>
                      <a:lnTo>
                        <a:pt x="116" y="103"/>
                      </a:lnTo>
                      <a:lnTo>
                        <a:pt x="116" y="102"/>
                      </a:lnTo>
                      <a:lnTo>
                        <a:pt x="115" y="102"/>
                      </a:lnTo>
                      <a:lnTo>
                        <a:pt x="115" y="101"/>
                      </a:lnTo>
                      <a:lnTo>
                        <a:pt x="114" y="101"/>
                      </a:lnTo>
                      <a:lnTo>
                        <a:pt x="113" y="101"/>
                      </a:lnTo>
                      <a:lnTo>
                        <a:pt x="111" y="102"/>
                      </a:lnTo>
                      <a:lnTo>
                        <a:pt x="110" y="102"/>
                      </a:lnTo>
                      <a:lnTo>
                        <a:pt x="109" y="102"/>
                      </a:lnTo>
                      <a:lnTo>
                        <a:pt x="108" y="103"/>
                      </a:lnTo>
                      <a:lnTo>
                        <a:pt x="107" y="103"/>
                      </a:lnTo>
                      <a:lnTo>
                        <a:pt x="106" y="103"/>
                      </a:lnTo>
                      <a:lnTo>
                        <a:pt x="104" y="105"/>
                      </a:lnTo>
                      <a:lnTo>
                        <a:pt x="102" y="106"/>
                      </a:lnTo>
                      <a:lnTo>
                        <a:pt x="101" y="106"/>
                      </a:lnTo>
                      <a:lnTo>
                        <a:pt x="100" y="106"/>
                      </a:lnTo>
                      <a:lnTo>
                        <a:pt x="97" y="103"/>
                      </a:lnTo>
                      <a:lnTo>
                        <a:pt x="97" y="102"/>
                      </a:lnTo>
                      <a:lnTo>
                        <a:pt x="96" y="101"/>
                      </a:lnTo>
                      <a:lnTo>
                        <a:pt x="96" y="100"/>
                      </a:lnTo>
                      <a:lnTo>
                        <a:pt x="95" y="100"/>
                      </a:lnTo>
                      <a:lnTo>
                        <a:pt x="94" y="99"/>
                      </a:lnTo>
                      <a:lnTo>
                        <a:pt x="93" y="99"/>
                      </a:lnTo>
                      <a:lnTo>
                        <a:pt x="92" y="99"/>
                      </a:lnTo>
                      <a:lnTo>
                        <a:pt x="89" y="100"/>
                      </a:lnTo>
                      <a:lnTo>
                        <a:pt x="88" y="100"/>
                      </a:lnTo>
                      <a:lnTo>
                        <a:pt x="87" y="100"/>
                      </a:lnTo>
                      <a:lnTo>
                        <a:pt x="87" y="99"/>
                      </a:lnTo>
                      <a:lnTo>
                        <a:pt x="86" y="98"/>
                      </a:lnTo>
                      <a:lnTo>
                        <a:pt x="86" y="96"/>
                      </a:lnTo>
                      <a:lnTo>
                        <a:pt x="85" y="95"/>
                      </a:lnTo>
                      <a:lnTo>
                        <a:pt x="83" y="95"/>
                      </a:lnTo>
                      <a:lnTo>
                        <a:pt x="80" y="95"/>
                      </a:lnTo>
                      <a:lnTo>
                        <a:pt x="78" y="94"/>
                      </a:lnTo>
                      <a:lnTo>
                        <a:pt x="75" y="95"/>
                      </a:lnTo>
                      <a:lnTo>
                        <a:pt x="73" y="96"/>
                      </a:lnTo>
                      <a:lnTo>
                        <a:pt x="72" y="96"/>
                      </a:lnTo>
                      <a:lnTo>
                        <a:pt x="71" y="95"/>
                      </a:lnTo>
                      <a:lnTo>
                        <a:pt x="69" y="95"/>
                      </a:lnTo>
                      <a:lnTo>
                        <a:pt x="68" y="95"/>
                      </a:lnTo>
                      <a:lnTo>
                        <a:pt x="67" y="96"/>
                      </a:lnTo>
                      <a:lnTo>
                        <a:pt x="66" y="98"/>
                      </a:lnTo>
                      <a:lnTo>
                        <a:pt x="65" y="99"/>
                      </a:lnTo>
                      <a:lnTo>
                        <a:pt x="65" y="100"/>
                      </a:lnTo>
                      <a:lnTo>
                        <a:pt x="65" y="101"/>
                      </a:lnTo>
                      <a:lnTo>
                        <a:pt x="65" y="102"/>
                      </a:lnTo>
                      <a:lnTo>
                        <a:pt x="64" y="102"/>
                      </a:lnTo>
                      <a:lnTo>
                        <a:pt x="62" y="102"/>
                      </a:lnTo>
                      <a:lnTo>
                        <a:pt x="60" y="102"/>
                      </a:lnTo>
                      <a:lnTo>
                        <a:pt x="59" y="102"/>
                      </a:lnTo>
                      <a:lnTo>
                        <a:pt x="57" y="102"/>
                      </a:lnTo>
                      <a:lnTo>
                        <a:pt x="54" y="102"/>
                      </a:lnTo>
                      <a:lnTo>
                        <a:pt x="53" y="102"/>
                      </a:lnTo>
                      <a:lnTo>
                        <a:pt x="51" y="102"/>
                      </a:lnTo>
                      <a:lnTo>
                        <a:pt x="49" y="102"/>
                      </a:lnTo>
                      <a:lnTo>
                        <a:pt x="47" y="102"/>
                      </a:lnTo>
                      <a:lnTo>
                        <a:pt x="46" y="102"/>
                      </a:lnTo>
                      <a:lnTo>
                        <a:pt x="45" y="102"/>
                      </a:lnTo>
                      <a:lnTo>
                        <a:pt x="43" y="102"/>
                      </a:lnTo>
                      <a:lnTo>
                        <a:pt x="40" y="102"/>
                      </a:lnTo>
                      <a:lnTo>
                        <a:pt x="39" y="102"/>
                      </a:lnTo>
                      <a:lnTo>
                        <a:pt x="37" y="102"/>
                      </a:lnTo>
                      <a:lnTo>
                        <a:pt x="35" y="102"/>
                      </a:lnTo>
                      <a:lnTo>
                        <a:pt x="33" y="102"/>
                      </a:lnTo>
                      <a:lnTo>
                        <a:pt x="31" y="102"/>
                      </a:lnTo>
                      <a:lnTo>
                        <a:pt x="30" y="102"/>
                      </a:lnTo>
                      <a:lnTo>
                        <a:pt x="30" y="101"/>
                      </a:lnTo>
                      <a:lnTo>
                        <a:pt x="31" y="100"/>
                      </a:lnTo>
                      <a:lnTo>
                        <a:pt x="32" y="100"/>
                      </a:lnTo>
                      <a:lnTo>
                        <a:pt x="32" y="99"/>
                      </a:lnTo>
                      <a:lnTo>
                        <a:pt x="32" y="98"/>
                      </a:lnTo>
                      <a:lnTo>
                        <a:pt x="32" y="99"/>
                      </a:lnTo>
                      <a:lnTo>
                        <a:pt x="31" y="99"/>
                      </a:lnTo>
                      <a:lnTo>
                        <a:pt x="31" y="100"/>
                      </a:lnTo>
                      <a:lnTo>
                        <a:pt x="30" y="100"/>
                      </a:lnTo>
                      <a:lnTo>
                        <a:pt x="29" y="100"/>
                      </a:lnTo>
                      <a:lnTo>
                        <a:pt x="29" y="99"/>
                      </a:lnTo>
                      <a:lnTo>
                        <a:pt x="29" y="98"/>
                      </a:lnTo>
                      <a:lnTo>
                        <a:pt x="29" y="96"/>
                      </a:lnTo>
                      <a:lnTo>
                        <a:pt x="30" y="95"/>
                      </a:lnTo>
                      <a:lnTo>
                        <a:pt x="30" y="94"/>
                      </a:lnTo>
                      <a:lnTo>
                        <a:pt x="31" y="94"/>
                      </a:lnTo>
                      <a:lnTo>
                        <a:pt x="31" y="95"/>
                      </a:lnTo>
                      <a:lnTo>
                        <a:pt x="31" y="94"/>
                      </a:lnTo>
                      <a:lnTo>
                        <a:pt x="32" y="94"/>
                      </a:lnTo>
                      <a:lnTo>
                        <a:pt x="32" y="95"/>
                      </a:lnTo>
                      <a:lnTo>
                        <a:pt x="33" y="95"/>
                      </a:lnTo>
                      <a:lnTo>
                        <a:pt x="33" y="94"/>
                      </a:lnTo>
                      <a:lnTo>
                        <a:pt x="32" y="93"/>
                      </a:lnTo>
                      <a:lnTo>
                        <a:pt x="33" y="89"/>
                      </a:lnTo>
                      <a:lnTo>
                        <a:pt x="32" y="89"/>
                      </a:lnTo>
                      <a:lnTo>
                        <a:pt x="32" y="91"/>
                      </a:lnTo>
                      <a:lnTo>
                        <a:pt x="32" y="92"/>
                      </a:lnTo>
                      <a:lnTo>
                        <a:pt x="31" y="93"/>
                      </a:lnTo>
                      <a:lnTo>
                        <a:pt x="30" y="94"/>
                      </a:lnTo>
                      <a:lnTo>
                        <a:pt x="29" y="94"/>
                      </a:lnTo>
                      <a:lnTo>
                        <a:pt x="28" y="94"/>
                      </a:lnTo>
                      <a:lnTo>
                        <a:pt x="28" y="95"/>
                      </a:lnTo>
                      <a:lnTo>
                        <a:pt x="26" y="96"/>
                      </a:lnTo>
                      <a:lnTo>
                        <a:pt x="26" y="95"/>
                      </a:lnTo>
                      <a:lnTo>
                        <a:pt x="25" y="95"/>
                      </a:lnTo>
                      <a:lnTo>
                        <a:pt x="25" y="94"/>
                      </a:lnTo>
                      <a:lnTo>
                        <a:pt x="25" y="93"/>
                      </a:lnTo>
                      <a:lnTo>
                        <a:pt x="25" y="92"/>
                      </a:lnTo>
                      <a:lnTo>
                        <a:pt x="25" y="91"/>
                      </a:lnTo>
                      <a:lnTo>
                        <a:pt x="26" y="89"/>
                      </a:lnTo>
                      <a:lnTo>
                        <a:pt x="28" y="89"/>
                      </a:lnTo>
                      <a:lnTo>
                        <a:pt x="29" y="89"/>
                      </a:lnTo>
                      <a:lnTo>
                        <a:pt x="29" y="91"/>
                      </a:lnTo>
                      <a:lnTo>
                        <a:pt x="29" y="89"/>
                      </a:lnTo>
                      <a:lnTo>
                        <a:pt x="30" y="89"/>
                      </a:lnTo>
                      <a:lnTo>
                        <a:pt x="30" y="88"/>
                      </a:lnTo>
                      <a:lnTo>
                        <a:pt x="31" y="88"/>
                      </a:lnTo>
                      <a:lnTo>
                        <a:pt x="30" y="88"/>
                      </a:lnTo>
                      <a:lnTo>
                        <a:pt x="30" y="87"/>
                      </a:lnTo>
                      <a:lnTo>
                        <a:pt x="31" y="87"/>
                      </a:lnTo>
                      <a:lnTo>
                        <a:pt x="32" y="86"/>
                      </a:lnTo>
                      <a:lnTo>
                        <a:pt x="32" y="85"/>
                      </a:lnTo>
                      <a:lnTo>
                        <a:pt x="33" y="85"/>
                      </a:lnTo>
                      <a:lnTo>
                        <a:pt x="35" y="84"/>
                      </a:lnTo>
                      <a:lnTo>
                        <a:pt x="36" y="84"/>
                      </a:lnTo>
                      <a:lnTo>
                        <a:pt x="36" y="85"/>
                      </a:lnTo>
                      <a:lnTo>
                        <a:pt x="36" y="84"/>
                      </a:lnTo>
                      <a:lnTo>
                        <a:pt x="37" y="84"/>
                      </a:lnTo>
                      <a:lnTo>
                        <a:pt x="35" y="84"/>
                      </a:lnTo>
                      <a:lnTo>
                        <a:pt x="35" y="82"/>
                      </a:lnTo>
                      <a:lnTo>
                        <a:pt x="33" y="82"/>
                      </a:lnTo>
                      <a:lnTo>
                        <a:pt x="33" y="84"/>
                      </a:lnTo>
                      <a:lnTo>
                        <a:pt x="32" y="84"/>
                      </a:lnTo>
                      <a:lnTo>
                        <a:pt x="32" y="85"/>
                      </a:lnTo>
                      <a:lnTo>
                        <a:pt x="31" y="86"/>
                      </a:lnTo>
                      <a:lnTo>
                        <a:pt x="31" y="87"/>
                      </a:lnTo>
                      <a:lnTo>
                        <a:pt x="30" y="87"/>
                      </a:lnTo>
                      <a:lnTo>
                        <a:pt x="29" y="87"/>
                      </a:lnTo>
                      <a:lnTo>
                        <a:pt x="29" y="88"/>
                      </a:lnTo>
                      <a:lnTo>
                        <a:pt x="28" y="89"/>
                      </a:lnTo>
                      <a:lnTo>
                        <a:pt x="26" y="88"/>
                      </a:lnTo>
                      <a:lnTo>
                        <a:pt x="25" y="88"/>
                      </a:lnTo>
                      <a:lnTo>
                        <a:pt x="26" y="87"/>
                      </a:lnTo>
                      <a:lnTo>
                        <a:pt x="28" y="86"/>
                      </a:lnTo>
                      <a:lnTo>
                        <a:pt x="26" y="87"/>
                      </a:lnTo>
                      <a:lnTo>
                        <a:pt x="25" y="87"/>
                      </a:lnTo>
                      <a:lnTo>
                        <a:pt x="25" y="88"/>
                      </a:lnTo>
                      <a:lnTo>
                        <a:pt x="25" y="89"/>
                      </a:lnTo>
                      <a:lnTo>
                        <a:pt x="24" y="91"/>
                      </a:lnTo>
                      <a:lnTo>
                        <a:pt x="24" y="92"/>
                      </a:lnTo>
                      <a:lnTo>
                        <a:pt x="24" y="94"/>
                      </a:lnTo>
                      <a:lnTo>
                        <a:pt x="24" y="88"/>
                      </a:lnTo>
                      <a:lnTo>
                        <a:pt x="23" y="87"/>
                      </a:lnTo>
                      <a:lnTo>
                        <a:pt x="23" y="86"/>
                      </a:lnTo>
                      <a:lnTo>
                        <a:pt x="22" y="85"/>
                      </a:lnTo>
                      <a:lnTo>
                        <a:pt x="22" y="84"/>
                      </a:lnTo>
                      <a:lnTo>
                        <a:pt x="21" y="84"/>
                      </a:lnTo>
                      <a:lnTo>
                        <a:pt x="19" y="81"/>
                      </a:lnTo>
                      <a:lnTo>
                        <a:pt x="19" y="80"/>
                      </a:lnTo>
                      <a:lnTo>
                        <a:pt x="18" y="80"/>
                      </a:lnTo>
                      <a:lnTo>
                        <a:pt x="18" y="79"/>
                      </a:lnTo>
                      <a:lnTo>
                        <a:pt x="18" y="78"/>
                      </a:lnTo>
                      <a:lnTo>
                        <a:pt x="18" y="77"/>
                      </a:lnTo>
                      <a:lnTo>
                        <a:pt x="17" y="75"/>
                      </a:lnTo>
                      <a:lnTo>
                        <a:pt x="15" y="74"/>
                      </a:lnTo>
                      <a:lnTo>
                        <a:pt x="14" y="74"/>
                      </a:lnTo>
                      <a:lnTo>
                        <a:pt x="12" y="72"/>
                      </a:lnTo>
                      <a:lnTo>
                        <a:pt x="12" y="70"/>
                      </a:lnTo>
                      <a:lnTo>
                        <a:pt x="10" y="68"/>
                      </a:lnTo>
                      <a:lnTo>
                        <a:pt x="10" y="67"/>
                      </a:lnTo>
                      <a:lnTo>
                        <a:pt x="9" y="67"/>
                      </a:lnTo>
                      <a:lnTo>
                        <a:pt x="9" y="66"/>
                      </a:lnTo>
                      <a:lnTo>
                        <a:pt x="8" y="66"/>
                      </a:lnTo>
                      <a:lnTo>
                        <a:pt x="5" y="66"/>
                      </a:lnTo>
                      <a:lnTo>
                        <a:pt x="5" y="65"/>
                      </a:lnTo>
                      <a:lnTo>
                        <a:pt x="4" y="65"/>
                      </a:lnTo>
                      <a:lnTo>
                        <a:pt x="3" y="65"/>
                      </a:lnTo>
                      <a:lnTo>
                        <a:pt x="2" y="66"/>
                      </a:lnTo>
                      <a:lnTo>
                        <a:pt x="3" y="66"/>
                      </a:lnTo>
                      <a:lnTo>
                        <a:pt x="3" y="67"/>
                      </a:lnTo>
                      <a:lnTo>
                        <a:pt x="2" y="67"/>
                      </a:lnTo>
                      <a:lnTo>
                        <a:pt x="3" y="67"/>
                      </a:lnTo>
                      <a:lnTo>
                        <a:pt x="2" y="68"/>
                      </a:lnTo>
                      <a:lnTo>
                        <a:pt x="0" y="65"/>
                      </a:lnTo>
                      <a:lnTo>
                        <a:pt x="4" y="64"/>
                      </a:lnTo>
                      <a:lnTo>
                        <a:pt x="5" y="63"/>
                      </a:lnTo>
                      <a:lnTo>
                        <a:pt x="10" y="60"/>
                      </a:lnTo>
                      <a:lnTo>
                        <a:pt x="11" y="59"/>
                      </a:lnTo>
                      <a:lnTo>
                        <a:pt x="17" y="53"/>
                      </a:lnTo>
                      <a:lnTo>
                        <a:pt x="17" y="51"/>
                      </a:lnTo>
                      <a:lnTo>
                        <a:pt x="19" y="49"/>
                      </a:lnTo>
                      <a:lnTo>
                        <a:pt x="24" y="40"/>
                      </a:lnTo>
                      <a:lnTo>
                        <a:pt x="26" y="38"/>
                      </a:lnTo>
                      <a:lnTo>
                        <a:pt x="30" y="31"/>
                      </a:lnTo>
                      <a:lnTo>
                        <a:pt x="30" y="30"/>
                      </a:lnTo>
                      <a:lnTo>
                        <a:pt x="31" y="29"/>
                      </a:lnTo>
                      <a:lnTo>
                        <a:pt x="31" y="26"/>
                      </a:lnTo>
                      <a:lnTo>
                        <a:pt x="31" y="23"/>
                      </a:lnTo>
                      <a:lnTo>
                        <a:pt x="32" y="21"/>
                      </a:lnTo>
                      <a:lnTo>
                        <a:pt x="32" y="19"/>
                      </a:lnTo>
                      <a:lnTo>
                        <a:pt x="32" y="17"/>
                      </a:lnTo>
                      <a:lnTo>
                        <a:pt x="33" y="16"/>
                      </a:lnTo>
                      <a:lnTo>
                        <a:pt x="35" y="16"/>
                      </a:lnTo>
                      <a:lnTo>
                        <a:pt x="35" y="15"/>
                      </a:lnTo>
                      <a:lnTo>
                        <a:pt x="36" y="9"/>
                      </a:lnTo>
                      <a:lnTo>
                        <a:pt x="37" y="8"/>
                      </a:lnTo>
                      <a:lnTo>
                        <a:pt x="37" y="7"/>
                      </a:lnTo>
                      <a:lnTo>
                        <a:pt x="38" y="7"/>
                      </a:lnTo>
                      <a:lnTo>
                        <a:pt x="38" y="5"/>
                      </a:lnTo>
                      <a:lnTo>
                        <a:pt x="39" y="5"/>
                      </a:lnTo>
                      <a:lnTo>
                        <a:pt x="40" y="5"/>
                      </a:lnTo>
                      <a:lnTo>
                        <a:pt x="42" y="5"/>
                      </a:lnTo>
                      <a:lnTo>
                        <a:pt x="43" y="4"/>
                      </a:lnTo>
                      <a:lnTo>
                        <a:pt x="44" y="5"/>
                      </a:lnTo>
                      <a:lnTo>
                        <a:pt x="45" y="7"/>
                      </a:lnTo>
                      <a:lnTo>
                        <a:pt x="46" y="7"/>
                      </a:lnTo>
                      <a:lnTo>
                        <a:pt x="47" y="7"/>
                      </a:lnTo>
                      <a:lnTo>
                        <a:pt x="49" y="7"/>
                      </a:lnTo>
                      <a:lnTo>
                        <a:pt x="50" y="5"/>
                      </a:lnTo>
                      <a:lnTo>
                        <a:pt x="51" y="5"/>
                      </a:lnTo>
                      <a:lnTo>
                        <a:pt x="52" y="5"/>
                      </a:lnTo>
                      <a:lnTo>
                        <a:pt x="53" y="5"/>
                      </a:lnTo>
                      <a:lnTo>
                        <a:pt x="54" y="7"/>
                      </a:lnTo>
                      <a:lnTo>
                        <a:pt x="55" y="7"/>
                      </a:lnTo>
                      <a:lnTo>
                        <a:pt x="57" y="7"/>
                      </a:lnTo>
                      <a:lnTo>
                        <a:pt x="58" y="7"/>
                      </a:lnTo>
                      <a:lnTo>
                        <a:pt x="59" y="5"/>
                      </a:lnTo>
                      <a:lnTo>
                        <a:pt x="60" y="5"/>
                      </a:lnTo>
                      <a:lnTo>
                        <a:pt x="61" y="5"/>
                      </a:lnTo>
                      <a:lnTo>
                        <a:pt x="62" y="5"/>
                      </a:lnTo>
                      <a:lnTo>
                        <a:pt x="64" y="4"/>
                      </a:lnTo>
                      <a:lnTo>
                        <a:pt x="64" y="3"/>
                      </a:lnTo>
                      <a:lnTo>
                        <a:pt x="65" y="3"/>
                      </a:lnTo>
                      <a:lnTo>
                        <a:pt x="65" y="4"/>
                      </a:lnTo>
                      <a:lnTo>
                        <a:pt x="66" y="4"/>
                      </a:lnTo>
                      <a:lnTo>
                        <a:pt x="67" y="4"/>
                      </a:lnTo>
                      <a:lnTo>
                        <a:pt x="68" y="4"/>
                      </a:lnTo>
                      <a:lnTo>
                        <a:pt x="68" y="3"/>
                      </a:lnTo>
                      <a:lnTo>
                        <a:pt x="69" y="3"/>
                      </a:lnTo>
                      <a:lnTo>
                        <a:pt x="71" y="4"/>
                      </a:lnTo>
                      <a:lnTo>
                        <a:pt x="72" y="4"/>
                      </a:lnTo>
                      <a:lnTo>
                        <a:pt x="75" y="3"/>
                      </a:lnTo>
                      <a:lnTo>
                        <a:pt x="76" y="2"/>
                      </a:lnTo>
                      <a:lnTo>
                        <a:pt x="75" y="2"/>
                      </a:lnTo>
                      <a:lnTo>
                        <a:pt x="75" y="1"/>
                      </a:lnTo>
                      <a:lnTo>
                        <a:pt x="76" y="1"/>
                      </a:lnTo>
                      <a:lnTo>
                        <a:pt x="78" y="2"/>
                      </a:lnTo>
                      <a:lnTo>
                        <a:pt x="78" y="1"/>
                      </a:lnTo>
                      <a:lnTo>
                        <a:pt x="79" y="1"/>
                      </a:lnTo>
                      <a:lnTo>
                        <a:pt x="79" y="0"/>
                      </a:lnTo>
                      <a:lnTo>
                        <a:pt x="80" y="0"/>
                      </a:lnTo>
                      <a:lnTo>
                        <a:pt x="81" y="1"/>
                      </a:lnTo>
                      <a:lnTo>
                        <a:pt x="82" y="1"/>
                      </a:lnTo>
                      <a:lnTo>
                        <a:pt x="88" y="1"/>
                      </a:lnTo>
                      <a:lnTo>
                        <a:pt x="89" y="1"/>
                      </a:lnTo>
                      <a:lnTo>
                        <a:pt x="90" y="1"/>
                      </a:lnTo>
                      <a:lnTo>
                        <a:pt x="92" y="1"/>
                      </a:lnTo>
                      <a:lnTo>
                        <a:pt x="93" y="1"/>
                      </a:lnTo>
                      <a:lnTo>
                        <a:pt x="94" y="1"/>
                      </a:lnTo>
                      <a:lnTo>
                        <a:pt x="95" y="1"/>
                      </a:lnTo>
                      <a:lnTo>
                        <a:pt x="96" y="1"/>
                      </a:lnTo>
                      <a:lnTo>
                        <a:pt x="97" y="0"/>
                      </a:lnTo>
                      <a:lnTo>
                        <a:pt x="100" y="1"/>
                      </a:lnTo>
                      <a:lnTo>
                        <a:pt x="100" y="2"/>
                      </a:lnTo>
                      <a:lnTo>
                        <a:pt x="100" y="3"/>
                      </a:lnTo>
                      <a:lnTo>
                        <a:pt x="101" y="3"/>
                      </a:lnTo>
                      <a:lnTo>
                        <a:pt x="102" y="3"/>
                      </a:lnTo>
                      <a:lnTo>
                        <a:pt x="102" y="4"/>
                      </a:lnTo>
                      <a:lnTo>
                        <a:pt x="103" y="4"/>
                      </a:lnTo>
                      <a:lnTo>
                        <a:pt x="104" y="4"/>
                      </a:lnTo>
                      <a:lnTo>
                        <a:pt x="104" y="5"/>
                      </a:lnTo>
                      <a:lnTo>
                        <a:pt x="106" y="5"/>
                      </a:lnTo>
                      <a:lnTo>
                        <a:pt x="107" y="7"/>
                      </a:lnTo>
                      <a:lnTo>
                        <a:pt x="109" y="9"/>
                      </a:lnTo>
                      <a:lnTo>
                        <a:pt x="110" y="9"/>
                      </a:lnTo>
                      <a:lnTo>
                        <a:pt x="110" y="10"/>
                      </a:lnTo>
                      <a:lnTo>
                        <a:pt x="111" y="10"/>
                      </a:lnTo>
                      <a:lnTo>
                        <a:pt x="111" y="11"/>
                      </a:lnTo>
                      <a:lnTo>
                        <a:pt x="111" y="12"/>
                      </a:lnTo>
                      <a:lnTo>
                        <a:pt x="113" y="12"/>
                      </a:lnTo>
                      <a:lnTo>
                        <a:pt x="113" y="14"/>
                      </a:lnTo>
                      <a:lnTo>
                        <a:pt x="113" y="15"/>
                      </a:lnTo>
                      <a:lnTo>
                        <a:pt x="114" y="15"/>
                      </a:lnTo>
                      <a:lnTo>
                        <a:pt x="115" y="15"/>
                      </a:lnTo>
                      <a:lnTo>
                        <a:pt x="115" y="16"/>
                      </a:lnTo>
                      <a:lnTo>
                        <a:pt x="115" y="17"/>
                      </a:lnTo>
                      <a:lnTo>
                        <a:pt x="116" y="17"/>
                      </a:lnTo>
                      <a:lnTo>
                        <a:pt x="116" y="18"/>
                      </a:lnTo>
                      <a:lnTo>
                        <a:pt x="117" y="18"/>
                      </a:lnTo>
                      <a:lnTo>
                        <a:pt x="117" y="17"/>
                      </a:lnTo>
                      <a:lnTo>
                        <a:pt x="118" y="17"/>
                      </a:lnTo>
                      <a:lnTo>
                        <a:pt x="118" y="16"/>
                      </a:lnTo>
                      <a:lnTo>
                        <a:pt x="119" y="16"/>
                      </a:lnTo>
                      <a:lnTo>
                        <a:pt x="119" y="15"/>
                      </a:lnTo>
                      <a:lnTo>
                        <a:pt x="121" y="15"/>
                      </a:lnTo>
                      <a:lnTo>
                        <a:pt x="121" y="16"/>
                      </a:lnTo>
                      <a:lnTo>
                        <a:pt x="119" y="16"/>
                      </a:lnTo>
                      <a:lnTo>
                        <a:pt x="119" y="17"/>
                      </a:lnTo>
                      <a:lnTo>
                        <a:pt x="121" y="17"/>
                      </a:lnTo>
                      <a:lnTo>
                        <a:pt x="121" y="18"/>
                      </a:lnTo>
                      <a:lnTo>
                        <a:pt x="122" y="18"/>
                      </a:lnTo>
                      <a:lnTo>
                        <a:pt x="123" y="17"/>
                      </a:lnTo>
                      <a:lnTo>
                        <a:pt x="124" y="17"/>
                      </a:lnTo>
                      <a:lnTo>
                        <a:pt x="125" y="17"/>
                      </a:lnTo>
                      <a:lnTo>
                        <a:pt x="126" y="17"/>
                      </a:lnTo>
                      <a:lnTo>
                        <a:pt x="126" y="16"/>
                      </a:lnTo>
                      <a:lnTo>
                        <a:pt x="128" y="16"/>
                      </a:lnTo>
                      <a:lnTo>
                        <a:pt x="128" y="17"/>
                      </a:lnTo>
                      <a:lnTo>
                        <a:pt x="126" y="18"/>
                      </a:lnTo>
                      <a:lnTo>
                        <a:pt x="128" y="18"/>
                      </a:lnTo>
                      <a:lnTo>
                        <a:pt x="129" y="18"/>
                      </a:lnTo>
                      <a:lnTo>
                        <a:pt x="130" y="19"/>
                      </a:lnTo>
                      <a:lnTo>
                        <a:pt x="131" y="19"/>
                      </a:lnTo>
                      <a:lnTo>
                        <a:pt x="131" y="21"/>
                      </a:lnTo>
                      <a:lnTo>
                        <a:pt x="131" y="22"/>
                      </a:lnTo>
                      <a:lnTo>
                        <a:pt x="131" y="23"/>
                      </a:lnTo>
                      <a:lnTo>
                        <a:pt x="132" y="23"/>
                      </a:lnTo>
                      <a:lnTo>
                        <a:pt x="133" y="24"/>
                      </a:lnTo>
                      <a:lnTo>
                        <a:pt x="133" y="25"/>
                      </a:lnTo>
                      <a:lnTo>
                        <a:pt x="133" y="26"/>
                      </a:lnTo>
                      <a:lnTo>
                        <a:pt x="135" y="28"/>
                      </a:lnTo>
                      <a:lnTo>
                        <a:pt x="133" y="29"/>
                      </a:lnTo>
                      <a:lnTo>
                        <a:pt x="135" y="29"/>
                      </a:lnTo>
                      <a:lnTo>
                        <a:pt x="135" y="30"/>
                      </a:lnTo>
                      <a:lnTo>
                        <a:pt x="136" y="30"/>
                      </a:lnTo>
                      <a:lnTo>
                        <a:pt x="136" y="31"/>
                      </a:lnTo>
                      <a:lnTo>
                        <a:pt x="136" y="32"/>
                      </a:lnTo>
                      <a:lnTo>
                        <a:pt x="136" y="33"/>
                      </a:lnTo>
                      <a:lnTo>
                        <a:pt x="137" y="33"/>
                      </a:lnTo>
                      <a:lnTo>
                        <a:pt x="138" y="33"/>
                      </a:lnTo>
                      <a:lnTo>
                        <a:pt x="138" y="35"/>
                      </a:lnTo>
                      <a:lnTo>
                        <a:pt x="139" y="35"/>
                      </a:lnTo>
                      <a:lnTo>
                        <a:pt x="140" y="35"/>
                      </a:lnTo>
                      <a:lnTo>
                        <a:pt x="140" y="36"/>
                      </a:lnTo>
                      <a:lnTo>
                        <a:pt x="140" y="37"/>
                      </a:lnTo>
                      <a:lnTo>
                        <a:pt x="140" y="38"/>
                      </a:lnTo>
                      <a:lnTo>
                        <a:pt x="142" y="38"/>
                      </a:lnTo>
                      <a:lnTo>
                        <a:pt x="143" y="38"/>
                      </a:lnTo>
                      <a:lnTo>
                        <a:pt x="143" y="37"/>
                      </a:lnTo>
                      <a:lnTo>
                        <a:pt x="144" y="37"/>
                      </a:lnTo>
                      <a:lnTo>
                        <a:pt x="145" y="38"/>
                      </a:lnTo>
                      <a:lnTo>
                        <a:pt x="145" y="39"/>
                      </a:lnTo>
                      <a:lnTo>
                        <a:pt x="145" y="40"/>
                      </a:lnTo>
                      <a:lnTo>
                        <a:pt x="145" y="42"/>
                      </a:lnTo>
                      <a:lnTo>
                        <a:pt x="146" y="42"/>
                      </a:lnTo>
                      <a:lnTo>
                        <a:pt x="146" y="43"/>
                      </a:lnTo>
                      <a:lnTo>
                        <a:pt x="149" y="44"/>
                      </a:lnTo>
                      <a:lnTo>
                        <a:pt x="149" y="45"/>
                      </a:lnTo>
                      <a:lnTo>
                        <a:pt x="147" y="45"/>
                      </a:lnTo>
                      <a:lnTo>
                        <a:pt x="146" y="45"/>
                      </a:lnTo>
                      <a:lnTo>
                        <a:pt x="147" y="46"/>
                      </a:lnTo>
                      <a:lnTo>
                        <a:pt x="149" y="46"/>
                      </a:lnTo>
                      <a:lnTo>
                        <a:pt x="150" y="46"/>
                      </a:lnTo>
                      <a:lnTo>
                        <a:pt x="150" y="47"/>
                      </a:lnTo>
                      <a:lnTo>
                        <a:pt x="151" y="47"/>
                      </a:lnTo>
                      <a:lnTo>
                        <a:pt x="151" y="49"/>
                      </a:lnTo>
                      <a:lnTo>
                        <a:pt x="151" y="50"/>
                      </a:lnTo>
                      <a:lnTo>
                        <a:pt x="152" y="50"/>
                      </a:lnTo>
                      <a:lnTo>
                        <a:pt x="152" y="51"/>
                      </a:lnTo>
                      <a:lnTo>
                        <a:pt x="153" y="51"/>
                      </a:lnTo>
                      <a:lnTo>
                        <a:pt x="154" y="51"/>
                      </a:lnTo>
                      <a:lnTo>
                        <a:pt x="156" y="51"/>
                      </a:lnTo>
                      <a:lnTo>
                        <a:pt x="157" y="51"/>
                      </a:lnTo>
                      <a:lnTo>
                        <a:pt x="158" y="52"/>
                      </a:lnTo>
                      <a:lnTo>
                        <a:pt x="159" y="53"/>
                      </a:lnTo>
                      <a:lnTo>
                        <a:pt x="160" y="53"/>
                      </a:lnTo>
                      <a:lnTo>
                        <a:pt x="160" y="54"/>
                      </a:lnTo>
                      <a:lnTo>
                        <a:pt x="161" y="57"/>
                      </a:lnTo>
                      <a:lnTo>
                        <a:pt x="163" y="58"/>
                      </a:lnTo>
                      <a:lnTo>
                        <a:pt x="164" y="59"/>
                      </a:lnTo>
                      <a:lnTo>
                        <a:pt x="165" y="60"/>
                      </a:lnTo>
                      <a:lnTo>
                        <a:pt x="167" y="61"/>
                      </a:lnTo>
                      <a:close/>
                    </a:path>
                  </a:pathLst>
                </a:custGeom>
                <a:solidFill>
                  <a:schemeClr val="accent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1" name="Freeform 121">
                  <a:extLst>
                    <a:ext uri="{FF2B5EF4-FFF2-40B4-BE49-F238E27FC236}">
                      <a16:creationId xmlns:a16="http://schemas.microsoft.com/office/drawing/2014/main" id="{051DCFFD-B11C-3747-BE88-DD09192A8E18}"/>
                    </a:ext>
                  </a:extLst>
                </p:cNvPr>
                <p:cNvSpPr>
                  <a:spLocks noEditPoints="1"/>
                </p:cNvSpPr>
                <p:nvPr/>
              </p:nvSpPr>
              <p:spPr bwMode="auto">
                <a:xfrm>
                  <a:off x="7242683" y="3832149"/>
                  <a:ext cx="369953" cy="367788"/>
                </a:xfrm>
                <a:custGeom>
                  <a:avLst/>
                  <a:gdLst>
                    <a:gd name="T0" fmla="*/ 317 w 342"/>
                    <a:gd name="T1" fmla="*/ 220 h 340"/>
                    <a:gd name="T2" fmla="*/ 309 w 342"/>
                    <a:gd name="T3" fmla="*/ 157 h 340"/>
                    <a:gd name="T4" fmla="*/ 309 w 342"/>
                    <a:gd name="T5" fmla="*/ 170 h 340"/>
                    <a:gd name="T6" fmla="*/ 318 w 342"/>
                    <a:gd name="T7" fmla="*/ 142 h 340"/>
                    <a:gd name="T8" fmla="*/ 324 w 342"/>
                    <a:gd name="T9" fmla="*/ 133 h 340"/>
                    <a:gd name="T10" fmla="*/ 318 w 342"/>
                    <a:gd name="T11" fmla="*/ 136 h 340"/>
                    <a:gd name="T12" fmla="*/ 318 w 342"/>
                    <a:gd name="T13" fmla="*/ 125 h 340"/>
                    <a:gd name="T14" fmla="*/ 79 w 342"/>
                    <a:gd name="T15" fmla="*/ 41 h 340"/>
                    <a:gd name="T16" fmla="*/ 69 w 342"/>
                    <a:gd name="T17" fmla="*/ 41 h 340"/>
                    <a:gd name="T18" fmla="*/ 112 w 342"/>
                    <a:gd name="T19" fmla="*/ 37 h 340"/>
                    <a:gd name="T20" fmla="*/ 109 w 342"/>
                    <a:gd name="T21" fmla="*/ 29 h 340"/>
                    <a:gd name="T22" fmla="*/ 41 w 342"/>
                    <a:gd name="T23" fmla="*/ 0 h 340"/>
                    <a:gd name="T24" fmla="*/ 71 w 342"/>
                    <a:gd name="T25" fmla="*/ 15 h 340"/>
                    <a:gd name="T26" fmla="*/ 66 w 342"/>
                    <a:gd name="T27" fmla="*/ 41 h 340"/>
                    <a:gd name="T28" fmla="*/ 71 w 342"/>
                    <a:gd name="T29" fmla="*/ 51 h 340"/>
                    <a:gd name="T30" fmla="*/ 78 w 342"/>
                    <a:gd name="T31" fmla="*/ 55 h 340"/>
                    <a:gd name="T32" fmla="*/ 80 w 342"/>
                    <a:gd name="T33" fmla="*/ 45 h 340"/>
                    <a:gd name="T34" fmla="*/ 94 w 342"/>
                    <a:gd name="T35" fmla="*/ 47 h 340"/>
                    <a:gd name="T36" fmla="*/ 102 w 342"/>
                    <a:gd name="T37" fmla="*/ 51 h 340"/>
                    <a:gd name="T38" fmla="*/ 103 w 342"/>
                    <a:gd name="T39" fmla="*/ 59 h 340"/>
                    <a:gd name="T40" fmla="*/ 105 w 342"/>
                    <a:gd name="T41" fmla="*/ 47 h 340"/>
                    <a:gd name="T42" fmla="*/ 121 w 342"/>
                    <a:gd name="T43" fmla="*/ 47 h 340"/>
                    <a:gd name="T44" fmla="*/ 128 w 342"/>
                    <a:gd name="T45" fmla="*/ 38 h 340"/>
                    <a:gd name="T46" fmla="*/ 126 w 342"/>
                    <a:gd name="T47" fmla="*/ 33 h 340"/>
                    <a:gd name="T48" fmla="*/ 126 w 342"/>
                    <a:gd name="T49" fmla="*/ 24 h 340"/>
                    <a:gd name="T50" fmla="*/ 132 w 342"/>
                    <a:gd name="T51" fmla="*/ 16 h 340"/>
                    <a:gd name="T52" fmla="*/ 139 w 342"/>
                    <a:gd name="T53" fmla="*/ 12 h 340"/>
                    <a:gd name="T54" fmla="*/ 192 w 342"/>
                    <a:gd name="T55" fmla="*/ 30 h 340"/>
                    <a:gd name="T56" fmla="*/ 257 w 342"/>
                    <a:gd name="T57" fmla="*/ 80 h 340"/>
                    <a:gd name="T58" fmla="*/ 302 w 342"/>
                    <a:gd name="T59" fmla="*/ 121 h 340"/>
                    <a:gd name="T60" fmla="*/ 297 w 342"/>
                    <a:gd name="T61" fmla="*/ 140 h 340"/>
                    <a:gd name="T62" fmla="*/ 293 w 342"/>
                    <a:gd name="T63" fmla="*/ 170 h 340"/>
                    <a:gd name="T64" fmla="*/ 306 w 342"/>
                    <a:gd name="T65" fmla="*/ 184 h 340"/>
                    <a:gd name="T66" fmla="*/ 307 w 342"/>
                    <a:gd name="T67" fmla="*/ 201 h 340"/>
                    <a:gd name="T68" fmla="*/ 310 w 342"/>
                    <a:gd name="T69" fmla="*/ 222 h 340"/>
                    <a:gd name="T70" fmla="*/ 308 w 342"/>
                    <a:gd name="T71" fmla="*/ 245 h 340"/>
                    <a:gd name="T72" fmla="*/ 313 w 342"/>
                    <a:gd name="T73" fmla="*/ 258 h 340"/>
                    <a:gd name="T74" fmla="*/ 318 w 342"/>
                    <a:gd name="T75" fmla="*/ 274 h 340"/>
                    <a:gd name="T76" fmla="*/ 327 w 342"/>
                    <a:gd name="T77" fmla="*/ 290 h 340"/>
                    <a:gd name="T78" fmla="*/ 337 w 342"/>
                    <a:gd name="T79" fmla="*/ 295 h 340"/>
                    <a:gd name="T80" fmla="*/ 313 w 342"/>
                    <a:gd name="T81" fmla="*/ 317 h 340"/>
                    <a:gd name="T82" fmla="*/ 274 w 342"/>
                    <a:gd name="T83" fmla="*/ 328 h 340"/>
                    <a:gd name="T84" fmla="*/ 249 w 342"/>
                    <a:gd name="T85" fmla="*/ 339 h 340"/>
                    <a:gd name="T86" fmla="*/ 218 w 342"/>
                    <a:gd name="T87" fmla="*/ 340 h 340"/>
                    <a:gd name="T88" fmla="*/ 195 w 342"/>
                    <a:gd name="T89" fmla="*/ 332 h 340"/>
                    <a:gd name="T90" fmla="*/ 161 w 342"/>
                    <a:gd name="T91" fmla="*/ 326 h 340"/>
                    <a:gd name="T92" fmla="*/ 157 w 342"/>
                    <a:gd name="T93" fmla="*/ 303 h 340"/>
                    <a:gd name="T94" fmla="*/ 140 w 342"/>
                    <a:gd name="T95" fmla="*/ 269 h 340"/>
                    <a:gd name="T96" fmla="*/ 117 w 342"/>
                    <a:gd name="T97" fmla="*/ 269 h 340"/>
                    <a:gd name="T98" fmla="*/ 82 w 342"/>
                    <a:gd name="T99" fmla="*/ 257 h 340"/>
                    <a:gd name="T100" fmla="*/ 55 w 342"/>
                    <a:gd name="T101" fmla="*/ 240 h 340"/>
                    <a:gd name="T102" fmla="*/ 41 w 342"/>
                    <a:gd name="T103" fmla="*/ 222 h 340"/>
                    <a:gd name="T104" fmla="*/ 29 w 342"/>
                    <a:gd name="T105" fmla="*/ 192 h 340"/>
                    <a:gd name="T106" fmla="*/ 11 w 342"/>
                    <a:gd name="T107" fmla="*/ 173 h 340"/>
                    <a:gd name="T108" fmla="*/ 5 w 342"/>
                    <a:gd name="T109" fmla="*/ 138 h 340"/>
                    <a:gd name="T110" fmla="*/ 2 w 342"/>
                    <a:gd name="T111" fmla="*/ 108 h 340"/>
                    <a:gd name="T112" fmla="*/ 25 w 342"/>
                    <a:gd name="T113" fmla="*/ 89 h 340"/>
                    <a:gd name="T114" fmla="*/ 39 w 342"/>
                    <a:gd name="T115" fmla="*/ 68 h 340"/>
                    <a:gd name="T116" fmla="*/ 28 w 342"/>
                    <a:gd name="T117" fmla="*/ 54 h 340"/>
                    <a:gd name="T118" fmla="*/ 38 w 342"/>
                    <a:gd name="T119" fmla="*/ 29 h 340"/>
                    <a:gd name="T120" fmla="*/ 31 w 342"/>
                    <a:gd name="T121" fmla="*/ 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2" h="340">
                      <a:moveTo>
                        <a:pt x="321" y="225"/>
                      </a:moveTo>
                      <a:lnTo>
                        <a:pt x="320" y="225"/>
                      </a:lnTo>
                      <a:lnTo>
                        <a:pt x="318" y="225"/>
                      </a:lnTo>
                      <a:lnTo>
                        <a:pt x="318" y="224"/>
                      </a:lnTo>
                      <a:lnTo>
                        <a:pt x="320" y="224"/>
                      </a:lnTo>
                      <a:lnTo>
                        <a:pt x="320" y="223"/>
                      </a:lnTo>
                      <a:lnTo>
                        <a:pt x="321" y="223"/>
                      </a:lnTo>
                      <a:lnTo>
                        <a:pt x="322" y="223"/>
                      </a:lnTo>
                      <a:lnTo>
                        <a:pt x="321" y="225"/>
                      </a:lnTo>
                      <a:close/>
                      <a:moveTo>
                        <a:pt x="325" y="215"/>
                      </a:moveTo>
                      <a:lnTo>
                        <a:pt x="324" y="217"/>
                      </a:lnTo>
                      <a:lnTo>
                        <a:pt x="323" y="218"/>
                      </a:lnTo>
                      <a:lnTo>
                        <a:pt x="323" y="219"/>
                      </a:lnTo>
                      <a:lnTo>
                        <a:pt x="323" y="220"/>
                      </a:lnTo>
                      <a:lnTo>
                        <a:pt x="322" y="220"/>
                      </a:lnTo>
                      <a:lnTo>
                        <a:pt x="322" y="219"/>
                      </a:lnTo>
                      <a:lnTo>
                        <a:pt x="321" y="220"/>
                      </a:lnTo>
                      <a:lnTo>
                        <a:pt x="320" y="220"/>
                      </a:lnTo>
                      <a:lnTo>
                        <a:pt x="320" y="222"/>
                      </a:lnTo>
                      <a:lnTo>
                        <a:pt x="318" y="223"/>
                      </a:lnTo>
                      <a:lnTo>
                        <a:pt x="317" y="223"/>
                      </a:lnTo>
                      <a:lnTo>
                        <a:pt x="316" y="223"/>
                      </a:lnTo>
                      <a:lnTo>
                        <a:pt x="316" y="222"/>
                      </a:lnTo>
                      <a:lnTo>
                        <a:pt x="315" y="220"/>
                      </a:lnTo>
                      <a:lnTo>
                        <a:pt x="316" y="220"/>
                      </a:lnTo>
                      <a:lnTo>
                        <a:pt x="317" y="220"/>
                      </a:lnTo>
                      <a:lnTo>
                        <a:pt x="318" y="218"/>
                      </a:lnTo>
                      <a:lnTo>
                        <a:pt x="318" y="217"/>
                      </a:lnTo>
                      <a:lnTo>
                        <a:pt x="320" y="217"/>
                      </a:lnTo>
                      <a:lnTo>
                        <a:pt x="321" y="217"/>
                      </a:lnTo>
                      <a:lnTo>
                        <a:pt x="322" y="216"/>
                      </a:lnTo>
                      <a:lnTo>
                        <a:pt x="321" y="216"/>
                      </a:lnTo>
                      <a:lnTo>
                        <a:pt x="322" y="216"/>
                      </a:lnTo>
                      <a:lnTo>
                        <a:pt x="322" y="215"/>
                      </a:lnTo>
                      <a:lnTo>
                        <a:pt x="323" y="215"/>
                      </a:lnTo>
                      <a:lnTo>
                        <a:pt x="323" y="213"/>
                      </a:lnTo>
                      <a:lnTo>
                        <a:pt x="324" y="213"/>
                      </a:lnTo>
                      <a:lnTo>
                        <a:pt x="324" y="212"/>
                      </a:lnTo>
                      <a:lnTo>
                        <a:pt x="325" y="211"/>
                      </a:lnTo>
                      <a:lnTo>
                        <a:pt x="325" y="212"/>
                      </a:lnTo>
                      <a:lnTo>
                        <a:pt x="325" y="215"/>
                      </a:lnTo>
                      <a:close/>
                      <a:moveTo>
                        <a:pt x="304" y="155"/>
                      </a:moveTo>
                      <a:lnTo>
                        <a:pt x="303" y="155"/>
                      </a:lnTo>
                      <a:lnTo>
                        <a:pt x="303" y="154"/>
                      </a:lnTo>
                      <a:lnTo>
                        <a:pt x="304" y="153"/>
                      </a:lnTo>
                      <a:lnTo>
                        <a:pt x="303" y="153"/>
                      </a:lnTo>
                      <a:lnTo>
                        <a:pt x="304" y="152"/>
                      </a:lnTo>
                      <a:lnTo>
                        <a:pt x="304" y="153"/>
                      </a:lnTo>
                      <a:lnTo>
                        <a:pt x="304" y="154"/>
                      </a:lnTo>
                      <a:lnTo>
                        <a:pt x="304" y="155"/>
                      </a:lnTo>
                      <a:close/>
                      <a:moveTo>
                        <a:pt x="308" y="156"/>
                      </a:moveTo>
                      <a:lnTo>
                        <a:pt x="309" y="157"/>
                      </a:lnTo>
                      <a:lnTo>
                        <a:pt x="309" y="159"/>
                      </a:lnTo>
                      <a:lnTo>
                        <a:pt x="309" y="160"/>
                      </a:lnTo>
                      <a:lnTo>
                        <a:pt x="310" y="161"/>
                      </a:lnTo>
                      <a:lnTo>
                        <a:pt x="310" y="162"/>
                      </a:lnTo>
                      <a:lnTo>
                        <a:pt x="310" y="163"/>
                      </a:lnTo>
                      <a:lnTo>
                        <a:pt x="310" y="164"/>
                      </a:lnTo>
                      <a:lnTo>
                        <a:pt x="310" y="166"/>
                      </a:lnTo>
                      <a:lnTo>
                        <a:pt x="311" y="166"/>
                      </a:lnTo>
                      <a:lnTo>
                        <a:pt x="313" y="166"/>
                      </a:lnTo>
                      <a:lnTo>
                        <a:pt x="313" y="164"/>
                      </a:lnTo>
                      <a:lnTo>
                        <a:pt x="313" y="163"/>
                      </a:lnTo>
                      <a:lnTo>
                        <a:pt x="314" y="164"/>
                      </a:lnTo>
                      <a:lnTo>
                        <a:pt x="314" y="169"/>
                      </a:lnTo>
                      <a:lnTo>
                        <a:pt x="314" y="170"/>
                      </a:lnTo>
                      <a:lnTo>
                        <a:pt x="315" y="171"/>
                      </a:lnTo>
                      <a:lnTo>
                        <a:pt x="315" y="173"/>
                      </a:lnTo>
                      <a:lnTo>
                        <a:pt x="314" y="174"/>
                      </a:lnTo>
                      <a:lnTo>
                        <a:pt x="313" y="174"/>
                      </a:lnTo>
                      <a:lnTo>
                        <a:pt x="311" y="174"/>
                      </a:lnTo>
                      <a:lnTo>
                        <a:pt x="311" y="173"/>
                      </a:lnTo>
                      <a:lnTo>
                        <a:pt x="310" y="171"/>
                      </a:lnTo>
                      <a:lnTo>
                        <a:pt x="310" y="169"/>
                      </a:lnTo>
                      <a:lnTo>
                        <a:pt x="309" y="169"/>
                      </a:lnTo>
                      <a:lnTo>
                        <a:pt x="310" y="170"/>
                      </a:lnTo>
                      <a:lnTo>
                        <a:pt x="310" y="171"/>
                      </a:lnTo>
                      <a:lnTo>
                        <a:pt x="309" y="170"/>
                      </a:lnTo>
                      <a:lnTo>
                        <a:pt x="308" y="169"/>
                      </a:lnTo>
                      <a:lnTo>
                        <a:pt x="307" y="167"/>
                      </a:lnTo>
                      <a:lnTo>
                        <a:pt x="306" y="167"/>
                      </a:lnTo>
                      <a:lnTo>
                        <a:pt x="307" y="167"/>
                      </a:lnTo>
                      <a:lnTo>
                        <a:pt x="307" y="168"/>
                      </a:lnTo>
                      <a:lnTo>
                        <a:pt x="306" y="168"/>
                      </a:lnTo>
                      <a:lnTo>
                        <a:pt x="306" y="169"/>
                      </a:lnTo>
                      <a:lnTo>
                        <a:pt x="303" y="167"/>
                      </a:lnTo>
                      <a:lnTo>
                        <a:pt x="303" y="164"/>
                      </a:lnTo>
                      <a:lnTo>
                        <a:pt x="302" y="164"/>
                      </a:lnTo>
                      <a:lnTo>
                        <a:pt x="303" y="163"/>
                      </a:lnTo>
                      <a:lnTo>
                        <a:pt x="303" y="161"/>
                      </a:lnTo>
                      <a:lnTo>
                        <a:pt x="303" y="159"/>
                      </a:lnTo>
                      <a:lnTo>
                        <a:pt x="303" y="157"/>
                      </a:lnTo>
                      <a:lnTo>
                        <a:pt x="303" y="156"/>
                      </a:lnTo>
                      <a:lnTo>
                        <a:pt x="304" y="156"/>
                      </a:lnTo>
                      <a:lnTo>
                        <a:pt x="306" y="155"/>
                      </a:lnTo>
                      <a:lnTo>
                        <a:pt x="306" y="154"/>
                      </a:lnTo>
                      <a:lnTo>
                        <a:pt x="306" y="153"/>
                      </a:lnTo>
                      <a:lnTo>
                        <a:pt x="307" y="150"/>
                      </a:lnTo>
                      <a:lnTo>
                        <a:pt x="308" y="152"/>
                      </a:lnTo>
                      <a:lnTo>
                        <a:pt x="308" y="153"/>
                      </a:lnTo>
                      <a:lnTo>
                        <a:pt x="308" y="154"/>
                      </a:lnTo>
                      <a:lnTo>
                        <a:pt x="308" y="155"/>
                      </a:lnTo>
                      <a:lnTo>
                        <a:pt x="308" y="156"/>
                      </a:lnTo>
                      <a:close/>
                      <a:moveTo>
                        <a:pt x="318" y="142"/>
                      </a:moveTo>
                      <a:lnTo>
                        <a:pt x="317" y="143"/>
                      </a:lnTo>
                      <a:lnTo>
                        <a:pt x="316" y="142"/>
                      </a:lnTo>
                      <a:lnTo>
                        <a:pt x="316" y="141"/>
                      </a:lnTo>
                      <a:lnTo>
                        <a:pt x="315" y="141"/>
                      </a:lnTo>
                      <a:lnTo>
                        <a:pt x="315" y="140"/>
                      </a:lnTo>
                      <a:lnTo>
                        <a:pt x="316" y="140"/>
                      </a:lnTo>
                      <a:lnTo>
                        <a:pt x="316" y="141"/>
                      </a:lnTo>
                      <a:lnTo>
                        <a:pt x="317" y="142"/>
                      </a:lnTo>
                      <a:lnTo>
                        <a:pt x="318" y="142"/>
                      </a:lnTo>
                      <a:close/>
                      <a:moveTo>
                        <a:pt x="320" y="126"/>
                      </a:moveTo>
                      <a:lnTo>
                        <a:pt x="321" y="125"/>
                      </a:lnTo>
                      <a:lnTo>
                        <a:pt x="321" y="126"/>
                      </a:lnTo>
                      <a:lnTo>
                        <a:pt x="323" y="127"/>
                      </a:lnTo>
                      <a:lnTo>
                        <a:pt x="323" y="126"/>
                      </a:lnTo>
                      <a:lnTo>
                        <a:pt x="324" y="126"/>
                      </a:lnTo>
                      <a:lnTo>
                        <a:pt x="324" y="127"/>
                      </a:lnTo>
                      <a:lnTo>
                        <a:pt x="324" y="126"/>
                      </a:lnTo>
                      <a:lnTo>
                        <a:pt x="324" y="125"/>
                      </a:lnTo>
                      <a:lnTo>
                        <a:pt x="324" y="126"/>
                      </a:lnTo>
                      <a:lnTo>
                        <a:pt x="325" y="127"/>
                      </a:lnTo>
                      <a:lnTo>
                        <a:pt x="324" y="128"/>
                      </a:lnTo>
                      <a:lnTo>
                        <a:pt x="323" y="128"/>
                      </a:lnTo>
                      <a:lnTo>
                        <a:pt x="324" y="129"/>
                      </a:lnTo>
                      <a:lnTo>
                        <a:pt x="323" y="131"/>
                      </a:lnTo>
                      <a:lnTo>
                        <a:pt x="324" y="132"/>
                      </a:lnTo>
                      <a:lnTo>
                        <a:pt x="324" y="133"/>
                      </a:lnTo>
                      <a:lnTo>
                        <a:pt x="324" y="135"/>
                      </a:lnTo>
                      <a:lnTo>
                        <a:pt x="324" y="136"/>
                      </a:lnTo>
                      <a:lnTo>
                        <a:pt x="323" y="139"/>
                      </a:lnTo>
                      <a:lnTo>
                        <a:pt x="323" y="140"/>
                      </a:lnTo>
                      <a:lnTo>
                        <a:pt x="322" y="140"/>
                      </a:lnTo>
                      <a:lnTo>
                        <a:pt x="322" y="141"/>
                      </a:lnTo>
                      <a:lnTo>
                        <a:pt x="322" y="140"/>
                      </a:lnTo>
                      <a:lnTo>
                        <a:pt x="322" y="141"/>
                      </a:lnTo>
                      <a:lnTo>
                        <a:pt x="321" y="141"/>
                      </a:lnTo>
                      <a:lnTo>
                        <a:pt x="321" y="142"/>
                      </a:lnTo>
                      <a:lnTo>
                        <a:pt x="320" y="142"/>
                      </a:lnTo>
                      <a:lnTo>
                        <a:pt x="321" y="142"/>
                      </a:lnTo>
                      <a:lnTo>
                        <a:pt x="321" y="141"/>
                      </a:lnTo>
                      <a:lnTo>
                        <a:pt x="320" y="141"/>
                      </a:lnTo>
                      <a:lnTo>
                        <a:pt x="320" y="142"/>
                      </a:lnTo>
                      <a:lnTo>
                        <a:pt x="320" y="141"/>
                      </a:lnTo>
                      <a:lnTo>
                        <a:pt x="318" y="141"/>
                      </a:lnTo>
                      <a:lnTo>
                        <a:pt x="317" y="141"/>
                      </a:lnTo>
                      <a:lnTo>
                        <a:pt x="317" y="140"/>
                      </a:lnTo>
                      <a:lnTo>
                        <a:pt x="317" y="139"/>
                      </a:lnTo>
                      <a:lnTo>
                        <a:pt x="318" y="139"/>
                      </a:lnTo>
                      <a:lnTo>
                        <a:pt x="317" y="139"/>
                      </a:lnTo>
                      <a:lnTo>
                        <a:pt x="318" y="139"/>
                      </a:lnTo>
                      <a:lnTo>
                        <a:pt x="320" y="139"/>
                      </a:lnTo>
                      <a:lnTo>
                        <a:pt x="318" y="138"/>
                      </a:lnTo>
                      <a:lnTo>
                        <a:pt x="318" y="136"/>
                      </a:lnTo>
                      <a:lnTo>
                        <a:pt x="320" y="138"/>
                      </a:lnTo>
                      <a:lnTo>
                        <a:pt x="320" y="136"/>
                      </a:lnTo>
                      <a:lnTo>
                        <a:pt x="321" y="135"/>
                      </a:lnTo>
                      <a:lnTo>
                        <a:pt x="322" y="136"/>
                      </a:lnTo>
                      <a:lnTo>
                        <a:pt x="322" y="135"/>
                      </a:lnTo>
                      <a:lnTo>
                        <a:pt x="321" y="135"/>
                      </a:lnTo>
                      <a:lnTo>
                        <a:pt x="320" y="134"/>
                      </a:lnTo>
                      <a:lnTo>
                        <a:pt x="318" y="134"/>
                      </a:lnTo>
                      <a:lnTo>
                        <a:pt x="317" y="134"/>
                      </a:lnTo>
                      <a:lnTo>
                        <a:pt x="318" y="134"/>
                      </a:lnTo>
                      <a:lnTo>
                        <a:pt x="320" y="134"/>
                      </a:lnTo>
                      <a:lnTo>
                        <a:pt x="321" y="134"/>
                      </a:lnTo>
                      <a:lnTo>
                        <a:pt x="321" y="133"/>
                      </a:lnTo>
                      <a:lnTo>
                        <a:pt x="320" y="133"/>
                      </a:lnTo>
                      <a:lnTo>
                        <a:pt x="321" y="132"/>
                      </a:lnTo>
                      <a:lnTo>
                        <a:pt x="320" y="132"/>
                      </a:lnTo>
                      <a:lnTo>
                        <a:pt x="320" y="131"/>
                      </a:lnTo>
                      <a:lnTo>
                        <a:pt x="320" y="129"/>
                      </a:lnTo>
                      <a:lnTo>
                        <a:pt x="318" y="129"/>
                      </a:lnTo>
                      <a:lnTo>
                        <a:pt x="320" y="128"/>
                      </a:lnTo>
                      <a:lnTo>
                        <a:pt x="318" y="128"/>
                      </a:lnTo>
                      <a:lnTo>
                        <a:pt x="318" y="127"/>
                      </a:lnTo>
                      <a:lnTo>
                        <a:pt x="320" y="127"/>
                      </a:lnTo>
                      <a:lnTo>
                        <a:pt x="320" y="126"/>
                      </a:lnTo>
                      <a:lnTo>
                        <a:pt x="318" y="126"/>
                      </a:lnTo>
                      <a:lnTo>
                        <a:pt x="318" y="125"/>
                      </a:lnTo>
                      <a:lnTo>
                        <a:pt x="320" y="125"/>
                      </a:lnTo>
                      <a:lnTo>
                        <a:pt x="320" y="126"/>
                      </a:lnTo>
                      <a:close/>
                      <a:moveTo>
                        <a:pt x="90" y="41"/>
                      </a:moveTo>
                      <a:lnTo>
                        <a:pt x="92" y="41"/>
                      </a:lnTo>
                      <a:lnTo>
                        <a:pt x="92" y="42"/>
                      </a:lnTo>
                      <a:lnTo>
                        <a:pt x="93" y="42"/>
                      </a:lnTo>
                      <a:lnTo>
                        <a:pt x="93" y="41"/>
                      </a:lnTo>
                      <a:lnTo>
                        <a:pt x="94" y="41"/>
                      </a:lnTo>
                      <a:lnTo>
                        <a:pt x="94" y="42"/>
                      </a:lnTo>
                      <a:lnTo>
                        <a:pt x="93" y="42"/>
                      </a:lnTo>
                      <a:lnTo>
                        <a:pt x="93" y="43"/>
                      </a:lnTo>
                      <a:lnTo>
                        <a:pt x="93" y="44"/>
                      </a:lnTo>
                      <a:lnTo>
                        <a:pt x="93" y="43"/>
                      </a:lnTo>
                      <a:lnTo>
                        <a:pt x="93" y="44"/>
                      </a:lnTo>
                      <a:lnTo>
                        <a:pt x="92" y="44"/>
                      </a:lnTo>
                      <a:lnTo>
                        <a:pt x="92" y="45"/>
                      </a:lnTo>
                      <a:lnTo>
                        <a:pt x="90" y="45"/>
                      </a:lnTo>
                      <a:lnTo>
                        <a:pt x="90" y="44"/>
                      </a:lnTo>
                      <a:lnTo>
                        <a:pt x="90" y="43"/>
                      </a:lnTo>
                      <a:lnTo>
                        <a:pt x="89" y="43"/>
                      </a:lnTo>
                      <a:lnTo>
                        <a:pt x="90" y="41"/>
                      </a:lnTo>
                      <a:close/>
                      <a:moveTo>
                        <a:pt x="78" y="40"/>
                      </a:moveTo>
                      <a:lnTo>
                        <a:pt x="79" y="40"/>
                      </a:lnTo>
                      <a:lnTo>
                        <a:pt x="78" y="40"/>
                      </a:lnTo>
                      <a:lnTo>
                        <a:pt x="78" y="41"/>
                      </a:lnTo>
                      <a:lnTo>
                        <a:pt x="79" y="41"/>
                      </a:lnTo>
                      <a:lnTo>
                        <a:pt x="78" y="43"/>
                      </a:lnTo>
                      <a:lnTo>
                        <a:pt x="76" y="43"/>
                      </a:lnTo>
                      <a:lnTo>
                        <a:pt x="75" y="43"/>
                      </a:lnTo>
                      <a:lnTo>
                        <a:pt x="75" y="42"/>
                      </a:lnTo>
                      <a:lnTo>
                        <a:pt x="76" y="42"/>
                      </a:lnTo>
                      <a:lnTo>
                        <a:pt x="76" y="41"/>
                      </a:lnTo>
                      <a:lnTo>
                        <a:pt x="75" y="41"/>
                      </a:lnTo>
                      <a:lnTo>
                        <a:pt x="76" y="40"/>
                      </a:lnTo>
                      <a:lnTo>
                        <a:pt x="78" y="40"/>
                      </a:lnTo>
                      <a:close/>
                      <a:moveTo>
                        <a:pt x="72" y="40"/>
                      </a:moveTo>
                      <a:lnTo>
                        <a:pt x="72" y="41"/>
                      </a:lnTo>
                      <a:lnTo>
                        <a:pt x="72" y="42"/>
                      </a:lnTo>
                      <a:lnTo>
                        <a:pt x="73" y="42"/>
                      </a:lnTo>
                      <a:lnTo>
                        <a:pt x="74" y="42"/>
                      </a:lnTo>
                      <a:lnTo>
                        <a:pt x="73" y="43"/>
                      </a:lnTo>
                      <a:lnTo>
                        <a:pt x="74" y="44"/>
                      </a:lnTo>
                      <a:lnTo>
                        <a:pt x="74" y="45"/>
                      </a:lnTo>
                      <a:lnTo>
                        <a:pt x="73" y="47"/>
                      </a:lnTo>
                      <a:lnTo>
                        <a:pt x="72" y="47"/>
                      </a:lnTo>
                      <a:lnTo>
                        <a:pt x="72" y="45"/>
                      </a:lnTo>
                      <a:lnTo>
                        <a:pt x="72" y="44"/>
                      </a:lnTo>
                      <a:lnTo>
                        <a:pt x="72" y="43"/>
                      </a:lnTo>
                      <a:lnTo>
                        <a:pt x="71" y="43"/>
                      </a:lnTo>
                      <a:lnTo>
                        <a:pt x="71" y="42"/>
                      </a:lnTo>
                      <a:lnTo>
                        <a:pt x="69" y="42"/>
                      </a:lnTo>
                      <a:lnTo>
                        <a:pt x="69" y="41"/>
                      </a:lnTo>
                      <a:lnTo>
                        <a:pt x="71" y="41"/>
                      </a:lnTo>
                      <a:lnTo>
                        <a:pt x="71" y="40"/>
                      </a:lnTo>
                      <a:lnTo>
                        <a:pt x="69" y="40"/>
                      </a:lnTo>
                      <a:lnTo>
                        <a:pt x="71" y="37"/>
                      </a:lnTo>
                      <a:lnTo>
                        <a:pt x="71" y="38"/>
                      </a:lnTo>
                      <a:lnTo>
                        <a:pt x="72" y="38"/>
                      </a:lnTo>
                      <a:lnTo>
                        <a:pt x="72" y="40"/>
                      </a:lnTo>
                      <a:close/>
                      <a:moveTo>
                        <a:pt x="71" y="36"/>
                      </a:moveTo>
                      <a:lnTo>
                        <a:pt x="69" y="36"/>
                      </a:lnTo>
                      <a:lnTo>
                        <a:pt x="69" y="35"/>
                      </a:lnTo>
                      <a:lnTo>
                        <a:pt x="69" y="36"/>
                      </a:lnTo>
                      <a:lnTo>
                        <a:pt x="71" y="36"/>
                      </a:lnTo>
                      <a:close/>
                      <a:moveTo>
                        <a:pt x="107" y="30"/>
                      </a:moveTo>
                      <a:lnTo>
                        <a:pt x="105" y="30"/>
                      </a:lnTo>
                      <a:lnTo>
                        <a:pt x="107" y="31"/>
                      </a:lnTo>
                      <a:lnTo>
                        <a:pt x="108" y="31"/>
                      </a:lnTo>
                      <a:lnTo>
                        <a:pt x="109" y="31"/>
                      </a:lnTo>
                      <a:lnTo>
                        <a:pt x="110" y="31"/>
                      </a:lnTo>
                      <a:lnTo>
                        <a:pt x="111" y="31"/>
                      </a:lnTo>
                      <a:lnTo>
                        <a:pt x="112" y="33"/>
                      </a:lnTo>
                      <a:lnTo>
                        <a:pt x="111" y="34"/>
                      </a:lnTo>
                      <a:lnTo>
                        <a:pt x="112" y="34"/>
                      </a:lnTo>
                      <a:lnTo>
                        <a:pt x="112" y="35"/>
                      </a:lnTo>
                      <a:lnTo>
                        <a:pt x="114" y="36"/>
                      </a:lnTo>
                      <a:lnTo>
                        <a:pt x="114" y="37"/>
                      </a:lnTo>
                      <a:lnTo>
                        <a:pt x="112" y="37"/>
                      </a:lnTo>
                      <a:lnTo>
                        <a:pt x="111" y="36"/>
                      </a:lnTo>
                      <a:lnTo>
                        <a:pt x="110" y="36"/>
                      </a:lnTo>
                      <a:lnTo>
                        <a:pt x="109" y="36"/>
                      </a:lnTo>
                      <a:lnTo>
                        <a:pt x="108" y="35"/>
                      </a:lnTo>
                      <a:lnTo>
                        <a:pt x="105" y="35"/>
                      </a:lnTo>
                      <a:lnTo>
                        <a:pt x="104" y="34"/>
                      </a:lnTo>
                      <a:lnTo>
                        <a:pt x="103" y="34"/>
                      </a:lnTo>
                      <a:lnTo>
                        <a:pt x="104" y="33"/>
                      </a:lnTo>
                      <a:lnTo>
                        <a:pt x="104" y="31"/>
                      </a:lnTo>
                      <a:lnTo>
                        <a:pt x="105" y="31"/>
                      </a:lnTo>
                      <a:lnTo>
                        <a:pt x="104" y="31"/>
                      </a:lnTo>
                      <a:lnTo>
                        <a:pt x="103" y="31"/>
                      </a:lnTo>
                      <a:lnTo>
                        <a:pt x="103" y="30"/>
                      </a:lnTo>
                      <a:lnTo>
                        <a:pt x="104" y="30"/>
                      </a:lnTo>
                      <a:lnTo>
                        <a:pt x="105" y="29"/>
                      </a:lnTo>
                      <a:lnTo>
                        <a:pt x="107" y="29"/>
                      </a:lnTo>
                      <a:lnTo>
                        <a:pt x="107" y="30"/>
                      </a:lnTo>
                      <a:close/>
                      <a:moveTo>
                        <a:pt x="111" y="26"/>
                      </a:moveTo>
                      <a:lnTo>
                        <a:pt x="111" y="27"/>
                      </a:lnTo>
                      <a:lnTo>
                        <a:pt x="111" y="26"/>
                      </a:lnTo>
                      <a:lnTo>
                        <a:pt x="110" y="26"/>
                      </a:lnTo>
                      <a:lnTo>
                        <a:pt x="110" y="27"/>
                      </a:lnTo>
                      <a:lnTo>
                        <a:pt x="111" y="27"/>
                      </a:lnTo>
                      <a:lnTo>
                        <a:pt x="111" y="28"/>
                      </a:lnTo>
                      <a:lnTo>
                        <a:pt x="110" y="28"/>
                      </a:lnTo>
                      <a:lnTo>
                        <a:pt x="109" y="29"/>
                      </a:lnTo>
                      <a:lnTo>
                        <a:pt x="109" y="28"/>
                      </a:lnTo>
                      <a:lnTo>
                        <a:pt x="108" y="28"/>
                      </a:lnTo>
                      <a:lnTo>
                        <a:pt x="108" y="27"/>
                      </a:lnTo>
                      <a:lnTo>
                        <a:pt x="109" y="27"/>
                      </a:lnTo>
                      <a:lnTo>
                        <a:pt x="108" y="26"/>
                      </a:lnTo>
                      <a:lnTo>
                        <a:pt x="109" y="26"/>
                      </a:lnTo>
                      <a:lnTo>
                        <a:pt x="110" y="26"/>
                      </a:lnTo>
                      <a:lnTo>
                        <a:pt x="111" y="26"/>
                      </a:lnTo>
                      <a:close/>
                      <a:moveTo>
                        <a:pt x="72" y="26"/>
                      </a:moveTo>
                      <a:lnTo>
                        <a:pt x="71" y="27"/>
                      </a:lnTo>
                      <a:lnTo>
                        <a:pt x="71" y="26"/>
                      </a:lnTo>
                      <a:lnTo>
                        <a:pt x="72" y="24"/>
                      </a:lnTo>
                      <a:lnTo>
                        <a:pt x="72" y="26"/>
                      </a:lnTo>
                      <a:close/>
                      <a:moveTo>
                        <a:pt x="74" y="20"/>
                      </a:moveTo>
                      <a:lnTo>
                        <a:pt x="74" y="21"/>
                      </a:lnTo>
                      <a:lnTo>
                        <a:pt x="73" y="21"/>
                      </a:lnTo>
                      <a:lnTo>
                        <a:pt x="73" y="22"/>
                      </a:lnTo>
                      <a:lnTo>
                        <a:pt x="72" y="24"/>
                      </a:lnTo>
                      <a:lnTo>
                        <a:pt x="72" y="22"/>
                      </a:lnTo>
                      <a:lnTo>
                        <a:pt x="73" y="22"/>
                      </a:lnTo>
                      <a:lnTo>
                        <a:pt x="73" y="21"/>
                      </a:lnTo>
                      <a:lnTo>
                        <a:pt x="72" y="20"/>
                      </a:lnTo>
                      <a:lnTo>
                        <a:pt x="73" y="20"/>
                      </a:lnTo>
                      <a:lnTo>
                        <a:pt x="74" y="20"/>
                      </a:lnTo>
                      <a:close/>
                      <a:moveTo>
                        <a:pt x="39" y="0"/>
                      </a:moveTo>
                      <a:lnTo>
                        <a:pt x="41" y="0"/>
                      </a:lnTo>
                      <a:lnTo>
                        <a:pt x="47" y="0"/>
                      </a:lnTo>
                      <a:lnTo>
                        <a:pt x="53" y="0"/>
                      </a:lnTo>
                      <a:lnTo>
                        <a:pt x="54" y="0"/>
                      </a:lnTo>
                      <a:lnTo>
                        <a:pt x="59" y="0"/>
                      </a:lnTo>
                      <a:lnTo>
                        <a:pt x="65" y="0"/>
                      </a:lnTo>
                      <a:lnTo>
                        <a:pt x="69" y="0"/>
                      </a:lnTo>
                      <a:lnTo>
                        <a:pt x="69" y="1"/>
                      </a:lnTo>
                      <a:lnTo>
                        <a:pt x="69" y="2"/>
                      </a:lnTo>
                      <a:lnTo>
                        <a:pt x="71" y="2"/>
                      </a:lnTo>
                      <a:lnTo>
                        <a:pt x="71" y="1"/>
                      </a:lnTo>
                      <a:lnTo>
                        <a:pt x="71" y="0"/>
                      </a:lnTo>
                      <a:lnTo>
                        <a:pt x="72" y="0"/>
                      </a:lnTo>
                      <a:lnTo>
                        <a:pt x="72" y="1"/>
                      </a:lnTo>
                      <a:lnTo>
                        <a:pt x="73" y="1"/>
                      </a:lnTo>
                      <a:lnTo>
                        <a:pt x="72" y="2"/>
                      </a:lnTo>
                      <a:lnTo>
                        <a:pt x="72" y="3"/>
                      </a:lnTo>
                      <a:lnTo>
                        <a:pt x="72" y="5"/>
                      </a:lnTo>
                      <a:lnTo>
                        <a:pt x="73" y="5"/>
                      </a:lnTo>
                      <a:lnTo>
                        <a:pt x="73" y="6"/>
                      </a:lnTo>
                      <a:lnTo>
                        <a:pt x="72" y="6"/>
                      </a:lnTo>
                      <a:lnTo>
                        <a:pt x="72" y="9"/>
                      </a:lnTo>
                      <a:lnTo>
                        <a:pt x="72" y="10"/>
                      </a:lnTo>
                      <a:lnTo>
                        <a:pt x="71" y="12"/>
                      </a:lnTo>
                      <a:lnTo>
                        <a:pt x="71" y="13"/>
                      </a:lnTo>
                      <a:lnTo>
                        <a:pt x="71" y="14"/>
                      </a:lnTo>
                      <a:lnTo>
                        <a:pt x="71" y="15"/>
                      </a:lnTo>
                      <a:lnTo>
                        <a:pt x="68" y="15"/>
                      </a:lnTo>
                      <a:lnTo>
                        <a:pt x="68" y="16"/>
                      </a:lnTo>
                      <a:lnTo>
                        <a:pt x="68" y="17"/>
                      </a:lnTo>
                      <a:lnTo>
                        <a:pt x="68" y="19"/>
                      </a:lnTo>
                      <a:lnTo>
                        <a:pt x="69" y="19"/>
                      </a:lnTo>
                      <a:lnTo>
                        <a:pt x="68" y="20"/>
                      </a:lnTo>
                      <a:lnTo>
                        <a:pt x="68" y="21"/>
                      </a:lnTo>
                      <a:lnTo>
                        <a:pt x="68" y="22"/>
                      </a:lnTo>
                      <a:lnTo>
                        <a:pt x="67" y="24"/>
                      </a:lnTo>
                      <a:lnTo>
                        <a:pt x="67" y="26"/>
                      </a:lnTo>
                      <a:lnTo>
                        <a:pt x="67" y="28"/>
                      </a:lnTo>
                      <a:lnTo>
                        <a:pt x="66" y="29"/>
                      </a:lnTo>
                      <a:lnTo>
                        <a:pt x="65" y="30"/>
                      </a:lnTo>
                      <a:lnTo>
                        <a:pt x="65" y="31"/>
                      </a:lnTo>
                      <a:lnTo>
                        <a:pt x="65" y="33"/>
                      </a:lnTo>
                      <a:lnTo>
                        <a:pt x="66" y="33"/>
                      </a:lnTo>
                      <a:lnTo>
                        <a:pt x="67" y="33"/>
                      </a:lnTo>
                      <a:lnTo>
                        <a:pt x="67" y="34"/>
                      </a:lnTo>
                      <a:lnTo>
                        <a:pt x="67" y="35"/>
                      </a:lnTo>
                      <a:lnTo>
                        <a:pt x="66" y="35"/>
                      </a:lnTo>
                      <a:lnTo>
                        <a:pt x="66" y="36"/>
                      </a:lnTo>
                      <a:lnTo>
                        <a:pt x="67" y="36"/>
                      </a:lnTo>
                      <a:lnTo>
                        <a:pt x="66" y="37"/>
                      </a:lnTo>
                      <a:lnTo>
                        <a:pt x="66" y="38"/>
                      </a:lnTo>
                      <a:lnTo>
                        <a:pt x="66" y="40"/>
                      </a:lnTo>
                      <a:lnTo>
                        <a:pt x="66" y="41"/>
                      </a:lnTo>
                      <a:lnTo>
                        <a:pt x="65" y="42"/>
                      </a:lnTo>
                      <a:lnTo>
                        <a:pt x="65" y="43"/>
                      </a:lnTo>
                      <a:lnTo>
                        <a:pt x="66" y="43"/>
                      </a:lnTo>
                      <a:lnTo>
                        <a:pt x="67" y="42"/>
                      </a:lnTo>
                      <a:lnTo>
                        <a:pt x="68" y="42"/>
                      </a:lnTo>
                      <a:lnTo>
                        <a:pt x="68" y="43"/>
                      </a:lnTo>
                      <a:lnTo>
                        <a:pt x="69" y="43"/>
                      </a:lnTo>
                      <a:lnTo>
                        <a:pt x="68" y="43"/>
                      </a:lnTo>
                      <a:lnTo>
                        <a:pt x="68" y="44"/>
                      </a:lnTo>
                      <a:lnTo>
                        <a:pt x="69" y="44"/>
                      </a:lnTo>
                      <a:lnTo>
                        <a:pt x="69" y="45"/>
                      </a:lnTo>
                      <a:lnTo>
                        <a:pt x="71" y="45"/>
                      </a:lnTo>
                      <a:lnTo>
                        <a:pt x="69" y="45"/>
                      </a:lnTo>
                      <a:lnTo>
                        <a:pt x="69" y="47"/>
                      </a:lnTo>
                      <a:lnTo>
                        <a:pt x="71" y="47"/>
                      </a:lnTo>
                      <a:lnTo>
                        <a:pt x="69" y="47"/>
                      </a:lnTo>
                      <a:lnTo>
                        <a:pt x="69" y="48"/>
                      </a:lnTo>
                      <a:lnTo>
                        <a:pt x="68" y="48"/>
                      </a:lnTo>
                      <a:lnTo>
                        <a:pt x="67" y="48"/>
                      </a:lnTo>
                      <a:lnTo>
                        <a:pt x="67" y="49"/>
                      </a:lnTo>
                      <a:lnTo>
                        <a:pt x="68" y="49"/>
                      </a:lnTo>
                      <a:lnTo>
                        <a:pt x="68" y="51"/>
                      </a:lnTo>
                      <a:lnTo>
                        <a:pt x="69" y="51"/>
                      </a:lnTo>
                      <a:lnTo>
                        <a:pt x="71" y="51"/>
                      </a:lnTo>
                      <a:lnTo>
                        <a:pt x="72" y="51"/>
                      </a:lnTo>
                      <a:lnTo>
                        <a:pt x="71" y="51"/>
                      </a:lnTo>
                      <a:lnTo>
                        <a:pt x="71" y="52"/>
                      </a:lnTo>
                      <a:lnTo>
                        <a:pt x="69" y="52"/>
                      </a:lnTo>
                      <a:lnTo>
                        <a:pt x="69" y="54"/>
                      </a:lnTo>
                      <a:lnTo>
                        <a:pt x="69" y="55"/>
                      </a:lnTo>
                      <a:lnTo>
                        <a:pt x="68" y="55"/>
                      </a:lnTo>
                      <a:lnTo>
                        <a:pt x="69" y="55"/>
                      </a:lnTo>
                      <a:lnTo>
                        <a:pt x="69" y="57"/>
                      </a:lnTo>
                      <a:lnTo>
                        <a:pt x="69" y="58"/>
                      </a:lnTo>
                      <a:lnTo>
                        <a:pt x="71" y="58"/>
                      </a:lnTo>
                      <a:lnTo>
                        <a:pt x="71" y="57"/>
                      </a:lnTo>
                      <a:lnTo>
                        <a:pt x="72" y="57"/>
                      </a:lnTo>
                      <a:lnTo>
                        <a:pt x="72" y="56"/>
                      </a:lnTo>
                      <a:lnTo>
                        <a:pt x="71" y="55"/>
                      </a:lnTo>
                      <a:lnTo>
                        <a:pt x="71" y="54"/>
                      </a:lnTo>
                      <a:lnTo>
                        <a:pt x="72" y="54"/>
                      </a:lnTo>
                      <a:lnTo>
                        <a:pt x="73" y="54"/>
                      </a:lnTo>
                      <a:lnTo>
                        <a:pt x="73" y="55"/>
                      </a:lnTo>
                      <a:lnTo>
                        <a:pt x="73" y="54"/>
                      </a:lnTo>
                      <a:lnTo>
                        <a:pt x="73" y="52"/>
                      </a:lnTo>
                      <a:lnTo>
                        <a:pt x="74" y="52"/>
                      </a:lnTo>
                      <a:lnTo>
                        <a:pt x="74" y="54"/>
                      </a:lnTo>
                      <a:lnTo>
                        <a:pt x="75" y="54"/>
                      </a:lnTo>
                      <a:lnTo>
                        <a:pt x="75" y="55"/>
                      </a:lnTo>
                      <a:lnTo>
                        <a:pt x="75" y="56"/>
                      </a:lnTo>
                      <a:lnTo>
                        <a:pt x="76" y="56"/>
                      </a:lnTo>
                      <a:lnTo>
                        <a:pt x="78" y="55"/>
                      </a:lnTo>
                      <a:lnTo>
                        <a:pt x="76" y="55"/>
                      </a:lnTo>
                      <a:lnTo>
                        <a:pt x="76" y="54"/>
                      </a:lnTo>
                      <a:lnTo>
                        <a:pt x="76" y="52"/>
                      </a:lnTo>
                      <a:lnTo>
                        <a:pt x="75" y="52"/>
                      </a:lnTo>
                      <a:lnTo>
                        <a:pt x="75" y="51"/>
                      </a:lnTo>
                      <a:lnTo>
                        <a:pt x="74" y="51"/>
                      </a:lnTo>
                      <a:lnTo>
                        <a:pt x="74" y="50"/>
                      </a:lnTo>
                      <a:lnTo>
                        <a:pt x="75" y="50"/>
                      </a:lnTo>
                      <a:lnTo>
                        <a:pt x="76" y="50"/>
                      </a:lnTo>
                      <a:lnTo>
                        <a:pt x="76" y="49"/>
                      </a:lnTo>
                      <a:lnTo>
                        <a:pt x="76" y="48"/>
                      </a:lnTo>
                      <a:lnTo>
                        <a:pt x="78" y="48"/>
                      </a:lnTo>
                      <a:lnTo>
                        <a:pt x="78" y="47"/>
                      </a:lnTo>
                      <a:lnTo>
                        <a:pt x="79" y="48"/>
                      </a:lnTo>
                      <a:lnTo>
                        <a:pt x="79" y="49"/>
                      </a:lnTo>
                      <a:lnTo>
                        <a:pt x="79" y="48"/>
                      </a:lnTo>
                      <a:lnTo>
                        <a:pt x="80" y="48"/>
                      </a:lnTo>
                      <a:lnTo>
                        <a:pt x="80" y="49"/>
                      </a:lnTo>
                      <a:lnTo>
                        <a:pt x="81" y="49"/>
                      </a:lnTo>
                      <a:lnTo>
                        <a:pt x="81" y="50"/>
                      </a:lnTo>
                      <a:lnTo>
                        <a:pt x="81" y="49"/>
                      </a:lnTo>
                      <a:lnTo>
                        <a:pt x="82" y="48"/>
                      </a:lnTo>
                      <a:lnTo>
                        <a:pt x="81" y="48"/>
                      </a:lnTo>
                      <a:lnTo>
                        <a:pt x="81" y="47"/>
                      </a:lnTo>
                      <a:lnTo>
                        <a:pt x="80" y="47"/>
                      </a:lnTo>
                      <a:lnTo>
                        <a:pt x="80" y="45"/>
                      </a:lnTo>
                      <a:lnTo>
                        <a:pt x="79" y="45"/>
                      </a:lnTo>
                      <a:lnTo>
                        <a:pt x="79" y="44"/>
                      </a:lnTo>
                      <a:lnTo>
                        <a:pt x="79" y="43"/>
                      </a:lnTo>
                      <a:lnTo>
                        <a:pt x="80" y="43"/>
                      </a:lnTo>
                      <a:lnTo>
                        <a:pt x="80" y="44"/>
                      </a:lnTo>
                      <a:lnTo>
                        <a:pt x="81" y="44"/>
                      </a:lnTo>
                      <a:lnTo>
                        <a:pt x="82" y="43"/>
                      </a:lnTo>
                      <a:lnTo>
                        <a:pt x="83" y="42"/>
                      </a:lnTo>
                      <a:lnTo>
                        <a:pt x="83" y="41"/>
                      </a:lnTo>
                      <a:lnTo>
                        <a:pt x="83" y="40"/>
                      </a:lnTo>
                      <a:lnTo>
                        <a:pt x="85" y="41"/>
                      </a:lnTo>
                      <a:lnTo>
                        <a:pt x="86" y="41"/>
                      </a:lnTo>
                      <a:lnTo>
                        <a:pt x="87" y="42"/>
                      </a:lnTo>
                      <a:lnTo>
                        <a:pt x="88" y="42"/>
                      </a:lnTo>
                      <a:lnTo>
                        <a:pt x="87" y="43"/>
                      </a:lnTo>
                      <a:lnTo>
                        <a:pt x="87" y="42"/>
                      </a:lnTo>
                      <a:lnTo>
                        <a:pt x="87" y="43"/>
                      </a:lnTo>
                      <a:lnTo>
                        <a:pt x="87" y="44"/>
                      </a:lnTo>
                      <a:lnTo>
                        <a:pt x="88" y="44"/>
                      </a:lnTo>
                      <a:lnTo>
                        <a:pt x="88" y="45"/>
                      </a:lnTo>
                      <a:lnTo>
                        <a:pt x="89" y="45"/>
                      </a:lnTo>
                      <a:lnTo>
                        <a:pt x="90" y="45"/>
                      </a:lnTo>
                      <a:lnTo>
                        <a:pt x="90" y="47"/>
                      </a:lnTo>
                      <a:lnTo>
                        <a:pt x="92" y="47"/>
                      </a:lnTo>
                      <a:lnTo>
                        <a:pt x="93" y="47"/>
                      </a:lnTo>
                      <a:lnTo>
                        <a:pt x="94" y="47"/>
                      </a:lnTo>
                      <a:lnTo>
                        <a:pt x="94" y="45"/>
                      </a:lnTo>
                      <a:lnTo>
                        <a:pt x="94" y="47"/>
                      </a:lnTo>
                      <a:lnTo>
                        <a:pt x="94" y="48"/>
                      </a:lnTo>
                      <a:lnTo>
                        <a:pt x="93" y="48"/>
                      </a:lnTo>
                      <a:lnTo>
                        <a:pt x="93" y="49"/>
                      </a:lnTo>
                      <a:lnTo>
                        <a:pt x="94" y="49"/>
                      </a:lnTo>
                      <a:lnTo>
                        <a:pt x="96" y="47"/>
                      </a:lnTo>
                      <a:lnTo>
                        <a:pt x="96" y="45"/>
                      </a:lnTo>
                      <a:lnTo>
                        <a:pt x="96" y="44"/>
                      </a:lnTo>
                      <a:lnTo>
                        <a:pt x="97" y="44"/>
                      </a:lnTo>
                      <a:lnTo>
                        <a:pt x="97" y="45"/>
                      </a:lnTo>
                      <a:lnTo>
                        <a:pt x="98" y="47"/>
                      </a:lnTo>
                      <a:lnTo>
                        <a:pt x="98" y="48"/>
                      </a:lnTo>
                      <a:lnTo>
                        <a:pt x="97" y="48"/>
                      </a:lnTo>
                      <a:lnTo>
                        <a:pt x="98" y="48"/>
                      </a:lnTo>
                      <a:lnTo>
                        <a:pt x="100" y="48"/>
                      </a:lnTo>
                      <a:lnTo>
                        <a:pt x="100" y="49"/>
                      </a:lnTo>
                      <a:lnTo>
                        <a:pt x="101" y="48"/>
                      </a:lnTo>
                      <a:lnTo>
                        <a:pt x="102" y="48"/>
                      </a:lnTo>
                      <a:lnTo>
                        <a:pt x="103" y="48"/>
                      </a:lnTo>
                      <a:lnTo>
                        <a:pt x="103" y="49"/>
                      </a:lnTo>
                      <a:lnTo>
                        <a:pt x="102" y="49"/>
                      </a:lnTo>
                      <a:lnTo>
                        <a:pt x="102" y="50"/>
                      </a:lnTo>
                      <a:lnTo>
                        <a:pt x="103" y="50"/>
                      </a:lnTo>
                      <a:lnTo>
                        <a:pt x="102" y="50"/>
                      </a:lnTo>
                      <a:lnTo>
                        <a:pt x="102" y="51"/>
                      </a:lnTo>
                      <a:lnTo>
                        <a:pt x="102" y="52"/>
                      </a:lnTo>
                      <a:lnTo>
                        <a:pt x="102" y="54"/>
                      </a:lnTo>
                      <a:lnTo>
                        <a:pt x="102" y="52"/>
                      </a:lnTo>
                      <a:lnTo>
                        <a:pt x="103" y="54"/>
                      </a:lnTo>
                      <a:lnTo>
                        <a:pt x="102" y="54"/>
                      </a:lnTo>
                      <a:lnTo>
                        <a:pt x="102" y="55"/>
                      </a:lnTo>
                      <a:lnTo>
                        <a:pt x="103" y="55"/>
                      </a:lnTo>
                      <a:lnTo>
                        <a:pt x="104" y="55"/>
                      </a:lnTo>
                      <a:lnTo>
                        <a:pt x="104" y="56"/>
                      </a:lnTo>
                      <a:lnTo>
                        <a:pt x="103" y="57"/>
                      </a:lnTo>
                      <a:lnTo>
                        <a:pt x="103" y="58"/>
                      </a:lnTo>
                      <a:lnTo>
                        <a:pt x="102" y="58"/>
                      </a:lnTo>
                      <a:lnTo>
                        <a:pt x="101" y="58"/>
                      </a:lnTo>
                      <a:lnTo>
                        <a:pt x="100" y="59"/>
                      </a:lnTo>
                      <a:lnTo>
                        <a:pt x="101" y="59"/>
                      </a:lnTo>
                      <a:lnTo>
                        <a:pt x="102" y="61"/>
                      </a:lnTo>
                      <a:lnTo>
                        <a:pt x="101" y="61"/>
                      </a:lnTo>
                      <a:lnTo>
                        <a:pt x="101" y="62"/>
                      </a:lnTo>
                      <a:lnTo>
                        <a:pt x="100" y="63"/>
                      </a:lnTo>
                      <a:lnTo>
                        <a:pt x="100" y="64"/>
                      </a:lnTo>
                      <a:lnTo>
                        <a:pt x="101" y="64"/>
                      </a:lnTo>
                      <a:lnTo>
                        <a:pt x="101" y="63"/>
                      </a:lnTo>
                      <a:lnTo>
                        <a:pt x="102" y="63"/>
                      </a:lnTo>
                      <a:lnTo>
                        <a:pt x="102" y="62"/>
                      </a:lnTo>
                      <a:lnTo>
                        <a:pt x="102" y="61"/>
                      </a:lnTo>
                      <a:lnTo>
                        <a:pt x="103" y="59"/>
                      </a:lnTo>
                      <a:lnTo>
                        <a:pt x="103" y="58"/>
                      </a:lnTo>
                      <a:lnTo>
                        <a:pt x="104" y="58"/>
                      </a:lnTo>
                      <a:lnTo>
                        <a:pt x="104" y="57"/>
                      </a:lnTo>
                      <a:lnTo>
                        <a:pt x="105" y="57"/>
                      </a:lnTo>
                      <a:lnTo>
                        <a:pt x="105" y="58"/>
                      </a:lnTo>
                      <a:lnTo>
                        <a:pt x="105" y="59"/>
                      </a:lnTo>
                      <a:lnTo>
                        <a:pt x="108" y="59"/>
                      </a:lnTo>
                      <a:lnTo>
                        <a:pt x="109" y="59"/>
                      </a:lnTo>
                      <a:lnTo>
                        <a:pt x="108" y="58"/>
                      </a:lnTo>
                      <a:lnTo>
                        <a:pt x="107" y="58"/>
                      </a:lnTo>
                      <a:lnTo>
                        <a:pt x="105" y="58"/>
                      </a:lnTo>
                      <a:lnTo>
                        <a:pt x="105" y="57"/>
                      </a:lnTo>
                      <a:lnTo>
                        <a:pt x="107" y="57"/>
                      </a:lnTo>
                      <a:lnTo>
                        <a:pt x="107" y="56"/>
                      </a:lnTo>
                      <a:lnTo>
                        <a:pt x="105" y="56"/>
                      </a:lnTo>
                      <a:lnTo>
                        <a:pt x="105" y="55"/>
                      </a:lnTo>
                      <a:lnTo>
                        <a:pt x="104" y="55"/>
                      </a:lnTo>
                      <a:lnTo>
                        <a:pt x="104" y="54"/>
                      </a:lnTo>
                      <a:lnTo>
                        <a:pt x="105" y="54"/>
                      </a:lnTo>
                      <a:lnTo>
                        <a:pt x="104" y="52"/>
                      </a:lnTo>
                      <a:lnTo>
                        <a:pt x="104" y="51"/>
                      </a:lnTo>
                      <a:lnTo>
                        <a:pt x="104" y="50"/>
                      </a:lnTo>
                      <a:lnTo>
                        <a:pt x="105" y="49"/>
                      </a:lnTo>
                      <a:lnTo>
                        <a:pt x="104" y="48"/>
                      </a:lnTo>
                      <a:lnTo>
                        <a:pt x="104" y="47"/>
                      </a:lnTo>
                      <a:lnTo>
                        <a:pt x="105" y="47"/>
                      </a:lnTo>
                      <a:lnTo>
                        <a:pt x="105" y="45"/>
                      </a:lnTo>
                      <a:lnTo>
                        <a:pt x="107" y="44"/>
                      </a:lnTo>
                      <a:lnTo>
                        <a:pt x="108" y="44"/>
                      </a:lnTo>
                      <a:lnTo>
                        <a:pt x="110" y="44"/>
                      </a:lnTo>
                      <a:lnTo>
                        <a:pt x="111" y="44"/>
                      </a:lnTo>
                      <a:lnTo>
                        <a:pt x="111" y="45"/>
                      </a:lnTo>
                      <a:lnTo>
                        <a:pt x="112" y="45"/>
                      </a:lnTo>
                      <a:lnTo>
                        <a:pt x="112" y="47"/>
                      </a:lnTo>
                      <a:lnTo>
                        <a:pt x="114" y="47"/>
                      </a:lnTo>
                      <a:lnTo>
                        <a:pt x="114" y="48"/>
                      </a:lnTo>
                      <a:lnTo>
                        <a:pt x="115" y="48"/>
                      </a:lnTo>
                      <a:lnTo>
                        <a:pt x="115" y="49"/>
                      </a:lnTo>
                      <a:lnTo>
                        <a:pt x="116" y="49"/>
                      </a:lnTo>
                      <a:lnTo>
                        <a:pt x="117" y="48"/>
                      </a:lnTo>
                      <a:lnTo>
                        <a:pt x="118" y="48"/>
                      </a:lnTo>
                      <a:lnTo>
                        <a:pt x="118" y="49"/>
                      </a:lnTo>
                      <a:lnTo>
                        <a:pt x="118" y="48"/>
                      </a:lnTo>
                      <a:lnTo>
                        <a:pt x="119" y="48"/>
                      </a:lnTo>
                      <a:lnTo>
                        <a:pt x="119" y="49"/>
                      </a:lnTo>
                      <a:lnTo>
                        <a:pt x="121" y="49"/>
                      </a:lnTo>
                      <a:lnTo>
                        <a:pt x="121" y="50"/>
                      </a:lnTo>
                      <a:lnTo>
                        <a:pt x="122" y="49"/>
                      </a:lnTo>
                      <a:lnTo>
                        <a:pt x="123" y="49"/>
                      </a:lnTo>
                      <a:lnTo>
                        <a:pt x="123" y="48"/>
                      </a:lnTo>
                      <a:lnTo>
                        <a:pt x="122" y="47"/>
                      </a:lnTo>
                      <a:lnTo>
                        <a:pt x="121" y="47"/>
                      </a:lnTo>
                      <a:lnTo>
                        <a:pt x="122" y="47"/>
                      </a:lnTo>
                      <a:lnTo>
                        <a:pt x="123" y="47"/>
                      </a:lnTo>
                      <a:lnTo>
                        <a:pt x="123" y="45"/>
                      </a:lnTo>
                      <a:lnTo>
                        <a:pt x="124" y="47"/>
                      </a:lnTo>
                      <a:lnTo>
                        <a:pt x="125" y="45"/>
                      </a:lnTo>
                      <a:lnTo>
                        <a:pt x="124" y="45"/>
                      </a:lnTo>
                      <a:lnTo>
                        <a:pt x="124" y="44"/>
                      </a:lnTo>
                      <a:lnTo>
                        <a:pt x="125" y="44"/>
                      </a:lnTo>
                      <a:lnTo>
                        <a:pt x="126" y="43"/>
                      </a:lnTo>
                      <a:lnTo>
                        <a:pt x="128" y="43"/>
                      </a:lnTo>
                      <a:lnTo>
                        <a:pt x="128" y="42"/>
                      </a:lnTo>
                      <a:lnTo>
                        <a:pt x="129" y="42"/>
                      </a:lnTo>
                      <a:lnTo>
                        <a:pt x="130" y="41"/>
                      </a:lnTo>
                      <a:lnTo>
                        <a:pt x="131" y="41"/>
                      </a:lnTo>
                      <a:lnTo>
                        <a:pt x="132" y="41"/>
                      </a:lnTo>
                      <a:lnTo>
                        <a:pt x="135" y="40"/>
                      </a:lnTo>
                      <a:lnTo>
                        <a:pt x="135" y="38"/>
                      </a:lnTo>
                      <a:lnTo>
                        <a:pt x="135" y="37"/>
                      </a:lnTo>
                      <a:lnTo>
                        <a:pt x="133" y="36"/>
                      </a:lnTo>
                      <a:lnTo>
                        <a:pt x="133" y="35"/>
                      </a:lnTo>
                      <a:lnTo>
                        <a:pt x="132" y="35"/>
                      </a:lnTo>
                      <a:lnTo>
                        <a:pt x="131" y="35"/>
                      </a:lnTo>
                      <a:lnTo>
                        <a:pt x="129" y="36"/>
                      </a:lnTo>
                      <a:lnTo>
                        <a:pt x="129" y="37"/>
                      </a:lnTo>
                      <a:lnTo>
                        <a:pt x="128" y="37"/>
                      </a:lnTo>
                      <a:lnTo>
                        <a:pt x="128" y="38"/>
                      </a:lnTo>
                      <a:lnTo>
                        <a:pt x="126" y="37"/>
                      </a:lnTo>
                      <a:lnTo>
                        <a:pt x="124" y="37"/>
                      </a:lnTo>
                      <a:lnTo>
                        <a:pt x="122" y="37"/>
                      </a:lnTo>
                      <a:lnTo>
                        <a:pt x="121" y="37"/>
                      </a:lnTo>
                      <a:lnTo>
                        <a:pt x="119" y="37"/>
                      </a:lnTo>
                      <a:lnTo>
                        <a:pt x="119" y="36"/>
                      </a:lnTo>
                      <a:lnTo>
                        <a:pt x="118" y="36"/>
                      </a:lnTo>
                      <a:lnTo>
                        <a:pt x="117" y="36"/>
                      </a:lnTo>
                      <a:lnTo>
                        <a:pt x="116" y="36"/>
                      </a:lnTo>
                      <a:lnTo>
                        <a:pt x="115" y="36"/>
                      </a:lnTo>
                      <a:lnTo>
                        <a:pt x="115" y="35"/>
                      </a:lnTo>
                      <a:lnTo>
                        <a:pt x="115" y="34"/>
                      </a:lnTo>
                      <a:lnTo>
                        <a:pt x="116" y="34"/>
                      </a:lnTo>
                      <a:lnTo>
                        <a:pt x="117" y="34"/>
                      </a:lnTo>
                      <a:lnTo>
                        <a:pt x="117" y="33"/>
                      </a:lnTo>
                      <a:lnTo>
                        <a:pt x="118" y="33"/>
                      </a:lnTo>
                      <a:lnTo>
                        <a:pt x="118" y="34"/>
                      </a:lnTo>
                      <a:lnTo>
                        <a:pt x="118" y="33"/>
                      </a:lnTo>
                      <a:lnTo>
                        <a:pt x="119" y="33"/>
                      </a:lnTo>
                      <a:lnTo>
                        <a:pt x="121" y="34"/>
                      </a:lnTo>
                      <a:lnTo>
                        <a:pt x="119" y="31"/>
                      </a:lnTo>
                      <a:lnTo>
                        <a:pt x="121" y="31"/>
                      </a:lnTo>
                      <a:lnTo>
                        <a:pt x="122" y="31"/>
                      </a:lnTo>
                      <a:lnTo>
                        <a:pt x="124" y="33"/>
                      </a:lnTo>
                      <a:lnTo>
                        <a:pt x="125" y="33"/>
                      </a:lnTo>
                      <a:lnTo>
                        <a:pt x="126" y="33"/>
                      </a:lnTo>
                      <a:lnTo>
                        <a:pt x="126" y="31"/>
                      </a:lnTo>
                      <a:lnTo>
                        <a:pt x="125" y="31"/>
                      </a:lnTo>
                      <a:lnTo>
                        <a:pt x="124" y="30"/>
                      </a:lnTo>
                      <a:lnTo>
                        <a:pt x="123" y="30"/>
                      </a:lnTo>
                      <a:lnTo>
                        <a:pt x="124" y="30"/>
                      </a:lnTo>
                      <a:lnTo>
                        <a:pt x="123" y="29"/>
                      </a:lnTo>
                      <a:lnTo>
                        <a:pt x="123" y="28"/>
                      </a:lnTo>
                      <a:lnTo>
                        <a:pt x="122" y="28"/>
                      </a:lnTo>
                      <a:lnTo>
                        <a:pt x="122" y="29"/>
                      </a:lnTo>
                      <a:lnTo>
                        <a:pt x="121" y="29"/>
                      </a:lnTo>
                      <a:lnTo>
                        <a:pt x="119" y="30"/>
                      </a:lnTo>
                      <a:lnTo>
                        <a:pt x="118" y="30"/>
                      </a:lnTo>
                      <a:lnTo>
                        <a:pt x="117" y="29"/>
                      </a:lnTo>
                      <a:lnTo>
                        <a:pt x="118" y="29"/>
                      </a:lnTo>
                      <a:lnTo>
                        <a:pt x="118" y="28"/>
                      </a:lnTo>
                      <a:lnTo>
                        <a:pt x="118" y="27"/>
                      </a:lnTo>
                      <a:lnTo>
                        <a:pt x="119" y="26"/>
                      </a:lnTo>
                      <a:lnTo>
                        <a:pt x="121" y="26"/>
                      </a:lnTo>
                      <a:lnTo>
                        <a:pt x="122" y="26"/>
                      </a:lnTo>
                      <a:lnTo>
                        <a:pt x="122" y="27"/>
                      </a:lnTo>
                      <a:lnTo>
                        <a:pt x="123" y="27"/>
                      </a:lnTo>
                      <a:lnTo>
                        <a:pt x="124" y="27"/>
                      </a:lnTo>
                      <a:lnTo>
                        <a:pt x="125" y="27"/>
                      </a:lnTo>
                      <a:lnTo>
                        <a:pt x="125" y="26"/>
                      </a:lnTo>
                      <a:lnTo>
                        <a:pt x="126" y="26"/>
                      </a:lnTo>
                      <a:lnTo>
                        <a:pt x="126" y="24"/>
                      </a:lnTo>
                      <a:lnTo>
                        <a:pt x="128" y="24"/>
                      </a:lnTo>
                      <a:lnTo>
                        <a:pt x="128" y="26"/>
                      </a:lnTo>
                      <a:lnTo>
                        <a:pt x="129" y="26"/>
                      </a:lnTo>
                      <a:lnTo>
                        <a:pt x="129" y="24"/>
                      </a:lnTo>
                      <a:lnTo>
                        <a:pt x="128" y="24"/>
                      </a:lnTo>
                      <a:lnTo>
                        <a:pt x="128" y="23"/>
                      </a:lnTo>
                      <a:lnTo>
                        <a:pt x="128" y="24"/>
                      </a:lnTo>
                      <a:lnTo>
                        <a:pt x="126" y="23"/>
                      </a:lnTo>
                      <a:lnTo>
                        <a:pt x="125" y="22"/>
                      </a:lnTo>
                      <a:lnTo>
                        <a:pt x="126" y="22"/>
                      </a:lnTo>
                      <a:lnTo>
                        <a:pt x="130" y="22"/>
                      </a:lnTo>
                      <a:lnTo>
                        <a:pt x="131" y="21"/>
                      </a:lnTo>
                      <a:lnTo>
                        <a:pt x="130" y="21"/>
                      </a:lnTo>
                      <a:lnTo>
                        <a:pt x="129" y="21"/>
                      </a:lnTo>
                      <a:lnTo>
                        <a:pt x="130" y="20"/>
                      </a:lnTo>
                      <a:lnTo>
                        <a:pt x="130" y="19"/>
                      </a:lnTo>
                      <a:lnTo>
                        <a:pt x="129" y="19"/>
                      </a:lnTo>
                      <a:lnTo>
                        <a:pt x="128" y="19"/>
                      </a:lnTo>
                      <a:lnTo>
                        <a:pt x="129" y="19"/>
                      </a:lnTo>
                      <a:lnTo>
                        <a:pt x="130" y="17"/>
                      </a:lnTo>
                      <a:lnTo>
                        <a:pt x="130" y="16"/>
                      </a:lnTo>
                      <a:lnTo>
                        <a:pt x="129" y="16"/>
                      </a:lnTo>
                      <a:lnTo>
                        <a:pt x="129" y="15"/>
                      </a:lnTo>
                      <a:lnTo>
                        <a:pt x="130" y="15"/>
                      </a:lnTo>
                      <a:lnTo>
                        <a:pt x="131" y="16"/>
                      </a:lnTo>
                      <a:lnTo>
                        <a:pt x="132" y="16"/>
                      </a:lnTo>
                      <a:lnTo>
                        <a:pt x="132" y="15"/>
                      </a:lnTo>
                      <a:lnTo>
                        <a:pt x="133" y="16"/>
                      </a:lnTo>
                      <a:lnTo>
                        <a:pt x="133" y="15"/>
                      </a:lnTo>
                      <a:lnTo>
                        <a:pt x="133" y="16"/>
                      </a:lnTo>
                      <a:lnTo>
                        <a:pt x="135" y="16"/>
                      </a:lnTo>
                      <a:lnTo>
                        <a:pt x="135" y="17"/>
                      </a:lnTo>
                      <a:lnTo>
                        <a:pt x="136" y="17"/>
                      </a:lnTo>
                      <a:lnTo>
                        <a:pt x="137" y="17"/>
                      </a:lnTo>
                      <a:lnTo>
                        <a:pt x="138" y="17"/>
                      </a:lnTo>
                      <a:lnTo>
                        <a:pt x="138" y="16"/>
                      </a:lnTo>
                      <a:lnTo>
                        <a:pt x="137" y="16"/>
                      </a:lnTo>
                      <a:lnTo>
                        <a:pt x="136" y="15"/>
                      </a:lnTo>
                      <a:lnTo>
                        <a:pt x="135" y="15"/>
                      </a:lnTo>
                      <a:lnTo>
                        <a:pt x="135" y="14"/>
                      </a:lnTo>
                      <a:lnTo>
                        <a:pt x="133" y="14"/>
                      </a:lnTo>
                      <a:lnTo>
                        <a:pt x="133" y="13"/>
                      </a:lnTo>
                      <a:lnTo>
                        <a:pt x="136" y="14"/>
                      </a:lnTo>
                      <a:lnTo>
                        <a:pt x="136" y="13"/>
                      </a:lnTo>
                      <a:lnTo>
                        <a:pt x="135" y="13"/>
                      </a:lnTo>
                      <a:lnTo>
                        <a:pt x="133" y="12"/>
                      </a:lnTo>
                      <a:lnTo>
                        <a:pt x="133" y="10"/>
                      </a:lnTo>
                      <a:lnTo>
                        <a:pt x="135" y="10"/>
                      </a:lnTo>
                      <a:lnTo>
                        <a:pt x="136" y="10"/>
                      </a:lnTo>
                      <a:lnTo>
                        <a:pt x="137" y="10"/>
                      </a:lnTo>
                      <a:lnTo>
                        <a:pt x="138" y="12"/>
                      </a:lnTo>
                      <a:lnTo>
                        <a:pt x="139" y="12"/>
                      </a:lnTo>
                      <a:lnTo>
                        <a:pt x="139" y="13"/>
                      </a:lnTo>
                      <a:lnTo>
                        <a:pt x="139" y="12"/>
                      </a:lnTo>
                      <a:lnTo>
                        <a:pt x="139" y="10"/>
                      </a:lnTo>
                      <a:lnTo>
                        <a:pt x="138" y="10"/>
                      </a:lnTo>
                      <a:lnTo>
                        <a:pt x="138" y="9"/>
                      </a:lnTo>
                      <a:lnTo>
                        <a:pt x="137" y="9"/>
                      </a:lnTo>
                      <a:lnTo>
                        <a:pt x="136" y="9"/>
                      </a:lnTo>
                      <a:lnTo>
                        <a:pt x="136" y="8"/>
                      </a:lnTo>
                      <a:lnTo>
                        <a:pt x="137" y="7"/>
                      </a:lnTo>
                      <a:lnTo>
                        <a:pt x="138" y="7"/>
                      </a:lnTo>
                      <a:lnTo>
                        <a:pt x="139" y="6"/>
                      </a:lnTo>
                      <a:lnTo>
                        <a:pt x="139" y="5"/>
                      </a:lnTo>
                      <a:lnTo>
                        <a:pt x="139" y="3"/>
                      </a:lnTo>
                      <a:lnTo>
                        <a:pt x="140" y="3"/>
                      </a:lnTo>
                      <a:lnTo>
                        <a:pt x="142" y="3"/>
                      </a:lnTo>
                      <a:lnTo>
                        <a:pt x="143" y="2"/>
                      </a:lnTo>
                      <a:lnTo>
                        <a:pt x="144" y="3"/>
                      </a:lnTo>
                      <a:lnTo>
                        <a:pt x="151" y="7"/>
                      </a:lnTo>
                      <a:lnTo>
                        <a:pt x="158" y="10"/>
                      </a:lnTo>
                      <a:lnTo>
                        <a:pt x="162" y="14"/>
                      </a:lnTo>
                      <a:lnTo>
                        <a:pt x="164" y="15"/>
                      </a:lnTo>
                      <a:lnTo>
                        <a:pt x="171" y="19"/>
                      </a:lnTo>
                      <a:lnTo>
                        <a:pt x="178" y="22"/>
                      </a:lnTo>
                      <a:lnTo>
                        <a:pt x="179" y="23"/>
                      </a:lnTo>
                      <a:lnTo>
                        <a:pt x="185" y="26"/>
                      </a:lnTo>
                      <a:lnTo>
                        <a:pt x="192" y="30"/>
                      </a:lnTo>
                      <a:lnTo>
                        <a:pt x="199" y="34"/>
                      </a:lnTo>
                      <a:lnTo>
                        <a:pt x="204" y="37"/>
                      </a:lnTo>
                      <a:lnTo>
                        <a:pt x="211" y="42"/>
                      </a:lnTo>
                      <a:lnTo>
                        <a:pt x="218" y="45"/>
                      </a:lnTo>
                      <a:lnTo>
                        <a:pt x="225" y="49"/>
                      </a:lnTo>
                      <a:lnTo>
                        <a:pt x="232" y="52"/>
                      </a:lnTo>
                      <a:lnTo>
                        <a:pt x="238" y="57"/>
                      </a:lnTo>
                      <a:lnTo>
                        <a:pt x="245" y="61"/>
                      </a:lnTo>
                      <a:lnTo>
                        <a:pt x="247" y="62"/>
                      </a:lnTo>
                      <a:lnTo>
                        <a:pt x="252" y="64"/>
                      </a:lnTo>
                      <a:lnTo>
                        <a:pt x="254" y="65"/>
                      </a:lnTo>
                      <a:lnTo>
                        <a:pt x="256" y="66"/>
                      </a:lnTo>
                      <a:lnTo>
                        <a:pt x="256" y="70"/>
                      </a:lnTo>
                      <a:lnTo>
                        <a:pt x="257" y="75"/>
                      </a:lnTo>
                      <a:lnTo>
                        <a:pt x="256" y="75"/>
                      </a:lnTo>
                      <a:lnTo>
                        <a:pt x="256" y="76"/>
                      </a:lnTo>
                      <a:lnTo>
                        <a:pt x="254" y="76"/>
                      </a:lnTo>
                      <a:lnTo>
                        <a:pt x="253" y="77"/>
                      </a:lnTo>
                      <a:lnTo>
                        <a:pt x="253" y="78"/>
                      </a:lnTo>
                      <a:lnTo>
                        <a:pt x="252" y="78"/>
                      </a:lnTo>
                      <a:lnTo>
                        <a:pt x="253" y="78"/>
                      </a:lnTo>
                      <a:lnTo>
                        <a:pt x="253" y="79"/>
                      </a:lnTo>
                      <a:lnTo>
                        <a:pt x="253" y="80"/>
                      </a:lnTo>
                      <a:lnTo>
                        <a:pt x="254" y="80"/>
                      </a:lnTo>
                      <a:lnTo>
                        <a:pt x="256" y="80"/>
                      </a:lnTo>
                      <a:lnTo>
                        <a:pt x="257" y="80"/>
                      </a:lnTo>
                      <a:lnTo>
                        <a:pt x="257" y="82"/>
                      </a:lnTo>
                      <a:lnTo>
                        <a:pt x="258" y="82"/>
                      </a:lnTo>
                      <a:lnTo>
                        <a:pt x="258" y="84"/>
                      </a:lnTo>
                      <a:lnTo>
                        <a:pt x="259" y="85"/>
                      </a:lnTo>
                      <a:lnTo>
                        <a:pt x="260" y="86"/>
                      </a:lnTo>
                      <a:lnTo>
                        <a:pt x="263" y="89"/>
                      </a:lnTo>
                      <a:lnTo>
                        <a:pt x="266" y="90"/>
                      </a:lnTo>
                      <a:lnTo>
                        <a:pt x="268" y="92"/>
                      </a:lnTo>
                      <a:lnTo>
                        <a:pt x="271" y="94"/>
                      </a:lnTo>
                      <a:lnTo>
                        <a:pt x="274" y="96"/>
                      </a:lnTo>
                      <a:lnTo>
                        <a:pt x="277" y="98"/>
                      </a:lnTo>
                      <a:lnTo>
                        <a:pt x="279" y="100"/>
                      </a:lnTo>
                      <a:lnTo>
                        <a:pt x="282" y="101"/>
                      </a:lnTo>
                      <a:lnTo>
                        <a:pt x="285" y="104"/>
                      </a:lnTo>
                      <a:lnTo>
                        <a:pt x="287" y="106"/>
                      </a:lnTo>
                      <a:lnTo>
                        <a:pt x="290" y="107"/>
                      </a:lnTo>
                      <a:lnTo>
                        <a:pt x="293" y="110"/>
                      </a:lnTo>
                      <a:lnTo>
                        <a:pt x="295" y="112"/>
                      </a:lnTo>
                      <a:lnTo>
                        <a:pt x="297" y="113"/>
                      </a:lnTo>
                      <a:lnTo>
                        <a:pt x="301" y="115"/>
                      </a:lnTo>
                      <a:lnTo>
                        <a:pt x="303" y="118"/>
                      </a:lnTo>
                      <a:lnTo>
                        <a:pt x="304" y="118"/>
                      </a:lnTo>
                      <a:lnTo>
                        <a:pt x="304" y="119"/>
                      </a:lnTo>
                      <a:lnTo>
                        <a:pt x="304" y="120"/>
                      </a:lnTo>
                      <a:lnTo>
                        <a:pt x="303" y="120"/>
                      </a:lnTo>
                      <a:lnTo>
                        <a:pt x="302" y="121"/>
                      </a:lnTo>
                      <a:lnTo>
                        <a:pt x="303" y="121"/>
                      </a:lnTo>
                      <a:lnTo>
                        <a:pt x="304" y="121"/>
                      </a:lnTo>
                      <a:lnTo>
                        <a:pt x="304" y="122"/>
                      </a:lnTo>
                      <a:lnTo>
                        <a:pt x="304" y="124"/>
                      </a:lnTo>
                      <a:lnTo>
                        <a:pt x="303" y="124"/>
                      </a:lnTo>
                      <a:lnTo>
                        <a:pt x="303" y="125"/>
                      </a:lnTo>
                      <a:lnTo>
                        <a:pt x="302" y="126"/>
                      </a:lnTo>
                      <a:lnTo>
                        <a:pt x="302" y="125"/>
                      </a:lnTo>
                      <a:lnTo>
                        <a:pt x="302" y="124"/>
                      </a:lnTo>
                      <a:lnTo>
                        <a:pt x="302" y="122"/>
                      </a:lnTo>
                      <a:lnTo>
                        <a:pt x="302" y="125"/>
                      </a:lnTo>
                      <a:lnTo>
                        <a:pt x="301" y="125"/>
                      </a:lnTo>
                      <a:lnTo>
                        <a:pt x="301" y="126"/>
                      </a:lnTo>
                      <a:lnTo>
                        <a:pt x="301" y="128"/>
                      </a:lnTo>
                      <a:lnTo>
                        <a:pt x="300" y="128"/>
                      </a:lnTo>
                      <a:lnTo>
                        <a:pt x="300" y="129"/>
                      </a:lnTo>
                      <a:lnTo>
                        <a:pt x="301" y="129"/>
                      </a:lnTo>
                      <a:lnTo>
                        <a:pt x="302" y="131"/>
                      </a:lnTo>
                      <a:lnTo>
                        <a:pt x="301" y="132"/>
                      </a:lnTo>
                      <a:lnTo>
                        <a:pt x="300" y="132"/>
                      </a:lnTo>
                      <a:lnTo>
                        <a:pt x="300" y="134"/>
                      </a:lnTo>
                      <a:lnTo>
                        <a:pt x="299" y="135"/>
                      </a:lnTo>
                      <a:lnTo>
                        <a:pt x="300" y="134"/>
                      </a:lnTo>
                      <a:lnTo>
                        <a:pt x="300" y="135"/>
                      </a:lnTo>
                      <a:lnTo>
                        <a:pt x="299" y="139"/>
                      </a:lnTo>
                      <a:lnTo>
                        <a:pt x="297" y="140"/>
                      </a:lnTo>
                      <a:lnTo>
                        <a:pt x="296" y="141"/>
                      </a:lnTo>
                      <a:lnTo>
                        <a:pt x="297" y="142"/>
                      </a:lnTo>
                      <a:lnTo>
                        <a:pt x="296" y="143"/>
                      </a:lnTo>
                      <a:lnTo>
                        <a:pt x="296" y="146"/>
                      </a:lnTo>
                      <a:lnTo>
                        <a:pt x="295" y="147"/>
                      </a:lnTo>
                      <a:lnTo>
                        <a:pt x="294" y="148"/>
                      </a:lnTo>
                      <a:lnTo>
                        <a:pt x="294" y="150"/>
                      </a:lnTo>
                      <a:lnTo>
                        <a:pt x="293" y="152"/>
                      </a:lnTo>
                      <a:lnTo>
                        <a:pt x="293" y="153"/>
                      </a:lnTo>
                      <a:lnTo>
                        <a:pt x="292" y="154"/>
                      </a:lnTo>
                      <a:lnTo>
                        <a:pt x="292" y="155"/>
                      </a:lnTo>
                      <a:lnTo>
                        <a:pt x="292" y="156"/>
                      </a:lnTo>
                      <a:lnTo>
                        <a:pt x="292" y="157"/>
                      </a:lnTo>
                      <a:lnTo>
                        <a:pt x="290" y="157"/>
                      </a:lnTo>
                      <a:lnTo>
                        <a:pt x="290" y="159"/>
                      </a:lnTo>
                      <a:lnTo>
                        <a:pt x="290" y="160"/>
                      </a:lnTo>
                      <a:lnTo>
                        <a:pt x="290" y="161"/>
                      </a:lnTo>
                      <a:lnTo>
                        <a:pt x="290" y="162"/>
                      </a:lnTo>
                      <a:lnTo>
                        <a:pt x="290" y="163"/>
                      </a:lnTo>
                      <a:lnTo>
                        <a:pt x="292" y="163"/>
                      </a:lnTo>
                      <a:lnTo>
                        <a:pt x="292" y="164"/>
                      </a:lnTo>
                      <a:lnTo>
                        <a:pt x="293" y="164"/>
                      </a:lnTo>
                      <a:lnTo>
                        <a:pt x="293" y="166"/>
                      </a:lnTo>
                      <a:lnTo>
                        <a:pt x="293" y="167"/>
                      </a:lnTo>
                      <a:lnTo>
                        <a:pt x="292" y="168"/>
                      </a:lnTo>
                      <a:lnTo>
                        <a:pt x="293" y="170"/>
                      </a:lnTo>
                      <a:lnTo>
                        <a:pt x="293" y="171"/>
                      </a:lnTo>
                      <a:lnTo>
                        <a:pt x="294" y="171"/>
                      </a:lnTo>
                      <a:lnTo>
                        <a:pt x="294" y="173"/>
                      </a:lnTo>
                      <a:lnTo>
                        <a:pt x="294" y="174"/>
                      </a:lnTo>
                      <a:lnTo>
                        <a:pt x="295" y="174"/>
                      </a:lnTo>
                      <a:lnTo>
                        <a:pt x="296" y="174"/>
                      </a:lnTo>
                      <a:lnTo>
                        <a:pt x="297" y="174"/>
                      </a:lnTo>
                      <a:lnTo>
                        <a:pt x="297" y="175"/>
                      </a:lnTo>
                      <a:lnTo>
                        <a:pt x="299" y="175"/>
                      </a:lnTo>
                      <a:lnTo>
                        <a:pt x="299" y="174"/>
                      </a:lnTo>
                      <a:lnTo>
                        <a:pt x="297" y="174"/>
                      </a:lnTo>
                      <a:lnTo>
                        <a:pt x="296" y="174"/>
                      </a:lnTo>
                      <a:lnTo>
                        <a:pt x="297" y="174"/>
                      </a:lnTo>
                      <a:lnTo>
                        <a:pt x="299" y="174"/>
                      </a:lnTo>
                      <a:lnTo>
                        <a:pt x="300" y="176"/>
                      </a:lnTo>
                      <a:lnTo>
                        <a:pt x="301" y="177"/>
                      </a:lnTo>
                      <a:lnTo>
                        <a:pt x="302" y="177"/>
                      </a:lnTo>
                      <a:lnTo>
                        <a:pt x="302" y="178"/>
                      </a:lnTo>
                      <a:lnTo>
                        <a:pt x="303" y="178"/>
                      </a:lnTo>
                      <a:lnTo>
                        <a:pt x="303" y="180"/>
                      </a:lnTo>
                      <a:lnTo>
                        <a:pt x="304" y="181"/>
                      </a:lnTo>
                      <a:lnTo>
                        <a:pt x="304" y="182"/>
                      </a:lnTo>
                      <a:lnTo>
                        <a:pt x="306" y="183"/>
                      </a:lnTo>
                      <a:lnTo>
                        <a:pt x="306" y="182"/>
                      </a:lnTo>
                      <a:lnTo>
                        <a:pt x="306" y="183"/>
                      </a:lnTo>
                      <a:lnTo>
                        <a:pt x="306" y="184"/>
                      </a:lnTo>
                      <a:lnTo>
                        <a:pt x="306" y="185"/>
                      </a:lnTo>
                      <a:lnTo>
                        <a:pt x="307" y="187"/>
                      </a:lnTo>
                      <a:lnTo>
                        <a:pt x="307" y="185"/>
                      </a:lnTo>
                      <a:lnTo>
                        <a:pt x="306" y="185"/>
                      </a:lnTo>
                      <a:lnTo>
                        <a:pt x="307" y="185"/>
                      </a:lnTo>
                      <a:lnTo>
                        <a:pt x="308" y="185"/>
                      </a:lnTo>
                      <a:lnTo>
                        <a:pt x="309" y="185"/>
                      </a:lnTo>
                      <a:lnTo>
                        <a:pt x="309" y="187"/>
                      </a:lnTo>
                      <a:lnTo>
                        <a:pt x="310" y="187"/>
                      </a:lnTo>
                      <a:lnTo>
                        <a:pt x="311" y="187"/>
                      </a:lnTo>
                      <a:lnTo>
                        <a:pt x="313" y="188"/>
                      </a:lnTo>
                      <a:lnTo>
                        <a:pt x="313" y="189"/>
                      </a:lnTo>
                      <a:lnTo>
                        <a:pt x="314" y="191"/>
                      </a:lnTo>
                      <a:lnTo>
                        <a:pt x="314" y="192"/>
                      </a:lnTo>
                      <a:lnTo>
                        <a:pt x="314" y="194"/>
                      </a:lnTo>
                      <a:lnTo>
                        <a:pt x="314" y="195"/>
                      </a:lnTo>
                      <a:lnTo>
                        <a:pt x="313" y="196"/>
                      </a:lnTo>
                      <a:lnTo>
                        <a:pt x="313" y="197"/>
                      </a:lnTo>
                      <a:lnTo>
                        <a:pt x="311" y="196"/>
                      </a:lnTo>
                      <a:lnTo>
                        <a:pt x="310" y="197"/>
                      </a:lnTo>
                      <a:lnTo>
                        <a:pt x="310" y="198"/>
                      </a:lnTo>
                      <a:lnTo>
                        <a:pt x="309" y="199"/>
                      </a:lnTo>
                      <a:lnTo>
                        <a:pt x="308" y="199"/>
                      </a:lnTo>
                      <a:lnTo>
                        <a:pt x="309" y="201"/>
                      </a:lnTo>
                      <a:lnTo>
                        <a:pt x="308" y="201"/>
                      </a:lnTo>
                      <a:lnTo>
                        <a:pt x="307" y="201"/>
                      </a:lnTo>
                      <a:lnTo>
                        <a:pt x="308" y="202"/>
                      </a:lnTo>
                      <a:lnTo>
                        <a:pt x="308" y="203"/>
                      </a:lnTo>
                      <a:lnTo>
                        <a:pt x="308" y="204"/>
                      </a:lnTo>
                      <a:lnTo>
                        <a:pt x="307" y="204"/>
                      </a:lnTo>
                      <a:lnTo>
                        <a:pt x="307" y="205"/>
                      </a:lnTo>
                      <a:lnTo>
                        <a:pt x="306" y="206"/>
                      </a:lnTo>
                      <a:lnTo>
                        <a:pt x="306" y="210"/>
                      </a:lnTo>
                      <a:lnTo>
                        <a:pt x="306" y="211"/>
                      </a:lnTo>
                      <a:lnTo>
                        <a:pt x="306" y="212"/>
                      </a:lnTo>
                      <a:lnTo>
                        <a:pt x="306" y="213"/>
                      </a:lnTo>
                      <a:lnTo>
                        <a:pt x="307" y="215"/>
                      </a:lnTo>
                      <a:lnTo>
                        <a:pt x="306" y="216"/>
                      </a:lnTo>
                      <a:lnTo>
                        <a:pt x="304" y="217"/>
                      </a:lnTo>
                      <a:lnTo>
                        <a:pt x="306" y="217"/>
                      </a:lnTo>
                      <a:lnTo>
                        <a:pt x="307" y="216"/>
                      </a:lnTo>
                      <a:lnTo>
                        <a:pt x="307" y="215"/>
                      </a:lnTo>
                      <a:lnTo>
                        <a:pt x="307" y="213"/>
                      </a:lnTo>
                      <a:lnTo>
                        <a:pt x="308" y="215"/>
                      </a:lnTo>
                      <a:lnTo>
                        <a:pt x="308" y="216"/>
                      </a:lnTo>
                      <a:lnTo>
                        <a:pt x="309" y="216"/>
                      </a:lnTo>
                      <a:lnTo>
                        <a:pt x="310" y="216"/>
                      </a:lnTo>
                      <a:lnTo>
                        <a:pt x="310" y="217"/>
                      </a:lnTo>
                      <a:lnTo>
                        <a:pt x="310" y="218"/>
                      </a:lnTo>
                      <a:lnTo>
                        <a:pt x="310" y="219"/>
                      </a:lnTo>
                      <a:lnTo>
                        <a:pt x="310" y="220"/>
                      </a:lnTo>
                      <a:lnTo>
                        <a:pt x="310" y="222"/>
                      </a:lnTo>
                      <a:lnTo>
                        <a:pt x="310" y="223"/>
                      </a:lnTo>
                      <a:lnTo>
                        <a:pt x="311" y="222"/>
                      </a:lnTo>
                      <a:lnTo>
                        <a:pt x="311" y="223"/>
                      </a:lnTo>
                      <a:lnTo>
                        <a:pt x="310" y="224"/>
                      </a:lnTo>
                      <a:lnTo>
                        <a:pt x="309" y="225"/>
                      </a:lnTo>
                      <a:lnTo>
                        <a:pt x="308" y="229"/>
                      </a:lnTo>
                      <a:lnTo>
                        <a:pt x="308" y="230"/>
                      </a:lnTo>
                      <a:lnTo>
                        <a:pt x="308" y="229"/>
                      </a:lnTo>
                      <a:lnTo>
                        <a:pt x="307" y="230"/>
                      </a:lnTo>
                      <a:lnTo>
                        <a:pt x="308" y="230"/>
                      </a:lnTo>
                      <a:lnTo>
                        <a:pt x="308" y="231"/>
                      </a:lnTo>
                      <a:lnTo>
                        <a:pt x="307" y="231"/>
                      </a:lnTo>
                      <a:lnTo>
                        <a:pt x="307" y="232"/>
                      </a:lnTo>
                      <a:lnTo>
                        <a:pt x="307" y="231"/>
                      </a:lnTo>
                      <a:lnTo>
                        <a:pt x="306" y="231"/>
                      </a:lnTo>
                      <a:lnTo>
                        <a:pt x="306" y="232"/>
                      </a:lnTo>
                      <a:lnTo>
                        <a:pt x="306" y="233"/>
                      </a:lnTo>
                      <a:lnTo>
                        <a:pt x="306" y="234"/>
                      </a:lnTo>
                      <a:lnTo>
                        <a:pt x="307" y="236"/>
                      </a:lnTo>
                      <a:lnTo>
                        <a:pt x="306" y="238"/>
                      </a:lnTo>
                      <a:lnTo>
                        <a:pt x="306" y="239"/>
                      </a:lnTo>
                      <a:lnTo>
                        <a:pt x="307" y="240"/>
                      </a:lnTo>
                      <a:lnTo>
                        <a:pt x="308" y="240"/>
                      </a:lnTo>
                      <a:lnTo>
                        <a:pt x="308" y="241"/>
                      </a:lnTo>
                      <a:lnTo>
                        <a:pt x="308" y="243"/>
                      </a:lnTo>
                      <a:lnTo>
                        <a:pt x="308" y="245"/>
                      </a:lnTo>
                      <a:lnTo>
                        <a:pt x="309" y="246"/>
                      </a:lnTo>
                      <a:lnTo>
                        <a:pt x="310" y="246"/>
                      </a:lnTo>
                      <a:lnTo>
                        <a:pt x="310" y="247"/>
                      </a:lnTo>
                      <a:lnTo>
                        <a:pt x="310" y="248"/>
                      </a:lnTo>
                      <a:lnTo>
                        <a:pt x="311" y="248"/>
                      </a:lnTo>
                      <a:lnTo>
                        <a:pt x="313" y="250"/>
                      </a:lnTo>
                      <a:lnTo>
                        <a:pt x="313" y="251"/>
                      </a:lnTo>
                      <a:lnTo>
                        <a:pt x="314" y="252"/>
                      </a:lnTo>
                      <a:lnTo>
                        <a:pt x="313" y="252"/>
                      </a:lnTo>
                      <a:lnTo>
                        <a:pt x="311" y="251"/>
                      </a:lnTo>
                      <a:lnTo>
                        <a:pt x="310" y="250"/>
                      </a:lnTo>
                      <a:lnTo>
                        <a:pt x="309" y="250"/>
                      </a:lnTo>
                      <a:lnTo>
                        <a:pt x="309" y="251"/>
                      </a:lnTo>
                      <a:lnTo>
                        <a:pt x="309" y="252"/>
                      </a:lnTo>
                      <a:lnTo>
                        <a:pt x="311" y="251"/>
                      </a:lnTo>
                      <a:lnTo>
                        <a:pt x="310" y="252"/>
                      </a:lnTo>
                      <a:lnTo>
                        <a:pt x="311" y="252"/>
                      </a:lnTo>
                      <a:lnTo>
                        <a:pt x="311" y="253"/>
                      </a:lnTo>
                      <a:lnTo>
                        <a:pt x="311" y="254"/>
                      </a:lnTo>
                      <a:lnTo>
                        <a:pt x="313" y="254"/>
                      </a:lnTo>
                      <a:lnTo>
                        <a:pt x="313" y="255"/>
                      </a:lnTo>
                      <a:lnTo>
                        <a:pt x="311" y="255"/>
                      </a:lnTo>
                      <a:lnTo>
                        <a:pt x="313" y="255"/>
                      </a:lnTo>
                      <a:lnTo>
                        <a:pt x="313" y="257"/>
                      </a:lnTo>
                      <a:lnTo>
                        <a:pt x="311" y="257"/>
                      </a:lnTo>
                      <a:lnTo>
                        <a:pt x="313" y="258"/>
                      </a:lnTo>
                      <a:lnTo>
                        <a:pt x="313" y="259"/>
                      </a:lnTo>
                      <a:lnTo>
                        <a:pt x="313" y="258"/>
                      </a:lnTo>
                      <a:lnTo>
                        <a:pt x="314" y="258"/>
                      </a:lnTo>
                      <a:lnTo>
                        <a:pt x="315" y="258"/>
                      </a:lnTo>
                      <a:lnTo>
                        <a:pt x="316" y="260"/>
                      </a:lnTo>
                      <a:lnTo>
                        <a:pt x="317" y="260"/>
                      </a:lnTo>
                      <a:lnTo>
                        <a:pt x="317" y="261"/>
                      </a:lnTo>
                      <a:lnTo>
                        <a:pt x="316" y="262"/>
                      </a:lnTo>
                      <a:lnTo>
                        <a:pt x="317" y="264"/>
                      </a:lnTo>
                      <a:lnTo>
                        <a:pt x="317" y="265"/>
                      </a:lnTo>
                      <a:lnTo>
                        <a:pt x="316" y="265"/>
                      </a:lnTo>
                      <a:lnTo>
                        <a:pt x="317" y="266"/>
                      </a:lnTo>
                      <a:lnTo>
                        <a:pt x="316" y="266"/>
                      </a:lnTo>
                      <a:lnTo>
                        <a:pt x="316" y="267"/>
                      </a:lnTo>
                      <a:lnTo>
                        <a:pt x="315" y="267"/>
                      </a:lnTo>
                      <a:lnTo>
                        <a:pt x="314" y="267"/>
                      </a:lnTo>
                      <a:lnTo>
                        <a:pt x="314" y="268"/>
                      </a:lnTo>
                      <a:lnTo>
                        <a:pt x="315" y="268"/>
                      </a:lnTo>
                      <a:lnTo>
                        <a:pt x="316" y="268"/>
                      </a:lnTo>
                      <a:lnTo>
                        <a:pt x="317" y="268"/>
                      </a:lnTo>
                      <a:lnTo>
                        <a:pt x="317" y="269"/>
                      </a:lnTo>
                      <a:lnTo>
                        <a:pt x="317" y="271"/>
                      </a:lnTo>
                      <a:lnTo>
                        <a:pt x="318" y="271"/>
                      </a:lnTo>
                      <a:lnTo>
                        <a:pt x="318" y="273"/>
                      </a:lnTo>
                      <a:lnTo>
                        <a:pt x="320" y="274"/>
                      </a:lnTo>
                      <a:lnTo>
                        <a:pt x="318" y="274"/>
                      </a:lnTo>
                      <a:lnTo>
                        <a:pt x="318" y="275"/>
                      </a:lnTo>
                      <a:lnTo>
                        <a:pt x="320" y="275"/>
                      </a:lnTo>
                      <a:lnTo>
                        <a:pt x="320" y="276"/>
                      </a:lnTo>
                      <a:lnTo>
                        <a:pt x="320" y="278"/>
                      </a:lnTo>
                      <a:lnTo>
                        <a:pt x="318" y="278"/>
                      </a:lnTo>
                      <a:lnTo>
                        <a:pt x="318" y="279"/>
                      </a:lnTo>
                      <a:lnTo>
                        <a:pt x="320" y="279"/>
                      </a:lnTo>
                      <a:lnTo>
                        <a:pt x="321" y="280"/>
                      </a:lnTo>
                      <a:lnTo>
                        <a:pt x="322" y="281"/>
                      </a:lnTo>
                      <a:lnTo>
                        <a:pt x="322" y="282"/>
                      </a:lnTo>
                      <a:lnTo>
                        <a:pt x="321" y="282"/>
                      </a:lnTo>
                      <a:lnTo>
                        <a:pt x="320" y="282"/>
                      </a:lnTo>
                      <a:lnTo>
                        <a:pt x="321" y="283"/>
                      </a:lnTo>
                      <a:lnTo>
                        <a:pt x="321" y="285"/>
                      </a:lnTo>
                      <a:lnTo>
                        <a:pt x="320" y="285"/>
                      </a:lnTo>
                      <a:lnTo>
                        <a:pt x="318" y="285"/>
                      </a:lnTo>
                      <a:lnTo>
                        <a:pt x="320" y="286"/>
                      </a:lnTo>
                      <a:lnTo>
                        <a:pt x="320" y="287"/>
                      </a:lnTo>
                      <a:lnTo>
                        <a:pt x="318" y="287"/>
                      </a:lnTo>
                      <a:lnTo>
                        <a:pt x="318" y="288"/>
                      </a:lnTo>
                      <a:lnTo>
                        <a:pt x="321" y="286"/>
                      </a:lnTo>
                      <a:lnTo>
                        <a:pt x="322" y="286"/>
                      </a:lnTo>
                      <a:lnTo>
                        <a:pt x="323" y="287"/>
                      </a:lnTo>
                      <a:lnTo>
                        <a:pt x="324" y="287"/>
                      </a:lnTo>
                      <a:lnTo>
                        <a:pt x="325" y="287"/>
                      </a:lnTo>
                      <a:lnTo>
                        <a:pt x="327" y="290"/>
                      </a:lnTo>
                      <a:lnTo>
                        <a:pt x="327" y="293"/>
                      </a:lnTo>
                      <a:lnTo>
                        <a:pt x="328" y="294"/>
                      </a:lnTo>
                      <a:lnTo>
                        <a:pt x="328" y="293"/>
                      </a:lnTo>
                      <a:lnTo>
                        <a:pt x="328" y="292"/>
                      </a:lnTo>
                      <a:lnTo>
                        <a:pt x="328" y="290"/>
                      </a:lnTo>
                      <a:lnTo>
                        <a:pt x="329" y="290"/>
                      </a:lnTo>
                      <a:lnTo>
                        <a:pt x="330" y="292"/>
                      </a:lnTo>
                      <a:lnTo>
                        <a:pt x="331" y="292"/>
                      </a:lnTo>
                      <a:lnTo>
                        <a:pt x="332" y="292"/>
                      </a:lnTo>
                      <a:lnTo>
                        <a:pt x="332" y="293"/>
                      </a:lnTo>
                      <a:lnTo>
                        <a:pt x="331" y="293"/>
                      </a:lnTo>
                      <a:lnTo>
                        <a:pt x="331" y="294"/>
                      </a:lnTo>
                      <a:lnTo>
                        <a:pt x="332" y="294"/>
                      </a:lnTo>
                      <a:lnTo>
                        <a:pt x="331" y="294"/>
                      </a:lnTo>
                      <a:lnTo>
                        <a:pt x="331" y="295"/>
                      </a:lnTo>
                      <a:lnTo>
                        <a:pt x="332" y="295"/>
                      </a:lnTo>
                      <a:lnTo>
                        <a:pt x="334" y="295"/>
                      </a:lnTo>
                      <a:lnTo>
                        <a:pt x="335" y="295"/>
                      </a:lnTo>
                      <a:lnTo>
                        <a:pt x="335" y="296"/>
                      </a:lnTo>
                      <a:lnTo>
                        <a:pt x="335" y="295"/>
                      </a:lnTo>
                      <a:lnTo>
                        <a:pt x="336" y="295"/>
                      </a:lnTo>
                      <a:lnTo>
                        <a:pt x="334" y="294"/>
                      </a:lnTo>
                      <a:lnTo>
                        <a:pt x="335" y="293"/>
                      </a:lnTo>
                      <a:lnTo>
                        <a:pt x="336" y="293"/>
                      </a:lnTo>
                      <a:lnTo>
                        <a:pt x="336" y="294"/>
                      </a:lnTo>
                      <a:lnTo>
                        <a:pt x="337" y="295"/>
                      </a:lnTo>
                      <a:lnTo>
                        <a:pt x="338" y="297"/>
                      </a:lnTo>
                      <a:lnTo>
                        <a:pt x="339" y="299"/>
                      </a:lnTo>
                      <a:lnTo>
                        <a:pt x="341" y="297"/>
                      </a:lnTo>
                      <a:lnTo>
                        <a:pt x="341" y="296"/>
                      </a:lnTo>
                      <a:lnTo>
                        <a:pt x="342" y="296"/>
                      </a:lnTo>
                      <a:lnTo>
                        <a:pt x="342" y="297"/>
                      </a:lnTo>
                      <a:lnTo>
                        <a:pt x="341" y="299"/>
                      </a:lnTo>
                      <a:lnTo>
                        <a:pt x="342" y="299"/>
                      </a:lnTo>
                      <a:lnTo>
                        <a:pt x="341" y="300"/>
                      </a:lnTo>
                      <a:lnTo>
                        <a:pt x="341" y="301"/>
                      </a:lnTo>
                      <a:lnTo>
                        <a:pt x="342" y="301"/>
                      </a:lnTo>
                      <a:lnTo>
                        <a:pt x="342" y="302"/>
                      </a:lnTo>
                      <a:lnTo>
                        <a:pt x="341" y="302"/>
                      </a:lnTo>
                      <a:lnTo>
                        <a:pt x="339" y="303"/>
                      </a:lnTo>
                      <a:lnTo>
                        <a:pt x="338" y="304"/>
                      </a:lnTo>
                      <a:lnTo>
                        <a:pt x="337" y="306"/>
                      </a:lnTo>
                      <a:lnTo>
                        <a:pt x="336" y="306"/>
                      </a:lnTo>
                      <a:lnTo>
                        <a:pt x="334" y="308"/>
                      </a:lnTo>
                      <a:lnTo>
                        <a:pt x="332" y="309"/>
                      </a:lnTo>
                      <a:lnTo>
                        <a:pt x="331" y="309"/>
                      </a:lnTo>
                      <a:lnTo>
                        <a:pt x="328" y="313"/>
                      </a:lnTo>
                      <a:lnTo>
                        <a:pt x="324" y="314"/>
                      </a:lnTo>
                      <a:lnTo>
                        <a:pt x="321" y="316"/>
                      </a:lnTo>
                      <a:lnTo>
                        <a:pt x="320" y="316"/>
                      </a:lnTo>
                      <a:lnTo>
                        <a:pt x="315" y="317"/>
                      </a:lnTo>
                      <a:lnTo>
                        <a:pt x="313" y="317"/>
                      </a:lnTo>
                      <a:lnTo>
                        <a:pt x="311" y="318"/>
                      </a:lnTo>
                      <a:lnTo>
                        <a:pt x="304" y="323"/>
                      </a:lnTo>
                      <a:lnTo>
                        <a:pt x="303" y="323"/>
                      </a:lnTo>
                      <a:lnTo>
                        <a:pt x="302" y="323"/>
                      </a:lnTo>
                      <a:lnTo>
                        <a:pt x="301" y="323"/>
                      </a:lnTo>
                      <a:lnTo>
                        <a:pt x="300" y="323"/>
                      </a:lnTo>
                      <a:lnTo>
                        <a:pt x="299" y="323"/>
                      </a:lnTo>
                      <a:lnTo>
                        <a:pt x="297" y="323"/>
                      </a:lnTo>
                      <a:lnTo>
                        <a:pt x="294" y="323"/>
                      </a:lnTo>
                      <a:lnTo>
                        <a:pt x="293" y="323"/>
                      </a:lnTo>
                      <a:lnTo>
                        <a:pt x="292" y="324"/>
                      </a:lnTo>
                      <a:lnTo>
                        <a:pt x="290" y="324"/>
                      </a:lnTo>
                      <a:lnTo>
                        <a:pt x="290" y="325"/>
                      </a:lnTo>
                      <a:lnTo>
                        <a:pt x="289" y="326"/>
                      </a:lnTo>
                      <a:lnTo>
                        <a:pt x="288" y="326"/>
                      </a:lnTo>
                      <a:lnTo>
                        <a:pt x="287" y="326"/>
                      </a:lnTo>
                      <a:lnTo>
                        <a:pt x="286" y="326"/>
                      </a:lnTo>
                      <a:lnTo>
                        <a:pt x="285" y="326"/>
                      </a:lnTo>
                      <a:lnTo>
                        <a:pt x="285" y="328"/>
                      </a:lnTo>
                      <a:lnTo>
                        <a:pt x="284" y="328"/>
                      </a:lnTo>
                      <a:lnTo>
                        <a:pt x="281" y="330"/>
                      </a:lnTo>
                      <a:lnTo>
                        <a:pt x="280" y="331"/>
                      </a:lnTo>
                      <a:lnTo>
                        <a:pt x="279" y="330"/>
                      </a:lnTo>
                      <a:lnTo>
                        <a:pt x="277" y="330"/>
                      </a:lnTo>
                      <a:lnTo>
                        <a:pt x="275" y="329"/>
                      </a:lnTo>
                      <a:lnTo>
                        <a:pt x="274" y="328"/>
                      </a:lnTo>
                      <a:lnTo>
                        <a:pt x="273" y="326"/>
                      </a:lnTo>
                      <a:lnTo>
                        <a:pt x="271" y="326"/>
                      </a:lnTo>
                      <a:lnTo>
                        <a:pt x="270" y="326"/>
                      </a:lnTo>
                      <a:lnTo>
                        <a:pt x="268" y="326"/>
                      </a:lnTo>
                      <a:lnTo>
                        <a:pt x="268" y="325"/>
                      </a:lnTo>
                      <a:lnTo>
                        <a:pt x="267" y="325"/>
                      </a:lnTo>
                      <a:lnTo>
                        <a:pt x="267" y="326"/>
                      </a:lnTo>
                      <a:lnTo>
                        <a:pt x="265" y="326"/>
                      </a:lnTo>
                      <a:lnTo>
                        <a:pt x="263" y="326"/>
                      </a:lnTo>
                      <a:lnTo>
                        <a:pt x="260" y="328"/>
                      </a:lnTo>
                      <a:lnTo>
                        <a:pt x="260" y="329"/>
                      </a:lnTo>
                      <a:lnTo>
                        <a:pt x="260" y="330"/>
                      </a:lnTo>
                      <a:lnTo>
                        <a:pt x="259" y="330"/>
                      </a:lnTo>
                      <a:lnTo>
                        <a:pt x="259" y="331"/>
                      </a:lnTo>
                      <a:lnTo>
                        <a:pt x="259" y="332"/>
                      </a:lnTo>
                      <a:lnTo>
                        <a:pt x="259" y="333"/>
                      </a:lnTo>
                      <a:lnTo>
                        <a:pt x="259" y="335"/>
                      </a:lnTo>
                      <a:lnTo>
                        <a:pt x="258" y="335"/>
                      </a:lnTo>
                      <a:lnTo>
                        <a:pt x="258" y="336"/>
                      </a:lnTo>
                      <a:lnTo>
                        <a:pt x="256" y="337"/>
                      </a:lnTo>
                      <a:lnTo>
                        <a:pt x="254" y="338"/>
                      </a:lnTo>
                      <a:lnTo>
                        <a:pt x="253" y="338"/>
                      </a:lnTo>
                      <a:lnTo>
                        <a:pt x="252" y="338"/>
                      </a:lnTo>
                      <a:lnTo>
                        <a:pt x="251" y="338"/>
                      </a:lnTo>
                      <a:lnTo>
                        <a:pt x="250" y="339"/>
                      </a:lnTo>
                      <a:lnTo>
                        <a:pt x="249" y="339"/>
                      </a:lnTo>
                      <a:lnTo>
                        <a:pt x="249" y="340"/>
                      </a:lnTo>
                      <a:lnTo>
                        <a:pt x="247" y="340"/>
                      </a:lnTo>
                      <a:lnTo>
                        <a:pt x="246" y="340"/>
                      </a:lnTo>
                      <a:lnTo>
                        <a:pt x="245" y="340"/>
                      </a:lnTo>
                      <a:lnTo>
                        <a:pt x="244" y="339"/>
                      </a:lnTo>
                      <a:lnTo>
                        <a:pt x="243" y="339"/>
                      </a:lnTo>
                      <a:lnTo>
                        <a:pt x="242" y="340"/>
                      </a:lnTo>
                      <a:lnTo>
                        <a:pt x="240" y="339"/>
                      </a:lnTo>
                      <a:lnTo>
                        <a:pt x="237" y="339"/>
                      </a:lnTo>
                      <a:lnTo>
                        <a:pt x="236" y="338"/>
                      </a:lnTo>
                      <a:lnTo>
                        <a:pt x="235" y="338"/>
                      </a:lnTo>
                      <a:lnTo>
                        <a:pt x="235" y="337"/>
                      </a:lnTo>
                      <a:lnTo>
                        <a:pt x="233" y="336"/>
                      </a:lnTo>
                      <a:lnTo>
                        <a:pt x="232" y="336"/>
                      </a:lnTo>
                      <a:lnTo>
                        <a:pt x="230" y="337"/>
                      </a:lnTo>
                      <a:lnTo>
                        <a:pt x="229" y="336"/>
                      </a:lnTo>
                      <a:lnTo>
                        <a:pt x="228" y="336"/>
                      </a:lnTo>
                      <a:lnTo>
                        <a:pt x="225" y="337"/>
                      </a:lnTo>
                      <a:lnTo>
                        <a:pt x="225" y="339"/>
                      </a:lnTo>
                      <a:lnTo>
                        <a:pt x="224" y="339"/>
                      </a:lnTo>
                      <a:lnTo>
                        <a:pt x="223" y="339"/>
                      </a:lnTo>
                      <a:lnTo>
                        <a:pt x="223" y="340"/>
                      </a:lnTo>
                      <a:lnTo>
                        <a:pt x="222" y="340"/>
                      </a:lnTo>
                      <a:lnTo>
                        <a:pt x="221" y="340"/>
                      </a:lnTo>
                      <a:lnTo>
                        <a:pt x="220" y="340"/>
                      </a:lnTo>
                      <a:lnTo>
                        <a:pt x="218" y="340"/>
                      </a:lnTo>
                      <a:lnTo>
                        <a:pt x="217" y="340"/>
                      </a:lnTo>
                      <a:lnTo>
                        <a:pt x="217" y="339"/>
                      </a:lnTo>
                      <a:lnTo>
                        <a:pt x="214" y="339"/>
                      </a:lnTo>
                      <a:lnTo>
                        <a:pt x="213" y="339"/>
                      </a:lnTo>
                      <a:lnTo>
                        <a:pt x="211" y="339"/>
                      </a:lnTo>
                      <a:lnTo>
                        <a:pt x="210" y="340"/>
                      </a:lnTo>
                      <a:lnTo>
                        <a:pt x="209" y="339"/>
                      </a:lnTo>
                      <a:lnTo>
                        <a:pt x="208" y="339"/>
                      </a:lnTo>
                      <a:lnTo>
                        <a:pt x="207" y="339"/>
                      </a:lnTo>
                      <a:lnTo>
                        <a:pt x="207" y="338"/>
                      </a:lnTo>
                      <a:lnTo>
                        <a:pt x="207" y="337"/>
                      </a:lnTo>
                      <a:lnTo>
                        <a:pt x="207" y="336"/>
                      </a:lnTo>
                      <a:lnTo>
                        <a:pt x="206" y="336"/>
                      </a:lnTo>
                      <a:lnTo>
                        <a:pt x="206" y="335"/>
                      </a:lnTo>
                      <a:lnTo>
                        <a:pt x="204" y="335"/>
                      </a:lnTo>
                      <a:lnTo>
                        <a:pt x="203" y="333"/>
                      </a:lnTo>
                      <a:lnTo>
                        <a:pt x="202" y="333"/>
                      </a:lnTo>
                      <a:lnTo>
                        <a:pt x="201" y="333"/>
                      </a:lnTo>
                      <a:lnTo>
                        <a:pt x="200" y="332"/>
                      </a:lnTo>
                      <a:lnTo>
                        <a:pt x="201" y="332"/>
                      </a:lnTo>
                      <a:lnTo>
                        <a:pt x="200" y="331"/>
                      </a:lnTo>
                      <a:lnTo>
                        <a:pt x="199" y="331"/>
                      </a:lnTo>
                      <a:lnTo>
                        <a:pt x="197" y="331"/>
                      </a:lnTo>
                      <a:lnTo>
                        <a:pt x="196" y="331"/>
                      </a:lnTo>
                      <a:lnTo>
                        <a:pt x="195" y="331"/>
                      </a:lnTo>
                      <a:lnTo>
                        <a:pt x="195" y="332"/>
                      </a:lnTo>
                      <a:lnTo>
                        <a:pt x="194" y="332"/>
                      </a:lnTo>
                      <a:lnTo>
                        <a:pt x="193" y="332"/>
                      </a:lnTo>
                      <a:lnTo>
                        <a:pt x="192" y="333"/>
                      </a:lnTo>
                      <a:lnTo>
                        <a:pt x="192" y="335"/>
                      </a:lnTo>
                      <a:lnTo>
                        <a:pt x="190" y="336"/>
                      </a:lnTo>
                      <a:lnTo>
                        <a:pt x="189" y="336"/>
                      </a:lnTo>
                      <a:lnTo>
                        <a:pt x="188" y="337"/>
                      </a:lnTo>
                      <a:lnTo>
                        <a:pt x="187" y="336"/>
                      </a:lnTo>
                      <a:lnTo>
                        <a:pt x="187" y="337"/>
                      </a:lnTo>
                      <a:lnTo>
                        <a:pt x="186" y="337"/>
                      </a:lnTo>
                      <a:lnTo>
                        <a:pt x="186" y="336"/>
                      </a:lnTo>
                      <a:lnTo>
                        <a:pt x="185" y="336"/>
                      </a:lnTo>
                      <a:lnTo>
                        <a:pt x="183" y="336"/>
                      </a:lnTo>
                      <a:lnTo>
                        <a:pt x="182" y="336"/>
                      </a:lnTo>
                      <a:lnTo>
                        <a:pt x="168" y="336"/>
                      </a:lnTo>
                      <a:lnTo>
                        <a:pt x="168" y="333"/>
                      </a:lnTo>
                      <a:lnTo>
                        <a:pt x="168" y="332"/>
                      </a:lnTo>
                      <a:lnTo>
                        <a:pt x="167" y="331"/>
                      </a:lnTo>
                      <a:lnTo>
                        <a:pt x="167" y="330"/>
                      </a:lnTo>
                      <a:lnTo>
                        <a:pt x="166" y="329"/>
                      </a:lnTo>
                      <a:lnTo>
                        <a:pt x="165" y="329"/>
                      </a:lnTo>
                      <a:lnTo>
                        <a:pt x="164" y="328"/>
                      </a:lnTo>
                      <a:lnTo>
                        <a:pt x="162" y="328"/>
                      </a:lnTo>
                      <a:lnTo>
                        <a:pt x="162" y="329"/>
                      </a:lnTo>
                      <a:lnTo>
                        <a:pt x="162" y="328"/>
                      </a:lnTo>
                      <a:lnTo>
                        <a:pt x="161" y="326"/>
                      </a:lnTo>
                      <a:lnTo>
                        <a:pt x="162" y="326"/>
                      </a:lnTo>
                      <a:lnTo>
                        <a:pt x="161" y="325"/>
                      </a:lnTo>
                      <a:lnTo>
                        <a:pt x="161" y="324"/>
                      </a:lnTo>
                      <a:lnTo>
                        <a:pt x="161" y="323"/>
                      </a:lnTo>
                      <a:lnTo>
                        <a:pt x="160" y="323"/>
                      </a:lnTo>
                      <a:lnTo>
                        <a:pt x="159" y="322"/>
                      </a:lnTo>
                      <a:lnTo>
                        <a:pt x="158" y="321"/>
                      </a:lnTo>
                      <a:lnTo>
                        <a:pt x="158" y="319"/>
                      </a:lnTo>
                      <a:lnTo>
                        <a:pt x="158" y="318"/>
                      </a:lnTo>
                      <a:lnTo>
                        <a:pt x="157" y="317"/>
                      </a:lnTo>
                      <a:lnTo>
                        <a:pt x="158" y="317"/>
                      </a:lnTo>
                      <a:lnTo>
                        <a:pt x="158" y="316"/>
                      </a:lnTo>
                      <a:lnTo>
                        <a:pt x="159" y="315"/>
                      </a:lnTo>
                      <a:lnTo>
                        <a:pt x="159" y="314"/>
                      </a:lnTo>
                      <a:lnTo>
                        <a:pt x="159" y="313"/>
                      </a:lnTo>
                      <a:lnTo>
                        <a:pt x="159" y="310"/>
                      </a:lnTo>
                      <a:lnTo>
                        <a:pt x="159" y="309"/>
                      </a:lnTo>
                      <a:lnTo>
                        <a:pt x="160" y="309"/>
                      </a:lnTo>
                      <a:lnTo>
                        <a:pt x="159" y="309"/>
                      </a:lnTo>
                      <a:lnTo>
                        <a:pt x="159" y="308"/>
                      </a:lnTo>
                      <a:lnTo>
                        <a:pt x="159" y="307"/>
                      </a:lnTo>
                      <a:lnTo>
                        <a:pt x="159" y="306"/>
                      </a:lnTo>
                      <a:lnTo>
                        <a:pt x="158" y="306"/>
                      </a:lnTo>
                      <a:lnTo>
                        <a:pt x="158" y="304"/>
                      </a:lnTo>
                      <a:lnTo>
                        <a:pt x="158" y="303"/>
                      </a:lnTo>
                      <a:lnTo>
                        <a:pt x="157" y="303"/>
                      </a:lnTo>
                      <a:lnTo>
                        <a:pt x="157" y="302"/>
                      </a:lnTo>
                      <a:lnTo>
                        <a:pt x="157" y="301"/>
                      </a:lnTo>
                      <a:lnTo>
                        <a:pt x="158" y="301"/>
                      </a:lnTo>
                      <a:lnTo>
                        <a:pt x="157" y="300"/>
                      </a:lnTo>
                      <a:lnTo>
                        <a:pt x="157" y="299"/>
                      </a:lnTo>
                      <a:lnTo>
                        <a:pt x="157" y="295"/>
                      </a:lnTo>
                      <a:lnTo>
                        <a:pt x="157" y="294"/>
                      </a:lnTo>
                      <a:lnTo>
                        <a:pt x="157" y="292"/>
                      </a:lnTo>
                      <a:lnTo>
                        <a:pt x="156" y="289"/>
                      </a:lnTo>
                      <a:lnTo>
                        <a:pt x="156" y="288"/>
                      </a:lnTo>
                      <a:lnTo>
                        <a:pt x="156" y="287"/>
                      </a:lnTo>
                      <a:lnTo>
                        <a:pt x="156" y="286"/>
                      </a:lnTo>
                      <a:lnTo>
                        <a:pt x="154" y="285"/>
                      </a:lnTo>
                      <a:lnTo>
                        <a:pt x="154" y="283"/>
                      </a:lnTo>
                      <a:lnTo>
                        <a:pt x="151" y="280"/>
                      </a:lnTo>
                      <a:lnTo>
                        <a:pt x="150" y="279"/>
                      </a:lnTo>
                      <a:lnTo>
                        <a:pt x="150" y="278"/>
                      </a:lnTo>
                      <a:lnTo>
                        <a:pt x="149" y="278"/>
                      </a:lnTo>
                      <a:lnTo>
                        <a:pt x="149" y="276"/>
                      </a:lnTo>
                      <a:lnTo>
                        <a:pt x="147" y="276"/>
                      </a:lnTo>
                      <a:lnTo>
                        <a:pt x="145" y="273"/>
                      </a:lnTo>
                      <a:lnTo>
                        <a:pt x="144" y="273"/>
                      </a:lnTo>
                      <a:lnTo>
                        <a:pt x="143" y="272"/>
                      </a:lnTo>
                      <a:lnTo>
                        <a:pt x="142" y="271"/>
                      </a:lnTo>
                      <a:lnTo>
                        <a:pt x="142" y="269"/>
                      </a:lnTo>
                      <a:lnTo>
                        <a:pt x="140" y="269"/>
                      </a:lnTo>
                      <a:lnTo>
                        <a:pt x="139" y="268"/>
                      </a:lnTo>
                      <a:lnTo>
                        <a:pt x="138" y="269"/>
                      </a:lnTo>
                      <a:lnTo>
                        <a:pt x="138" y="271"/>
                      </a:lnTo>
                      <a:lnTo>
                        <a:pt x="137" y="271"/>
                      </a:lnTo>
                      <a:lnTo>
                        <a:pt x="138" y="273"/>
                      </a:lnTo>
                      <a:lnTo>
                        <a:pt x="137" y="274"/>
                      </a:lnTo>
                      <a:lnTo>
                        <a:pt x="137" y="275"/>
                      </a:lnTo>
                      <a:lnTo>
                        <a:pt x="136" y="276"/>
                      </a:lnTo>
                      <a:lnTo>
                        <a:pt x="136" y="275"/>
                      </a:lnTo>
                      <a:lnTo>
                        <a:pt x="135" y="275"/>
                      </a:lnTo>
                      <a:lnTo>
                        <a:pt x="133" y="274"/>
                      </a:lnTo>
                      <a:lnTo>
                        <a:pt x="132" y="273"/>
                      </a:lnTo>
                      <a:lnTo>
                        <a:pt x="131" y="273"/>
                      </a:lnTo>
                      <a:lnTo>
                        <a:pt x="130" y="272"/>
                      </a:lnTo>
                      <a:lnTo>
                        <a:pt x="129" y="273"/>
                      </a:lnTo>
                      <a:lnTo>
                        <a:pt x="128" y="273"/>
                      </a:lnTo>
                      <a:lnTo>
                        <a:pt x="126" y="273"/>
                      </a:lnTo>
                      <a:lnTo>
                        <a:pt x="125" y="272"/>
                      </a:lnTo>
                      <a:lnTo>
                        <a:pt x="124" y="273"/>
                      </a:lnTo>
                      <a:lnTo>
                        <a:pt x="123" y="273"/>
                      </a:lnTo>
                      <a:lnTo>
                        <a:pt x="121" y="273"/>
                      </a:lnTo>
                      <a:lnTo>
                        <a:pt x="119" y="273"/>
                      </a:lnTo>
                      <a:lnTo>
                        <a:pt x="119" y="272"/>
                      </a:lnTo>
                      <a:lnTo>
                        <a:pt x="119" y="271"/>
                      </a:lnTo>
                      <a:lnTo>
                        <a:pt x="118" y="271"/>
                      </a:lnTo>
                      <a:lnTo>
                        <a:pt x="117" y="269"/>
                      </a:lnTo>
                      <a:lnTo>
                        <a:pt x="116" y="268"/>
                      </a:lnTo>
                      <a:lnTo>
                        <a:pt x="116" y="269"/>
                      </a:lnTo>
                      <a:lnTo>
                        <a:pt x="115" y="269"/>
                      </a:lnTo>
                      <a:lnTo>
                        <a:pt x="114" y="269"/>
                      </a:lnTo>
                      <a:lnTo>
                        <a:pt x="112" y="269"/>
                      </a:lnTo>
                      <a:lnTo>
                        <a:pt x="111" y="269"/>
                      </a:lnTo>
                      <a:lnTo>
                        <a:pt x="110" y="269"/>
                      </a:lnTo>
                      <a:lnTo>
                        <a:pt x="109" y="267"/>
                      </a:lnTo>
                      <a:lnTo>
                        <a:pt x="107" y="266"/>
                      </a:lnTo>
                      <a:lnTo>
                        <a:pt x="105" y="266"/>
                      </a:lnTo>
                      <a:lnTo>
                        <a:pt x="104" y="266"/>
                      </a:lnTo>
                      <a:lnTo>
                        <a:pt x="102" y="265"/>
                      </a:lnTo>
                      <a:lnTo>
                        <a:pt x="101" y="264"/>
                      </a:lnTo>
                      <a:lnTo>
                        <a:pt x="100" y="264"/>
                      </a:lnTo>
                      <a:lnTo>
                        <a:pt x="98" y="264"/>
                      </a:lnTo>
                      <a:lnTo>
                        <a:pt x="98" y="262"/>
                      </a:lnTo>
                      <a:lnTo>
                        <a:pt x="96" y="262"/>
                      </a:lnTo>
                      <a:lnTo>
                        <a:pt x="93" y="261"/>
                      </a:lnTo>
                      <a:lnTo>
                        <a:pt x="92" y="261"/>
                      </a:lnTo>
                      <a:lnTo>
                        <a:pt x="92" y="260"/>
                      </a:lnTo>
                      <a:lnTo>
                        <a:pt x="90" y="259"/>
                      </a:lnTo>
                      <a:lnTo>
                        <a:pt x="89" y="258"/>
                      </a:lnTo>
                      <a:lnTo>
                        <a:pt x="88" y="258"/>
                      </a:lnTo>
                      <a:lnTo>
                        <a:pt x="83" y="258"/>
                      </a:lnTo>
                      <a:lnTo>
                        <a:pt x="82" y="258"/>
                      </a:lnTo>
                      <a:lnTo>
                        <a:pt x="82" y="257"/>
                      </a:lnTo>
                      <a:lnTo>
                        <a:pt x="81" y="255"/>
                      </a:lnTo>
                      <a:lnTo>
                        <a:pt x="80" y="255"/>
                      </a:lnTo>
                      <a:lnTo>
                        <a:pt x="79" y="255"/>
                      </a:lnTo>
                      <a:lnTo>
                        <a:pt x="78" y="254"/>
                      </a:lnTo>
                      <a:lnTo>
                        <a:pt x="76" y="254"/>
                      </a:lnTo>
                      <a:lnTo>
                        <a:pt x="76" y="255"/>
                      </a:lnTo>
                      <a:lnTo>
                        <a:pt x="75" y="255"/>
                      </a:lnTo>
                      <a:lnTo>
                        <a:pt x="74" y="255"/>
                      </a:lnTo>
                      <a:lnTo>
                        <a:pt x="73" y="254"/>
                      </a:lnTo>
                      <a:lnTo>
                        <a:pt x="73" y="252"/>
                      </a:lnTo>
                      <a:lnTo>
                        <a:pt x="74" y="251"/>
                      </a:lnTo>
                      <a:lnTo>
                        <a:pt x="69" y="250"/>
                      </a:lnTo>
                      <a:lnTo>
                        <a:pt x="68" y="250"/>
                      </a:lnTo>
                      <a:lnTo>
                        <a:pt x="67" y="251"/>
                      </a:lnTo>
                      <a:lnTo>
                        <a:pt x="66" y="251"/>
                      </a:lnTo>
                      <a:lnTo>
                        <a:pt x="62" y="248"/>
                      </a:lnTo>
                      <a:lnTo>
                        <a:pt x="61" y="247"/>
                      </a:lnTo>
                      <a:lnTo>
                        <a:pt x="61" y="246"/>
                      </a:lnTo>
                      <a:lnTo>
                        <a:pt x="61" y="245"/>
                      </a:lnTo>
                      <a:lnTo>
                        <a:pt x="61" y="244"/>
                      </a:lnTo>
                      <a:lnTo>
                        <a:pt x="60" y="244"/>
                      </a:lnTo>
                      <a:lnTo>
                        <a:pt x="59" y="243"/>
                      </a:lnTo>
                      <a:lnTo>
                        <a:pt x="58" y="241"/>
                      </a:lnTo>
                      <a:lnTo>
                        <a:pt x="57" y="241"/>
                      </a:lnTo>
                      <a:lnTo>
                        <a:pt x="55" y="241"/>
                      </a:lnTo>
                      <a:lnTo>
                        <a:pt x="55" y="240"/>
                      </a:lnTo>
                      <a:lnTo>
                        <a:pt x="54" y="240"/>
                      </a:lnTo>
                      <a:lnTo>
                        <a:pt x="53" y="241"/>
                      </a:lnTo>
                      <a:lnTo>
                        <a:pt x="52" y="241"/>
                      </a:lnTo>
                      <a:lnTo>
                        <a:pt x="51" y="240"/>
                      </a:lnTo>
                      <a:lnTo>
                        <a:pt x="50" y="240"/>
                      </a:lnTo>
                      <a:lnTo>
                        <a:pt x="50" y="239"/>
                      </a:lnTo>
                      <a:lnTo>
                        <a:pt x="48" y="238"/>
                      </a:lnTo>
                      <a:lnTo>
                        <a:pt x="48" y="237"/>
                      </a:lnTo>
                      <a:lnTo>
                        <a:pt x="48" y="234"/>
                      </a:lnTo>
                      <a:lnTo>
                        <a:pt x="46" y="233"/>
                      </a:lnTo>
                      <a:lnTo>
                        <a:pt x="46" y="232"/>
                      </a:lnTo>
                      <a:lnTo>
                        <a:pt x="45" y="232"/>
                      </a:lnTo>
                      <a:lnTo>
                        <a:pt x="45" y="231"/>
                      </a:lnTo>
                      <a:lnTo>
                        <a:pt x="45" y="230"/>
                      </a:lnTo>
                      <a:lnTo>
                        <a:pt x="44" y="230"/>
                      </a:lnTo>
                      <a:lnTo>
                        <a:pt x="44" y="229"/>
                      </a:lnTo>
                      <a:lnTo>
                        <a:pt x="43" y="229"/>
                      </a:lnTo>
                      <a:lnTo>
                        <a:pt x="43" y="227"/>
                      </a:lnTo>
                      <a:lnTo>
                        <a:pt x="43" y="226"/>
                      </a:lnTo>
                      <a:lnTo>
                        <a:pt x="43" y="225"/>
                      </a:lnTo>
                      <a:lnTo>
                        <a:pt x="43" y="224"/>
                      </a:lnTo>
                      <a:lnTo>
                        <a:pt x="43" y="225"/>
                      </a:lnTo>
                      <a:lnTo>
                        <a:pt x="41" y="225"/>
                      </a:lnTo>
                      <a:lnTo>
                        <a:pt x="41" y="224"/>
                      </a:lnTo>
                      <a:lnTo>
                        <a:pt x="41" y="223"/>
                      </a:lnTo>
                      <a:lnTo>
                        <a:pt x="41" y="222"/>
                      </a:lnTo>
                      <a:lnTo>
                        <a:pt x="40" y="220"/>
                      </a:lnTo>
                      <a:lnTo>
                        <a:pt x="39" y="220"/>
                      </a:lnTo>
                      <a:lnTo>
                        <a:pt x="39" y="219"/>
                      </a:lnTo>
                      <a:lnTo>
                        <a:pt x="39" y="218"/>
                      </a:lnTo>
                      <a:lnTo>
                        <a:pt x="38" y="217"/>
                      </a:lnTo>
                      <a:lnTo>
                        <a:pt x="37" y="212"/>
                      </a:lnTo>
                      <a:lnTo>
                        <a:pt x="36" y="212"/>
                      </a:lnTo>
                      <a:lnTo>
                        <a:pt x="36" y="211"/>
                      </a:lnTo>
                      <a:lnTo>
                        <a:pt x="34" y="211"/>
                      </a:lnTo>
                      <a:lnTo>
                        <a:pt x="34" y="210"/>
                      </a:lnTo>
                      <a:lnTo>
                        <a:pt x="33" y="210"/>
                      </a:lnTo>
                      <a:lnTo>
                        <a:pt x="33" y="209"/>
                      </a:lnTo>
                      <a:lnTo>
                        <a:pt x="32" y="209"/>
                      </a:lnTo>
                      <a:lnTo>
                        <a:pt x="32" y="208"/>
                      </a:lnTo>
                      <a:lnTo>
                        <a:pt x="31" y="205"/>
                      </a:lnTo>
                      <a:lnTo>
                        <a:pt x="32" y="204"/>
                      </a:lnTo>
                      <a:lnTo>
                        <a:pt x="31" y="204"/>
                      </a:lnTo>
                      <a:lnTo>
                        <a:pt x="31" y="203"/>
                      </a:lnTo>
                      <a:lnTo>
                        <a:pt x="32" y="202"/>
                      </a:lnTo>
                      <a:lnTo>
                        <a:pt x="32" y="201"/>
                      </a:lnTo>
                      <a:lnTo>
                        <a:pt x="31" y="197"/>
                      </a:lnTo>
                      <a:lnTo>
                        <a:pt x="30" y="196"/>
                      </a:lnTo>
                      <a:lnTo>
                        <a:pt x="30" y="195"/>
                      </a:lnTo>
                      <a:lnTo>
                        <a:pt x="30" y="194"/>
                      </a:lnTo>
                      <a:lnTo>
                        <a:pt x="29" y="194"/>
                      </a:lnTo>
                      <a:lnTo>
                        <a:pt x="29" y="192"/>
                      </a:lnTo>
                      <a:lnTo>
                        <a:pt x="29" y="194"/>
                      </a:lnTo>
                      <a:lnTo>
                        <a:pt x="30" y="194"/>
                      </a:lnTo>
                      <a:lnTo>
                        <a:pt x="31" y="192"/>
                      </a:lnTo>
                      <a:lnTo>
                        <a:pt x="31" y="191"/>
                      </a:lnTo>
                      <a:lnTo>
                        <a:pt x="30" y="191"/>
                      </a:lnTo>
                      <a:lnTo>
                        <a:pt x="31" y="191"/>
                      </a:lnTo>
                      <a:lnTo>
                        <a:pt x="31" y="190"/>
                      </a:lnTo>
                      <a:lnTo>
                        <a:pt x="31" y="189"/>
                      </a:lnTo>
                      <a:lnTo>
                        <a:pt x="31" y="188"/>
                      </a:lnTo>
                      <a:lnTo>
                        <a:pt x="29" y="188"/>
                      </a:lnTo>
                      <a:lnTo>
                        <a:pt x="29" y="187"/>
                      </a:lnTo>
                      <a:lnTo>
                        <a:pt x="26" y="184"/>
                      </a:lnTo>
                      <a:lnTo>
                        <a:pt x="25" y="183"/>
                      </a:lnTo>
                      <a:lnTo>
                        <a:pt x="25" y="182"/>
                      </a:lnTo>
                      <a:lnTo>
                        <a:pt x="24" y="180"/>
                      </a:lnTo>
                      <a:lnTo>
                        <a:pt x="24" y="178"/>
                      </a:lnTo>
                      <a:lnTo>
                        <a:pt x="23" y="178"/>
                      </a:lnTo>
                      <a:lnTo>
                        <a:pt x="22" y="177"/>
                      </a:lnTo>
                      <a:lnTo>
                        <a:pt x="19" y="175"/>
                      </a:lnTo>
                      <a:lnTo>
                        <a:pt x="18" y="174"/>
                      </a:lnTo>
                      <a:lnTo>
                        <a:pt x="18" y="173"/>
                      </a:lnTo>
                      <a:lnTo>
                        <a:pt x="17" y="173"/>
                      </a:lnTo>
                      <a:lnTo>
                        <a:pt x="15" y="173"/>
                      </a:lnTo>
                      <a:lnTo>
                        <a:pt x="14" y="173"/>
                      </a:lnTo>
                      <a:lnTo>
                        <a:pt x="11" y="174"/>
                      </a:lnTo>
                      <a:lnTo>
                        <a:pt x="11" y="173"/>
                      </a:lnTo>
                      <a:lnTo>
                        <a:pt x="10" y="173"/>
                      </a:lnTo>
                      <a:lnTo>
                        <a:pt x="9" y="171"/>
                      </a:lnTo>
                      <a:lnTo>
                        <a:pt x="5" y="168"/>
                      </a:lnTo>
                      <a:lnTo>
                        <a:pt x="5" y="167"/>
                      </a:lnTo>
                      <a:lnTo>
                        <a:pt x="4" y="167"/>
                      </a:lnTo>
                      <a:lnTo>
                        <a:pt x="4" y="166"/>
                      </a:lnTo>
                      <a:lnTo>
                        <a:pt x="4" y="164"/>
                      </a:lnTo>
                      <a:lnTo>
                        <a:pt x="4" y="162"/>
                      </a:lnTo>
                      <a:lnTo>
                        <a:pt x="4" y="160"/>
                      </a:lnTo>
                      <a:lnTo>
                        <a:pt x="5" y="159"/>
                      </a:lnTo>
                      <a:lnTo>
                        <a:pt x="5" y="157"/>
                      </a:lnTo>
                      <a:lnTo>
                        <a:pt x="7" y="157"/>
                      </a:lnTo>
                      <a:lnTo>
                        <a:pt x="8" y="157"/>
                      </a:lnTo>
                      <a:lnTo>
                        <a:pt x="10" y="156"/>
                      </a:lnTo>
                      <a:lnTo>
                        <a:pt x="10" y="155"/>
                      </a:lnTo>
                      <a:lnTo>
                        <a:pt x="11" y="155"/>
                      </a:lnTo>
                      <a:lnTo>
                        <a:pt x="11" y="154"/>
                      </a:lnTo>
                      <a:lnTo>
                        <a:pt x="11" y="153"/>
                      </a:lnTo>
                      <a:lnTo>
                        <a:pt x="11" y="152"/>
                      </a:lnTo>
                      <a:lnTo>
                        <a:pt x="8" y="145"/>
                      </a:lnTo>
                      <a:lnTo>
                        <a:pt x="8" y="143"/>
                      </a:lnTo>
                      <a:lnTo>
                        <a:pt x="5" y="142"/>
                      </a:lnTo>
                      <a:lnTo>
                        <a:pt x="5" y="141"/>
                      </a:lnTo>
                      <a:lnTo>
                        <a:pt x="4" y="140"/>
                      </a:lnTo>
                      <a:lnTo>
                        <a:pt x="5" y="139"/>
                      </a:lnTo>
                      <a:lnTo>
                        <a:pt x="5" y="138"/>
                      </a:lnTo>
                      <a:lnTo>
                        <a:pt x="7" y="136"/>
                      </a:lnTo>
                      <a:lnTo>
                        <a:pt x="7" y="135"/>
                      </a:lnTo>
                      <a:lnTo>
                        <a:pt x="7" y="134"/>
                      </a:lnTo>
                      <a:lnTo>
                        <a:pt x="7" y="135"/>
                      </a:lnTo>
                      <a:lnTo>
                        <a:pt x="7" y="134"/>
                      </a:lnTo>
                      <a:lnTo>
                        <a:pt x="7" y="133"/>
                      </a:lnTo>
                      <a:lnTo>
                        <a:pt x="7" y="132"/>
                      </a:lnTo>
                      <a:lnTo>
                        <a:pt x="8" y="132"/>
                      </a:lnTo>
                      <a:lnTo>
                        <a:pt x="8" y="131"/>
                      </a:lnTo>
                      <a:lnTo>
                        <a:pt x="8" y="129"/>
                      </a:lnTo>
                      <a:lnTo>
                        <a:pt x="7" y="128"/>
                      </a:lnTo>
                      <a:lnTo>
                        <a:pt x="5" y="127"/>
                      </a:lnTo>
                      <a:lnTo>
                        <a:pt x="7" y="127"/>
                      </a:lnTo>
                      <a:lnTo>
                        <a:pt x="5" y="126"/>
                      </a:lnTo>
                      <a:lnTo>
                        <a:pt x="4" y="126"/>
                      </a:lnTo>
                      <a:lnTo>
                        <a:pt x="4" y="125"/>
                      </a:lnTo>
                      <a:lnTo>
                        <a:pt x="3" y="125"/>
                      </a:lnTo>
                      <a:lnTo>
                        <a:pt x="3" y="124"/>
                      </a:lnTo>
                      <a:lnTo>
                        <a:pt x="2" y="124"/>
                      </a:lnTo>
                      <a:lnTo>
                        <a:pt x="1" y="124"/>
                      </a:lnTo>
                      <a:lnTo>
                        <a:pt x="0" y="124"/>
                      </a:lnTo>
                      <a:lnTo>
                        <a:pt x="1" y="122"/>
                      </a:lnTo>
                      <a:lnTo>
                        <a:pt x="1" y="121"/>
                      </a:lnTo>
                      <a:lnTo>
                        <a:pt x="1" y="119"/>
                      </a:lnTo>
                      <a:lnTo>
                        <a:pt x="2" y="111"/>
                      </a:lnTo>
                      <a:lnTo>
                        <a:pt x="2" y="108"/>
                      </a:lnTo>
                      <a:lnTo>
                        <a:pt x="3" y="110"/>
                      </a:lnTo>
                      <a:lnTo>
                        <a:pt x="4" y="110"/>
                      </a:lnTo>
                      <a:lnTo>
                        <a:pt x="5" y="110"/>
                      </a:lnTo>
                      <a:lnTo>
                        <a:pt x="5" y="108"/>
                      </a:lnTo>
                      <a:lnTo>
                        <a:pt x="5" y="107"/>
                      </a:lnTo>
                      <a:lnTo>
                        <a:pt x="7" y="107"/>
                      </a:lnTo>
                      <a:lnTo>
                        <a:pt x="7" y="106"/>
                      </a:lnTo>
                      <a:lnTo>
                        <a:pt x="8" y="106"/>
                      </a:lnTo>
                      <a:lnTo>
                        <a:pt x="10" y="106"/>
                      </a:lnTo>
                      <a:lnTo>
                        <a:pt x="11" y="105"/>
                      </a:lnTo>
                      <a:lnTo>
                        <a:pt x="12" y="104"/>
                      </a:lnTo>
                      <a:lnTo>
                        <a:pt x="14" y="104"/>
                      </a:lnTo>
                      <a:lnTo>
                        <a:pt x="14" y="103"/>
                      </a:lnTo>
                      <a:lnTo>
                        <a:pt x="15" y="101"/>
                      </a:lnTo>
                      <a:lnTo>
                        <a:pt x="15" y="100"/>
                      </a:lnTo>
                      <a:lnTo>
                        <a:pt x="17" y="99"/>
                      </a:lnTo>
                      <a:lnTo>
                        <a:pt x="18" y="98"/>
                      </a:lnTo>
                      <a:lnTo>
                        <a:pt x="18" y="97"/>
                      </a:lnTo>
                      <a:lnTo>
                        <a:pt x="18" y="96"/>
                      </a:lnTo>
                      <a:lnTo>
                        <a:pt x="19" y="94"/>
                      </a:lnTo>
                      <a:lnTo>
                        <a:pt x="19" y="92"/>
                      </a:lnTo>
                      <a:lnTo>
                        <a:pt x="21" y="92"/>
                      </a:lnTo>
                      <a:lnTo>
                        <a:pt x="22" y="90"/>
                      </a:lnTo>
                      <a:lnTo>
                        <a:pt x="23" y="89"/>
                      </a:lnTo>
                      <a:lnTo>
                        <a:pt x="24" y="87"/>
                      </a:lnTo>
                      <a:lnTo>
                        <a:pt x="25" y="89"/>
                      </a:lnTo>
                      <a:lnTo>
                        <a:pt x="25" y="87"/>
                      </a:lnTo>
                      <a:lnTo>
                        <a:pt x="25" y="86"/>
                      </a:lnTo>
                      <a:lnTo>
                        <a:pt x="25" y="85"/>
                      </a:lnTo>
                      <a:lnTo>
                        <a:pt x="26" y="83"/>
                      </a:lnTo>
                      <a:lnTo>
                        <a:pt x="26" y="82"/>
                      </a:lnTo>
                      <a:lnTo>
                        <a:pt x="26" y="80"/>
                      </a:lnTo>
                      <a:lnTo>
                        <a:pt x="28" y="80"/>
                      </a:lnTo>
                      <a:lnTo>
                        <a:pt x="28" y="79"/>
                      </a:lnTo>
                      <a:lnTo>
                        <a:pt x="29" y="79"/>
                      </a:lnTo>
                      <a:lnTo>
                        <a:pt x="30" y="79"/>
                      </a:lnTo>
                      <a:lnTo>
                        <a:pt x="31" y="78"/>
                      </a:lnTo>
                      <a:lnTo>
                        <a:pt x="32" y="77"/>
                      </a:lnTo>
                      <a:lnTo>
                        <a:pt x="33" y="77"/>
                      </a:lnTo>
                      <a:lnTo>
                        <a:pt x="33" y="76"/>
                      </a:lnTo>
                      <a:lnTo>
                        <a:pt x="32" y="75"/>
                      </a:lnTo>
                      <a:lnTo>
                        <a:pt x="33" y="75"/>
                      </a:lnTo>
                      <a:lnTo>
                        <a:pt x="33" y="73"/>
                      </a:lnTo>
                      <a:lnTo>
                        <a:pt x="34" y="73"/>
                      </a:lnTo>
                      <a:lnTo>
                        <a:pt x="36" y="73"/>
                      </a:lnTo>
                      <a:lnTo>
                        <a:pt x="36" y="72"/>
                      </a:lnTo>
                      <a:lnTo>
                        <a:pt x="37" y="72"/>
                      </a:lnTo>
                      <a:lnTo>
                        <a:pt x="38" y="72"/>
                      </a:lnTo>
                      <a:lnTo>
                        <a:pt x="39" y="71"/>
                      </a:lnTo>
                      <a:lnTo>
                        <a:pt x="39" y="70"/>
                      </a:lnTo>
                      <a:lnTo>
                        <a:pt x="39" y="69"/>
                      </a:lnTo>
                      <a:lnTo>
                        <a:pt x="39" y="68"/>
                      </a:lnTo>
                      <a:lnTo>
                        <a:pt x="39" y="66"/>
                      </a:lnTo>
                      <a:lnTo>
                        <a:pt x="38" y="65"/>
                      </a:lnTo>
                      <a:lnTo>
                        <a:pt x="38" y="64"/>
                      </a:lnTo>
                      <a:lnTo>
                        <a:pt x="39" y="63"/>
                      </a:lnTo>
                      <a:lnTo>
                        <a:pt x="38" y="63"/>
                      </a:lnTo>
                      <a:lnTo>
                        <a:pt x="37" y="63"/>
                      </a:lnTo>
                      <a:lnTo>
                        <a:pt x="36" y="63"/>
                      </a:lnTo>
                      <a:lnTo>
                        <a:pt x="34" y="63"/>
                      </a:lnTo>
                      <a:lnTo>
                        <a:pt x="33" y="63"/>
                      </a:lnTo>
                      <a:lnTo>
                        <a:pt x="33" y="62"/>
                      </a:lnTo>
                      <a:lnTo>
                        <a:pt x="32" y="62"/>
                      </a:lnTo>
                      <a:lnTo>
                        <a:pt x="31" y="61"/>
                      </a:lnTo>
                      <a:lnTo>
                        <a:pt x="30" y="61"/>
                      </a:lnTo>
                      <a:lnTo>
                        <a:pt x="29" y="62"/>
                      </a:lnTo>
                      <a:lnTo>
                        <a:pt x="29" y="61"/>
                      </a:lnTo>
                      <a:lnTo>
                        <a:pt x="28" y="61"/>
                      </a:lnTo>
                      <a:lnTo>
                        <a:pt x="29" y="61"/>
                      </a:lnTo>
                      <a:lnTo>
                        <a:pt x="28" y="61"/>
                      </a:lnTo>
                      <a:lnTo>
                        <a:pt x="28" y="59"/>
                      </a:lnTo>
                      <a:lnTo>
                        <a:pt x="26" y="58"/>
                      </a:lnTo>
                      <a:lnTo>
                        <a:pt x="26" y="57"/>
                      </a:lnTo>
                      <a:lnTo>
                        <a:pt x="28" y="56"/>
                      </a:lnTo>
                      <a:lnTo>
                        <a:pt x="28" y="55"/>
                      </a:lnTo>
                      <a:lnTo>
                        <a:pt x="30" y="52"/>
                      </a:lnTo>
                      <a:lnTo>
                        <a:pt x="29" y="52"/>
                      </a:lnTo>
                      <a:lnTo>
                        <a:pt x="28" y="54"/>
                      </a:lnTo>
                      <a:lnTo>
                        <a:pt x="26" y="54"/>
                      </a:lnTo>
                      <a:lnTo>
                        <a:pt x="26" y="52"/>
                      </a:lnTo>
                      <a:lnTo>
                        <a:pt x="26" y="51"/>
                      </a:lnTo>
                      <a:lnTo>
                        <a:pt x="28" y="51"/>
                      </a:lnTo>
                      <a:lnTo>
                        <a:pt x="28" y="50"/>
                      </a:lnTo>
                      <a:lnTo>
                        <a:pt x="28" y="49"/>
                      </a:lnTo>
                      <a:lnTo>
                        <a:pt x="29" y="47"/>
                      </a:lnTo>
                      <a:lnTo>
                        <a:pt x="30" y="45"/>
                      </a:lnTo>
                      <a:lnTo>
                        <a:pt x="31" y="44"/>
                      </a:lnTo>
                      <a:lnTo>
                        <a:pt x="32" y="44"/>
                      </a:lnTo>
                      <a:lnTo>
                        <a:pt x="33" y="44"/>
                      </a:lnTo>
                      <a:lnTo>
                        <a:pt x="34" y="43"/>
                      </a:lnTo>
                      <a:lnTo>
                        <a:pt x="36" y="43"/>
                      </a:lnTo>
                      <a:lnTo>
                        <a:pt x="37" y="44"/>
                      </a:lnTo>
                      <a:lnTo>
                        <a:pt x="38" y="44"/>
                      </a:lnTo>
                      <a:lnTo>
                        <a:pt x="38" y="43"/>
                      </a:lnTo>
                      <a:lnTo>
                        <a:pt x="39" y="43"/>
                      </a:lnTo>
                      <a:lnTo>
                        <a:pt x="40" y="42"/>
                      </a:lnTo>
                      <a:lnTo>
                        <a:pt x="40" y="40"/>
                      </a:lnTo>
                      <a:lnTo>
                        <a:pt x="40" y="38"/>
                      </a:lnTo>
                      <a:lnTo>
                        <a:pt x="41" y="35"/>
                      </a:lnTo>
                      <a:lnTo>
                        <a:pt x="41" y="34"/>
                      </a:lnTo>
                      <a:lnTo>
                        <a:pt x="40" y="33"/>
                      </a:lnTo>
                      <a:lnTo>
                        <a:pt x="39" y="33"/>
                      </a:lnTo>
                      <a:lnTo>
                        <a:pt x="39" y="30"/>
                      </a:lnTo>
                      <a:lnTo>
                        <a:pt x="38" y="29"/>
                      </a:lnTo>
                      <a:lnTo>
                        <a:pt x="39" y="29"/>
                      </a:lnTo>
                      <a:lnTo>
                        <a:pt x="39" y="28"/>
                      </a:lnTo>
                      <a:lnTo>
                        <a:pt x="39" y="27"/>
                      </a:lnTo>
                      <a:lnTo>
                        <a:pt x="40" y="27"/>
                      </a:lnTo>
                      <a:lnTo>
                        <a:pt x="39" y="26"/>
                      </a:lnTo>
                      <a:lnTo>
                        <a:pt x="40" y="24"/>
                      </a:lnTo>
                      <a:lnTo>
                        <a:pt x="39" y="24"/>
                      </a:lnTo>
                      <a:lnTo>
                        <a:pt x="39" y="23"/>
                      </a:lnTo>
                      <a:lnTo>
                        <a:pt x="40" y="21"/>
                      </a:lnTo>
                      <a:lnTo>
                        <a:pt x="40" y="20"/>
                      </a:lnTo>
                      <a:lnTo>
                        <a:pt x="39" y="19"/>
                      </a:lnTo>
                      <a:lnTo>
                        <a:pt x="39" y="20"/>
                      </a:lnTo>
                      <a:lnTo>
                        <a:pt x="38" y="19"/>
                      </a:lnTo>
                      <a:lnTo>
                        <a:pt x="38" y="17"/>
                      </a:lnTo>
                      <a:lnTo>
                        <a:pt x="38" y="16"/>
                      </a:lnTo>
                      <a:lnTo>
                        <a:pt x="37" y="16"/>
                      </a:lnTo>
                      <a:lnTo>
                        <a:pt x="37" y="15"/>
                      </a:lnTo>
                      <a:lnTo>
                        <a:pt x="37" y="14"/>
                      </a:lnTo>
                      <a:lnTo>
                        <a:pt x="37" y="13"/>
                      </a:lnTo>
                      <a:lnTo>
                        <a:pt x="36" y="13"/>
                      </a:lnTo>
                      <a:lnTo>
                        <a:pt x="33" y="12"/>
                      </a:lnTo>
                      <a:lnTo>
                        <a:pt x="32" y="12"/>
                      </a:lnTo>
                      <a:lnTo>
                        <a:pt x="32" y="10"/>
                      </a:lnTo>
                      <a:lnTo>
                        <a:pt x="31" y="10"/>
                      </a:lnTo>
                      <a:lnTo>
                        <a:pt x="31" y="9"/>
                      </a:lnTo>
                      <a:lnTo>
                        <a:pt x="31" y="8"/>
                      </a:lnTo>
                      <a:lnTo>
                        <a:pt x="30" y="8"/>
                      </a:lnTo>
                      <a:lnTo>
                        <a:pt x="30" y="7"/>
                      </a:lnTo>
                      <a:lnTo>
                        <a:pt x="30" y="6"/>
                      </a:lnTo>
                      <a:lnTo>
                        <a:pt x="29" y="5"/>
                      </a:lnTo>
                      <a:lnTo>
                        <a:pt x="29" y="6"/>
                      </a:lnTo>
                      <a:lnTo>
                        <a:pt x="28" y="5"/>
                      </a:lnTo>
                      <a:lnTo>
                        <a:pt x="29" y="5"/>
                      </a:lnTo>
                      <a:lnTo>
                        <a:pt x="29" y="3"/>
                      </a:lnTo>
                      <a:lnTo>
                        <a:pt x="28" y="3"/>
                      </a:lnTo>
                      <a:lnTo>
                        <a:pt x="28" y="2"/>
                      </a:lnTo>
                      <a:lnTo>
                        <a:pt x="29" y="2"/>
                      </a:lnTo>
                      <a:lnTo>
                        <a:pt x="30" y="2"/>
                      </a:lnTo>
                      <a:lnTo>
                        <a:pt x="31" y="2"/>
                      </a:lnTo>
                      <a:lnTo>
                        <a:pt x="32" y="2"/>
                      </a:lnTo>
                      <a:lnTo>
                        <a:pt x="33" y="2"/>
                      </a:lnTo>
                      <a:lnTo>
                        <a:pt x="34" y="1"/>
                      </a:lnTo>
                      <a:lnTo>
                        <a:pt x="36" y="1"/>
                      </a:lnTo>
                      <a:lnTo>
                        <a:pt x="37" y="0"/>
                      </a:lnTo>
                      <a:lnTo>
                        <a:pt x="38" y="0"/>
                      </a:lnTo>
                      <a:lnTo>
                        <a:pt x="39" y="0"/>
                      </a:lnTo>
                      <a:close/>
                    </a:path>
                  </a:pathLst>
                </a:custGeom>
                <a:solidFill>
                  <a:schemeClr val="bg2">
                    <a:lumMod val="9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solidFill>
                      <a:srgbClr val="575757"/>
                    </a:solidFill>
                    <a:latin typeface="+mj-lt"/>
                  </a:endParaRPr>
                </a:p>
              </p:txBody>
            </p:sp>
            <p:sp>
              <p:nvSpPr>
                <p:cNvPr id="102" name="Freeform 122">
                  <a:extLst>
                    <a:ext uri="{FF2B5EF4-FFF2-40B4-BE49-F238E27FC236}">
                      <a16:creationId xmlns:a16="http://schemas.microsoft.com/office/drawing/2014/main" id="{57FAE438-85DE-0A7E-D925-62986C0D18BB}"/>
                    </a:ext>
                  </a:extLst>
                </p:cNvPr>
                <p:cNvSpPr>
                  <a:spLocks noEditPoints="1"/>
                </p:cNvSpPr>
                <p:nvPr/>
              </p:nvSpPr>
              <p:spPr bwMode="auto">
                <a:xfrm>
                  <a:off x="7242683" y="3653663"/>
                  <a:ext cx="186058" cy="194711"/>
                </a:xfrm>
                <a:custGeom>
                  <a:avLst/>
                  <a:gdLst>
                    <a:gd name="T0" fmla="*/ 93 w 172"/>
                    <a:gd name="T1" fmla="*/ 147 h 180"/>
                    <a:gd name="T2" fmla="*/ 81 w 172"/>
                    <a:gd name="T3" fmla="*/ 143 h 180"/>
                    <a:gd name="T4" fmla="*/ 85 w 172"/>
                    <a:gd name="T5" fmla="*/ 149 h 180"/>
                    <a:gd name="T6" fmla="*/ 85 w 172"/>
                    <a:gd name="T7" fmla="*/ 147 h 180"/>
                    <a:gd name="T8" fmla="*/ 88 w 172"/>
                    <a:gd name="T9" fmla="*/ 143 h 180"/>
                    <a:gd name="T10" fmla="*/ 131 w 172"/>
                    <a:gd name="T11" fmla="*/ 137 h 180"/>
                    <a:gd name="T12" fmla="*/ 100 w 172"/>
                    <a:gd name="T13" fmla="*/ 136 h 180"/>
                    <a:gd name="T14" fmla="*/ 102 w 172"/>
                    <a:gd name="T15" fmla="*/ 132 h 180"/>
                    <a:gd name="T16" fmla="*/ 135 w 172"/>
                    <a:gd name="T17" fmla="*/ 132 h 180"/>
                    <a:gd name="T18" fmla="*/ 119 w 172"/>
                    <a:gd name="T19" fmla="*/ 126 h 180"/>
                    <a:gd name="T20" fmla="*/ 118 w 172"/>
                    <a:gd name="T21" fmla="*/ 130 h 180"/>
                    <a:gd name="T22" fmla="*/ 116 w 172"/>
                    <a:gd name="T23" fmla="*/ 126 h 180"/>
                    <a:gd name="T24" fmla="*/ 146 w 172"/>
                    <a:gd name="T25" fmla="*/ 11 h 180"/>
                    <a:gd name="T26" fmla="*/ 151 w 172"/>
                    <a:gd name="T27" fmla="*/ 17 h 180"/>
                    <a:gd name="T28" fmla="*/ 154 w 172"/>
                    <a:gd name="T29" fmla="*/ 30 h 180"/>
                    <a:gd name="T30" fmla="*/ 165 w 172"/>
                    <a:gd name="T31" fmla="*/ 47 h 180"/>
                    <a:gd name="T32" fmla="*/ 168 w 172"/>
                    <a:gd name="T33" fmla="*/ 60 h 180"/>
                    <a:gd name="T34" fmla="*/ 168 w 172"/>
                    <a:gd name="T35" fmla="*/ 86 h 180"/>
                    <a:gd name="T36" fmla="*/ 158 w 172"/>
                    <a:gd name="T37" fmla="*/ 100 h 180"/>
                    <a:gd name="T38" fmla="*/ 149 w 172"/>
                    <a:gd name="T39" fmla="*/ 114 h 180"/>
                    <a:gd name="T40" fmla="*/ 139 w 172"/>
                    <a:gd name="T41" fmla="*/ 126 h 180"/>
                    <a:gd name="T42" fmla="*/ 131 w 172"/>
                    <a:gd name="T43" fmla="*/ 128 h 180"/>
                    <a:gd name="T44" fmla="*/ 129 w 172"/>
                    <a:gd name="T45" fmla="*/ 126 h 180"/>
                    <a:gd name="T46" fmla="*/ 122 w 172"/>
                    <a:gd name="T47" fmla="*/ 126 h 180"/>
                    <a:gd name="T48" fmla="*/ 123 w 172"/>
                    <a:gd name="T49" fmla="*/ 123 h 180"/>
                    <a:gd name="T50" fmla="*/ 121 w 172"/>
                    <a:gd name="T51" fmla="*/ 118 h 180"/>
                    <a:gd name="T52" fmla="*/ 117 w 172"/>
                    <a:gd name="T53" fmla="*/ 123 h 180"/>
                    <a:gd name="T54" fmla="*/ 110 w 172"/>
                    <a:gd name="T55" fmla="*/ 126 h 180"/>
                    <a:gd name="T56" fmla="*/ 105 w 172"/>
                    <a:gd name="T57" fmla="*/ 129 h 180"/>
                    <a:gd name="T58" fmla="*/ 100 w 172"/>
                    <a:gd name="T59" fmla="*/ 130 h 180"/>
                    <a:gd name="T60" fmla="*/ 97 w 172"/>
                    <a:gd name="T61" fmla="*/ 126 h 180"/>
                    <a:gd name="T62" fmla="*/ 94 w 172"/>
                    <a:gd name="T63" fmla="*/ 132 h 180"/>
                    <a:gd name="T64" fmla="*/ 90 w 172"/>
                    <a:gd name="T65" fmla="*/ 131 h 180"/>
                    <a:gd name="T66" fmla="*/ 85 w 172"/>
                    <a:gd name="T67" fmla="*/ 135 h 180"/>
                    <a:gd name="T68" fmla="*/ 78 w 172"/>
                    <a:gd name="T69" fmla="*/ 137 h 180"/>
                    <a:gd name="T70" fmla="*/ 76 w 172"/>
                    <a:gd name="T71" fmla="*/ 144 h 180"/>
                    <a:gd name="T72" fmla="*/ 68 w 172"/>
                    <a:gd name="T73" fmla="*/ 158 h 180"/>
                    <a:gd name="T74" fmla="*/ 53 w 172"/>
                    <a:gd name="T75" fmla="*/ 165 h 180"/>
                    <a:gd name="T76" fmla="*/ 28 w 172"/>
                    <a:gd name="T77" fmla="*/ 167 h 180"/>
                    <a:gd name="T78" fmla="*/ 18 w 172"/>
                    <a:gd name="T79" fmla="*/ 177 h 180"/>
                    <a:gd name="T80" fmla="*/ 8 w 172"/>
                    <a:gd name="T81" fmla="*/ 175 h 180"/>
                    <a:gd name="T82" fmla="*/ 0 w 172"/>
                    <a:gd name="T83" fmla="*/ 171 h 180"/>
                    <a:gd name="T84" fmla="*/ 1 w 172"/>
                    <a:gd name="T85" fmla="*/ 153 h 180"/>
                    <a:gd name="T86" fmla="*/ 9 w 172"/>
                    <a:gd name="T87" fmla="*/ 144 h 180"/>
                    <a:gd name="T88" fmla="*/ 3 w 172"/>
                    <a:gd name="T89" fmla="*/ 137 h 180"/>
                    <a:gd name="T90" fmla="*/ 11 w 172"/>
                    <a:gd name="T91" fmla="*/ 118 h 180"/>
                    <a:gd name="T92" fmla="*/ 19 w 172"/>
                    <a:gd name="T93" fmla="*/ 103 h 180"/>
                    <a:gd name="T94" fmla="*/ 29 w 172"/>
                    <a:gd name="T95" fmla="*/ 95 h 180"/>
                    <a:gd name="T96" fmla="*/ 31 w 172"/>
                    <a:gd name="T97" fmla="*/ 101 h 180"/>
                    <a:gd name="T98" fmla="*/ 48 w 172"/>
                    <a:gd name="T99" fmla="*/ 83 h 180"/>
                    <a:gd name="T100" fmla="*/ 58 w 172"/>
                    <a:gd name="T101" fmla="*/ 70 h 180"/>
                    <a:gd name="T102" fmla="*/ 59 w 172"/>
                    <a:gd name="T103" fmla="*/ 60 h 180"/>
                    <a:gd name="T104" fmla="*/ 47 w 172"/>
                    <a:gd name="T105" fmla="*/ 61 h 180"/>
                    <a:gd name="T106" fmla="*/ 37 w 172"/>
                    <a:gd name="T107" fmla="*/ 56 h 180"/>
                    <a:gd name="T108" fmla="*/ 40 w 172"/>
                    <a:gd name="T109" fmla="*/ 41 h 180"/>
                    <a:gd name="T110" fmla="*/ 43 w 172"/>
                    <a:gd name="T111" fmla="*/ 25 h 180"/>
                    <a:gd name="T112" fmla="*/ 47 w 172"/>
                    <a:gd name="T113" fmla="*/ 16 h 180"/>
                    <a:gd name="T114" fmla="*/ 71 w 172"/>
                    <a:gd name="T115" fmla="*/ 13 h 180"/>
                    <a:gd name="T116" fmla="*/ 83 w 172"/>
                    <a:gd name="T117" fmla="*/ 19 h 180"/>
                    <a:gd name="T118" fmla="*/ 118 w 172"/>
                    <a:gd name="T119" fmla="*/ 16 h 180"/>
                    <a:gd name="T120" fmla="*/ 143 w 172"/>
                    <a:gd name="T121" fmla="*/ 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 h="180">
                      <a:moveTo>
                        <a:pt x="72" y="165"/>
                      </a:moveTo>
                      <a:lnTo>
                        <a:pt x="71" y="165"/>
                      </a:lnTo>
                      <a:lnTo>
                        <a:pt x="72" y="165"/>
                      </a:lnTo>
                      <a:close/>
                      <a:moveTo>
                        <a:pt x="94" y="146"/>
                      </a:moveTo>
                      <a:lnTo>
                        <a:pt x="93" y="146"/>
                      </a:lnTo>
                      <a:lnTo>
                        <a:pt x="93" y="147"/>
                      </a:lnTo>
                      <a:lnTo>
                        <a:pt x="93" y="149"/>
                      </a:lnTo>
                      <a:lnTo>
                        <a:pt x="92" y="149"/>
                      </a:lnTo>
                      <a:lnTo>
                        <a:pt x="92" y="150"/>
                      </a:lnTo>
                      <a:lnTo>
                        <a:pt x="90" y="150"/>
                      </a:lnTo>
                      <a:lnTo>
                        <a:pt x="92" y="149"/>
                      </a:lnTo>
                      <a:lnTo>
                        <a:pt x="92" y="147"/>
                      </a:lnTo>
                      <a:lnTo>
                        <a:pt x="93" y="147"/>
                      </a:lnTo>
                      <a:lnTo>
                        <a:pt x="93" y="146"/>
                      </a:lnTo>
                      <a:lnTo>
                        <a:pt x="94" y="146"/>
                      </a:lnTo>
                      <a:close/>
                      <a:moveTo>
                        <a:pt x="89" y="145"/>
                      </a:moveTo>
                      <a:lnTo>
                        <a:pt x="88" y="146"/>
                      </a:lnTo>
                      <a:lnTo>
                        <a:pt x="88" y="145"/>
                      </a:lnTo>
                      <a:lnTo>
                        <a:pt x="89" y="145"/>
                      </a:lnTo>
                      <a:lnTo>
                        <a:pt x="88" y="145"/>
                      </a:lnTo>
                      <a:lnTo>
                        <a:pt x="88" y="144"/>
                      </a:lnTo>
                      <a:lnTo>
                        <a:pt x="89" y="144"/>
                      </a:lnTo>
                      <a:lnTo>
                        <a:pt x="89" y="145"/>
                      </a:lnTo>
                      <a:close/>
                      <a:moveTo>
                        <a:pt x="80" y="142"/>
                      </a:moveTo>
                      <a:lnTo>
                        <a:pt x="82" y="142"/>
                      </a:lnTo>
                      <a:lnTo>
                        <a:pt x="81" y="143"/>
                      </a:lnTo>
                      <a:lnTo>
                        <a:pt x="81" y="144"/>
                      </a:lnTo>
                      <a:lnTo>
                        <a:pt x="82" y="144"/>
                      </a:lnTo>
                      <a:lnTo>
                        <a:pt x="83" y="144"/>
                      </a:lnTo>
                      <a:lnTo>
                        <a:pt x="85" y="144"/>
                      </a:lnTo>
                      <a:lnTo>
                        <a:pt x="86" y="144"/>
                      </a:lnTo>
                      <a:lnTo>
                        <a:pt x="86" y="143"/>
                      </a:lnTo>
                      <a:lnTo>
                        <a:pt x="86" y="144"/>
                      </a:lnTo>
                      <a:lnTo>
                        <a:pt x="87" y="145"/>
                      </a:lnTo>
                      <a:lnTo>
                        <a:pt x="86" y="145"/>
                      </a:lnTo>
                      <a:lnTo>
                        <a:pt x="86" y="146"/>
                      </a:lnTo>
                      <a:lnTo>
                        <a:pt x="86" y="147"/>
                      </a:lnTo>
                      <a:lnTo>
                        <a:pt x="86" y="149"/>
                      </a:lnTo>
                      <a:lnTo>
                        <a:pt x="85" y="149"/>
                      </a:lnTo>
                      <a:lnTo>
                        <a:pt x="85" y="150"/>
                      </a:lnTo>
                      <a:lnTo>
                        <a:pt x="85" y="149"/>
                      </a:lnTo>
                      <a:lnTo>
                        <a:pt x="83" y="149"/>
                      </a:lnTo>
                      <a:lnTo>
                        <a:pt x="82" y="149"/>
                      </a:lnTo>
                      <a:lnTo>
                        <a:pt x="82" y="150"/>
                      </a:lnTo>
                      <a:lnTo>
                        <a:pt x="82" y="151"/>
                      </a:lnTo>
                      <a:lnTo>
                        <a:pt x="81" y="151"/>
                      </a:lnTo>
                      <a:lnTo>
                        <a:pt x="81" y="150"/>
                      </a:lnTo>
                      <a:lnTo>
                        <a:pt x="82" y="149"/>
                      </a:lnTo>
                      <a:lnTo>
                        <a:pt x="82" y="147"/>
                      </a:lnTo>
                      <a:lnTo>
                        <a:pt x="83" y="147"/>
                      </a:lnTo>
                      <a:lnTo>
                        <a:pt x="83" y="146"/>
                      </a:lnTo>
                      <a:lnTo>
                        <a:pt x="85" y="147"/>
                      </a:lnTo>
                      <a:lnTo>
                        <a:pt x="85" y="146"/>
                      </a:lnTo>
                      <a:lnTo>
                        <a:pt x="83" y="146"/>
                      </a:lnTo>
                      <a:lnTo>
                        <a:pt x="83" y="145"/>
                      </a:lnTo>
                      <a:lnTo>
                        <a:pt x="82" y="144"/>
                      </a:lnTo>
                      <a:lnTo>
                        <a:pt x="82" y="145"/>
                      </a:lnTo>
                      <a:lnTo>
                        <a:pt x="81" y="145"/>
                      </a:lnTo>
                      <a:lnTo>
                        <a:pt x="80" y="144"/>
                      </a:lnTo>
                      <a:lnTo>
                        <a:pt x="80" y="143"/>
                      </a:lnTo>
                      <a:lnTo>
                        <a:pt x="79" y="143"/>
                      </a:lnTo>
                      <a:lnTo>
                        <a:pt x="79" y="142"/>
                      </a:lnTo>
                      <a:lnTo>
                        <a:pt x="80" y="142"/>
                      </a:lnTo>
                      <a:close/>
                      <a:moveTo>
                        <a:pt x="88" y="142"/>
                      </a:moveTo>
                      <a:lnTo>
                        <a:pt x="88" y="143"/>
                      </a:lnTo>
                      <a:lnTo>
                        <a:pt x="88" y="142"/>
                      </a:lnTo>
                      <a:lnTo>
                        <a:pt x="87" y="142"/>
                      </a:lnTo>
                      <a:lnTo>
                        <a:pt x="87" y="140"/>
                      </a:lnTo>
                      <a:lnTo>
                        <a:pt x="86" y="140"/>
                      </a:lnTo>
                      <a:lnTo>
                        <a:pt x="87" y="140"/>
                      </a:lnTo>
                      <a:lnTo>
                        <a:pt x="88" y="142"/>
                      </a:lnTo>
                      <a:close/>
                      <a:moveTo>
                        <a:pt x="131" y="138"/>
                      </a:moveTo>
                      <a:lnTo>
                        <a:pt x="131" y="139"/>
                      </a:lnTo>
                      <a:lnTo>
                        <a:pt x="130" y="139"/>
                      </a:lnTo>
                      <a:lnTo>
                        <a:pt x="130" y="138"/>
                      </a:lnTo>
                      <a:lnTo>
                        <a:pt x="129" y="138"/>
                      </a:lnTo>
                      <a:lnTo>
                        <a:pt x="130" y="138"/>
                      </a:lnTo>
                      <a:lnTo>
                        <a:pt x="131" y="137"/>
                      </a:lnTo>
                      <a:lnTo>
                        <a:pt x="131" y="138"/>
                      </a:lnTo>
                      <a:close/>
                      <a:moveTo>
                        <a:pt x="101" y="137"/>
                      </a:moveTo>
                      <a:lnTo>
                        <a:pt x="102" y="137"/>
                      </a:lnTo>
                      <a:lnTo>
                        <a:pt x="102" y="138"/>
                      </a:lnTo>
                      <a:lnTo>
                        <a:pt x="101" y="138"/>
                      </a:lnTo>
                      <a:lnTo>
                        <a:pt x="100" y="138"/>
                      </a:lnTo>
                      <a:lnTo>
                        <a:pt x="101" y="138"/>
                      </a:lnTo>
                      <a:lnTo>
                        <a:pt x="100" y="138"/>
                      </a:lnTo>
                      <a:lnTo>
                        <a:pt x="98" y="138"/>
                      </a:lnTo>
                      <a:lnTo>
                        <a:pt x="97" y="137"/>
                      </a:lnTo>
                      <a:lnTo>
                        <a:pt x="98" y="137"/>
                      </a:lnTo>
                      <a:lnTo>
                        <a:pt x="100" y="137"/>
                      </a:lnTo>
                      <a:lnTo>
                        <a:pt x="100" y="136"/>
                      </a:lnTo>
                      <a:lnTo>
                        <a:pt x="100" y="137"/>
                      </a:lnTo>
                      <a:lnTo>
                        <a:pt x="101" y="137"/>
                      </a:lnTo>
                      <a:lnTo>
                        <a:pt x="100" y="136"/>
                      </a:lnTo>
                      <a:lnTo>
                        <a:pt x="100" y="135"/>
                      </a:lnTo>
                      <a:lnTo>
                        <a:pt x="101" y="136"/>
                      </a:lnTo>
                      <a:lnTo>
                        <a:pt x="101" y="137"/>
                      </a:lnTo>
                      <a:close/>
                      <a:moveTo>
                        <a:pt x="102" y="133"/>
                      </a:moveTo>
                      <a:lnTo>
                        <a:pt x="102" y="135"/>
                      </a:lnTo>
                      <a:lnTo>
                        <a:pt x="101" y="136"/>
                      </a:lnTo>
                      <a:lnTo>
                        <a:pt x="101" y="135"/>
                      </a:lnTo>
                      <a:lnTo>
                        <a:pt x="101" y="133"/>
                      </a:lnTo>
                      <a:lnTo>
                        <a:pt x="102" y="133"/>
                      </a:lnTo>
                      <a:lnTo>
                        <a:pt x="102" y="132"/>
                      </a:lnTo>
                      <a:lnTo>
                        <a:pt x="102" y="133"/>
                      </a:lnTo>
                      <a:close/>
                      <a:moveTo>
                        <a:pt x="117" y="132"/>
                      </a:moveTo>
                      <a:lnTo>
                        <a:pt x="118" y="132"/>
                      </a:lnTo>
                      <a:lnTo>
                        <a:pt x="118" y="133"/>
                      </a:lnTo>
                      <a:lnTo>
                        <a:pt x="117" y="133"/>
                      </a:lnTo>
                      <a:lnTo>
                        <a:pt x="116" y="133"/>
                      </a:lnTo>
                      <a:lnTo>
                        <a:pt x="116" y="132"/>
                      </a:lnTo>
                      <a:lnTo>
                        <a:pt x="117" y="132"/>
                      </a:lnTo>
                      <a:close/>
                      <a:moveTo>
                        <a:pt x="135" y="130"/>
                      </a:moveTo>
                      <a:lnTo>
                        <a:pt x="135" y="131"/>
                      </a:lnTo>
                      <a:lnTo>
                        <a:pt x="136" y="131"/>
                      </a:lnTo>
                      <a:lnTo>
                        <a:pt x="136" y="132"/>
                      </a:lnTo>
                      <a:lnTo>
                        <a:pt x="135" y="132"/>
                      </a:lnTo>
                      <a:lnTo>
                        <a:pt x="133" y="132"/>
                      </a:lnTo>
                      <a:lnTo>
                        <a:pt x="132" y="131"/>
                      </a:lnTo>
                      <a:lnTo>
                        <a:pt x="133" y="130"/>
                      </a:lnTo>
                      <a:lnTo>
                        <a:pt x="135" y="130"/>
                      </a:lnTo>
                      <a:close/>
                      <a:moveTo>
                        <a:pt x="114" y="130"/>
                      </a:moveTo>
                      <a:lnTo>
                        <a:pt x="114" y="131"/>
                      </a:lnTo>
                      <a:lnTo>
                        <a:pt x="114" y="130"/>
                      </a:lnTo>
                      <a:lnTo>
                        <a:pt x="114" y="129"/>
                      </a:lnTo>
                      <a:lnTo>
                        <a:pt x="115" y="129"/>
                      </a:lnTo>
                      <a:lnTo>
                        <a:pt x="114" y="129"/>
                      </a:lnTo>
                      <a:lnTo>
                        <a:pt x="114" y="130"/>
                      </a:lnTo>
                      <a:close/>
                      <a:moveTo>
                        <a:pt x="118" y="126"/>
                      </a:moveTo>
                      <a:lnTo>
                        <a:pt x="119" y="126"/>
                      </a:lnTo>
                      <a:lnTo>
                        <a:pt x="119" y="125"/>
                      </a:lnTo>
                      <a:lnTo>
                        <a:pt x="121" y="125"/>
                      </a:lnTo>
                      <a:lnTo>
                        <a:pt x="119" y="125"/>
                      </a:lnTo>
                      <a:lnTo>
                        <a:pt x="119" y="124"/>
                      </a:lnTo>
                      <a:lnTo>
                        <a:pt x="121" y="124"/>
                      </a:lnTo>
                      <a:lnTo>
                        <a:pt x="121" y="125"/>
                      </a:lnTo>
                      <a:lnTo>
                        <a:pt x="121" y="126"/>
                      </a:lnTo>
                      <a:lnTo>
                        <a:pt x="121" y="128"/>
                      </a:lnTo>
                      <a:lnTo>
                        <a:pt x="119" y="128"/>
                      </a:lnTo>
                      <a:lnTo>
                        <a:pt x="118" y="128"/>
                      </a:lnTo>
                      <a:lnTo>
                        <a:pt x="118" y="129"/>
                      </a:lnTo>
                      <a:lnTo>
                        <a:pt x="119" y="129"/>
                      </a:lnTo>
                      <a:lnTo>
                        <a:pt x="118" y="130"/>
                      </a:lnTo>
                      <a:lnTo>
                        <a:pt x="118" y="131"/>
                      </a:lnTo>
                      <a:lnTo>
                        <a:pt x="119" y="131"/>
                      </a:lnTo>
                      <a:lnTo>
                        <a:pt x="118" y="131"/>
                      </a:lnTo>
                      <a:lnTo>
                        <a:pt x="118" y="130"/>
                      </a:lnTo>
                      <a:lnTo>
                        <a:pt x="117" y="131"/>
                      </a:lnTo>
                      <a:lnTo>
                        <a:pt x="117" y="130"/>
                      </a:lnTo>
                      <a:lnTo>
                        <a:pt x="117" y="129"/>
                      </a:lnTo>
                      <a:lnTo>
                        <a:pt x="116" y="129"/>
                      </a:lnTo>
                      <a:lnTo>
                        <a:pt x="115" y="128"/>
                      </a:lnTo>
                      <a:lnTo>
                        <a:pt x="116" y="129"/>
                      </a:lnTo>
                      <a:lnTo>
                        <a:pt x="117" y="128"/>
                      </a:lnTo>
                      <a:lnTo>
                        <a:pt x="116" y="128"/>
                      </a:lnTo>
                      <a:lnTo>
                        <a:pt x="116" y="126"/>
                      </a:lnTo>
                      <a:lnTo>
                        <a:pt x="115" y="126"/>
                      </a:lnTo>
                      <a:lnTo>
                        <a:pt x="115" y="125"/>
                      </a:lnTo>
                      <a:lnTo>
                        <a:pt x="116" y="125"/>
                      </a:lnTo>
                      <a:lnTo>
                        <a:pt x="116" y="124"/>
                      </a:lnTo>
                      <a:lnTo>
                        <a:pt x="117" y="124"/>
                      </a:lnTo>
                      <a:lnTo>
                        <a:pt x="118" y="124"/>
                      </a:lnTo>
                      <a:lnTo>
                        <a:pt x="118" y="125"/>
                      </a:lnTo>
                      <a:lnTo>
                        <a:pt x="117" y="125"/>
                      </a:lnTo>
                      <a:lnTo>
                        <a:pt x="118" y="125"/>
                      </a:lnTo>
                      <a:lnTo>
                        <a:pt x="118" y="126"/>
                      </a:lnTo>
                      <a:close/>
                      <a:moveTo>
                        <a:pt x="143" y="12"/>
                      </a:moveTo>
                      <a:lnTo>
                        <a:pt x="144" y="12"/>
                      </a:lnTo>
                      <a:lnTo>
                        <a:pt x="146" y="11"/>
                      </a:lnTo>
                      <a:lnTo>
                        <a:pt x="147" y="12"/>
                      </a:lnTo>
                      <a:lnTo>
                        <a:pt x="146" y="12"/>
                      </a:lnTo>
                      <a:lnTo>
                        <a:pt x="145" y="13"/>
                      </a:lnTo>
                      <a:lnTo>
                        <a:pt x="146" y="13"/>
                      </a:lnTo>
                      <a:lnTo>
                        <a:pt x="146" y="14"/>
                      </a:lnTo>
                      <a:lnTo>
                        <a:pt x="145" y="14"/>
                      </a:lnTo>
                      <a:lnTo>
                        <a:pt x="146" y="16"/>
                      </a:lnTo>
                      <a:lnTo>
                        <a:pt x="146" y="14"/>
                      </a:lnTo>
                      <a:lnTo>
                        <a:pt x="147" y="14"/>
                      </a:lnTo>
                      <a:lnTo>
                        <a:pt x="149" y="14"/>
                      </a:lnTo>
                      <a:lnTo>
                        <a:pt x="149" y="16"/>
                      </a:lnTo>
                      <a:lnTo>
                        <a:pt x="150" y="17"/>
                      </a:lnTo>
                      <a:lnTo>
                        <a:pt x="151" y="17"/>
                      </a:lnTo>
                      <a:lnTo>
                        <a:pt x="152" y="17"/>
                      </a:lnTo>
                      <a:lnTo>
                        <a:pt x="153" y="18"/>
                      </a:lnTo>
                      <a:lnTo>
                        <a:pt x="154" y="18"/>
                      </a:lnTo>
                      <a:lnTo>
                        <a:pt x="154" y="19"/>
                      </a:lnTo>
                      <a:lnTo>
                        <a:pt x="154" y="21"/>
                      </a:lnTo>
                      <a:lnTo>
                        <a:pt x="154" y="23"/>
                      </a:lnTo>
                      <a:lnTo>
                        <a:pt x="153" y="24"/>
                      </a:lnTo>
                      <a:lnTo>
                        <a:pt x="152" y="25"/>
                      </a:lnTo>
                      <a:lnTo>
                        <a:pt x="153" y="25"/>
                      </a:lnTo>
                      <a:lnTo>
                        <a:pt x="153" y="26"/>
                      </a:lnTo>
                      <a:lnTo>
                        <a:pt x="153" y="27"/>
                      </a:lnTo>
                      <a:lnTo>
                        <a:pt x="153" y="28"/>
                      </a:lnTo>
                      <a:lnTo>
                        <a:pt x="154" y="30"/>
                      </a:lnTo>
                      <a:lnTo>
                        <a:pt x="154" y="34"/>
                      </a:lnTo>
                      <a:lnTo>
                        <a:pt x="156" y="35"/>
                      </a:lnTo>
                      <a:lnTo>
                        <a:pt x="157" y="35"/>
                      </a:lnTo>
                      <a:lnTo>
                        <a:pt x="158" y="35"/>
                      </a:lnTo>
                      <a:lnTo>
                        <a:pt x="158" y="37"/>
                      </a:lnTo>
                      <a:lnTo>
                        <a:pt x="159" y="41"/>
                      </a:lnTo>
                      <a:lnTo>
                        <a:pt x="160" y="42"/>
                      </a:lnTo>
                      <a:lnTo>
                        <a:pt x="160" y="44"/>
                      </a:lnTo>
                      <a:lnTo>
                        <a:pt x="161" y="44"/>
                      </a:lnTo>
                      <a:lnTo>
                        <a:pt x="162" y="44"/>
                      </a:lnTo>
                      <a:lnTo>
                        <a:pt x="164" y="44"/>
                      </a:lnTo>
                      <a:lnTo>
                        <a:pt x="164" y="45"/>
                      </a:lnTo>
                      <a:lnTo>
                        <a:pt x="165" y="47"/>
                      </a:lnTo>
                      <a:lnTo>
                        <a:pt x="165" y="49"/>
                      </a:lnTo>
                      <a:lnTo>
                        <a:pt x="166" y="52"/>
                      </a:lnTo>
                      <a:lnTo>
                        <a:pt x="167" y="53"/>
                      </a:lnTo>
                      <a:lnTo>
                        <a:pt x="167" y="52"/>
                      </a:lnTo>
                      <a:lnTo>
                        <a:pt x="168" y="52"/>
                      </a:lnTo>
                      <a:lnTo>
                        <a:pt x="168" y="53"/>
                      </a:lnTo>
                      <a:lnTo>
                        <a:pt x="168" y="54"/>
                      </a:lnTo>
                      <a:lnTo>
                        <a:pt x="169" y="55"/>
                      </a:lnTo>
                      <a:lnTo>
                        <a:pt x="169" y="56"/>
                      </a:lnTo>
                      <a:lnTo>
                        <a:pt x="169" y="58"/>
                      </a:lnTo>
                      <a:lnTo>
                        <a:pt x="168" y="58"/>
                      </a:lnTo>
                      <a:lnTo>
                        <a:pt x="167" y="59"/>
                      </a:lnTo>
                      <a:lnTo>
                        <a:pt x="168" y="60"/>
                      </a:lnTo>
                      <a:lnTo>
                        <a:pt x="169" y="63"/>
                      </a:lnTo>
                      <a:lnTo>
                        <a:pt x="169" y="65"/>
                      </a:lnTo>
                      <a:lnTo>
                        <a:pt x="171" y="68"/>
                      </a:lnTo>
                      <a:lnTo>
                        <a:pt x="171" y="70"/>
                      </a:lnTo>
                      <a:lnTo>
                        <a:pt x="171" y="72"/>
                      </a:lnTo>
                      <a:lnTo>
                        <a:pt x="171" y="73"/>
                      </a:lnTo>
                      <a:lnTo>
                        <a:pt x="172" y="73"/>
                      </a:lnTo>
                      <a:lnTo>
                        <a:pt x="172" y="74"/>
                      </a:lnTo>
                      <a:lnTo>
                        <a:pt x="172" y="75"/>
                      </a:lnTo>
                      <a:lnTo>
                        <a:pt x="172" y="81"/>
                      </a:lnTo>
                      <a:lnTo>
                        <a:pt x="171" y="82"/>
                      </a:lnTo>
                      <a:lnTo>
                        <a:pt x="169" y="84"/>
                      </a:lnTo>
                      <a:lnTo>
                        <a:pt x="168" y="86"/>
                      </a:lnTo>
                      <a:lnTo>
                        <a:pt x="167" y="87"/>
                      </a:lnTo>
                      <a:lnTo>
                        <a:pt x="167" y="89"/>
                      </a:lnTo>
                      <a:lnTo>
                        <a:pt x="165" y="90"/>
                      </a:lnTo>
                      <a:lnTo>
                        <a:pt x="165" y="91"/>
                      </a:lnTo>
                      <a:lnTo>
                        <a:pt x="166" y="93"/>
                      </a:lnTo>
                      <a:lnTo>
                        <a:pt x="166" y="94"/>
                      </a:lnTo>
                      <a:lnTo>
                        <a:pt x="166" y="95"/>
                      </a:lnTo>
                      <a:lnTo>
                        <a:pt x="165" y="96"/>
                      </a:lnTo>
                      <a:lnTo>
                        <a:pt x="161" y="96"/>
                      </a:lnTo>
                      <a:lnTo>
                        <a:pt x="160" y="97"/>
                      </a:lnTo>
                      <a:lnTo>
                        <a:pt x="159" y="97"/>
                      </a:lnTo>
                      <a:lnTo>
                        <a:pt x="158" y="98"/>
                      </a:lnTo>
                      <a:lnTo>
                        <a:pt x="158" y="100"/>
                      </a:lnTo>
                      <a:lnTo>
                        <a:pt x="157" y="100"/>
                      </a:lnTo>
                      <a:lnTo>
                        <a:pt x="156" y="100"/>
                      </a:lnTo>
                      <a:lnTo>
                        <a:pt x="156" y="101"/>
                      </a:lnTo>
                      <a:lnTo>
                        <a:pt x="154" y="102"/>
                      </a:lnTo>
                      <a:lnTo>
                        <a:pt x="154" y="103"/>
                      </a:lnTo>
                      <a:lnTo>
                        <a:pt x="154" y="104"/>
                      </a:lnTo>
                      <a:lnTo>
                        <a:pt x="154" y="105"/>
                      </a:lnTo>
                      <a:lnTo>
                        <a:pt x="153" y="107"/>
                      </a:lnTo>
                      <a:lnTo>
                        <a:pt x="152" y="109"/>
                      </a:lnTo>
                      <a:lnTo>
                        <a:pt x="150" y="110"/>
                      </a:lnTo>
                      <a:lnTo>
                        <a:pt x="150" y="111"/>
                      </a:lnTo>
                      <a:lnTo>
                        <a:pt x="149" y="112"/>
                      </a:lnTo>
                      <a:lnTo>
                        <a:pt x="149" y="114"/>
                      </a:lnTo>
                      <a:lnTo>
                        <a:pt x="147" y="114"/>
                      </a:lnTo>
                      <a:lnTo>
                        <a:pt x="146" y="115"/>
                      </a:lnTo>
                      <a:lnTo>
                        <a:pt x="145" y="115"/>
                      </a:lnTo>
                      <a:lnTo>
                        <a:pt x="144" y="116"/>
                      </a:lnTo>
                      <a:lnTo>
                        <a:pt x="144" y="119"/>
                      </a:lnTo>
                      <a:lnTo>
                        <a:pt x="143" y="119"/>
                      </a:lnTo>
                      <a:lnTo>
                        <a:pt x="143" y="121"/>
                      </a:lnTo>
                      <a:lnTo>
                        <a:pt x="143" y="122"/>
                      </a:lnTo>
                      <a:lnTo>
                        <a:pt x="143" y="123"/>
                      </a:lnTo>
                      <a:lnTo>
                        <a:pt x="143" y="124"/>
                      </a:lnTo>
                      <a:lnTo>
                        <a:pt x="142" y="124"/>
                      </a:lnTo>
                      <a:lnTo>
                        <a:pt x="140" y="126"/>
                      </a:lnTo>
                      <a:lnTo>
                        <a:pt x="139" y="126"/>
                      </a:lnTo>
                      <a:lnTo>
                        <a:pt x="139" y="125"/>
                      </a:lnTo>
                      <a:lnTo>
                        <a:pt x="139" y="126"/>
                      </a:lnTo>
                      <a:lnTo>
                        <a:pt x="138" y="128"/>
                      </a:lnTo>
                      <a:lnTo>
                        <a:pt x="137" y="128"/>
                      </a:lnTo>
                      <a:lnTo>
                        <a:pt x="137" y="129"/>
                      </a:lnTo>
                      <a:lnTo>
                        <a:pt x="136" y="128"/>
                      </a:lnTo>
                      <a:lnTo>
                        <a:pt x="135" y="128"/>
                      </a:lnTo>
                      <a:lnTo>
                        <a:pt x="135" y="129"/>
                      </a:lnTo>
                      <a:lnTo>
                        <a:pt x="133" y="128"/>
                      </a:lnTo>
                      <a:lnTo>
                        <a:pt x="133" y="126"/>
                      </a:lnTo>
                      <a:lnTo>
                        <a:pt x="133" y="128"/>
                      </a:lnTo>
                      <a:lnTo>
                        <a:pt x="132" y="128"/>
                      </a:lnTo>
                      <a:lnTo>
                        <a:pt x="131" y="128"/>
                      </a:lnTo>
                      <a:lnTo>
                        <a:pt x="131" y="126"/>
                      </a:lnTo>
                      <a:lnTo>
                        <a:pt x="132" y="126"/>
                      </a:lnTo>
                      <a:lnTo>
                        <a:pt x="132" y="125"/>
                      </a:lnTo>
                      <a:lnTo>
                        <a:pt x="131" y="125"/>
                      </a:lnTo>
                      <a:lnTo>
                        <a:pt x="130" y="125"/>
                      </a:lnTo>
                      <a:lnTo>
                        <a:pt x="131" y="125"/>
                      </a:lnTo>
                      <a:lnTo>
                        <a:pt x="131" y="124"/>
                      </a:lnTo>
                      <a:lnTo>
                        <a:pt x="132" y="124"/>
                      </a:lnTo>
                      <a:lnTo>
                        <a:pt x="131" y="124"/>
                      </a:lnTo>
                      <a:lnTo>
                        <a:pt x="130" y="124"/>
                      </a:lnTo>
                      <a:lnTo>
                        <a:pt x="129" y="124"/>
                      </a:lnTo>
                      <a:lnTo>
                        <a:pt x="128" y="124"/>
                      </a:lnTo>
                      <a:lnTo>
                        <a:pt x="129" y="126"/>
                      </a:lnTo>
                      <a:lnTo>
                        <a:pt x="128" y="126"/>
                      </a:lnTo>
                      <a:lnTo>
                        <a:pt x="128" y="128"/>
                      </a:lnTo>
                      <a:lnTo>
                        <a:pt x="126" y="128"/>
                      </a:lnTo>
                      <a:lnTo>
                        <a:pt x="126" y="129"/>
                      </a:lnTo>
                      <a:lnTo>
                        <a:pt x="125" y="129"/>
                      </a:lnTo>
                      <a:lnTo>
                        <a:pt x="125" y="128"/>
                      </a:lnTo>
                      <a:lnTo>
                        <a:pt x="125" y="129"/>
                      </a:lnTo>
                      <a:lnTo>
                        <a:pt x="125" y="128"/>
                      </a:lnTo>
                      <a:lnTo>
                        <a:pt x="124" y="128"/>
                      </a:lnTo>
                      <a:lnTo>
                        <a:pt x="124" y="126"/>
                      </a:lnTo>
                      <a:lnTo>
                        <a:pt x="124" y="128"/>
                      </a:lnTo>
                      <a:lnTo>
                        <a:pt x="123" y="128"/>
                      </a:lnTo>
                      <a:lnTo>
                        <a:pt x="122" y="126"/>
                      </a:lnTo>
                      <a:lnTo>
                        <a:pt x="123" y="126"/>
                      </a:lnTo>
                      <a:lnTo>
                        <a:pt x="122" y="126"/>
                      </a:lnTo>
                      <a:lnTo>
                        <a:pt x="122" y="125"/>
                      </a:lnTo>
                      <a:lnTo>
                        <a:pt x="121" y="124"/>
                      </a:lnTo>
                      <a:lnTo>
                        <a:pt x="122" y="124"/>
                      </a:lnTo>
                      <a:lnTo>
                        <a:pt x="122" y="125"/>
                      </a:lnTo>
                      <a:lnTo>
                        <a:pt x="123" y="125"/>
                      </a:lnTo>
                      <a:lnTo>
                        <a:pt x="124" y="125"/>
                      </a:lnTo>
                      <a:lnTo>
                        <a:pt x="123" y="125"/>
                      </a:lnTo>
                      <a:lnTo>
                        <a:pt x="124" y="125"/>
                      </a:lnTo>
                      <a:lnTo>
                        <a:pt x="124" y="124"/>
                      </a:lnTo>
                      <a:lnTo>
                        <a:pt x="123" y="124"/>
                      </a:lnTo>
                      <a:lnTo>
                        <a:pt x="123" y="123"/>
                      </a:lnTo>
                      <a:lnTo>
                        <a:pt x="122" y="123"/>
                      </a:lnTo>
                      <a:lnTo>
                        <a:pt x="122" y="124"/>
                      </a:lnTo>
                      <a:lnTo>
                        <a:pt x="122" y="123"/>
                      </a:lnTo>
                      <a:lnTo>
                        <a:pt x="121" y="123"/>
                      </a:lnTo>
                      <a:lnTo>
                        <a:pt x="119" y="123"/>
                      </a:lnTo>
                      <a:lnTo>
                        <a:pt x="121" y="123"/>
                      </a:lnTo>
                      <a:lnTo>
                        <a:pt x="119" y="122"/>
                      </a:lnTo>
                      <a:lnTo>
                        <a:pt x="118" y="123"/>
                      </a:lnTo>
                      <a:lnTo>
                        <a:pt x="118" y="122"/>
                      </a:lnTo>
                      <a:lnTo>
                        <a:pt x="119" y="122"/>
                      </a:lnTo>
                      <a:lnTo>
                        <a:pt x="119" y="121"/>
                      </a:lnTo>
                      <a:lnTo>
                        <a:pt x="121" y="119"/>
                      </a:lnTo>
                      <a:lnTo>
                        <a:pt x="121" y="118"/>
                      </a:lnTo>
                      <a:lnTo>
                        <a:pt x="119" y="118"/>
                      </a:lnTo>
                      <a:lnTo>
                        <a:pt x="119" y="119"/>
                      </a:lnTo>
                      <a:lnTo>
                        <a:pt x="118" y="121"/>
                      </a:lnTo>
                      <a:lnTo>
                        <a:pt x="117" y="121"/>
                      </a:lnTo>
                      <a:lnTo>
                        <a:pt x="117" y="118"/>
                      </a:lnTo>
                      <a:lnTo>
                        <a:pt x="117" y="119"/>
                      </a:lnTo>
                      <a:lnTo>
                        <a:pt x="116" y="119"/>
                      </a:lnTo>
                      <a:lnTo>
                        <a:pt x="116" y="121"/>
                      </a:lnTo>
                      <a:lnTo>
                        <a:pt x="115" y="121"/>
                      </a:lnTo>
                      <a:lnTo>
                        <a:pt x="115" y="122"/>
                      </a:lnTo>
                      <a:lnTo>
                        <a:pt x="116" y="122"/>
                      </a:lnTo>
                      <a:lnTo>
                        <a:pt x="117" y="122"/>
                      </a:lnTo>
                      <a:lnTo>
                        <a:pt x="117" y="123"/>
                      </a:lnTo>
                      <a:lnTo>
                        <a:pt x="116" y="123"/>
                      </a:lnTo>
                      <a:lnTo>
                        <a:pt x="115" y="123"/>
                      </a:lnTo>
                      <a:lnTo>
                        <a:pt x="115" y="124"/>
                      </a:lnTo>
                      <a:lnTo>
                        <a:pt x="114" y="124"/>
                      </a:lnTo>
                      <a:lnTo>
                        <a:pt x="114" y="125"/>
                      </a:lnTo>
                      <a:lnTo>
                        <a:pt x="114" y="126"/>
                      </a:lnTo>
                      <a:lnTo>
                        <a:pt x="112" y="126"/>
                      </a:lnTo>
                      <a:lnTo>
                        <a:pt x="112" y="128"/>
                      </a:lnTo>
                      <a:lnTo>
                        <a:pt x="112" y="126"/>
                      </a:lnTo>
                      <a:lnTo>
                        <a:pt x="111" y="126"/>
                      </a:lnTo>
                      <a:lnTo>
                        <a:pt x="111" y="125"/>
                      </a:lnTo>
                      <a:lnTo>
                        <a:pt x="110" y="125"/>
                      </a:lnTo>
                      <a:lnTo>
                        <a:pt x="110" y="126"/>
                      </a:lnTo>
                      <a:lnTo>
                        <a:pt x="111" y="126"/>
                      </a:lnTo>
                      <a:lnTo>
                        <a:pt x="110" y="126"/>
                      </a:lnTo>
                      <a:lnTo>
                        <a:pt x="111" y="126"/>
                      </a:lnTo>
                      <a:lnTo>
                        <a:pt x="111" y="128"/>
                      </a:lnTo>
                      <a:lnTo>
                        <a:pt x="111" y="129"/>
                      </a:lnTo>
                      <a:lnTo>
                        <a:pt x="109" y="130"/>
                      </a:lnTo>
                      <a:lnTo>
                        <a:pt x="108" y="131"/>
                      </a:lnTo>
                      <a:lnTo>
                        <a:pt x="105" y="131"/>
                      </a:lnTo>
                      <a:lnTo>
                        <a:pt x="104" y="131"/>
                      </a:lnTo>
                      <a:lnTo>
                        <a:pt x="104" y="130"/>
                      </a:lnTo>
                      <a:lnTo>
                        <a:pt x="105" y="129"/>
                      </a:lnTo>
                      <a:lnTo>
                        <a:pt x="104" y="129"/>
                      </a:lnTo>
                      <a:lnTo>
                        <a:pt x="105" y="129"/>
                      </a:lnTo>
                      <a:lnTo>
                        <a:pt x="104" y="129"/>
                      </a:lnTo>
                      <a:lnTo>
                        <a:pt x="104" y="128"/>
                      </a:lnTo>
                      <a:lnTo>
                        <a:pt x="105" y="128"/>
                      </a:lnTo>
                      <a:lnTo>
                        <a:pt x="104" y="128"/>
                      </a:lnTo>
                      <a:lnTo>
                        <a:pt x="104" y="129"/>
                      </a:lnTo>
                      <a:lnTo>
                        <a:pt x="103" y="129"/>
                      </a:lnTo>
                      <a:lnTo>
                        <a:pt x="104" y="129"/>
                      </a:lnTo>
                      <a:lnTo>
                        <a:pt x="103" y="129"/>
                      </a:lnTo>
                      <a:lnTo>
                        <a:pt x="102" y="129"/>
                      </a:lnTo>
                      <a:lnTo>
                        <a:pt x="102" y="130"/>
                      </a:lnTo>
                      <a:lnTo>
                        <a:pt x="102" y="131"/>
                      </a:lnTo>
                      <a:lnTo>
                        <a:pt x="101" y="130"/>
                      </a:lnTo>
                      <a:lnTo>
                        <a:pt x="100" y="130"/>
                      </a:lnTo>
                      <a:lnTo>
                        <a:pt x="100" y="131"/>
                      </a:lnTo>
                      <a:lnTo>
                        <a:pt x="98" y="131"/>
                      </a:lnTo>
                      <a:lnTo>
                        <a:pt x="97" y="131"/>
                      </a:lnTo>
                      <a:lnTo>
                        <a:pt x="97" y="130"/>
                      </a:lnTo>
                      <a:lnTo>
                        <a:pt x="98" y="130"/>
                      </a:lnTo>
                      <a:lnTo>
                        <a:pt x="100" y="130"/>
                      </a:lnTo>
                      <a:lnTo>
                        <a:pt x="100" y="129"/>
                      </a:lnTo>
                      <a:lnTo>
                        <a:pt x="100" y="128"/>
                      </a:lnTo>
                      <a:lnTo>
                        <a:pt x="98" y="129"/>
                      </a:lnTo>
                      <a:lnTo>
                        <a:pt x="97" y="129"/>
                      </a:lnTo>
                      <a:lnTo>
                        <a:pt x="97" y="128"/>
                      </a:lnTo>
                      <a:lnTo>
                        <a:pt x="98" y="126"/>
                      </a:lnTo>
                      <a:lnTo>
                        <a:pt x="97" y="126"/>
                      </a:lnTo>
                      <a:lnTo>
                        <a:pt x="97" y="125"/>
                      </a:lnTo>
                      <a:lnTo>
                        <a:pt x="96" y="126"/>
                      </a:lnTo>
                      <a:lnTo>
                        <a:pt x="96" y="128"/>
                      </a:lnTo>
                      <a:lnTo>
                        <a:pt x="95" y="128"/>
                      </a:lnTo>
                      <a:lnTo>
                        <a:pt x="95" y="129"/>
                      </a:lnTo>
                      <a:lnTo>
                        <a:pt x="96" y="129"/>
                      </a:lnTo>
                      <a:lnTo>
                        <a:pt x="96" y="130"/>
                      </a:lnTo>
                      <a:lnTo>
                        <a:pt x="95" y="130"/>
                      </a:lnTo>
                      <a:lnTo>
                        <a:pt x="95" y="131"/>
                      </a:lnTo>
                      <a:lnTo>
                        <a:pt x="94" y="130"/>
                      </a:lnTo>
                      <a:lnTo>
                        <a:pt x="94" y="131"/>
                      </a:lnTo>
                      <a:lnTo>
                        <a:pt x="95" y="132"/>
                      </a:lnTo>
                      <a:lnTo>
                        <a:pt x="94" y="132"/>
                      </a:lnTo>
                      <a:lnTo>
                        <a:pt x="94" y="131"/>
                      </a:lnTo>
                      <a:lnTo>
                        <a:pt x="93" y="132"/>
                      </a:lnTo>
                      <a:lnTo>
                        <a:pt x="93" y="131"/>
                      </a:lnTo>
                      <a:lnTo>
                        <a:pt x="92" y="131"/>
                      </a:lnTo>
                      <a:lnTo>
                        <a:pt x="92" y="132"/>
                      </a:lnTo>
                      <a:lnTo>
                        <a:pt x="92" y="133"/>
                      </a:lnTo>
                      <a:lnTo>
                        <a:pt x="90" y="133"/>
                      </a:lnTo>
                      <a:lnTo>
                        <a:pt x="90" y="132"/>
                      </a:lnTo>
                      <a:lnTo>
                        <a:pt x="90" y="131"/>
                      </a:lnTo>
                      <a:lnTo>
                        <a:pt x="92" y="131"/>
                      </a:lnTo>
                      <a:lnTo>
                        <a:pt x="92" y="130"/>
                      </a:lnTo>
                      <a:lnTo>
                        <a:pt x="90" y="130"/>
                      </a:lnTo>
                      <a:lnTo>
                        <a:pt x="90" y="131"/>
                      </a:lnTo>
                      <a:lnTo>
                        <a:pt x="89" y="131"/>
                      </a:lnTo>
                      <a:lnTo>
                        <a:pt x="88" y="131"/>
                      </a:lnTo>
                      <a:lnTo>
                        <a:pt x="88" y="132"/>
                      </a:lnTo>
                      <a:lnTo>
                        <a:pt x="88" y="135"/>
                      </a:lnTo>
                      <a:lnTo>
                        <a:pt x="89" y="135"/>
                      </a:lnTo>
                      <a:lnTo>
                        <a:pt x="88" y="135"/>
                      </a:lnTo>
                      <a:lnTo>
                        <a:pt x="88" y="133"/>
                      </a:lnTo>
                      <a:lnTo>
                        <a:pt x="87" y="133"/>
                      </a:lnTo>
                      <a:lnTo>
                        <a:pt x="86" y="132"/>
                      </a:lnTo>
                      <a:lnTo>
                        <a:pt x="85" y="132"/>
                      </a:lnTo>
                      <a:lnTo>
                        <a:pt x="86" y="133"/>
                      </a:lnTo>
                      <a:lnTo>
                        <a:pt x="86" y="135"/>
                      </a:lnTo>
                      <a:lnTo>
                        <a:pt x="85" y="135"/>
                      </a:lnTo>
                      <a:lnTo>
                        <a:pt x="83" y="133"/>
                      </a:lnTo>
                      <a:lnTo>
                        <a:pt x="83" y="132"/>
                      </a:lnTo>
                      <a:lnTo>
                        <a:pt x="83" y="133"/>
                      </a:lnTo>
                      <a:lnTo>
                        <a:pt x="83" y="135"/>
                      </a:lnTo>
                      <a:lnTo>
                        <a:pt x="83" y="136"/>
                      </a:lnTo>
                      <a:lnTo>
                        <a:pt x="82" y="136"/>
                      </a:lnTo>
                      <a:lnTo>
                        <a:pt x="81" y="136"/>
                      </a:lnTo>
                      <a:lnTo>
                        <a:pt x="80" y="136"/>
                      </a:lnTo>
                      <a:lnTo>
                        <a:pt x="79" y="135"/>
                      </a:lnTo>
                      <a:lnTo>
                        <a:pt x="78" y="136"/>
                      </a:lnTo>
                      <a:lnTo>
                        <a:pt x="79" y="136"/>
                      </a:lnTo>
                      <a:lnTo>
                        <a:pt x="79" y="137"/>
                      </a:lnTo>
                      <a:lnTo>
                        <a:pt x="78" y="137"/>
                      </a:lnTo>
                      <a:lnTo>
                        <a:pt x="76" y="137"/>
                      </a:lnTo>
                      <a:lnTo>
                        <a:pt x="75" y="138"/>
                      </a:lnTo>
                      <a:lnTo>
                        <a:pt x="74" y="138"/>
                      </a:lnTo>
                      <a:lnTo>
                        <a:pt x="75" y="138"/>
                      </a:lnTo>
                      <a:lnTo>
                        <a:pt x="74" y="139"/>
                      </a:lnTo>
                      <a:lnTo>
                        <a:pt x="74" y="140"/>
                      </a:lnTo>
                      <a:lnTo>
                        <a:pt x="75" y="139"/>
                      </a:lnTo>
                      <a:lnTo>
                        <a:pt x="76" y="140"/>
                      </a:lnTo>
                      <a:lnTo>
                        <a:pt x="76" y="142"/>
                      </a:lnTo>
                      <a:lnTo>
                        <a:pt x="78" y="142"/>
                      </a:lnTo>
                      <a:lnTo>
                        <a:pt x="78" y="143"/>
                      </a:lnTo>
                      <a:lnTo>
                        <a:pt x="78" y="144"/>
                      </a:lnTo>
                      <a:lnTo>
                        <a:pt x="76" y="144"/>
                      </a:lnTo>
                      <a:lnTo>
                        <a:pt x="76" y="145"/>
                      </a:lnTo>
                      <a:lnTo>
                        <a:pt x="75" y="145"/>
                      </a:lnTo>
                      <a:lnTo>
                        <a:pt x="75" y="146"/>
                      </a:lnTo>
                      <a:lnTo>
                        <a:pt x="74" y="147"/>
                      </a:lnTo>
                      <a:lnTo>
                        <a:pt x="73" y="149"/>
                      </a:lnTo>
                      <a:lnTo>
                        <a:pt x="72" y="149"/>
                      </a:lnTo>
                      <a:lnTo>
                        <a:pt x="72" y="150"/>
                      </a:lnTo>
                      <a:lnTo>
                        <a:pt x="71" y="152"/>
                      </a:lnTo>
                      <a:lnTo>
                        <a:pt x="69" y="153"/>
                      </a:lnTo>
                      <a:lnTo>
                        <a:pt x="71" y="154"/>
                      </a:lnTo>
                      <a:lnTo>
                        <a:pt x="69" y="154"/>
                      </a:lnTo>
                      <a:lnTo>
                        <a:pt x="69" y="157"/>
                      </a:lnTo>
                      <a:lnTo>
                        <a:pt x="68" y="158"/>
                      </a:lnTo>
                      <a:lnTo>
                        <a:pt x="67" y="158"/>
                      </a:lnTo>
                      <a:lnTo>
                        <a:pt x="67" y="159"/>
                      </a:lnTo>
                      <a:lnTo>
                        <a:pt x="67" y="160"/>
                      </a:lnTo>
                      <a:lnTo>
                        <a:pt x="68" y="160"/>
                      </a:lnTo>
                      <a:lnTo>
                        <a:pt x="69" y="160"/>
                      </a:lnTo>
                      <a:lnTo>
                        <a:pt x="69" y="161"/>
                      </a:lnTo>
                      <a:lnTo>
                        <a:pt x="69" y="163"/>
                      </a:lnTo>
                      <a:lnTo>
                        <a:pt x="69" y="164"/>
                      </a:lnTo>
                      <a:lnTo>
                        <a:pt x="69" y="165"/>
                      </a:lnTo>
                      <a:lnTo>
                        <a:pt x="65" y="165"/>
                      </a:lnTo>
                      <a:lnTo>
                        <a:pt x="59" y="165"/>
                      </a:lnTo>
                      <a:lnTo>
                        <a:pt x="54" y="165"/>
                      </a:lnTo>
                      <a:lnTo>
                        <a:pt x="53" y="165"/>
                      </a:lnTo>
                      <a:lnTo>
                        <a:pt x="47" y="165"/>
                      </a:lnTo>
                      <a:lnTo>
                        <a:pt x="41" y="165"/>
                      </a:lnTo>
                      <a:lnTo>
                        <a:pt x="39" y="165"/>
                      </a:lnTo>
                      <a:lnTo>
                        <a:pt x="38" y="165"/>
                      </a:lnTo>
                      <a:lnTo>
                        <a:pt x="37" y="165"/>
                      </a:lnTo>
                      <a:lnTo>
                        <a:pt x="36" y="166"/>
                      </a:lnTo>
                      <a:lnTo>
                        <a:pt x="34" y="166"/>
                      </a:lnTo>
                      <a:lnTo>
                        <a:pt x="33" y="167"/>
                      </a:lnTo>
                      <a:lnTo>
                        <a:pt x="32" y="167"/>
                      </a:lnTo>
                      <a:lnTo>
                        <a:pt x="31" y="167"/>
                      </a:lnTo>
                      <a:lnTo>
                        <a:pt x="30" y="167"/>
                      </a:lnTo>
                      <a:lnTo>
                        <a:pt x="29" y="167"/>
                      </a:lnTo>
                      <a:lnTo>
                        <a:pt x="28" y="167"/>
                      </a:lnTo>
                      <a:lnTo>
                        <a:pt x="26" y="167"/>
                      </a:lnTo>
                      <a:lnTo>
                        <a:pt x="25" y="167"/>
                      </a:lnTo>
                      <a:lnTo>
                        <a:pt x="24" y="167"/>
                      </a:lnTo>
                      <a:lnTo>
                        <a:pt x="24" y="170"/>
                      </a:lnTo>
                      <a:lnTo>
                        <a:pt x="23" y="170"/>
                      </a:lnTo>
                      <a:lnTo>
                        <a:pt x="23" y="171"/>
                      </a:lnTo>
                      <a:lnTo>
                        <a:pt x="22" y="171"/>
                      </a:lnTo>
                      <a:lnTo>
                        <a:pt x="22" y="172"/>
                      </a:lnTo>
                      <a:lnTo>
                        <a:pt x="21" y="173"/>
                      </a:lnTo>
                      <a:lnTo>
                        <a:pt x="19" y="174"/>
                      </a:lnTo>
                      <a:lnTo>
                        <a:pt x="18" y="174"/>
                      </a:lnTo>
                      <a:lnTo>
                        <a:pt x="18" y="175"/>
                      </a:lnTo>
                      <a:lnTo>
                        <a:pt x="18" y="177"/>
                      </a:lnTo>
                      <a:lnTo>
                        <a:pt x="17" y="177"/>
                      </a:lnTo>
                      <a:lnTo>
                        <a:pt x="16" y="177"/>
                      </a:lnTo>
                      <a:lnTo>
                        <a:pt x="16" y="178"/>
                      </a:lnTo>
                      <a:lnTo>
                        <a:pt x="15" y="178"/>
                      </a:lnTo>
                      <a:lnTo>
                        <a:pt x="15" y="179"/>
                      </a:lnTo>
                      <a:lnTo>
                        <a:pt x="12" y="180"/>
                      </a:lnTo>
                      <a:lnTo>
                        <a:pt x="11" y="180"/>
                      </a:lnTo>
                      <a:lnTo>
                        <a:pt x="10" y="180"/>
                      </a:lnTo>
                      <a:lnTo>
                        <a:pt x="10" y="179"/>
                      </a:lnTo>
                      <a:lnTo>
                        <a:pt x="9" y="179"/>
                      </a:lnTo>
                      <a:lnTo>
                        <a:pt x="9" y="178"/>
                      </a:lnTo>
                      <a:lnTo>
                        <a:pt x="9" y="177"/>
                      </a:lnTo>
                      <a:lnTo>
                        <a:pt x="8" y="175"/>
                      </a:lnTo>
                      <a:lnTo>
                        <a:pt x="7" y="175"/>
                      </a:lnTo>
                      <a:lnTo>
                        <a:pt x="7" y="177"/>
                      </a:lnTo>
                      <a:lnTo>
                        <a:pt x="5" y="177"/>
                      </a:lnTo>
                      <a:lnTo>
                        <a:pt x="4" y="177"/>
                      </a:lnTo>
                      <a:lnTo>
                        <a:pt x="3" y="177"/>
                      </a:lnTo>
                      <a:lnTo>
                        <a:pt x="2" y="178"/>
                      </a:lnTo>
                      <a:lnTo>
                        <a:pt x="1" y="178"/>
                      </a:lnTo>
                      <a:lnTo>
                        <a:pt x="0" y="178"/>
                      </a:lnTo>
                      <a:lnTo>
                        <a:pt x="1" y="175"/>
                      </a:lnTo>
                      <a:lnTo>
                        <a:pt x="0" y="174"/>
                      </a:lnTo>
                      <a:lnTo>
                        <a:pt x="0" y="173"/>
                      </a:lnTo>
                      <a:lnTo>
                        <a:pt x="0" y="172"/>
                      </a:lnTo>
                      <a:lnTo>
                        <a:pt x="0" y="171"/>
                      </a:lnTo>
                      <a:lnTo>
                        <a:pt x="0" y="170"/>
                      </a:lnTo>
                      <a:lnTo>
                        <a:pt x="0" y="168"/>
                      </a:lnTo>
                      <a:lnTo>
                        <a:pt x="0" y="167"/>
                      </a:lnTo>
                      <a:lnTo>
                        <a:pt x="0" y="166"/>
                      </a:lnTo>
                      <a:lnTo>
                        <a:pt x="0" y="165"/>
                      </a:lnTo>
                      <a:lnTo>
                        <a:pt x="0" y="164"/>
                      </a:lnTo>
                      <a:lnTo>
                        <a:pt x="0" y="163"/>
                      </a:lnTo>
                      <a:lnTo>
                        <a:pt x="1" y="161"/>
                      </a:lnTo>
                      <a:lnTo>
                        <a:pt x="1" y="159"/>
                      </a:lnTo>
                      <a:lnTo>
                        <a:pt x="1" y="158"/>
                      </a:lnTo>
                      <a:lnTo>
                        <a:pt x="1" y="157"/>
                      </a:lnTo>
                      <a:lnTo>
                        <a:pt x="1" y="154"/>
                      </a:lnTo>
                      <a:lnTo>
                        <a:pt x="1" y="153"/>
                      </a:lnTo>
                      <a:lnTo>
                        <a:pt x="2" y="153"/>
                      </a:lnTo>
                      <a:lnTo>
                        <a:pt x="1" y="153"/>
                      </a:lnTo>
                      <a:lnTo>
                        <a:pt x="1" y="152"/>
                      </a:lnTo>
                      <a:lnTo>
                        <a:pt x="2" y="152"/>
                      </a:lnTo>
                      <a:lnTo>
                        <a:pt x="2" y="151"/>
                      </a:lnTo>
                      <a:lnTo>
                        <a:pt x="2" y="150"/>
                      </a:lnTo>
                      <a:lnTo>
                        <a:pt x="2" y="149"/>
                      </a:lnTo>
                      <a:lnTo>
                        <a:pt x="3" y="147"/>
                      </a:lnTo>
                      <a:lnTo>
                        <a:pt x="4" y="147"/>
                      </a:lnTo>
                      <a:lnTo>
                        <a:pt x="5" y="147"/>
                      </a:lnTo>
                      <a:lnTo>
                        <a:pt x="7" y="146"/>
                      </a:lnTo>
                      <a:lnTo>
                        <a:pt x="8" y="145"/>
                      </a:lnTo>
                      <a:lnTo>
                        <a:pt x="9" y="144"/>
                      </a:lnTo>
                      <a:lnTo>
                        <a:pt x="9" y="143"/>
                      </a:lnTo>
                      <a:lnTo>
                        <a:pt x="10" y="142"/>
                      </a:lnTo>
                      <a:lnTo>
                        <a:pt x="10" y="139"/>
                      </a:lnTo>
                      <a:lnTo>
                        <a:pt x="10" y="138"/>
                      </a:lnTo>
                      <a:lnTo>
                        <a:pt x="9" y="138"/>
                      </a:lnTo>
                      <a:lnTo>
                        <a:pt x="9" y="139"/>
                      </a:lnTo>
                      <a:lnTo>
                        <a:pt x="8" y="139"/>
                      </a:lnTo>
                      <a:lnTo>
                        <a:pt x="8" y="138"/>
                      </a:lnTo>
                      <a:lnTo>
                        <a:pt x="7" y="138"/>
                      </a:lnTo>
                      <a:lnTo>
                        <a:pt x="7" y="137"/>
                      </a:lnTo>
                      <a:lnTo>
                        <a:pt x="5" y="136"/>
                      </a:lnTo>
                      <a:lnTo>
                        <a:pt x="4" y="136"/>
                      </a:lnTo>
                      <a:lnTo>
                        <a:pt x="3" y="137"/>
                      </a:lnTo>
                      <a:lnTo>
                        <a:pt x="4" y="136"/>
                      </a:lnTo>
                      <a:lnTo>
                        <a:pt x="4" y="135"/>
                      </a:lnTo>
                      <a:lnTo>
                        <a:pt x="4" y="133"/>
                      </a:lnTo>
                      <a:lnTo>
                        <a:pt x="4" y="132"/>
                      </a:lnTo>
                      <a:lnTo>
                        <a:pt x="4" y="131"/>
                      </a:lnTo>
                      <a:lnTo>
                        <a:pt x="5" y="129"/>
                      </a:lnTo>
                      <a:lnTo>
                        <a:pt x="7" y="129"/>
                      </a:lnTo>
                      <a:lnTo>
                        <a:pt x="8" y="123"/>
                      </a:lnTo>
                      <a:lnTo>
                        <a:pt x="9" y="123"/>
                      </a:lnTo>
                      <a:lnTo>
                        <a:pt x="9" y="122"/>
                      </a:lnTo>
                      <a:lnTo>
                        <a:pt x="10" y="119"/>
                      </a:lnTo>
                      <a:lnTo>
                        <a:pt x="11" y="119"/>
                      </a:lnTo>
                      <a:lnTo>
                        <a:pt x="11" y="118"/>
                      </a:lnTo>
                      <a:lnTo>
                        <a:pt x="11" y="117"/>
                      </a:lnTo>
                      <a:lnTo>
                        <a:pt x="11" y="115"/>
                      </a:lnTo>
                      <a:lnTo>
                        <a:pt x="11" y="114"/>
                      </a:lnTo>
                      <a:lnTo>
                        <a:pt x="11" y="111"/>
                      </a:lnTo>
                      <a:lnTo>
                        <a:pt x="11" y="109"/>
                      </a:lnTo>
                      <a:lnTo>
                        <a:pt x="11" y="108"/>
                      </a:lnTo>
                      <a:lnTo>
                        <a:pt x="12" y="108"/>
                      </a:lnTo>
                      <a:lnTo>
                        <a:pt x="12" y="107"/>
                      </a:lnTo>
                      <a:lnTo>
                        <a:pt x="14" y="107"/>
                      </a:lnTo>
                      <a:lnTo>
                        <a:pt x="15" y="105"/>
                      </a:lnTo>
                      <a:lnTo>
                        <a:pt x="18" y="105"/>
                      </a:lnTo>
                      <a:lnTo>
                        <a:pt x="18" y="104"/>
                      </a:lnTo>
                      <a:lnTo>
                        <a:pt x="19" y="103"/>
                      </a:lnTo>
                      <a:lnTo>
                        <a:pt x="21" y="102"/>
                      </a:lnTo>
                      <a:lnTo>
                        <a:pt x="21" y="101"/>
                      </a:lnTo>
                      <a:lnTo>
                        <a:pt x="21" y="100"/>
                      </a:lnTo>
                      <a:lnTo>
                        <a:pt x="21" y="98"/>
                      </a:lnTo>
                      <a:lnTo>
                        <a:pt x="22" y="97"/>
                      </a:lnTo>
                      <a:lnTo>
                        <a:pt x="23" y="97"/>
                      </a:lnTo>
                      <a:lnTo>
                        <a:pt x="24" y="97"/>
                      </a:lnTo>
                      <a:lnTo>
                        <a:pt x="24" y="96"/>
                      </a:lnTo>
                      <a:lnTo>
                        <a:pt x="25" y="96"/>
                      </a:lnTo>
                      <a:lnTo>
                        <a:pt x="26" y="96"/>
                      </a:lnTo>
                      <a:lnTo>
                        <a:pt x="28" y="96"/>
                      </a:lnTo>
                      <a:lnTo>
                        <a:pt x="28" y="95"/>
                      </a:lnTo>
                      <a:lnTo>
                        <a:pt x="29" y="95"/>
                      </a:lnTo>
                      <a:lnTo>
                        <a:pt x="30" y="95"/>
                      </a:lnTo>
                      <a:lnTo>
                        <a:pt x="30" y="96"/>
                      </a:lnTo>
                      <a:lnTo>
                        <a:pt x="29" y="96"/>
                      </a:lnTo>
                      <a:lnTo>
                        <a:pt x="29" y="97"/>
                      </a:lnTo>
                      <a:lnTo>
                        <a:pt x="29" y="98"/>
                      </a:lnTo>
                      <a:lnTo>
                        <a:pt x="30" y="98"/>
                      </a:lnTo>
                      <a:lnTo>
                        <a:pt x="30" y="100"/>
                      </a:lnTo>
                      <a:lnTo>
                        <a:pt x="30" y="101"/>
                      </a:lnTo>
                      <a:lnTo>
                        <a:pt x="29" y="101"/>
                      </a:lnTo>
                      <a:lnTo>
                        <a:pt x="30" y="101"/>
                      </a:lnTo>
                      <a:lnTo>
                        <a:pt x="30" y="102"/>
                      </a:lnTo>
                      <a:lnTo>
                        <a:pt x="31" y="102"/>
                      </a:lnTo>
                      <a:lnTo>
                        <a:pt x="31" y="101"/>
                      </a:lnTo>
                      <a:lnTo>
                        <a:pt x="32" y="101"/>
                      </a:lnTo>
                      <a:lnTo>
                        <a:pt x="36" y="97"/>
                      </a:lnTo>
                      <a:lnTo>
                        <a:pt x="36" y="96"/>
                      </a:lnTo>
                      <a:lnTo>
                        <a:pt x="37" y="95"/>
                      </a:lnTo>
                      <a:lnTo>
                        <a:pt x="41" y="89"/>
                      </a:lnTo>
                      <a:lnTo>
                        <a:pt x="43" y="87"/>
                      </a:lnTo>
                      <a:lnTo>
                        <a:pt x="44" y="86"/>
                      </a:lnTo>
                      <a:lnTo>
                        <a:pt x="45" y="86"/>
                      </a:lnTo>
                      <a:lnTo>
                        <a:pt x="46" y="84"/>
                      </a:lnTo>
                      <a:lnTo>
                        <a:pt x="47" y="83"/>
                      </a:lnTo>
                      <a:lnTo>
                        <a:pt x="47" y="84"/>
                      </a:lnTo>
                      <a:lnTo>
                        <a:pt x="47" y="83"/>
                      </a:lnTo>
                      <a:lnTo>
                        <a:pt x="48" y="83"/>
                      </a:lnTo>
                      <a:lnTo>
                        <a:pt x="48" y="84"/>
                      </a:lnTo>
                      <a:lnTo>
                        <a:pt x="50" y="84"/>
                      </a:lnTo>
                      <a:lnTo>
                        <a:pt x="51" y="83"/>
                      </a:lnTo>
                      <a:lnTo>
                        <a:pt x="53" y="81"/>
                      </a:lnTo>
                      <a:lnTo>
                        <a:pt x="54" y="80"/>
                      </a:lnTo>
                      <a:lnTo>
                        <a:pt x="55" y="79"/>
                      </a:lnTo>
                      <a:lnTo>
                        <a:pt x="55" y="76"/>
                      </a:lnTo>
                      <a:lnTo>
                        <a:pt x="57" y="76"/>
                      </a:lnTo>
                      <a:lnTo>
                        <a:pt x="58" y="76"/>
                      </a:lnTo>
                      <a:lnTo>
                        <a:pt x="58" y="75"/>
                      </a:lnTo>
                      <a:lnTo>
                        <a:pt x="58" y="74"/>
                      </a:lnTo>
                      <a:lnTo>
                        <a:pt x="58" y="73"/>
                      </a:lnTo>
                      <a:lnTo>
                        <a:pt x="58" y="70"/>
                      </a:lnTo>
                      <a:lnTo>
                        <a:pt x="58" y="69"/>
                      </a:lnTo>
                      <a:lnTo>
                        <a:pt x="58" y="67"/>
                      </a:lnTo>
                      <a:lnTo>
                        <a:pt x="58" y="66"/>
                      </a:lnTo>
                      <a:lnTo>
                        <a:pt x="57" y="65"/>
                      </a:lnTo>
                      <a:lnTo>
                        <a:pt x="57" y="62"/>
                      </a:lnTo>
                      <a:lnTo>
                        <a:pt x="58" y="62"/>
                      </a:lnTo>
                      <a:lnTo>
                        <a:pt x="58" y="61"/>
                      </a:lnTo>
                      <a:lnTo>
                        <a:pt x="59" y="61"/>
                      </a:lnTo>
                      <a:lnTo>
                        <a:pt x="60" y="60"/>
                      </a:lnTo>
                      <a:lnTo>
                        <a:pt x="60" y="58"/>
                      </a:lnTo>
                      <a:lnTo>
                        <a:pt x="60" y="59"/>
                      </a:lnTo>
                      <a:lnTo>
                        <a:pt x="60" y="60"/>
                      </a:lnTo>
                      <a:lnTo>
                        <a:pt x="59" y="60"/>
                      </a:lnTo>
                      <a:lnTo>
                        <a:pt x="58" y="61"/>
                      </a:lnTo>
                      <a:lnTo>
                        <a:pt x="57" y="61"/>
                      </a:lnTo>
                      <a:lnTo>
                        <a:pt x="55" y="62"/>
                      </a:lnTo>
                      <a:lnTo>
                        <a:pt x="55" y="63"/>
                      </a:lnTo>
                      <a:lnTo>
                        <a:pt x="54" y="65"/>
                      </a:lnTo>
                      <a:lnTo>
                        <a:pt x="54" y="66"/>
                      </a:lnTo>
                      <a:lnTo>
                        <a:pt x="52" y="65"/>
                      </a:lnTo>
                      <a:lnTo>
                        <a:pt x="51" y="63"/>
                      </a:lnTo>
                      <a:lnTo>
                        <a:pt x="51" y="62"/>
                      </a:lnTo>
                      <a:lnTo>
                        <a:pt x="51" y="61"/>
                      </a:lnTo>
                      <a:lnTo>
                        <a:pt x="50" y="62"/>
                      </a:lnTo>
                      <a:lnTo>
                        <a:pt x="48" y="62"/>
                      </a:lnTo>
                      <a:lnTo>
                        <a:pt x="47" y="61"/>
                      </a:lnTo>
                      <a:lnTo>
                        <a:pt x="46" y="61"/>
                      </a:lnTo>
                      <a:lnTo>
                        <a:pt x="46" y="60"/>
                      </a:lnTo>
                      <a:lnTo>
                        <a:pt x="45" y="59"/>
                      </a:lnTo>
                      <a:lnTo>
                        <a:pt x="44" y="58"/>
                      </a:lnTo>
                      <a:lnTo>
                        <a:pt x="43" y="58"/>
                      </a:lnTo>
                      <a:lnTo>
                        <a:pt x="43" y="59"/>
                      </a:lnTo>
                      <a:lnTo>
                        <a:pt x="43" y="60"/>
                      </a:lnTo>
                      <a:lnTo>
                        <a:pt x="41" y="60"/>
                      </a:lnTo>
                      <a:lnTo>
                        <a:pt x="40" y="60"/>
                      </a:lnTo>
                      <a:lnTo>
                        <a:pt x="39" y="59"/>
                      </a:lnTo>
                      <a:lnTo>
                        <a:pt x="39" y="58"/>
                      </a:lnTo>
                      <a:lnTo>
                        <a:pt x="39" y="56"/>
                      </a:lnTo>
                      <a:lnTo>
                        <a:pt x="37" y="56"/>
                      </a:lnTo>
                      <a:lnTo>
                        <a:pt x="36" y="56"/>
                      </a:lnTo>
                      <a:lnTo>
                        <a:pt x="37" y="55"/>
                      </a:lnTo>
                      <a:lnTo>
                        <a:pt x="37" y="54"/>
                      </a:lnTo>
                      <a:lnTo>
                        <a:pt x="37" y="53"/>
                      </a:lnTo>
                      <a:lnTo>
                        <a:pt x="37" y="52"/>
                      </a:lnTo>
                      <a:lnTo>
                        <a:pt x="38" y="51"/>
                      </a:lnTo>
                      <a:lnTo>
                        <a:pt x="38" y="49"/>
                      </a:lnTo>
                      <a:lnTo>
                        <a:pt x="39" y="47"/>
                      </a:lnTo>
                      <a:lnTo>
                        <a:pt x="39" y="46"/>
                      </a:lnTo>
                      <a:lnTo>
                        <a:pt x="40" y="46"/>
                      </a:lnTo>
                      <a:lnTo>
                        <a:pt x="40" y="44"/>
                      </a:lnTo>
                      <a:lnTo>
                        <a:pt x="40" y="42"/>
                      </a:lnTo>
                      <a:lnTo>
                        <a:pt x="40" y="41"/>
                      </a:lnTo>
                      <a:lnTo>
                        <a:pt x="39" y="40"/>
                      </a:lnTo>
                      <a:lnTo>
                        <a:pt x="39" y="39"/>
                      </a:lnTo>
                      <a:lnTo>
                        <a:pt x="38" y="39"/>
                      </a:lnTo>
                      <a:lnTo>
                        <a:pt x="37" y="38"/>
                      </a:lnTo>
                      <a:lnTo>
                        <a:pt x="37" y="37"/>
                      </a:lnTo>
                      <a:lnTo>
                        <a:pt x="38" y="35"/>
                      </a:lnTo>
                      <a:lnTo>
                        <a:pt x="39" y="31"/>
                      </a:lnTo>
                      <a:lnTo>
                        <a:pt x="39" y="30"/>
                      </a:lnTo>
                      <a:lnTo>
                        <a:pt x="40" y="30"/>
                      </a:lnTo>
                      <a:lnTo>
                        <a:pt x="41" y="28"/>
                      </a:lnTo>
                      <a:lnTo>
                        <a:pt x="43" y="27"/>
                      </a:lnTo>
                      <a:lnTo>
                        <a:pt x="43" y="26"/>
                      </a:lnTo>
                      <a:lnTo>
                        <a:pt x="43" y="25"/>
                      </a:lnTo>
                      <a:lnTo>
                        <a:pt x="43" y="24"/>
                      </a:lnTo>
                      <a:lnTo>
                        <a:pt x="41" y="23"/>
                      </a:lnTo>
                      <a:lnTo>
                        <a:pt x="41" y="24"/>
                      </a:lnTo>
                      <a:lnTo>
                        <a:pt x="40" y="24"/>
                      </a:lnTo>
                      <a:lnTo>
                        <a:pt x="40" y="23"/>
                      </a:lnTo>
                      <a:lnTo>
                        <a:pt x="41" y="21"/>
                      </a:lnTo>
                      <a:lnTo>
                        <a:pt x="43" y="19"/>
                      </a:lnTo>
                      <a:lnTo>
                        <a:pt x="44" y="18"/>
                      </a:lnTo>
                      <a:lnTo>
                        <a:pt x="44" y="17"/>
                      </a:lnTo>
                      <a:lnTo>
                        <a:pt x="45" y="17"/>
                      </a:lnTo>
                      <a:lnTo>
                        <a:pt x="46" y="17"/>
                      </a:lnTo>
                      <a:lnTo>
                        <a:pt x="46" y="16"/>
                      </a:lnTo>
                      <a:lnTo>
                        <a:pt x="47" y="16"/>
                      </a:lnTo>
                      <a:lnTo>
                        <a:pt x="48" y="16"/>
                      </a:lnTo>
                      <a:lnTo>
                        <a:pt x="50" y="14"/>
                      </a:lnTo>
                      <a:lnTo>
                        <a:pt x="51" y="14"/>
                      </a:lnTo>
                      <a:lnTo>
                        <a:pt x="52" y="14"/>
                      </a:lnTo>
                      <a:lnTo>
                        <a:pt x="53" y="14"/>
                      </a:lnTo>
                      <a:lnTo>
                        <a:pt x="54" y="14"/>
                      </a:lnTo>
                      <a:lnTo>
                        <a:pt x="58" y="16"/>
                      </a:lnTo>
                      <a:lnTo>
                        <a:pt x="61" y="18"/>
                      </a:lnTo>
                      <a:lnTo>
                        <a:pt x="62" y="18"/>
                      </a:lnTo>
                      <a:lnTo>
                        <a:pt x="64" y="17"/>
                      </a:lnTo>
                      <a:lnTo>
                        <a:pt x="67" y="17"/>
                      </a:lnTo>
                      <a:lnTo>
                        <a:pt x="69" y="13"/>
                      </a:lnTo>
                      <a:lnTo>
                        <a:pt x="71" y="13"/>
                      </a:lnTo>
                      <a:lnTo>
                        <a:pt x="72" y="14"/>
                      </a:lnTo>
                      <a:lnTo>
                        <a:pt x="74" y="17"/>
                      </a:lnTo>
                      <a:lnTo>
                        <a:pt x="74" y="18"/>
                      </a:lnTo>
                      <a:lnTo>
                        <a:pt x="74" y="20"/>
                      </a:lnTo>
                      <a:lnTo>
                        <a:pt x="75" y="20"/>
                      </a:lnTo>
                      <a:lnTo>
                        <a:pt x="78" y="20"/>
                      </a:lnTo>
                      <a:lnTo>
                        <a:pt x="79" y="20"/>
                      </a:lnTo>
                      <a:lnTo>
                        <a:pt x="79" y="21"/>
                      </a:lnTo>
                      <a:lnTo>
                        <a:pt x="80" y="23"/>
                      </a:lnTo>
                      <a:lnTo>
                        <a:pt x="82" y="23"/>
                      </a:lnTo>
                      <a:lnTo>
                        <a:pt x="82" y="21"/>
                      </a:lnTo>
                      <a:lnTo>
                        <a:pt x="82" y="20"/>
                      </a:lnTo>
                      <a:lnTo>
                        <a:pt x="83" y="19"/>
                      </a:lnTo>
                      <a:lnTo>
                        <a:pt x="89" y="16"/>
                      </a:lnTo>
                      <a:lnTo>
                        <a:pt x="90" y="16"/>
                      </a:lnTo>
                      <a:lnTo>
                        <a:pt x="96" y="16"/>
                      </a:lnTo>
                      <a:lnTo>
                        <a:pt x="101" y="14"/>
                      </a:lnTo>
                      <a:lnTo>
                        <a:pt x="104" y="14"/>
                      </a:lnTo>
                      <a:lnTo>
                        <a:pt x="107" y="13"/>
                      </a:lnTo>
                      <a:lnTo>
                        <a:pt x="108" y="11"/>
                      </a:lnTo>
                      <a:lnTo>
                        <a:pt x="109" y="11"/>
                      </a:lnTo>
                      <a:lnTo>
                        <a:pt x="109" y="12"/>
                      </a:lnTo>
                      <a:lnTo>
                        <a:pt x="114" y="14"/>
                      </a:lnTo>
                      <a:lnTo>
                        <a:pt x="114" y="16"/>
                      </a:lnTo>
                      <a:lnTo>
                        <a:pt x="115" y="16"/>
                      </a:lnTo>
                      <a:lnTo>
                        <a:pt x="118" y="16"/>
                      </a:lnTo>
                      <a:lnTo>
                        <a:pt x="123" y="16"/>
                      </a:lnTo>
                      <a:lnTo>
                        <a:pt x="124" y="16"/>
                      </a:lnTo>
                      <a:lnTo>
                        <a:pt x="125" y="14"/>
                      </a:lnTo>
                      <a:lnTo>
                        <a:pt x="128" y="12"/>
                      </a:lnTo>
                      <a:lnTo>
                        <a:pt x="131" y="10"/>
                      </a:lnTo>
                      <a:lnTo>
                        <a:pt x="135" y="6"/>
                      </a:lnTo>
                      <a:lnTo>
                        <a:pt x="137" y="4"/>
                      </a:lnTo>
                      <a:lnTo>
                        <a:pt x="140" y="0"/>
                      </a:lnTo>
                      <a:lnTo>
                        <a:pt x="140" y="2"/>
                      </a:lnTo>
                      <a:lnTo>
                        <a:pt x="142" y="2"/>
                      </a:lnTo>
                      <a:lnTo>
                        <a:pt x="142" y="3"/>
                      </a:lnTo>
                      <a:lnTo>
                        <a:pt x="142" y="4"/>
                      </a:lnTo>
                      <a:lnTo>
                        <a:pt x="143" y="5"/>
                      </a:lnTo>
                      <a:lnTo>
                        <a:pt x="143" y="6"/>
                      </a:lnTo>
                      <a:lnTo>
                        <a:pt x="143" y="7"/>
                      </a:lnTo>
                      <a:lnTo>
                        <a:pt x="143" y="9"/>
                      </a:lnTo>
                      <a:lnTo>
                        <a:pt x="144" y="9"/>
                      </a:lnTo>
                      <a:lnTo>
                        <a:pt x="144" y="10"/>
                      </a:lnTo>
                      <a:lnTo>
                        <a:pt x="144" y="11"/>
                      </a:lnTo>
                      <a:lnTo>
                        <a:pt x="143" y="11"/>
                      </a:lnTo>
                      <a:lnTo>
                        <a:pt x="143" y="12"/>
                      </a:lnTo>
                      <a:close/>
                    </a:path>
                  </a:pathLst>
                </a:custGeom>
                <a:solidFill>
                  <a:schemeClr val="bg2">
                    <a:lumMod val="90000"/>
                  </a:schemeClr>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3" name="Freeform 123">
                  <a:extLst>
                    <a:ext uri="{FF2B5EF4-FFF2-40B4-BE49-F238E27FC236}">
                      <a16:creationId xmlns:a16="http://schemas.microsoft.com/office/drawing/2014/main" id="{392FB82A-A341-D7A7-7EA5-103E9FDA4B74}"/>
                    </a:ext>
                  </a:extLst>
                </p:cNvPr>
                <p:cNvSpPr>
                  <a:spLocks noEditPoints="1"/>
                </p:cNvSpPr>
                <p:nvPr/>
              </p:nvSpPr>
              <p:spPr bwMode="auto">
                <a:xfrm>
                  <a:off x="6798091" y="4568808"/>
                  <a:ext cx="554929" cy="486779"/>
                </a:xfrm>
                <a:custGeom>
                  <a:avLst/>
                  <a:gdLst>
                    <a:gd name="T0" fmla="*/ 439 w 513"/>
                    <a:gd name="T1" fmla="*/ 6 h 450"/>
                    <a:gd name="T2" fmla="*/ 468 w 513"/>
                    <a:gd name="T3" fmla="*/ 23 h 450"/>
                    <a:gd name="T4" fmla="*/ 485 w 513"/>
                    <a:gd name="T5" fmla="*/ 98 h 450"/>
                    <a:gd name="T6" fmla="*/ 466 w 513"/>
                    <a:gd name="T7" fmla="*/ 123 h 450"/>
                    <a:gd name="T8" fmla="*/ 452 w 513"/>
                    <a:gd name="T9" fmla="*/ 163 h 450"/>
                    <a:gd name="T10" fmla="*/ 484 w 513"/>
                    <a:gd name="T11" fmla="*/ 165 h 450"/>
                    <a:gd name="T12" fmla="*/ 509 w 513"/>
                    <a:gd name="T13" fmla="*/ 175 h 450"/>
                    <a:gd name="T14" fmla="*/ 492 w 513"/>
                    <a:gd name="T15" fmla="*/ 226 h 450"/>
                    <a:gd name="T16" fmla="*/ 466 w 513"/>
                    <a:gd name="T17" fmla="*/ 249 h 450"/>
                    <a:gd name="T18" fmla="*/ 440 w 513"/>
                    <a:gd name="T19" fmla="*/ 294 h 450"/>
                    <a:gd name="T20" fmla="*/ 405 w 513"/>
                    <a:gd name="T21" fmla="*/ 334 h 450"/>
                    <a:gd name="T22" fmla="*/ 377 w 513"/>
                    <a:gd name="T23" fmla="*/ 365 h 450"/>
                    <a:gd name="T24" fmla="*/ 349 w 513"/>
                    <a:gd name="T25" fmla="*/ 390 h 450"/>
                    <a:gd name="T26" fmla="*/ 326 w 513"/>
                    <a:gd name="T27" fmla="*/ 404 h 450"/>
                    <a:gd name="T28" fmla="*/ 285 w 513"/>
                    <a:gd name="T29" fmla="*/ 417 h 450"/>
                    <a:gd name="T30" fmla="*/ 264 w 513"/>
                    <a:gd name="T31" fmla="*/ 420 h 450"/>
                    <a:gd name="T32" fmla="*/ 242 w 513"/>
                    <a:gd name="T33" fmla="*/ 422 h 450"/>
                    <a:gd name="T34" fmla="*/ 199 w 513"/>
                    <a:gd name="T35" fmla="*/ 421 h 450"/>
                    <a:gd name="T36" fmla="*/ 177 w 513"/>
                    <a:gd name="T37" fmla="*/ 425 h 450"/>
                    <a:gd name="T38" fmla="*/ 144 w 513"/>
                    <a:gd name="T39" fmla="*/ 434 h 450"/>
                    <a:gd name="T40" fmla="*/ 117 w 513"/>
                    <a:gd name="T41" fmla="*/ 446 h 450"/>
                    <a:gd name="T42" fmla="*/ 89 w 513"/>
                    <a:gd name="T43" fmla="*/ 443 h 450"/>
                    <a:gd name="T44" fmla="*/ 73 w 513"/>
                    <a:gd name="T45" fmla="*/ 432 h 450"/>
                    <a:gd name="T46" fmla="*/ 64 w 513"/>
                    <a:gd name="T47" fmla="*/ 433 h 450"/>
                    <a:gd name="T48" fmla="*/ 63 w 513"/>
                    <a:gd name="T49" fmla="*/ 414 h 450"/>
                    <a:gd name="T50" fmla="*/ 48 w 513"/>
                    <a:gd name="T51" fmla="*/ 386 h 450"/>
                    <a:gd name="T52" fmla="*/ 44 w 513"/>
                    <a:gd name="T53" fmla="*/ 382 h 450"/>
                    <a:gd name="T54" fmla="*/ 58 w 513"/>
                    <a:gd name="T55" fmla="*/ 358 h 450"/>
                    <a:gd name="T56" fmla="*/ 44 w 513"/>
                    <a:gd name="T57" fmla="*/ 322 h 450"/>
                    <a:gd name="T58" fmla="*/ 23 w 513"/>
                    <a:gd name="T59" fmla="*/ 279 h 450"/>
                    <a:gd name="T60" fmla="*/ 11 w 513"/>
                    <a:gd name="T61" fmla="*/ 244 h 450"/>
                    <a:gd name="T62" fmla="*/ 8 w 513"/>
                    <a:gd name="T63" fmla="*/ 219 h 450"/>
                    <a:gd name="T64" fmla="*/ 17 w 513"/>
                    <a:gd name="T65" fmla="*/ 203 h 450"/>
                    <a:gd name="T66" fmla="*/ 27 w 513"/>
                    <a:gd name="T67" fmla="*/ 219 h 450"/>
                    <a:gd name="T68" fmla="*/ 50 w 513"/>
                    <a:gd name="T69" fmla="*/ 233 h 450"/>
                    <a:gd name="T70" fmla="*/ 87 w 513"/>
                    <a:gd name="T71" fmla="*/ 233 h 450"/>
                    <a:gd name="T72" fmla="*/ 107 w 513"/>
                    <a:gd name="T73" fmla="*/ 217 h 450"/>
                    <a:gd name="T74" fmla="*/ 109 w 513"/>
                    <a:gd name="T75" fmla="*/ 177 h 450"/>
                    <a:gd name="T76" fmla="*/ 109 w 513"/>
                    <a:gd name="T77" fmla="*/ 132 h 450"/>
                    <a:gd name="T78" fmla="*/ 109 w 513"/>
                    <a:gd name="T79" fmla="*/ 90 h 450"/>
                    <a:gd name="T80" fmla="*/ 127 w 513"/>
                    <a:gd name="T81" fmla="*/ 111 h 450"/>
                    <a:gd name="T82" fmla="*/ 135 w 513"/>
                    <a:gd name="T83" fmla="*/ 139 h 450"/>
                    <a:gd name="T84" fmla="*/ 138 w 513"/>
                    <a:gd name="T85" fmla="*/ 160 h 450"/>
                    <a:gd name="T86" fmla="*/ 174 w 513"/>
                    <a:gd name="T87" fmla="*/ 153 h 450"/>
                    <a:gd name="T88" fmla="*/ 195 w 513"/>
                    <a:gd name="T89" fmla="*/ 131 h 450"/>
                    <a:gd name="T90" fmla="*/ 202 w 513"/>
                    <a:gd name="T91" fmla="*/ 111 h 450"/>
                    <a:gd name="T92" fmla="*/ 230 w 513"/>
                    <a:gd name="T93" fmla="*/ 117 h 450"/>
                    <a:gd name="T94" fmla="*/ 263 w 513"/>
                    <a:gd name="T95" fmla="*/ 125 h 450"/>
                    <a:gd name="T96" fmla="*/ 294 w 513"/>
                    <a:gd name="T97" fmla="*/ 89 h 450"/>
                    <a:gd name="T98" fmla="*/ 327 w 513"/>
                    <a:gd name="T99" fmla="*/ 58 h 450"/>
                    <a:gd name="T100" fmla="*/ 340 w 513"/>
                    <a:gd name="T101" fmla="*/ 43 h 450"/>
                    <a:gd name="T102" fmla="*/ 354 w 513"/>
                    <a:gd name="T103" fmla="*/ 34 h 450"/>
                    <a:gd name="T104" fmla="*/ 366 w 513"/>
                    <a:gd name="T105" fmla="*/ 18 h 450"/>
                    <a:gd name="T106" fmla="*/ 392 w 513"/>
                    <a:gd name="T107" fmla="*/ 4 h 450"/>
                    <a:gd name="T108" fmla="*/ 364 w 513"/>
                    <a:gd name="T109" fmla="*/ 228 h 450"/>
                    <a:gd name="T110" fmla="*/ 349 w 513"/>
                    <a:gd name="T111" fmla="*/ 240 h 450"/>
                    <a:gd name="T112" fmla="*/ 335 w 513"/>
                    <a:gd name="T113" fmla="*/ 257 h 450"/>
                    <a:gd name="T114" fmla="*/ 340 w 513"/>
                    <a:gd name="T115" fmla="*/ 281 h 450"/>
                    <a:gd name="T116" fmla="*/ 362 w 513"/>
                    <a:gd name="T117" fmla="*/ 294 h 450"/>
                    <a:gd name="T118" fmla="*/ 377 w 513"/>
                    <a:gd name="T119" fmla="*/ 278 h 450"/>
                    <a:gd name="T120" fmla="*/ 400 w 513"/>
                    <a:gd name="T121" fmla="*/ 257 h 450"/>
                    <a:gd name="T122" fmla="*/ 392 w 513"/>
                    <a:gd name="T123" fmla="*/ 235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3" h="450">
                      <a:moveTo>
                        <a:pt x="412" y="0"/>
                      </a:moveTo>
                      <a:lnTo>
                        <a:pt x="413" y="0"/>
                      </a:lnTo>
                      <a:lnTo>
                        <a:pt x="415" y="0"/>
                      </a:lnTo>
                      <a:lnTo>
                        <a:pt x="418" y="1"/>
                      </a:lnTo>
                      <a:lnTo>
                        <a:pt x="419" y="1"/>
                      </a:lnTo>
                      <a:lnTo>
                        <a:pt x="420" y="1"/>
                      </a:lnTo>
                      <a:lnTo>
                        <a:pt x="421" y="2"/>
                      </a:lnTo>
                      <a:lnTo>
                        <a:pt x="422" y="2"/>
                      </a:lnTo>
                      <a:lnTo>
                        <a:pt x="423" y="2"/>
                      </a:lnTo>
                      <a:lnTo>
                        <a:pt x="423" y="4"/>
                      </a:lnTo>
                      <a:lnTo>
                        <a:pt x="425" y="4"/>
                      </a:lnTo>
                      <a:lnTo>
                        <a:pt x="426" y="5"/>
                      </a:lnTo>
                      <a:lnTo>
                        <a:pt x="427" y="5"/>
                      </a:lnTo>
                      <a:lnTo>
                        <a:pt x="428" y="5"/>
                      </a:lnTo>
                      <a:lnTo>
                        <a:pt x="429" y="5"/>
                      </a:lnTo>
                      <a:lnTo>
                        <a:pt x="430" y="6"/>
                      </a:lnTo>
                      <a:lnTo>
                        <a:pt x="432" y="6"/>
                      </a:lnTo>
                      <a:lnTo>
                        <a:pt x="432" y="7"/>
                      </a:lnTo>
                      <a:lnTo>
                        <a:pt x="433" y="7"/>
                      </a:lnTo>
                      <a:lnTo>
                        <a:pt x="434" y="7"/>
                      </a:lnTo>
                      <a:lnTo>
                        <a:pt x="436" y="7"/>
                      </a:lnTo>
                      <a:lnTo>
                        <a:pt x="437" y="6"/>
                      </a:lnTo>
                      <a:lnTo>
                        <a:pt x="439" y="6"/>
                      </a:lnTo>
                      <a:lnTo>
                        <a:pt x="441" y="6"/>
                      </a:lnTo>
                      <a:lnTo>
                        <a:pt x="442" y="6"/>
                      </a:lnTo>
                      <a:lnTo>
                        <a:pt x="442" y="7"/>
                      </a:lnTo>
                      <a:lnTo>
                        <a:pt x="443" y="6"/>
                      </a:lnTo>
                      <a:lnTo>
                        <a:pt x="444" y="6"/>
                      </a:lnTo>
                      <a:lnTo>
                        <a:pt x="448" y="6"/>
                      </a:lnTo>
                      <a:lnTo>
                        <a:pt x="449" y="5"/>
                      </a:lnTo>
                      <a:lnTo>
                        <a:pt x="450" y="5"/>
                      </a:lnTo>
                      <a:lnTo>
                        <a:pt x="451" y="6"/>
                      </a:lnTo>
                      <a:lnTo>
                        <a:pt x="455" y="6"/>
                      </a:lnTo>
                      <a:lnTo>
                        <a:pt x="456" y="7"/>
                      </a:lnTo>
                      <a:lnTo>
                        <a:pt x="457" y="7"/>
                      </a:lnTo>
                      <a:lnTo>
                        <a:pt x="458" y="6"/>
                      </a:lnTo>
                      <a:lnTo>
                        <a:pt x="459" y="6"/>
                      </a:lnTo>
                      <a:lnTo>
                        <a:pt x="459" y="7"/>
                      </a:lnTo>
                      <a:lnTo>
                        <a:pt x="461" y="7"/>
                      </a:lnTo>
                      <a:lnTo>
                        <a:pt x="461" y="8"/>
                      </a:lnTo>
                      <a:lnTo>
                        <a:pt x="462" y="7"/>
                      </a:lnTo>
                      <a:lnTo>
                        <a:pt x="462" y="8"/>
                      </a:lnTo>
                      <a:lnTo>
                        <a:pt x="463" y="9"/>
                      </a:lnTo>
                      <a:lnTo>
                        <a:pt x="464" y="14"/>
                      </a:lnTo>
                      <a:lnTo>
                        <a:pt x="465" y="19"/>
                      </a:lnTo>
                      <a:lnTo>
                        <a:pt x="468" y="23"/>
                      </a:lnTo>
                      <a:lnTo>
                        <a:pt x="469" y="28"/>
                      </a:lnTo>
                      <a:lnTo>
                        <a:pt x="471" y="35"/>
                      </a:lnTo>
                      <a:lnTo>
                        <a:pt x="470" y="43"/>
                      </a:lnTo>
                      <a:lnTo>
                        <a:pt x="470" y="44"/>
                      </a:lnTo>
                      <a:lnTo>
                        <a:pt x="471" y="46"/>
                      </a:lnTo>
                      <a:lnTo>
                        <a:pt x="473" y="49"/>
                      </a:lnTo>
                      <a:lnTo>
                        <a:pt x="475" y="50"/>
                      </a:lnTo>
                      <a:lnTo>
                        <a:pt x="476" y="55"/>
                      </a:lnTo>
                      <a:lnTo>
                        <a:pt x="477" y="57"/>
                      </a:lnTo>
                      <a:lnTo>
                        <a:pt x="478" y="58"/>
                      </a:lnTo>
                      <a:lnTo>
                        <a:pt x="478" y="60"/>
                      </a:lnTo>
                      <a:lnTo>
                        <a:pt x="480" y="61"/>
                      </a:lnTo>
                      <a:lnTo>
                        <a:pt x="480" y="62"/>
                      </a:lnTo>
                      <a:lnTo>
                        <a:pt x="480" y="68"/>
                      </a:lnTo>
                      <a:lnTo>
                        <a:pt x="482" y="69"/>
                      </a:lnTo>
                      <a:lnTo>
                        <a:pt x="483" y="72"/>
                      </a:lnTo>
                      <a:lnTo>
                        <a:pt x="484" y="75"/>
                      </a:lnTo>
                      <a:lnTo>
                        <a:pt x="485" y="78"/>
                      </a:lnTo>
                      <a:lnTo>
                        <a:pt x="485" y="81"/>
                      </a:lnTo>
                      <a:lnTo>
                        <a:pt x="485" y="83"/>
                      </a:lnTo>
                      <a:lnTo>
                        <a:pt x="485" y="88"/>
                      </a:lnTo>
                      <a:lnTo>
                        <a:pt x="485" y="93"/>
                      </a:lnTo>
                      <a:lnTo>
                        <a:pt x="485" y="98"/>
                      </a:lnTo>
                      <a:lnTo>
                        <a:pt x="485" y="103"/>
                      </a:lnTo>
                      <a:lnTo>
                        <a:pt x="485" y="111"/>
                      </a:lnTo>
                      <a:lnTo>
                        <a:pt x="484" y="112"/>
                      </a:lnTo>
                      <a:lnTo>
                        <a:pt x="484" y="113"/>
                      </a:lnTo>
                      <a:lnTo>
                        <a:pt x="484" y="114"/>
                      </a:lnTo>
                      <a:lnTo>
                        <a:pt x="484" y="116"/>
                      </a:lnTo>
                      <a:lnTo>
                        <a:pt x="485" y="117"/>
                      </a:lnTo>
                      <a:lnTo>
                        <a:pt x="485" y="119"/>
                      </a:lnTo>
                      <a:lnTo>
                        <a:pt x="485" y="120"/>
                      </a:lnTo>
                      <a:lnTo>
                        <a:pt x="484" y="120"/>
                      </a:lnTo>
                      <a:lnTo>
                        <a:pt x="484" y="121"/>
                      </a:lnTo>
                      <a:lnTo>
                        <a:pt x="483" y="125"/>
                      </a:lnTo>
                      <a:lnTo>
                        <a:pt x="482" y="126"/>
                      </a:lnTo>
                      <a:lnTo>
                        <a:pt x="482" y="127"/>
                      </a:lnTo>
                      <a:lnTo>
                        <a:pt x="484" y="131"/>
                      </a:lnTo>
                      <a:lnTo>
                        <a:pt x="482" y="132"/>
                      </a:lnTo>
                      <a:lnTo>
                        <a:pt x="480" y="132"/>
                      </a:lnTo>
                      <a:lnTo>
                        <a:pt x="479" y="132"/>
                      </a:lnTo>
                      <a:lnTo>
                        <a:pt x="477" y="130"/>
                      </a:lnTo>
                      <a:lnTo>
                        <a:pt x="473" y="127"/>
                      </a:lnTo>
                      <a:lnTo>
                        <a:pt x="470" y="125"/>
                      </a:lnTo>
                      <a:lnTo>
                        <a:pt x="468" y="124"/>
                      </a:lnTo>
                      <a:lnTo>
                        <a:pt x="466" y="123"/>
                      </a:lnTo>
                      <a:lnTo>
                        <a:pt x="465" y="123"/>
                      </a:lnTo>
                      <a:lnTo>
                        <a:pt x="464" y="124"/>
                      </a:lnTo>
                      <a:lnTo>
                        <a:pt x="463" y="124"/>
                      </a:lnTo>
                      <a:lnTo>
                        <a:pt x="461" y="126"/>
                      </a:lnTo>
                      <a:lnTo>
                        <a:pt x="457" y="128"/>
                      </a:lnTo>
                      <a:lnTo>
                        <a:pt x="457" y="130"/>
                      </a:lnTo>
                      <a:lnTo>
                        <a:pt x="456" y="132"/>
                      </a:lnTo>
                      <a:lnTo>
                        <a:pt x="455" y="135"/>
                      </a:lnTo>
                      <a:lnTo>
                        <a:pt x="452" y="139"/>
                      </a:lnTo>
                      <a:lnTo>
                        <a:pt x="450" y="142"/>
                      </a:lnTo>
                      <a:lnTo>
                        <a:pt x="448" y="146"/>
                      </a:lnTo>
                      <a:lnTo>
                        <a:pt x="447" y="148"/>
                      </a:lnTo>
                      <a:lnTo>
                        <a:pt x="447" y="152"/>
                      </a:lnTo>
                      <a:lnTo>
                        <a:pt x="447" y="158"/>
                      </a:lnTo>
                      <a:lnTo>
                        <a:pt x="447" y="160"/>
                      </a:lnTo>
                      <a:lnTo>
                        <a:pt x="448" y="160"/>
                      </a:lnTo>
                      <a:lnTo>
                        <a:pt x="449" y="160"/>
                      </a:lnTo>
                      <a:lnTo>
                        <a:pt x="450" y="159"/>
                      </a:lnTo>
                      <a:lnTo>
                        <a:pt x="450" y="160"/>
                      </a:lnTo>
                      <a:lnTo>
                        <a:pt x="450" y="161"/>
                      </a:lnTo>
                      <a:lnTo>
                        <a:pt x="451" y="161"/>
                      </a:lnTo>
                      <a:lnTo>
                        <a:pt x="451" y="162"/>
                      </a:lnTo>
                      <a:lnTo>
                        <a:pt x="452" y="163"/>
                      </a:lnTo>
                      <a:lnTo>
                        <a:pt x="452" y="165"/>
                      </a:lnTo>
                      <a:lnTo>
                        <a:pt x="452" y="166"/>
                      </a:lnTo>
                      <a:lnTo>
                        <a:pt x="452" y="167"/>
                      </a:lnTo>
                      <a:lnTo>
                        <a:pt x="452" y="168"/>
                      </a:lnTo>
                      <a:lnTo>
                        <a:pt x="456" y="172"/>
                      </a:lnTo>
                      <a:lnTo>
                        <a:pt x="457" y="173"/>
                      </a:lnTo>
                      <a:lnTo>
                        <a:pt x="458" y="174"/>
                      </a:lnTo>
                      <a:lnTo>
                        <a:pt x="461" y="175"/>
                      </a:lnTo>
                      <a:lnTo>
                        <a:pt x="462" y="175"/>
                      </a:lnTo>
                      <a:lnTo>
                        <a:pt x="464" y="176"/>
                      </a:lnTo>
                      <a:lnTo>
                        <a:pt x="468" y="177"/>
                      </a:lnTo>
                      <a:lnTo>
                        <a:pt x="470" y="177"/>
                      </a:lnTo>
                      <a:lnTo>
                        <a:pt x="473" y="177"/>
                      </a:lnTo>
                      <a:lnTo>
                        <a:pt x="478" y="177"/>
                      </a:lnTo>
                      <a:lnTo>
                        <a:pt x="480" y="179"/>
                      </a:lnTo>
                      <a:lnTo>
                        <a:pt x="484" y="179"/>
                      </a:lnTo>
                      <a:lnTo>
                        <a:pt x="484" y="177"/>
                      </a:lnTo>
                      <a:lnTo>
                        <a:pt x="483" y="176"/>
                      </a:lnTo>
                      <a:lnTo>
                        <a:pt x="483" y="174"/>
                      </a:lnTo>
                      <a:lnTo>
                        <a:pt x="483" y="173"/>
                      </a:lnTo>
                      <a:lnTo>
                        <a:pt x="483" y="170"/>
                      </a:lnTo>
                      <a:lnTo>
                        <a:pt x="484" y="167"/>
                      </a:lnTo>
                      <a:lnTo>
                        <a:pt x="484" y="165"/>
                      </a:lnTo>
                      <a:lnTo>
                        <a:pt x="485" y="161"/>
                      </a:lnTo>
                      <a:lnTo>
                        <a:pt x="485" y="160"/>
                      </a:lnTo>
                      <a:lnTo>
                        <a:pt x="486" y="160"/>
                      </a:lnTo>
                      <a:lnTo>
                        <a:pt x="487" y="160"/>
                      </a:lnTo>
                      <a:lnTo>
                        <a:pt x="487" y="161"/>
                      </a:lnTo>
                      <a:lnTo>
                        <a:pt x="489" y="161"/>
                      </a:lnTo>
                      <a:lnTo>
                        <a:pt x="490" y="161"/>
                      </a:lnTo>
                      <a:lnTo>
                        <a:pt x="491" y="161"/>
                      </a:lnTo>
                      <a:lnTo>
                        <a:pt x="492" y="161"/>
                      </a:lnTo>
                      <a:lnTo>
                        <a:pt x="494" y="162"/>
                      </a:lnTo>
                      <a:lnTo>
                        <a:pt x="496" y="162"/>
                      </a:lnTo>
                      <a:lnTo>
                        <a:pt x="499" y="162"/>
                      </a:lnTo>
                      <a:lnTo>
                        <a:pt x="504" y="162"/>
                      </a:lnTo>
                      <a:lnTo>
                        <a:pt x="508" y="162"/>
                      </a:lnTo>
                      <a:lnTo>
                        <a:pt x="513" y="162"/>
                      </a:lnTo>
                      <a:lnTo>
                        <a:pt x="512" y="163"/>
                      </a:lnTo>
                      <a:lnTo>
                        <a:pt x="512" y="168"/>
                      </a:lnTo>
                      <a:lnTo>
                        <a:pt x="512" y="170"/>
                      </a:lnTo>
                      <a:lnTo>
                        <a:pt x="511" y="170"/>
                      </a:lnTo>
                      <a:lnTo>
                        <a:pt x="511" y="172"/>
                      </a:lnTo>
                      <a:lnTo>
                        <a:pt x="509" y="173"/>
                      </a:lnTo>
                      <a:lnTo>
                        <a:pt x="509" y="174"/>
                      </a:lnTo>
                      <a:lnTo>
                        <a:pt x="509" y="175"/>
                      </a:lnTo>
                      <a:lnTo>
                        <a:pt x="509" y="176"/>
                      </a:lnTo>
                      <a:lnTo>
                        <a:pt x="506" y="186"/>
                      </a:lnTo>
                      <a:lnTo>
                        <a:pt x="504" y="196"/>
                      </a:lnTo>
                      <a:lnTo>
                        <a:pt x="504" y="197"/>
                      </a:lnTo>
                      <a:lnTo>
                        <a:pt x="504" y="198"/>
                      </a:lnTo>
                      <a:lnTo>
                        <a:pt x="504" y="200"/>
                      </a:lnTo>
                      <a:lnTo>
                        <a:pt x="501" y="208"/>
                      </a:lnTo>
                      <a:lnTo>
                        <a:pt x="501" y="209"/>
                      </a:lnTo>
                      <a:lnTo>
                        <a:pt x="499" y="214"/>
                      </a:lnTo>
                      <a:lnTo>
                        <a:pt x="499" y="215"/>
                      </a:lnTo>
                      <a:lnTo>
                        <a:pt x="498" y="215"/>
                      </a:lnTo>
                      <a:lnTo>
                        <a:pt x="498" y="216"/>
                      </a:lnTo>
                      <a:lnTo>
                        <a:pt x="497" y="216"/>
                      </a:lnTo>
                      <a:lnTo>
                        <a:pt x="498" y="216"/>
                      </a:lnTo>
                      <a:lnTo>
                        <a:pt x="498" y="217"/>
                      </a:lnTo>
                      <a:lnTo>
                        <a:pt x="498" y="218"/>
                      </a:lnTo>
                      <a:lnTo>
                        <a:pt x="497" y="219"/>
                      </a:lnTo>
                      <a:lnTo>
                        <a:pt x="497" y="221"/>
                      </a:lnTo>
                      <a:lnTo>
                        <a:pt x="497" y="222"/>
                      </a:lnTo>
                      <a:lnTo>
                        <a:pt x="493" y="224"/>
                      </a:lnTo>
                      <a:lnTo>
                        <a:pt x="493" y="225"/>
                      </a:lnTo>
                      <a:lnTo>
                        <a:pt x="492" y="225"/>
                      </a:lnTo>
                      <a:lnTo>
                        <a:pt x="492" y="226"/>
                      </a:lnTo>
                      <a:lnTo>
                        <a:pt x="491" y="226"/>
                      </a:lnTo>
                      <a:lnTo>
                        <a:pt x="491" y="228"/>
                      </a:lnTo>
                      <a:lnTo>
                        <a:pt x="487" y="230"/>
                      </a:lnTo>
                      <a:lnTo>
                        <a:pt x="486" y="230"/>
                      </a:lnTo>
                      <a:lnTo>
                        <a:pt x="485" y="230"/>
                      </a:lnTo>
                      <a:lnTo>
                        <a:pt x="484" y="231"/>
                      </a:lnTo>
                      <a:lnTo>
                        <a:pt x="485" y="231"/>
                      </a:lnTo>
                      <a:lnTo>
                        <a:pt x="486" y="231"/>
                      </a:lnTo>
                      <a:lnTo>
                        <a:pt x="486" y="232"/>
                      </a:lnTo>
                      <a:lnTo>
                        <a:pt x="485" y="232"/>
                      </a:lnTo>
                      <a:lnTo>
                        <a:pt x="482" y="235"/>
                      </a:lnTo>
                      <a:lnTo>
                        <a:pt x="480" y="235"/>
                      </a:lnTo>
                      <a:lnTo>
                        <a:pt x="479" y="235"/>
                      </a:lnTo>
                      <a:lnTo>
                        <a:pt x="477" y="235"/>
                      </a:lnTo>
                      <a:lnTo>
                        <a:pt x="477" y="236"/>
                      </a:lnTo>
                      <a:lnTo>
                        <a:pt x="478" y="236"/>
                      </a:lnTo>
                      <a:lnTo>
                        <a:pt x="477" y="237"/>
                      </a:lnTo>
                      <a:lnTo>
                        <a:pt x="471" y="243"/>
                      </a:lnTo>
                      <a:lnTo>
                        <a:pt x="469" y="245"/>
                      </a:lnTo>
                      <a:lnTo>
                        <a:pt x="469" y="246"/>
                      </a:lnTo>
                      <a:lnTo>
                        <a:pt x="468" y="246"/>
                      </a:lnTo>
                      <a:lnTo>
                        <a:pt x="466" y="247"/>
                      </a:lnTo>
                      <a:lnTo>
                        <a:pt x="466" y="249"/>
                      </a:lnTo>
                      <a:lnTo>
                        <a:pt x="465" y="249"/>
                      </a:lnTo>
                      <a:lnTo>
                        <a:pt x="465" y="250"/>
                      </a:lnTo>
                      <a:lnTo>
                        <a:pt x="464" y="250"/>
                      </a:lnTo>
                      <a:lnTo>
                        <a:pt x="464" y="251"/>
                      </a:lnTo>
                      <a:lnTo>
                        <a:pt x="463" y="251"/>
                      </a:lnTo>
                      <a:lnTo>
                        <a:pt x="463" y="252"/>
                      </a:lnTo>
                      <a:lnTo>
                        <a:pt x="459" y="258"/>
                      </a:lnTo>
                      <a:lnTo>
                        <a:pt x="455" y="266"/>
                      </a:lnTo>
                      <a:lnTo>
                        <a:pt x="455" y="267"/>
                      </a:lnTo>
                      <a:lnTo>
                        <a:pt x="455" y="268"/>
                      </a:lnTo>
                      <a:lnTo>
                        <a:pt x="454" y="268"/>
                      </a:lnTo>
                      <a:lnTo>
                        <a:pt x="454" y="270"/>
                      </a:lnTo>
                      <a:lnTo>
                        <a:pt x="455" y="270"/>
                      </a:lnTo>
                      <a:lnTo>
                        <a:pt x="455" y="268"/>
                      </a:lnTo>
                      <a:lnTo>
                        <a:pt x="455" y="270"/>
                      </a:lnTo>
                      <a:lnTo>
                        <a:pt x="454" y="271"/>
                      </a:lnTo>
                      <a:lnTo>
                        <a:pt x="451" y="274"/>
                      </a:lnTo>
                      <a:lnTo>
                        <a:pt x="450" y="275"/>
                      </a:lnTo>
                      <a:lnTo>
                        <a:pt x="448" y="278"/>
                      </a:lnTo>
                      <a:lnTo>
                        <a:pt x="447" y="281"/>
                      </a:lnTo>
                      <a:lnTo>
                        <a:pt x="442" y="289"/>
                      </a:lnTo>
                      <a:lnTo>
                        <a:pt x="441" y="292"/>
                      </a:lnTo>
                      <a:lnTo>
                        <a:pt x="440" y="294"/>
                      </a:lnTo>
                      <a:lnTo>
                        <a:pt x="434" y="303"/>
                      </a:lnTo>
                      <a:lnTo>
                        <a:pt x="434" y="305"/>
                      </a:lnTo>
                      <a:lnTo>
                        <a:pt x="433" y="306"/>
                      </a:lnTo>
                      <a:lnTo>
                        <a:pt x="432" y="306"/>
                      </a:lnTo>
                      <a:lnTo>
                        <a:pt x="432" y="308"/>
                      </a:lnTo>
                      <a:lnTo>
                        <a:pt x="428" y="312"/>
                      </a:lnTo>
                      <a:lnTo>
                        <a:pt x="426" y="315"/>
                      </a:lnTo>
                      <a:lnTo>
                        <a:pt x="425" y="316"/>
                      </a:lnTo>
                      <a:lnTo>
                        <a:pt x="423" y="317"/>
                      </a:lnTo>
                      <a:lnTo>
                        <a:pt x="422" y="320"/>
                      </a:lnTo>
                      <a:lnTo>
                        <a:pt x="418" y="324"/>
                      </a:lnTo>
                      <a:lnTo>
                        <a:pt x="415" y="326"/>
                      </a:lnTo>
                      <a:lnTo>
                        <a:pt x="414" y="326"/>
                      </a:lnTo>
                      <a:lnTo>
                        <a:pt x="414" y="327"/>
                      </a:lnTo>
                      <a:lnTo>
                        <a:pt x="412" y="329"/>
                      </a:lnTo>
                      <a:lnTo>
                        <a:pt x="411" y="329"/>
                      </a:lnTo>
                      <a:lnTo>
                        <a:pt x="411" y="330"/>
                      </a:lnTo>
                      <a:lnTo>
                        <a:pt x="409" y="330"/>
                      </a:lnTo>
                      <a:lnTo>
                        <a:pt x="409" y="331"/>
                      </a:lnTo>
                      <a:lnTo>
                        <a:pt x="408" y="331"/>
                      </a:lnTo>
                      <a:lnTo>
                        <a:pt x="407" y="333"/>
                      </a:lnTo>
                      <a:lnTo>
                        <a:pt x="406" y="333"/>
                      </a:lnTo>
                      <a:lnTo>
                        <a:pt x="405" y="334"/>
                      </a:lnTo>
                      <a:lnTo>
                        <a:pt x="404" y="334"/>
                      </a:lnTo>
                      <a:lnTo>
                        <a:pt x="404" y="335"/>
                      </a:lnTo>
                      <a:lnTo>
                        <a:pt x="402" y="336"/>
                      </a:lnTo>
                      <a:lnTo>
                        <a:pt x="402" y="337"/>
                      </a:lnTo>
                      <a:lnTo>
                        <a:pt x="401" y="337"/>
                      </a:lnTo>
                      <a:lnTo>
                        <a:pt x="401" y="338"/>
                      </a:lnTo>
                      <a:lnTo>
                        <a:pt x="400" y="338"/>
                      </a:lnTo>
                      <a:lnTo>
                        <a:pt x="399" y="340"/>
                      </a:lnTo>
                      <a:lnTo>
                        <a:pt x="399" y="341"/>
                      </a:lnTo>
                      <a:lnTo>
                        <a:pt x="399" y="342"/>
                      </a:lnTo>
                      <a:lnTo>
                        <a:pt x="398" y="343"/>
                      </a:lnTo>
                      <a:lnTo>
                        <a:pt x="395" y="344"/>
                      </a:lnTo>
                      <a:lnTo>
                        <a:pt x="395" y="345"/>
                      </a:lnTo>
                      <a:lnTo>
                        <a:pt x="394" y="347"/>
                      </a:lnTo>
                      <a:lnTo>
                        <a:pt x="394" y="348"/>
                      </a:lnTo>
                      <a:lnTo>
                        <a:pt x="390" y="351"/>
                      </a:lnTo>
                      <a:lnTo>
                        <a:pt x="386" y="356"/>
                      </a:lnTo>
                      <a:lnTo>
                        <a:pt x="385" y="357"/>
                      </a:lnTo>
                      <a:lnTo>
                        <a:pt x="380" y="362"/>
                      </a:lnTo>
                      <a:lnTo>
                        <a:pt x="380" y="363"/>
                      </a:lnTo>
                      <a:lnTo>
                        <a:pt x="379" y="363"/>
                      </a:lnTo>
                      <a:lnTo>
                        <a:pt x="378" y="364"/>
                      </a:lnTo>
                      <a:lnTo>
                        <a:pt x="377" y="365"/>
                      </a:lnTo>
                      <a:lnTo>
                        <a:pt x="377" y="366"/>
                      </a:lnTo>
                      <a:lnTo>
                        <a:pt x="373" y="369"/>
                      </a:lnTo>
                      <a:lnTo>
                        <a:pt x="372" y="370"/>
                      </a:lnTo>
                      <a:lnTo>
                        <a:pt x="371" y="370"/>
                      </a:lnTo>
                      <a:lnTo>
                        <a:pt x="371" y="371"/>
                      </a:lnTo>
                      <a:lnTo>
                        <a:pt x="370" y="372"/>
                      </a:lnTo>
                      <a:lnTo>
                        <a:pt x="369" y="372"/>
                      </a:lnTo>
                      <a:lnTo>
                        <a:pt x="368" y="373"/>
                      </a:lnTo>
                      <a:lnTo>
                        <a:pt x="366" y="375"/>
                      </a:lnTo>
                      <a:lnTo>
                        <a:pt x="364" y="375"/>
                      </a:lnTo>
                      <a:lnTo>
                        <a:pt x="364" y="376"/>
                      </a:lnTo>
                      <a:lnTo>
                        <a:pt x="363" y="377"/>
                      </a:lnTo>
                      <a:lnTo>
                        <a:pt x="363" y="378"/>
                      </a:lnTo>
                      <a:lnTo>
                        <a:pt x="362" y="379"/>
                      </a:lnTo>
                      <a:lnTo>
                        <a:pt x="358" y="382"/>
                      </a:lnTo>
                      <a:lnTo>
                        <a:pt x="357" y="382"/>
                      </a:lnTo>
                      <a:lnTo>
                        <a:pt x="357" y="383"/>
                      </a:lnTo>
                      <a:lnTo>
                        <a:pt x="357" y="384"/>
                      </a:lnTo>
                      <a:lnTo>
                        <a:pt x="356" y="384"/>
                      </a:lnTo>
                      <a:lnTo>
                        <a:pt x="355" y="385"/>
                      </a:lnTo>
                      <a:lnTo>
                        <a:pt x="354" y="385"/>
                      </a:lnTo>
                      <a:lnTo>
                        <a:pt x="351" y="386"/>
                      </a:lnTo>
                      <a:lnTo>
                        <a:pt x="349" y="390"/>
                      </a:lnTo>
                      <a:lnTo>
                        <a:pt x="348" y="391"/>
                      </a:lnTo>
                      <a:lnTo>
                        <a:pt x="345" y="391"/>
                      </a:lnTo>
                      <a:lnTo>
                        <a:pt x="344" y="391"/>
                      </a:lnTo>
                      <a:lnTo>
                        <a:pt x="344" y="392"/>
                      </a:lnTo>
                      <a:lnTo>
                        <a:pt x="344" y="393"/>
                      </a:lnTo>
                      <a:lnTo>
                        <a:pt x="343" y="393"/>
                      </a:lnTo>
                      <a:lnTo>
                        <a:pt x="343" y="392"/>
                      </a:lnTo>
                      <a:lnTo>
                        <a:pt x="343" y="393"/>
                      </a:lnTo>
                      <a:lnTo>
                        <a:pt x="342" y="394"/>
                      </a:lnTo>
                      <a:lnTo>
                        <a:pt x="341" y="396"/>
                      </a:lnTo>
                      <a:lnTo>
                        <a:pt x="340" y="397"/>
                      </a:lnTo>
                      <a:lnTo>
                        <a:pt x="340" y="396"/>
                      </a:lnTo>
                      <a:lnTo>
                        <a:pt x="338" y="396"/>
                      </a:lnTo>
                      <a:lnTo>
                        <a:pt x="338" y="397"/>
                      </a:lnTo>
                      <a:lnTo>
                        <a:pt x="335" y="399"/>
                      </a:lnTo>
                      <a:lnTo>
                        <a:pt x="333" y="400"/>
                      </a:lnTo>
                      <a:lnTo>
                        <a:pt x="333" y="401"/>
                      </a:lnTo>
                      <a:lnTo>
                        <a:pt x="331" y="401"/>
                      </a:lnTo>
                      <a:lnTo>
                        <a:pt x="331" y="403"/>
                      </a:lnTo>
                      <a:lnTo>
                        <a:pt x="330" y="403"/>
                      </a:lnTo>
                      <a:lnTo>
                        <a:pt x="328" y="404"/>
                      </a:lnTo>
                      <a:lnTo>
                        <a:pt x="327" y="404"/>
                      </a:lnTo>
                      <a:lnTo>
                        <a:pt x="326" y="404"/>
                      </a:lnTo>
                      <a:lnTo>
                        <a:pt x="324" y="406"/>
                      </a:lnTo>
                      <a:lnTo>
                        <a:pt x="323" y="406"/>
                      </a:lnTo>
                      <a:lnTo>
                        <a:pt x="322" y="406"/>
                      </a:lnTo>
                      <a:lnTo>
                        <a:pt x="321" y="406"/>
                      </a:lnTo>
                      <a:lnTo>
                        <a:pt x="317" y="408"/>
                      </a:lnTo>
                      <a:lnTo>
                        <a:pt x="316" y="408"/>
                      </a:lnTo>
                      <a:lnTo>
                        <a:pt x="316" y="410"/>
                      </a:lnTo>
                      <a:lnTo>
                        <a:pt x="313" y="411"/>
                      </a:lnTo>
                      <a:lnTo>
                        <a:pt x="312" y="411"/>
                      </a:lnTo>
                      <a:lnTo>
                        <a:pt x="311" y="411"/>
                      </a:lnTo>
                      <a:lnTo>
                        <a:pt x="308" y="411"/>
                      </a:lnTo>
                      <a:lnTo>
                        <a:pt x="307" y="411"/>
                      </a:lnTo>
                      <a:lnTo>
                        <a:pt x="306" y="411"/>
                      </a:lnTo>
                      <a:lnTo>
                        <a:pt x="305" y="410"/>
                      </a:lnTo>
                      <a:lnTo>
                        <a:pt x="300" y="410"/>
                      </a:lnTo>
                      <a:lnTo>
                        <a:pt x="295" y="408"/>
                      </a:lnTo>
                      <a:lnTo>
                        <a:pt x="293" y="410"/>
                      </a:lnTo>
                      <a:lnTo>
                        <a:pt x="291" y="410"/>
                      </a:lnTo>
                      <a:lnTo>
                        <a:pt x="288" y="411"/>
                      </a:lnTo>
                      <a:lnTo>
                        <a:pt x="287" y="412"/>
                      </a:lnTo>
                      <a:lnTo>
                        <a:pt x="286" y="413"/>
                      </a:lnTo>
                      <a:lnTo>
                        <a:pt x="286" y="414"/>
                      </a:lnTo>
                      <a:lnTo>
                        <a:pt x="285" y="417"/>
                      </a:lnTo>
                      <a:lnTo>
                        <a:pt x="285" y="418"/>
                      </a:lnTo>
                      <a:lnTo>
                        <a:pt x="286" y="418"/>
                      </a:lnTo>
                      <a:lnTo>
                        <a:pt x="286" y="419"/>
                      </a:lnTo>
                      <a:lnTo>
                        <a:pt x="287" y="419"/>
                      </a:lnTo>
                      <a:lnTo>
                        <a:pt x="287" y="420"/>
                      </a:lnTo>
                      <a:lnTo>
                        <a:pt x="288" y="420"/>
                      </a:lnTo>
                      <a:lnTo>
                        <a:pt x="288" y="421"/>
                      </a:lnTo>
                      <a:lnTo>
                        <a:pt x="287" y="421"/>
                      </a:lnTo>
                      <a:lnTo>
                        <a:pt x="286" y="421"/>
                      </a:lnTo>
                      <a:lnTo>
                        <a:pt x="285" y="421"/>
                      </a:lnTo>
                      <a:lnTo>
                        <a:pt x="284" y="421"/>
                      </a:lnTo>
                      <a:lnTo>
                        <a:pt x="283" y="421"/>
                      </a:lnTo>
                      <a:lnTo>
                        <a:pt x="281" y="421"/>
                      </a:lnTo>
                      <a:lnTo>
                        <a:pt x="279" y="421"/>
                      </a:lnTo>
                      <a:lnTo>
                        <a:pt x="278" y="420"/>
                      </a:lnTo>
                      <a:lnTo>
                        <a:pt x="277" y="420"/>
                      </a:lnTo>
                      <a:lnTo>
                        <a:pt x="276" y="419"/>
                      </a:lnTo>
                      <a:lnTo>
                        <a:pt x="274" y="419"/>
                      </a:lnTo>
                      <a:lnTo>
                        <a:pt x="272" y="418"/>
                      </a:lnTo>
                      <a:lnTo>
                        <a:pt x="270" y="418"/>
                      </a:lnTo>
                      <a:lnTo>
                        <a:pt x="266" y="419"/>
                      </a:lnTo>
                      <a:lnTo>
                        <a:pt x="265" y="419"/>
                      </a:lnTo>
                      <a:lnTo>
                        <a:pt x="264" y="420"/>
                      </a:lnTo>
                      <a:lnTo>
                        <a:pt x="263" y="420"/>
                      </a:lnTo>
                      <a:lnTo>
                        <a:pt x="264" y="421"/>
                      </a:lnTo>
                      <a:lnTo>
                        <a:pt x="264" y="422"/>
                      </a:lnTo>
                      <a:lnTo>
                        <a:pt x="263" y="424"/>
                      </a:lnTo>
                      <a:lnTo>
                        <a:pt x="262" y="425"/>
                      </a:lnTo>
                      <a:lnTo>
                        <a:pt x="260" y="425"/>
                      </a:lnTo>
                      <a:lnTo>
                        <a:pt x="260" y="426"/>
                      </a:lnTo>
                      <a:lnTo>
                        <a:pt x="262" y="426"/>
                      </a:lnTo>
                      <a:lnTo>
                        <a:pt x="262" y="427"/>
                      </a:lnTo>
                      <a:lnTo>
                        <a:pt x="260" y="427"/>
                      </a:lnTo>
                      <a:lnTo>
                        <a:pt x="259" y="427"/>
                      </a:lnTo>
                      <a:lnTo>
                        <a:pt x="257" y="427"/>
                      </a:lnTo>
                      <a:lnTo>
                        <a:pt x="256" y="426"/>
                      </a:lnTo>
                      <a:lnTo>
                        <a:pt x="255" y="426"/>
                      </a:lnTo>
                      <a:lnTo>
                        <a:pt x="253" y="426"/>
                      </a:lnTo>
                      <a:lnTo>
                        <a:pt x="252" y="426"/>
                      </a:lnTo>
                      <a:lnTo>
                        <a:pt x="250" y="426"/>
                      </a:lnTo>
                      <a:lnTo>
                        <a:pt x="249" y="425"/>
                      </a:lnTo>
                      <a:lnTo>
                        <a:pt x="248" y="424"/>
                      </a:lnTo>
                      <a:lnTo>
                        <a:pt x="247" y="424"/>
                      </a:lnTo>
                      <a:lnTo>
                        <a:pt x="243" y="424"/>
                      </a:lnTo>
                      <a:lnTo>
                        <a:pt x="243" y="422"/>
                      </a:lnTo>
                      <a:lnTo>
                        <a:pt x="242" y="422"/>
                      </a:lnTo>
                      <a:lnTo>
                        <a:pt x="240" y="421"/>
                      </a:lnTo>
                      <a:lnTo>
                        <a:pt x="235" y="421"/>
                      </a:lnTo>
                      <a:lnTo>
                        <a:pt x="234" y="421"/>
                      </a:lnTo>
                      <a:lnTo>
                        <a:pt x="233" y="420"/>
                      </a:lnTo>
                      <a:lnTo>
                        <a:pt x="229" y="420"/>
                      </a:lnTo>
                      <a:lnTo>
                        <a:pt x="223" y="419"/>
                      </a:lnTo>
                      <a:lnTo>
                        <a:pt x="222" y="419"/>
                      </a:lnTo>
                      <a:lnTo>
                        <a:pt x="217" y="420"/>
                      </a:lnTo>
                      <a:lnTo>
                        <a:pt x="216" y="420"/>
                      </a:lnTo>
                      <a:lnTo>
                        <a:pt x="216" y="421"/>
                      </a:lnTo>
                      <a:lnTo>
                        <a:pt x="215" y="421"/>
                      </a:lnTo>
                      <a:lnTo>
                        <a:pt x="215" y="422"/>
                      </a:lnTo>
                      <a:lnTo>
                        <a:pt x="216" y="424"/>
                      </a:lnTo>
                      <a:lnTo>
                        <a:pt x="206" y="422"/>
                      </a:lnTo>
                      <a:lnTo>
                        <a:pt x="206" y="421"/>
                      </a:lnTo>
                      <a:lnTo>
                        <a:pt x="205" y="421"/>
                      </a:lnTo>
                      <a:lnTo>
                        <a:pt x="203" y="421"/>
                      </a:lnTo>
                      <a:lnTo>
                        <a:pt x="205" y="421"/>
                      </a:lnTo>
                      <a:lnTo>
                        <a:pt x="205" y="422"/>
                      </a:lnTo>
                      <a:lnTo>
                        <a:pt x="203" y="422"/>
                      </a:lnTo>
                      <a:lnTo>
                        <a:pt x="202" y="422"/>
                      </a:lnTo>
                      <a:lnTo>
                        <a:pt x="199" y="422"/>
                      </a:lnTo>
                      <a:lnTo>
                        <a:pt x="199" y="421"/>
                      </a:lnTo>
                      <a:lnTo>
                        <a:pt x="198" y="421"/>
                      </a:lnTo>
                      <a:lnTo>
                        <a:pt x="198" y="420"/>
                      </a:lnTo>
                      <a:lnTo>
                        <a:pt x="198" y="419"/>
                      </a:lnTo>
                      <a:lnTo>
                        <a:pt x="196" y="419"/>
                      </a:lnTo>
                      <a:lnTo>
                        <a:pt x="195" y="419"/>
                      </a:lnTo>
                      <a:lnTo>
                        <a:pt x="195" y="420"/>
                      </a:lnTo>
                      <a:lnTo>
                        <a:pt x="196" y="420"/>
                      </a:lnTo>
                      <a:lnTo>
                        <a:pt x="198" y="421"/>
                      </a:lnTo>
                      <a:lnTo>
                        <a:pt x="196" y="421"/>
                      </a:lnTo>
                      <a:lnTo>
                        <a:pt x="195" y="421"/>
                      </a:lnTo>
                      <a:lnTo>
                        <a:pt x="192" y="420"/>
                      </a:lnTo>
                      <a:lnTo>
                        <a:pt x="192" y="419"/>
                      </a:lnTo>
                      <a:lnTo>
                        <a:pt x="191" y="420"/>
                      </a:lnTo>
                      <a:lnTo>
                        <a:pt x="189" y="420"/>
                      </a:lnTo>
                      <a:lnTo>
                        <a:pt x="188" y="421"/>
                      </a:lnTo>
                      <a:lnTo>
                        <a:pt x="187" y="422"/>
                      </a:lnTo>
                      <a:lnTo>
                        <a:pt x="186" y="422"/>
                      </a:lnTo>
                      <a:lnTo>
                        <a:pt x="183" y="422"/>
                      </a:lnTo>
                      <a:lnTo>
                        <a:pt x="181" y="422"/>
                      </a:lnTo>
                      <a:lnTo>
                        <a:pt x="179" y="422"/>
                      </a:lnTo>
                      <a:lnTo>
                        <a:pt x="178" y="422"/>
                      </a:lnTo>
                      <a:lnTo>
                        <a:pt x="178" y="424"/>
                      </a:lnTo>
                      <a:lnTo>
                        <a:pt x="177" y="425"/>
                      </a:lnTo>
                      <a:lnTo>
                        <a:pt x="177" y="426"/>
                      </a:lnTo>
                      <a:lnTo>
                        <a:pt x="178" y="426"/>
                      </a:lnTo>
                      <a:lnTo>
                        <a:pt x="177" y="427"/>
                      </a:lnTo>
                      <a:lnTo>
                        <a:pt x="172" y="427"/>
                      </a:lnTo>
                      <a:lnTo>
                        <a:pt x="171" y="428"/>
                      </a:lnTo>
                      <a:lnTo>
                        <a:pt x="170" y="429"/>
                      </a:lnTo>
                      <a:lnTo>
                        <a:pt x="171" y="431"/>
                      </a:lnTo>
                      <a:lnTo>
                        <a:pt x="170" y="432"/>
                      </a:lnTo>
                      <a:lnTo>
                        <a:pt x="170" y="433"/>
                      </a:lnTo>
                      <a:lnTo>
                        <a:pt x="167" y="434"/>
                      </a:lnTo>
                      <a:lnTo>
                        <a:pt x="166" y="434"/>
                      </a:lnTo>
                      <a:lnTo>
                        <a:pt x="165" y="434"/>
                      </a:lnTo>
                      <a:lnTo>
                        <a:pt x="164" y="434"/>
                      </a:lnTo>
                      <a:lnTo>
                        <a:pt x="160" y="434"/>
                      </a:lnTo>
                      <a:lnTo>
                        <a:pt x="159" y="433"/>
                      </a:lnTo>
                      <a:lnTo>
                        <a:pt x="158" y="433"/>
                      </a:lnTo>
                      <a:lnTo>
                        <a:pt x="157" y="434"/>
                      </a:lnTo>
                      <a:lnTo>
                        <a:pt x="156" y="434"/>
                      </a:lnTo>
                      <a:lnTo>
                        <a:pt x="155" y="434"/>
                      </a:lnTo>
                      <a:lnTo>
                        <a:pt x="152" y="435"/>
                      </a:lnTo>
                      <a:lnTo>
                        <a:pt x="151" y="435"/>
                      </a:lnTo>
                      <a:lnTo>
                        <a:pt x="150" y="435"/>
                      </a:lnTo>
                      <a:lnTo>
                        <a:pt x="144" y="434"/>
                      </a:lnTo>
                      <a:lnTo>
                        <a:pt x="143" y="433"/>
                      </a:lnTo>
                      <a:lnTo>
                        <a:pt x="141" y="433"/>
                      </a:lnTo>
                      <a:lnTo>
                        <a:pt x="139" y="433"/>
                      </a:lnTo>
                      <a:lnTo>
                        <a:pt x="137" y="434"/>
                      </a:lnTo>
                      <a:lnTo>
                        <a:pt x="138" y="434"/>
                      </a:lnTo>
                      <a:lnTo>
                        <a:pt x="136" y="434"/>
                      </a:lnTo>
                      <a:lnTo>
                        <a:pt x="136" y="435"/>
                      </a:lnTo>
                      <a:lnTo>
                        <a:pt x="137" y="435"/>
                      </a:lnTo>
                      <a:lnTo>
                        <a:pt x="137" y="436"/>
                      </a:lnTo>
                      <a:lnTo>
                        <a:pt x="137" y="438"/>
                      </a:lnTo>
                      <a:lnTo>
                        <a:pt x="131" y="436"/>
                      </a:lnTo>
                      <a:lnTo>
                        <a:pt x="127" y="436"/>
                      </a:lnTo>
                      <a:lnTo>
                        <a:pt x="125" y="438"/>
                      </a:lnTo>
                      <a:lnTo>
                        <a:pt x="124" y="439"/>
                      </a:lnTo>
                      <a:lnTo>
                        <a:pt x="123" y="441"/>
                      </a:lnTo>
                      <a:lnTo>
                        <a:pt x="122" y="441"/>
                      </a:lnTo>
                      <a:lnTo>
                        <a:pt x="121" y="441"/>
                      </a:lnTo>
                      <a:lnTo>
                        <a:pt x="121" y="442"/>
                      </a:lnTo>
                      <a:lnTo>
                        <a:pt x="120" y="442"/>
                      </a:lnTo>
                      <a:lnTo>
                        <a:pt x="120" y="443"/>
                      </a:lnTo>
                      <a:lnTo>
                        <a:pt x="119" y="443"/>
                      </a:lnTo>
                      <a:lnTo>
                        <a:pt x="117" y="445"/>
                      </a:lnTo>
                      <a:lnTo>
                        <a:pt x="117" y="446"/>
                      </a:lnTo>
                      <a:lnTo>
                        <a:pt x="117" y="445"/>
                      </a:lnTo>
                      <a:lnTo>
                        <a:pt x="116" y="446"/>
                      </a:lnTo>
                      <a:lnTo>
                        <a:pt x="115" y="446"/>
                      </a:lnTo>
                      <a:lnTo>
                        <a:pt x="113" y="448"/>
                      </a:lnTo>
                      <a:lnTo>
                        <a:pt x="112" y="449"/>
                      </a:lnTo>
                      <a:lnTo>
                        <a:pt x="113" y="449"/>
                      </a:lnTo>
                      <a:lnTo>
                        <a:pt x="113" y="450"/>
                      </a:lnTo>
                      <a:lnTo>
                        <a:pt x="112" y="450"/>
                      </a:lnTo>
                      <a:lnTo>
                        <a:pt x="110" y="450"/>
                      </a:lnTo>
                      <a:lnTo>
                        <a:pt x="109" y="450"/>
                      </a:lnTo>
                      <a:lnTo>
                        <a:pt x="107" y="449"/>
                      </a:lnTo>
                      <a:lnTo>
                        <a:pt x="107" y="448"/>
                      </a:lnTo>
                      <a:lnTo>
                        <a:pt x="106" y="448"/>
                      </a:lnTo>
                      <a:lnTo>
                        <a:pt x="101" y="448"/>
                      </a:lnTo>
                      <a:lnTo>
                        <a:pt x="100" y="449"/>
                      </a:lnTo>
                      <a:lnTo>
                        <a:pt x="99" y="449"/>
                      </a:lnTo>
                      <a:lnTo>
                        <a:pt x="99" y="448"/>
                      </a:lnTo>
                      <a:lnTo>
                        <a:pt x="98" y="447"/>
                      </a:lnTo>
                      <a:lnTo>
                        <a:pt x="95" y="445"/>
                      </a:lnTo>
                      <a:lnTo>
                        <a:pt x="93" y="443"/>
                      </a:lnTo>
                      <a:lnTo>
                        <a:pt x="92" y="442"/>
                      </a:lnTo>
                      <a:lnTo>
                        <a:pt x="91" y="442"/>
                      </a:lnTo>
                      <a:lnTo>
                        <a:pt x="89" y="443"/>
                      </a:lnTo>
                      <a:lnTo>
                        <a:pt x="88" y="443"/>
                      </a:lnTo>
                      <a:lnTo>
                        <a:pt x="88" y="442"/>
                      </a:lnTo>
                      <a:lnTo>
                        <a:pt x="91" y="440"/>
                      </a:lnTo>
                      <a:lnTo>
                        <a:pt x="91" y="439"/>
                      </a:lnTo>
                      <a:lnTo>
                        <a:pt x="91" y="438"/>
                      </a:lnTo>
                      <a:lnTo>
                        <a:pt x="89" y="436"/>
                      </a:lnTo>
                      <a:lnTo>
                        <a:pt x="88" y="435"/>
                      </a:lnTo>
                      <a:lnTo>
                        <a:pt x="86" y="435"/>
                      </a:lnTo>
                      <a:lnTo>
                        <a:pt x="84" y="435"/>
                      </a:lnTo>
                      <a:lnTo>
                        <a:pt x="82" y="434"/>
                      </a:lnTo>
                      <a:lnTo>
                        <a:pt x="82" y="433"/>
                      </a:lnTo>
                      <a:lnTo>
                        <a:pt x="84" y="433"/>
                      </a:lnTo>
                      <a:lnTo>
                        <a:pt x="84" y="432"/>
                      </a:lnTo>
                      <a:lnTo>
                        <a:pt x="84" y="431"/>
                      </a:lnTo>
                      <a:lnTo>
                        <a:pt x="84" y="432"/>
                      </a:lnTo>
                      <a:lnTo>
                        <a:pt x="82" y="433"/>
                      </a:lnTo>
                      <a:lnTo>
                        <a:pt x="80" y="433"/>
                      </a:lnTo>
                      <a:lnTo>
                        <a:pt x="79" y="433"/>
                      </a:lnTo>
                      <a:lnTo>
                        <a:pt x="75" y="434"/>
                      </a:lnTo>
                      <a:lnTo>
                        <a:pt x="74" y="434"/>
                      </a:lnTo>
                      <a:lnTo>
                        <a:pt x="73" y="434"/>
                      </a:lnTo>
                      <a:lnTo>
                        <a:pt x="73" y="433"/>
                      </a:lnTo>
                      <a:lnTo>
                        <a:pt x="73" y="432"/>
                      </a:lnTo>
                      <a:lnTo>
                        <a:pt x="73" y="431"/>
                      </a:lnTo>
                      <a:lnTo>
                        <a:pt x="74" y="431"/>
                      </a:lnTo>
                      <a:lnTo>
                        <a:pt x="74" y="429"/>
                      </a:lnTo>
                      <a:lnTo>
                        <a:pt x="74" y="428"/>
                      </a:lnTo>
                      <a:lnTo>
                        <a:pt x="74" y="427"/>
                      </a:lnTo>
                      <a:lnTo>
                        <a:pt x="74" y="426"/>
                      </a:lnTo>
                      <a:lnTo>
                        <a:pt x="75" y="426"/>
                      </a:lnTo>
                      <a:lnTo>
                        <a:pt x="73" y="424"/>
                      </a:lnTo>
                      <a:lnTo>
                        <a:pt x="71" y="422"/>
                      </a:lnTo>
                      <a:lnTo>
                        <a:pt x="68" y="422"/>
                      </a:lnTo>
                      <a:lnTo>
                        <a:pt x="65" y="422"/>
                      </a:lnTo>
                      <a:lnTo>
                        <a:pt x="65" y="424"/>
                      </a:lnTo>
                      <a:lnTo>
                        <a:pt x="64" y="424"/>
                      </a:lnTo>
                      <a:lnTo>
                        <a:pt x="63" y="424"/>
                      </a:lnTo>
                      <a:lnTo>
                        <a:pt x="63" y="425"/>
                      </a:lnTo>
                      <a:lnTo>
                        <a:pt x="61" y="425"/>
                      </a:lnTo>
                      <a:lnTo>
                        <a:pt x="61" y="426"/>
                      </a:lnTo>
                      <a:lnTo>
                        <a:pt x="63" y="427"/>
                      </a:lnTo>
                      <a:lnTo>
                        <a:pt x="63" y="428"/>
                      </a:lnTo>
                      <a:lnTo>
                        <a:pt x="63" y="429"/>
                      </a:lnTo>
                      <a:lnTo>
                        <a:pt x="63" y="432"/>
                      </a:lnTo>
                      <a:lnTo>
                        <a:pt x="63" y="433"/>
                      </a:lnTo>
                      <a:lnTo>
                        <a:pt x="64" y="433"/>
                      </a:lnTo>
                      <a:lnTo>
                        <a:pt x="63" y="433"/>
                      </a:lnTo>
                      <a:lnTo>
                        <a:pt x="61" y="433"/>
                      </a:lnTo>
                      <a:lnTo>
                        <a:pt x="61" y="432"/>
                      </a:lnTo>
                      <a:lnTo>
                        <a:pt x="60" y="432"/>
                      </a:lnTo>
                      <a:lnTo>
                        <a:pt x="60" y="429"/>
                      </a:lnTo>
                      <a:lnTo>
                        <a:pt x="60" y="428"/>
                      </a:lnTo>
                      <a:lnTo>
                        <a:pt x="59" y="427"/>
                      </a:lnTo>
                      <a:lnTo>
                        <a:pt x="58" y="426"/>
                      </a:lnTo>
                      <a:lnTo>
                        <a:pt x="58" y="425"/>
                      </a:lnTo>
                      <a:lnTo>
                        <a:pt x="59" y="425"/>
                      </a:lnTo>
                      <a:lnTo>
                        <a:pt x="59" y="424"/>
                      </a:lnTo>
                      <a:lnTo>
                        <a:pt x="59" y="422"/>
                      </a:lnTo>
                      <a:lnTo>
                        <a:pt x="58" y="422"/>
                      </a:lnTo>
                      <a:lnTo>
                        <a:pt x="58" y="421"/>
                      </a:lnTo>
                      <a:lnTo>
                        <a:pt x="58" y="420"/>
                      </a:lnTo>
                      <a:lnTo>
                        <a:pt x="59" y="420"/>
                      </a:lnTo>
                      <a:lnTo>
                        <a:pt x="59" y="419"/>
                      </a:lnTo>
                      <a:lnTo>
                        <a:pt x="59" y="418"/>
                      </a:lnTo>
                      <a:lnTo>
                        <a:pt x="60" y="417"/>
                      </a:lnTo>
                      <a:lnTo>
                        <a:pt x="61" y="417"/>
                      </a:lnTo>
                      <a:lnTo>
                        <a:pt x="63" y="417"/>
                      </a:lnTo>
                      <a:lnTo>
                        <a:pt x="64" y="415"/>
                      </a:lnTo>
                      <a:lnTo>
                        <a:pt x="63" y="414"/>
                      </a:lnTo>
                      <a:lnTo>
                        <a:pt x="63" y="413"/>
                      </a:lnTo>
                      <a:lnTo>
                        <a:pt x="63" y="412"/>
                      </a:lnTo>
                      <a:lnTo>
                        <a:pt x="61" y="408"/>
                      </a:lnTo>
                      <a:lnTo>
                        <a:pt x="60" y="407"/>
                      </a:lnTo>
                      <a:lnTo>
                        <a:pt x="60" y="406"/>
                      </a:lnTo>
                      <a:lnTo>
                        <a:pt x="59" y="405"/>
                      </a:lnTo>
                      <a:lnTo>
                        <a:pt x="58" y="404"/>
                      </a:lnTo>
                      <a:lnTo>
                        <a:pt x="58" y="401"/>
                      </a:lnTo>
                      <a:lnTo>
                        <a:pt x="58" y="400"/>
                      </a:lnTo>
                      <a:lnTo>
                        <a:pt x="57" y="399"/>
                      </a:lnTo>
                      <a:lnTo>
                        <a:pt x="56" y="398"/>
                      </a:lnTo>
                      <a:lnTo>
                        <a:pt x="52" y="396"/>
                      </a:lnTo>
                      <a:lnTo>
                        <a:pt x="53" y="396"/>
                      </a:lnTo>
                      <a:lnTo>
                        <a:pt x="52" y="394"/>
                      </a:lnTo>
                      <a:lnTo>
                        <a:pt x="52" y="393"/>
                      </a:lnTo>
                      <a:lnTo>
                        <a:pt x="51" y="392"/>
                      </a:lnTo>
                      <a:lnTo>
                        <a:pt x="51" y="391"/>
                      </a:lnTo>
                      <a:lnTo>
                        <a:pt x="50" y="390"/>
                      </a:lnTo>
                      <a:lnTo>
                        <a:pt x="49" y="389"/>
                      </a:lnTo>
                      <a:lnTo>
                        <a:pt x="48" y="389"/>
                      </a:lnTo>
                      <a:lnTo>
                        <a:pt x="48" y="387"/>
                      </a:lnTo>
                      <a:lnTo>
                        <a:pt x="46" y="386"/>
                      </a:lnTo>
                      <a:lnTo>
                        <a:pt x="48" y="386"/>
                      </a:lnTo>
                      <a:lnTo>
                        <a:pt x="49" y="386"/>
                      </a:lnTo>
                      <a:lnTo>
                        <a:pt x="49" y="387"/>
                      </a:lnTo>
                      <a:lnTo>
                        <a:pt x="49" y="389"/>
                      </a:lnTo>
                      <a:lnTo>
                        <a:pt x="50" y="389"/>
                      </a:lnTo>
                      <a:lnTo>
                        <a:pt x="51" y="390"/>
                      </a:lnTo>
                      <a:lnTo>
                        <a:pt x="51" y="391"/>
                      </a:lnTo>
                      <a:lnTo>
                        <a:pt x="52" y="390"/>
                      </a:lnTo>
                      <a:lnTo>
                        <a:pt x="51" y="389"/>
                      </a:lnTo>
                      <a:lnTo>
                        <a:pt x="51" y="387"/>
                      </a:lnTo>
                      <a:lnTo>
                        <a:pt x="50" y="387"/>
                      </a:lnTo>
                      <a:lnTo>
                        <a:pt x="50" y="386"/>
                      </a:lnTo>
                      <a:lnTo>
                        <a:pt x="49" y="386"/>
                      </a:lnTo>
                      <a:lnTo>
                        <a:pt x="50" y="385"/>
                      </a:lnTo>
                      <a:lnTo>
                        <a:pt x="49" y="384"/>
                      </a:lnTo>
                      <a:lnTo>
                        <a:pt x="49" y="383"/>
                      </a:lnTo>
                      <a:lnTo>
                        <a:pt x="48" y="383"/>
                      </a:lnTo>
                      <a:lnTo>
                        <a:pt x="46" y="383"/>
                      </a:lnTo>
                      <a:lnTo>
                        <a:pt x="46" y="384"/>
                      </a:lnTo>
                      <a:lnTo>
                        <a:pt x="45" y="385"/>
                      </a:lnTo>
                      <a:lnTo>
                        <a:pt x="45" y="384"/>
                      </a:lnTo>
                      <a:lnTo>
                        <a:pt x="45" y="383"/>
                      </a:lnTo>
                      <a:lnTo>
                        <a:pt x="44" y="383"/>
                      </a:lnTo>
                      <a:lnTo>
                        <a:pt x="44" y="382"/>
                      </a:lnTo>
                      <a:lnTo>
                        <a:pt x="44" y="380"/>
                      </a:lnTo>
                      <a:lnTo>
                        <a:pt x="44" y="379"/>
                      </a:lnTo>
                      <a:lnTo>
                        <a:pt x="44" y="378"/>
                      </a:lnTo>
                      <a:lnTo>
                        <a:pt x="44" y="377"/>
                      </a:lnTo>
                      <a:lnTo>
                        <a:pt x="43" y="377"/>
                      </a:lnTo>
                      <a:lnTo>
                        <a:pt x="43" y="376"/>
                      </a:lnTo>
                      <a:lnTo>
                        <a:pt x="44" y="376"/>
                      </a:lnTo>
                      <a:lnTo>
                        <a:pt x="45" y="375"/>
                      </a:lnTo>
                      <a:lnTo>
                        <a:pt x="45" y="373"/>
                      </a:lnTo>
                      <a:lnTo>
                        <a:pt x="45" y="372"/>
                      </a:lnTo>
                      <a:lnTo>
                        <a:pt x="46" y="372"/>
                      </a:lnTo>
                      <a:lnTo>
                        <a:pt x="48" y="372"/>
                      </a:lnTo>
                      <a:lnTo>
                        <a:pt x="49" y="375"/>
                      </a:lnTo>
                      <a:lnTo>
                        <a:pt x="51" y="375"/>
                      </a:lnTo>
                      <a:lnTo>
                        <a:pt x="52" y="375"/>
                      </a:lnTo>
                      <a:lnTo>
                        <a:pt x="52" y="373"/>
                      </a:lnTo>
                      <a:lnTo>
                        <a:pt x="57" y="370"/>
                      </a:lnTo>
                      <a:lnTo>
                        <a:pt x="57" y="369"/>
                      </a:lnTo>
                      <a:lnTo>
                        <a:pt x="58" y="366"/>
                      </a:lnTo>
                      <a:lnTo>
                        <a:pt x="58" y="364"/>
                      </a:lnTo>
                      <a:lnTo>
                        <a:pt x="58" y="363"/>
                      </a:lnTo>
                      <a:lnTo>
                        <a:pt x="58" y="359"/>
                      </a:lnTo>
                      <a:lnTo>
                        <a:pt x="58" y="358"/>
                      </a:lnTo>
                      <a:lnTo>
                        <a:pt x="59" y="357"/>
                      </a:lnTo>
                      <a:lnTo>
                        <a:pt x="59" y="356"/>
                      </a:lnTo>
                      <a:lnTo>
                        <a:pt x="58" y="350"/>
                      </a:lnTo>
                      <a:lnTo>
                        <a:pt x="57" y="347"/>
                      </a:lnTo>
                      <a:lnTo>
                        <a:pt x="57" y="345"/>
                      </a:lnTo>
                      <a:lnTo>
                        <a:pt x="57" y="344"/>
                      </a:lnTo>
                      <a:lnTo>
                        <a:pt x="57" y="343"/>
                      </a:lnTo>
                      <a:lnTo>
                        <a:pt x="57" y="342"/>
                      </a:lnTo>
                      <a:lnTo>
                        <a:pt x="56" y="341"/>
                      </a:lnTo>
                      <a:lnTo>
                        <a:pt x="56" y="340"/>
                      </a:lnTo>
                      <a:lnTo>
                        <a:pt x="56" y="338"/>
                      </a:lnTo>
                      <a:lnTo>
                        <a:pt x="55" y="336"/>
                      </a:lnTo>
                      <a:lnTo>
                        <a:pt x="55" y="335"/>
                      </a:lnTo>
                      <a:lnTo>
                        <a:pt x="53" y="334"/>
                      </a:lnTo>
                      <a:lnTo>
                        <a:pt x="52" y="331"/>
                      </a:lnTo>
                      <a:lnTo>
                        <a:pt x="51" y="331"/>
                      </a:lnTo>
                      <a:lnTo>
                        <a:pt x="50" y="329"/>
                      </a:lnTo>
                      <a:lnTo>
                        <a:pt x="49" y="327"/>
                      </a:lnTo>
                      <a:lnTo>
                        <a:pt x="49" y="326"/>
                      </a:lnTo>
                      <a:lnTo>
                        <a:pt x="48" y="326"/>
                      </a:lnTo>
                      <a:lnTo>
                        <a:pt x="46" y="324"/>
                      </a:lnTo>
                      <a:lnTo>
                        <a:pt x="45" y="323"/>
                      </a:lnTo>
                      <a:lnTo>
                        <a:pt x="44" y="322"/>
                      </a:lnTo>
                      <a:lnTo>
                        <a:pt x="44" y="321"/>
                      </a:lnTo>
                      <a:lnTo>
                        <a:pt x="44" y="320"/>
                      </a:lnTo>
                      <a:lnTo>
                        <a:pt x="44" y="319"/>
                      </a:lnTo>
                      <a:lnTo>
                        <a:pt x="42" y="317"/>
                      </a:lnTo>
                      <a:lnTo>
                        <a:pt x="41" y="314"/>
                      </a:lnTo>
                      <a:lnTo>
                        <a:pt x="39" y="314"/>
                      </a:lnTo>
                      <a:lnTo>
                        <a:pt x="39" y="313"/>
                      </a:lnTo>
                      <a:lnTo>
                        <a:pt x="38" y="310"/>
                      </a:lnTo>
                      <a:lnTo>
                        <a:pt x="36" y="307"/>
                      </a:lnTo>
                      <a:lnTo>
                        <a:pt x="34" y="303"/>
                      </a:lnTo>
                      <a:lnTo>
                        <a:pt x="34" y="302"/>
                      </a:lnTo>
                      <a:lnTo>
                        <a:pt x="34" y="301"/>
                      </a:lnTo>
                      <a:lnTo>
                        <a:pt x="31" y="298"/>
                      </a:lnTo>
                      <a:lnTo>
                        <a:pt x="30" y="296"/>
                      </a:lnTo>
                      <a:lnTo>
                        <a:pt x="31" y="295"/>
                      </a:lnTo>
                      <a:lnTo>
                        <a:pt x="30" y="294"/>
                      </a:lnTo>
                      <a:lnTo>
                        <a:pt x="28" y="291"/>
                      </a:lnTo>
                      <a:lnTo>
                        <a:pt x="28" y="289"/>
                      </a:lnTo>
                      <a:lnTo>
                        <a:pt x="25" y="286"/>
                      </a:lnTo>
                      <a:lnTo>
                        <a:pt x="25" y="285"/>
                      </a:lnTo>
                      <a:lnTo>
                        <a:pt x="24" y="284"/>
                      </a:lnTo>
                      <a:lnTo>
                        <a:pt x="24" y="282"/>
                      </a:lnTo>
                      <a:lnTo>
                        <a:pt x="23" y="279"/>
                      </a:lnTo>
                      <a:lnTo>
                        <a:pt x="23" y="278"/>
                      </a:lnTo>
                      <a:lnTo>
                        <a:pt x="22" y="277"/>
                      </a:lnTo>
                      <a:lnTo>
                        <a:pt x="22" y="274"/>
                      </a:lnTo>
                      <a:lnTo>
                        <a:pt x="20" y="270"/>
                      </a:lnTo>
                      <a:lnTo>
                        <a:pt x="20" y="268"/>
                      </a:lnTo>
                      <a:lnTo>
                        <a:pt x="20" y="267"/>
                      </a:lnTo>
                      <a:lnTo>
                        <a:pt x="18" y="264"/>
                      </a:lnTo>
                      <a:lnTo>
                        <a:pt x="18" y="263"/>
                      </a:lnTo>
                      <a:lnTo>
                        <a:pt x="18" y="261"/>
                      </a:lnTo>
                      <a:lnTo>
                        <a:pt x="17" y="260"/>
                      </a:lnTo>
                      <a:lnTo>
                        <a:pt x="17" y="259"/>
                      </a:lnTo>
                      <a:lnTo>
                        <a:pt x="17" y="258"/>
                      </a:lnTo>
                      <a:lnTo>
                        <a:pt x="16" y="257"/>
                      </a:lnTo>
                      <a:lnTo>
                        <a:pt x="16" y="254"/>
                      </a:lnTo>
                      <a:lnTo>
                        <a:pt x="15" y="254"/>
                      </a:lnTo>
                      <a:lnTo>
                        <a:pt x="14" y="251"/>
                      </a:lnTo>
                      <a:lnTo>
                        <a:pt x="14" y="250"/>
                      </a:lnTo>
                      <a:lnTo>
                        <a:pt x="14" y="249"/>
                      </a:lnTo>
                      <a:lnTo>
                        <a:pt x="13" y="249"/>
                      </a:lnTo>
                      <a:lnTo>
                        <a:pt x="13" y="246"/>
                      </a:lnTo>
                      <a:lnTo>
                        <a:pt x="11" y="246"/>
                      </a:lnTo>
                      <a:lnTo>
                        <a:pt x="11" y="245"/>
                      </a:lnTo>
                      <a:lnTo>
                        <a:pt x="11" y="244"/>
                      </a:lnTo>
                      <a:lnTo>
                        <a:pt x="10" y="243"/>
                      </a:lnTo>
                      <a:lnTo>
                        <a:pt x="10" y="242"/>
                      </a:lnTo>
                      <a:lnTo>
                        <a:pt x="11" y="242"/>
                      </a:lnTo>
                      <a:lnTo>
                        <a:pt x="10" y="240"/>
                      </a:lnTo>
                      <a:lnTo>
                        <a:pt x="8" y="239"/>
                      </a:lnTo>
                      <a:lnTo>
                        <a:pt x="8" y="238"/>
                      </a:lnTo>
                      <a:lnTo>
                        <a:pt x="8" y="237"/>
                      </a:lnTo>
                      <a:lnTo>
                        <a:pt x="6" y="235"/>
                      </a:lnTo>
                      <a:lnTo>
                        <a:pt x="3" y="232"/>
                      </a:lnTo>
                      <a:lnTo>
                        <a:pt x="3" y="231"/>
                      </a:lnTo>
                      <a:lnTo>
                        <a:pt x="3" y="230"/>
                      </a:lnTo>
                      <a:lnTo>
                        <a:pt x="3" y="229"/>
                      </a:lnTo>
                      <a:lnTo>
                        <a:pt x="2" y="228"/>
                      </a:lnTo>
                      <a:lnTo>
                        <a:pt x="1" y="225"/>
                      </a:lnTo>
                      <a:lnTo>
                        <a:pt x="0" y="224"/>
                      </a:lnTo>
                      <a:lnTo>
                        <a:pt x="0" y="223"/>
                      </a:lnTo>
                      <a:lnTo>
                        <a:pt x="1" y="222"/>
                      </a:lnTo>
                      <a:lnTo>
                        <a:pt x="2" y="222"/>
                      </a:lnTo>
                      <a:lnTo>
                        <a:pt x="3" y="221"/>
                      </a:lnTo>
                      <a:lnTo>
                        <a:pt x="6" y="218"/>
                      </a:lnTo>
                      <a:lnTo>
                        <a:pt x="7" y="218"/>
                      </a:lnTo>
                      <a:lnTo>
                        <a:pt x="7" y="219"/>
                      </a:lnTo>
                      <a:lnTo>
                        <a:pt x="8" y="219"/>
                      </a:lnTo>
                      <a:lnTo>
                        <a:pt x="9" y="218"/>
                      </a:lnTo>
                      <a:lnTo>
                        <a:pt x="9" y="217"/>
                      </a:lnTo>
                      <a:lnTo>
                        <a:pt x="9" y="216"/>
                      </a:lnTo>
                      <a:lnTo>
                        <a:pt x="10" y="216"/>
                      </a:lnTo>
                      <a:lnTo>
                        <a:pt x="10" y="215"/>
                      </a:lnTo>
                      <a:lnTo>
                        <a:pt x="9" y="214"/>
                      </a:lnTo>
                      <a:lnTo>
                        <a:pt x="9" y="212"/>
                      </a:lnTo>
                      <a:lnTo>
                        <a:pt x="9" y="211"/>
                      </a:lnTo>
                      <a:lnTo>
                        <a:pt x="10" y="211"/>
                      </a:lnTo>
                      <a:lnTo>
                        <a:pt x="10" y="212"/>
                      </a:lnTo>
                      <a:lnTo>
                        <a:pt x="10" y="211"/>
                      </a:lnTo>
                      <a:lnTo>
                        <a:pt x="10" y="210"/>
                      </a:lnTo>
                      <a:lnTo>
                        <a:pt x="11" y="210"/>
                      </a:lnTo>
                      <a:lnTo>
                        <a:pt x="11" y="209"/>
                      </a:lnTo>
                      <a:lnTo>
                        <a:pt x="11" y="208"/>
                      </a:lnTo>
                      <a:lnTo>
                        <a:pt x="13" y="208"/>
                      </a:lnTo>
                      <a:lnTo>
                        <a:pt x="13" y="209"/>
                      </a:lnTo>
                      <a:lnTo>
                        <a:pt x="13" y="208"/>
                      </a:lnTo>
                      <a:lnTo>
                        <a:pt x="13" y="205"/>
                      </a:lnTo>
                      <a:lnTo>
                        <a:pt x="14" y="204"/>
                      </a:lnTo>
                      <a:lnTo>
                        <a:pt x="15" y="204"/>
                      </a:lnTo>
                      <a:lnTo>
                        <a:pt x="16" y="204"/>
                      </a:lnTo>
                      <a:lnTo>
                        <a:pt x="17" y="203"/>
                      </a:lnTo>
                      <a:lnTo>
                        <a:pt x="18" y="203"/>
                      </a:lnTo>
                      <a:lnTo>
                        <a:pt x="20" y="203"/>
                      </a:lnTo>
                      <a:lnTo>
                        <a:pt x="20" y="204"/>
                      </a:lnTo>
                      <a:lnTo>
                        <a:pt x="21" y="205"/>
                      </a:lnTo>
                      <a:lnTo>
                        <a:pt x="22" y="205"/>
                      </a:lnTo>
                      <a:lnTo>
                        <a:pt x="22" y="207"/>
                      </a:lnTo>
                      <a:lnTo>
                        <a:pt x="22" y="208"/>
                      </a:lnTo>
                      <a:lnTo>
                        <a:pt x="22" y="210"/>
                      </a:lnTo>
                      <a:lnTo>
                        <a:pt x="23" y="210"/>
                      </a:lnTo>
                      <a:lnTo>
                        <a:pt x="24" y="210"/>
                      </a:lnTo>
                      <a:lnTo>
                        <a:pt x="25" y="210"/>
                      </a:lnTo>
                      <a:lnTo>
                        <a:pt x="27" y="210"/>
                      </a:lnTo>
                      <a:lnTo>
                        <a:pt x="28" y="210"/>
                      </a:lnTo>
                      <a:lnTo>
                        <a:pt x="28" y="211"/>
                      </a:lnTo>
                      <a:lnTo>
                        <a:pt x="28" y="212"/>
                      </a:lnTo>
                      <a:lnTo>
                        <a:pt x="28" y="214"/>
                      </a:lnTo>
                      <a:lnTo>
                        <a:pt x="29" y="214"/>
                      </a:lnTo>
                      <a:lnTo>
                        <a:pt x="29" y="215"/>
                      </a:lnTo>
                      <a:lnTo>
                        <a:pt x="29" y="216"/>
                      </a:lnTo>
                      <a:lnTo>
                        <a:pt x="29" y="217"/>
                      </a:lnTo>
                      <a:lnTo>
                        <a:pt x="28" y="217"/>
                      </a:lnTo>
                      <a:lnTo>
                        <a:pt x="27" y="218"/>
                      </a:lnTo>
                      <a:lnTo>
                        <a:pt x="27" y="219"/>
                      </a:lnTo>
                      <a:lnTo>
                        <a:pt x="28" y="221"/>
                      </a:lnTo>
                      <a:lnTo>
                        <a:pt x="28" y="222"/>
                      </a:lnTo>
                      <a:lnTo>
                        <a:pt x="29" y="223"/>
                      </a:lnTo>
                      <a:lnTo>
                        <a:pt x="29" y="224"/>
                      </a:lnTo>
                      <a:lnTo>
                        <a:pt x="29" y="226"/>
                      </a:lnTo>
                      <a:lnTo>
                        <a:pt x="29" y="228"/>
                      </a:lnTo>
                      <a:lnTo>
                        <a:pt x="30" y="228"/>
                      </a:lnTo>
                      <a:lnTo>
                        <a:pt x="31" y="226"/>
                      </a:lnTo>
                      <a:lnTo>
                        <a:pt x="32" y="226"/>
                      </a:lnTo>
                      <a:lnTo>
                        <a:pt x="34" y="226"/>
                      </a:lnTo>
                      <a:lnTo>
                        <a:pt x="35" y="226"/>
                      </a:lnTo>
                      <a:lnTo>
                        <a:pt x="35" y="228"/>
                      </a:lnTo>
                      <a:lnTo>
                        <a:pt x="35" y="229"/>
                      </a:lnTo>
                      <a:lnTo>
                        <a:pt x="36" y="229"/>
                      </a:lnTo>
                      <a:lnTo>
                        <a:pt x="37" y="230"/>
                      </a:lnTo>
                      <a:lnTo>
                        <a:pt x="38" y="230"/>
                      </a:lnTo>
                      <a:lnTo>
                        <a:pt x="38" y="229"/>
                      </a:lnTo>
                      <a:lnTo>
                        <a:pt x="39" y="229"/>
                      </a:lnTo>
                      <a:lnTo>
                        <a:pt x="45" y="230"/>
                      </a:lnTo>
                      <a:lnTo>
                        <a:pt x="46" y="230"/>
                      </a:lnTo>
                      <a:lnTo>
                        <a:pt x="48" y="231"/>
                      </a:lnTo>
                      <a:lnTo>
                        <a:pt x="49" y="232"/>
                      </a:lnTo>
                      <a:lnTo>
                        <a:pt x="50" y="233"/>
                      </a:lnTo>
                      <a:lnTo>
                        <a:pt x="52" y="235"/>
                      </a:lnTo>
                      <a:lnTo>
                        <a:pt x="53" y="235"/>
                      </a:lnTo>
                      <a:lnTo>
                        <a:pt x="55" y="233"/>
                      </a:lnTo>
                      <a:lnTo>
                        <a:pt x="57" y="233"/>
                      </a:lnTo>
                      <a:lnTo>
                        <a:pt x="58" y="233"/>
                      </a:lnTo>
                      <a:lnTo>
                        <a:pt x="59" y="233"/>
                      </a:lnTo>
                      <a:lnTo>
                        <a:pt x="60" y="233"/>
                      </a:lnTo>
                      <a:lnTo>
                        <a:pt x="61" y="233"/>
                      </a:lnTo>
                      <a:lnTo>
                        <a:pt x="63" y="233"/>
                      </a:lnTo>
                      <a:lnTo>
                        <a:pt x="64" y="233"/>
                      </a:lnTo>
                      <a:lnTo>
                        <a:pt x="65" y="232"/>
                      </a:lnTo>
                      <a:lnTo>
                        <a:pt x="71" y="232"/>
                      </a:lnTo>
                      <a:lnTo>
                        <a:pt x="78" y="232"/>
                      </a:lnTo>
                      <a:lnTo>
                        <a:pt x="78" y="233"/>
                      </a:lnTo>
                      <a:lnTo>
                        <a:pt x="79" y="235"/>
                      </a:lnTo>
                      <a:lnTo>
                        <a:pt x="80" y="235"/>
                      </a:lnTo>
                      <a:lnTo>
                        <a:pt x="80" y="236"/>
                      </a:lnTo>
                      <a:lnTo>
                        <a:pt x="81" y="236"/>
                      </a:lnTo>
                      <a:lnTo>
                        <a:pt x="82" y="236"/>
                      </a:lnTo>
                      <a:lnTo>
                        <a:pt x="84" y="236"/>
                      </a:lnTo>
                      <a:lnTo>
                        <a:pt x="86" y="235"/>
                      </a:lnTo>
                      <a:lnTo>
                        <a:pt x="86" y="233"/>
                      </a:lnTo>
                      <a:lnTo>
                        <a:pt x="87" y="233"/>
                      </a:lnTo>
                      <a:lnTo>
                        <a:pt x="88" y="233"/>
                      </a:lnTo>
                      <a:lnTo>
                        <a:pt x="87" y="231"/>
                      </a:lnTo>
                      <a:lnTo>
                        <a:pt x="86" y="230"/>
                      </a:lnTo>
                      <a:lnTo>
                        <a:pt x="87" y="230"/>
                      </a:lnTo>
                      <a:lnTo>
                        <a:pt x="87" y="229"/>
                      </a:lnTo>
                      <a:lnTo>
                        <a:pt x="87" y="228"/>
                      </a:lnTo>
                      <a:lnTo>
                        <a:pt x="88" y="228"/>
                      </a:lnTo>
                      <a:lnTo>
                        <a:pt x="89" y="228"/>
                      </a:lnTo>
                      <a:lnTo>
                        <a:pt x="93" y="228"/>
                      </a:lnTo>
                      <a:lnTo>
                        <a:pt x="93" y="226"/>
                      </a:lnTo>
                      <a:lnTo>
                        <a:pt x="94" y="226"/>
                      </a:lnTo>
                      <a:lnTo>
                        <a:pt x="95" y="223"/>
                      </a:lnTo>
                      <a:lnTo>
                        <a:pt x="95" y="222"/>
                      </a:lnTo>
                      <a:lnTo>
                        <a:pt x="96" y="222"/>
                      </a:lnTo>
                      <a:lnTo>
                        <a:pt x="96" y="221"/>
                      </a:lnTo>
                      <a:lnTo>
                        <a:pt x="98" y="221"/>
                      </a:lnTo>
                      <a:lnTo>
                        <a:pt x="100" y="221"/>
                      </a:lnTo>
                      <a:lnTo>
                        <a:pt x="101" y="219"/>
                      </a:lnTo>
                      <a:lnTo>
                        <a:pt x="102" y="219"/>
                      </a:lnTo>
                      <a:lnTo>
                        <a:pt x="103" y="219"/>
                      </a:lnTo>
                      <a:lnTo>
                        <a:pt x="105" y="218"/>
                      </a:lnTo>
                      <a:lnTo>
                        <a:pt x="106" y="217"/>
                      </a:lnTo>
                      <a:lnTo>
                        <a:pt x="107" y="217"/>
                      </a:lnTo>
                      <a:lnTo>
                        <a:pt x="108" y="217"/>
                      </a:lnTo>
                      <a:lnTo>
                        <a:pt x="109" y="217"/>
                      </a:lnTo>
                      <a:lnTo>
                        <a:pt x="109" y="216"/>
                      </a:lnTo>
                      <a:lnTo>
                        <a:pt x="109" y="215"/>
                      </a:lnTo>
                      <a:lnTo>
                        <a:pt x="109" y="212"/>
                      </a:lnTo>
                      <a:lnTo>
                        <a:pt x="109" y="210"/>
                      </a:lnTo>
                      <a:lnTo>
                        <a:pt x="109" y="209"/>
                      </a:lnTo>
                      <a:lnTo>
                        <a:pt x="109" y="207"/>
                      </a:lnTo>
                      <a:lnTo>
                        <a:pt x="109" y="204"/>
                      </a:lnTo>
                      <a:lnTo>
                        <a:pt x="109" y="203"/>
                      </a:lnTo>
                      <a:lnTo>
                        <a:pt x="109" y="201"/>
                      </a:lnTo>
                      <a:lnTo>
                        <a:pt x="109" y="198"/>
                      </a:lnTo>
                      <a:lnTo>
                        <a:pt x="109" y="196"/>
                      </a:lnTo>
                      <a:lnTo>
                        <a:pt x="109" y="195"/>
                      </a:lnTo>
                      <a:lnTo>
                        <a:pt x="109" y="193"/>
                      </a:lnTo>
                      <a:lnTo>
                        <a:pt x="109" y="190"/>
                      </a:lnTo>
                      <a:lnTo>
                        <a:pt x="109" y="189"/>
                      </a:lnTo>
                      <a:lnTo>
                        <a:pt x="109" y="187"/>
                      </a:lnTo>
                      <a:lnTo>
                        <a:pt x="109" y="184"/>
                      </a:lnTo>
                      <a:lnTo>
                        <a:pt x="109" y="183"/>
                      </a:lnTo>
                      <a:lnTo>
                        <a:pt x="109" y="181"/>
                      </a:lnTo>
                      <a:lnTo>
                        <a:pt x="109" y="179"/>
                      </a:lnTo>
                      <a:lnTo>
                        <a:pt x="109" y="177"/>
                      </a:lnTo>
                      <a:lnTo>
                        <a:pt x="109" y="175"/>
                      </a:lnTo>
                      <a:lnTo>
                        <a:pt x="109" y="173"/>
                      </a:lnTo>
                      <a:lnTo>
                        <a:pt x="109" y="172"/>
                      </a:lnTo>
                      <a:lnTo>
                        <a:pt x="109" y="169"/>
                      </a:lnTo>
                      <a:lnTo>
                        <a:pt x="109" y="167"/>
                      </a:lnTo>
                      <a:lnTo>
                        <a:pt x="109" y="165"/>
                      </a:lnTo>
                      <a:lnTo>
                        <a:pt x="109" y="163"/>
                      </a:lnTo>
                      <a:lnTo>
                        <a:pt x="109" y="161"/>
                      </a:lnTo>
                      <a:lnTo>
                        <a:pt x="109" y="159"/>
                      </a:lnTo>
                      <a:lnTo>
                        <a:pt x="109" y="158"/>
                      </a:lnTo>
                      <a:lnTo>
                        <a:pt x="109" y="155"/>
                      </a:lnTo>
                      <a:lnTo>
                        <a:pt x="109" y="153"/>
                      </a:lnTo>
                      <a:lnTo>
                        <a:pt x="109" y="152"/>
                      </a:lnTo>
                      <a:lnTo>
                        <a:pt x="109" y="149"/>
                      </a:lnTo>
                      <a:lnTo>
                        <a:pt x="109" y="147"/>
                      </a:lnTo>
                      <a:lnTo>
                        <a:pt x="109" y="146"/>
                      </a:lnTo>
                      <a:lnTo>
                        <a:pt x="109" y="144"/>
                      </a:lnTo>
                      <a:lnTo>
                        <a:pt x="109" y="141"/>
                      </a:lnTo>
                      <a:lnTo>
                        <a:pt x="109" y="140"/>
                      </a:lnTo>
                      <a:lnTo>
                        <a:pt x="109" y="138"/>
                      </a:lnTo>
                      <a:lnTo>
                        <a:pt x="109" y="135"/>
                      </a:lnTo>
                      <a:lnTo>
                        <a:pt x="109" y="134"/>
                      </a:lnTo>
                      <a:lnTo>
                        <a:pt x="109" y="132"/>
                      </a:lnTo>
                      <a:lnTo>
                        <a:pt x="109" y="130"/>
                      </a:lnTo>
                      <a:lnTo>
                        <a:pt x="109" y="128"/>
                      </a:lnTo>
                      <a:lnTo>
                        <a:pt x="109" y="126"/>
                      </a:lnTo>
                      <a:lnTo>
                        <a:pt x="109" y="124"/>
                      </a:lnTo>
                      <a:lnTo>
                        <a:pt x="109" y="123"/>
                      </a:lnTo>
                      <a:lnTo>
                        <a:pt x="109" y="120"/>
                      </a:lnTo>
                      <a:lnTo>
                        <a:pt x="109" y="119"/>
                      </a:lnTo>
                      <a:lnTo>
                        <a:pt x="109" y="118"/>
                      </a:lnTo>
                      <a:lnTo>
                        <a:pt x="109" y="117"/>
                      </a:lnTo>
                      <a:lnTo>
                        <a:pt x="109" y="114"/>
                      </a:lnTo>
                      <a:lnTo>
                        <a:pt x="109" y="112"/>
                      </a:lnTo>
                      <a:lnTo>
                        <a:pt x="109" y="111"/>
                      </a:lnTo>
                      <a:lnTo>
                        <a:pt x="109" y="109"/>
                      </a:lnTo>
                      <a:lnTo>
                        <a:pt x="109" y="106"/>
                      </a:lnTo>
                      <a:lnTo>
                        <a:pt x="109" y="105"/>
                      </a:lnTo>
                      <a:lnTo>
                        <a:pt x="109" y="103"/>
                      </a:lnTo>
                      <a:lnTo>
                        <a:pt x="109" y="100"/>
                      </a:lnTo>
                      <a:lnTo>
                        <a:pt x="109" y="99"/>
                      </a:lnTo>
                      <a:lnTo>
                        <a:pt x="109" y="97"/>
                      </a:lnTo>
                      <a:lnTo>
                        <a:pt x="109" y="95"/>
                      </a:lnTo>
                      <a:lnTo>
                        <a:pt x="109" y="93"/>
                      </a:lnTo>
                      <a:lnTo>
                        <a:pt x="109" y="91"/>
                      </a:lnTo>
                      <a:lnTo>
                        <a:pt x="109" y="90"/>
                      </a:lnTo>
                      <a:lnTo>
                        <a:pt x="109" y="89"/>
                      </a:lnTo>
                      <a:lnTo>
                        <a:pt x="109" y="90"/>
                      </a:lnTo>
                      <a:lnTo>
                        <a:pt x="110" y="90"/>
                      </a:lnTo>
                      <a:lnTo>
                        <a:pt x="110" y="91"/>
                      </a:lnTo>
                      <a:lnTo>
                        <a:pt x="113" y="92"/>
                      </a:lnTo>
                      <a:lnTo>
                        <a:pt x="113" y="93"/>
                      </a:lnTo>
                      <a:lnTo>
                        <a:pt x="114" y="93"/>
                      </a:lnTo>
                      <a:lnTo>
                        <a:pt x="115" y="93"/>
                      </a:lnTo>
                      <a:lnTo>
                        <a:pt x="117" y="96"/>
                      </a:lnTo>
                      <a:lnTo>
                        <a:pt x="121" y="98"/>
                      </a:lnTo>
                      <a:lnTo>
                        <a:pt x="122" y="99"/>
                      </a:lnTo>
                      <a:lnTo>
                        <a:pt x="122" y="102"/>
                      </a:lnTo>
                      <a:lnTo>
                        <a:pt x="123" y="103"/>
                      </a:lnTo>
                      <a:lnTo>
                        <a:pt x="123" y="104"/>
                      </a:lnTo>
                      <a:lnTo>
                        <a:pt x="123" y="105"/>
                      </a:lnTo>
                      <a:lnTo>
                        <a:pt x="124" y="105"/>
                      </a:lnTo>
                      <a:lnTo>
                        <a:pt x="124" y="106"/>
                      </a:lnTo>
                      <a:lnTo>
                        <a:pt x="125" y="106"/>
                      </a:lnTo>
                      <a:lnTo>
                        <a:pt x="125" y="107"/>
                      </a:lnTo>
                      <a:lnTo>
                        <a:pt x="125" y="109"/>
                      </a:lnTo>
                      <a:lnTo>
                        <a:pt x="127" y="109"/>
                      </a:lnTo>
                      <a:lnTo>
                        <a:pt x="127" y="110"/>
                      </a:lnTo>
                      <a:lnTo>
                        <a:pt x="127" y="111"/>
                      </a:lnTo>
                      <a:lnTo>
                        <a:pt x="128" y="111"/>
                      </a:lnTo>
                      <a:lnTo>
                        <a:pt x="128" y="112"/>
                      </a:lnTo>
                      <a:lnTo>
                        <a:pt x="129" y="112"/>
                      </a:lnTo>
                      <a:lnTo>
                        <a:pt x="129" y="113"/>
                      </a:lnTo>
                      <a:lnTo>
                        <a:pt x="130" y="113"/>
                      </a:lnTo>
                      <a:lnTo>
                        <a:pt x="129" y="114"/>
                      </a:lnTo>
                      <a:lnTo>
                        <a:pt x="129" y="116"/>
                      </a:lnTo>
                      <a:lnTo>
                        <a:pt x="130" y="117"/>
                      </a:lnTo>
                      <a:lnTo>
                        <a:pt x="130" y="118"/>
                      </a:lnTo>
                      <a:lnTo>
                        <a:pt x="130" y="119"/>
                      </a:lnTo>
                      <a:lnTo>
                        <a:pt x="130" y="120"/>
                      </a:lnTo>
                      <a:lnTo>
                        <a:pt x="130" y="121"/>
                      </a:lnTo>
                      <a:lnTo>
                        <a:pt x="131" y="121"/>
                      </a:lnTo>
                      <a:lnTo>
                        <a:pt x="131" y="123"/>
                      </a:lnTo>
                      <a:lnTo>
                        <a:pt x="132" y="123"/>
                      </a:lnTo>
                      <a:lnTo>
                        <a:pt x="132" y="125"/>
                      </a:lnTo>
                      <a:lnTo>
                        <a:pt x="132" y="126"/>
                      </a:lnTo>
                      <a:lnTo>
                        <a:pt x="134" y="126"/>
                      </a:lnTo>
                      <a:lnTo>
                        <a:pt x="135" y="128"/>
                      </a:lnTo>
                      <a:lnTo>
                        <a:pt x="135" y="131"/>
                      </a:lnTo>
                      <a:lnTo>
                        <a:pt x="135" y="134"/>
                      </a:lnTo>
                      <a:lnTo>
                        <a:pt x="136" y="137"/>
                      </a:lnTo>
                      <a:lnTo>
                        <a:pt x="135" y="139"/>
                      </a:lnTo>
                      <a:lnTo>
                        <a:pt x="134" y="140"/>
                      </a:lnTo>
                      <a:lnTo>
                        <a:pt x="134" y="141"/>
                      </a:lnTo>
                      <a:lnTo>
                        <a:pt x="131" y="144"/>
                      </a:lnTo>
                      <a:lnTo>
                        <a:pt x="130" y="146"/>
                      </a:lnTo>
                      <a:lnTo>
                        <a:pt x="129" y="147"/>
                      </a:lnTo>
                      <a:lnTo>
                        <a:pt x="129" y="149"/>
                      </a:lnTo>
                      <a:lnTo>
                        <a:pt x="129" y="151"/>
                      </a:lnTo>
                      <a:lnTo>
                        <a:pt x="129" y="152"/>
                      </a:lnTo>
                      <a:lnTo>
                        <a:pt x="130" y="153"/>
                      </a:lnTo>
                      <a:lnTo>
                        <a:pt x="129" y="153"/>
                      </a:lnTo>
                      <a:lnTo>
                        <a:pt x="129" y="155"/>
                      </a:lnTo>
                      <a:lnTo>
                        <a:pt x="129" y="156"/>
                      </a:lnTo>
                      <a:lnTo>
                        <a:pt x="129" y="159"/>
                      </a:lnTo>
                      <a:lnTo>
                        <a:pt x="129" y="160"/>
                      </a:lnTo>
                      <a:lnTo>
                        <a:pt x="130" y="160"/>
                      </a:lnTo>
                      <a:lnTo>
                        <a:pt x="130" y="161"/>
                      </a:lnTo>
                      <a:lnTo>
                        <a:pt x="131" y="161"/>
                      </a:lnTo>
                      <a:lnTo>
                        <a:pt x="131" y="162"/>
                      </a:lnTo>
                      <a:lnTo>
                        <a:pt x="131" y="163"/>
                      </a:lnTo>
                      <a:lnTo>
                        <a:pt x="132" y="162"/>
                      </a:lnTo>
                      <a:lnTo>
                        <a:pt x="134" y="161"/>
                      </a:lnTo>
                      <a:lnTo>
                        <a:pt x="136" y="160"/>
                      </a:lnTo>
                      <a:lnTo>
                        <a:pt x="138" y="160"/>
                      </a:lnTo>
                      <a:lnTo>
                        <a:pt x="139" y="160"/>
                      </a:lnTo>
                      <a:lnTo>
                        <a:pt x="141" y="161"/>
                      </a:lnTo>
                      <a:lnTo>
                        <a:pt x="145" y="162"/>
                      </a:lnTo>
                      <a:lnTo>
                        <a:pt x="146" y="162"/>
                      </a:lnTo>
                      <a:lnTo>
                        <a:pt x="149" y="161"/>
                      </a:lnTo>
                      <a:lnTo>
                        <a:pt x="150" y="161"/>
                      </a:lnTo>
                      <a:lnTo>
                        <a:pt x="153" y="161"/>
                      </a:lnTo>
                      <a:lnTo>
                        <a:pt x="155" y="161"/>
                      </a:lnTo>
                      <a:lnTo>
                        <a:pt x="157" y="161"/>
                      </a:lnTo>
                      <a:lnTo>
                        <a:pt x="159" y="161"/>
                      </a:lnTo>
                      <a:lnTo>
                        <a:pt x="162" y="162"/>
                      </a:lnTo>
                      <a:lnTo>
                        <a:pt x="163" y="162"/>
                      </a:lnTo>
                      <a:lnTo>
                        <a:pt x="164" y="160"/>
                      </a:lnTo>
                      <a:lnTo>
                        <a:pt x="165" y="160"/>
                      </a:lnTo>
                      <a:lnTo>
                        <a:pt x="165" y="159"/>
                      </a:lnTo>
                      <a:lnTo>
                        <a:pt x="165" y="158"/>
                      </a:lnTo>
                      <a:lnTo>
                        <a:pt x="165" y="156"/>
                      </a:lnTo>
                      <a:lnTo>
                        <a:pt x="165" y="155"/>
                      </a:lnTo>
                      <a:lnTo>
                        <a:pt x="166" y="155"/>
                      </a:lnTo>
                      <a:lnTo>
                        <a:pt x="167" y="155"/>
                      </a:lnTo>
                      <a:lnTo>
                        <a:pt x="171" y="155"/>
                      </a:lnTo>
                      <a:lnTo>
                        <a:pt x="172" y="154"/>
                      </a:lnTo>
                      <a:lnTo>
                        <a:pt x="174" y="153"/>
                      </a:lnTo>
                      <a:lnTo>
                        <a:pt x="176" y="152"/>
                      </a:lnTo>
                      <a:lnTo>
                        <a:pt x="177" y="149"/>
                      </a:lnTo>
                      <a:lnTo>
                        <a:pt x="178" y="147"/>
                      </a:lnTo>
                      <a:lnTo>
                        <a:pt x="179" y="146"/>
                      </a:lnTo>
                      <a:lnTo>
                        <a:pt x="180" y="145"/>
                      </a:lnTo>
                      <a:lnTo>
                        <a:pt x="180" y="144"/>
                      </a:lnTo>
                      <a:lnTo>
                        <a:pt x="181" y="144"/>
                      </a:lnTo>
                      <a:lnTo>
                        <a:pt x="183" y="144"/>
                      </a:lnTo>
                      <a:lnTo>
                        <a:pt x="183" y="142"/>
                      </a:lnTo>
                      <a:lnTo>
                        <a:pt x="185" y="141"/>
                      </a:lnTo>
                      <a:lnTo>
                        <a:pt x="186" y="140"/>
                      </a:lnTo>
                      <a:lnTo>
                        <a:pt x="186" y="139"/>
                      </a:lnTo>
                      <a:lnTo>
                        <a:pt x="187" y="139"/>
                      </a:lnTo>
                      <a:lnTo>
                        <a:pt x="188" y="139"/>
                      </a:lnTo>
                      <a:lnTo>
                        <a:pt x="189" y="139"/>
                      </a:lnTo>
                      <a:lnTo>
                        <a:pt x="189" y="138"/>
                      </a:lnTo>
                      <a:lnTo>
                        <a:pt x="191" y="137"/>
                      </a:lnTo>
                      <a:lnTo>
                        <a:pt x="192" y="137"/>
                      </a:lnTo>
                      <a:lnTo>
                        <a:pt x="192" y="135"/>
                      </a:lnTo>
                      <a:lnTo>
                        <a:pt x="193" y="133"/>
                      </a:lnTo>
                      <a:lnTo>
                        <a:pt x="193" y="132"/>
                      </a:lnTo>
                      <a:lnTo>
                        <a:pt x="194" y="132"/>
                      </a:lnTo>
                      <a:lnTo>
                        <a:pt x="195" y="131"/>
                      </a:lnTo>
                      <a:lnTo>
                        <a:pt x="195" y="130"/>
                      </a:lnTo>
                      <a:lnTo>
                        <a:pt x="195" y="128"/>
                      </a:lnTo>
                      <a:lnTo>
                        <a:pt x="194" y="128"/>
                      </a:lnTo>
                      <a:lnTo>
                        <a:pt x="195" y="127"/>
                      </a:lnTo>
                      <a:lnTo>
                        <a:pt x="195" y="126"/>
                      </a:lnTo>
                      <a:lnTo>
                        <a:pt x="196" y="126"/>
                      </a:lnTo>
                      <a:lnTo>
                        <a:pt x="196" y="125"/>
                      </a:lnTo>
                      <a:lnTo>
                        <a:pt x="195" y="125"/>
                      </a:lnTo>
                      <a:lnTo>
                        <a:pt x="195" y="124"/>
                      </a:lnTo>
                      <a:lnTo>
                        <a:pt x="196" y="123"/>
                      </a:lnTo>
                      <a:lnTo>
                        <a:pt x="198" y="121"/>
                      </a:lnTo>
                      <a:lnTo>
                        <a:pt x="198" y="120"/>
                      </a:lnTo>
                      <a:lnTo>
                        <a:pt x="198" y="119"/>
                      </a:lnTo>
                      <a:lnTo>
                        <a:pt x="199" y="118"/>
                      </a:lnTo>
                      <a:lnTo>
                        <a:pt x="198" y="118"/>
                      </a:lnTo>
                      <a:lnTo>
                        <a:pt x="198" y="117"/>
                      </a:lnTo>
                      <a:lnTo>
                        <a:pt x="198" y="116"/>
                      </a:lnTo>
                      <a:lnTo>
                        <a:pt x="199" y="114"/>
                      </a:lnTo>
                      <a:lnTo>
                        <a:pt x="199" y="113"/>
                      </a:lnTo>
                      <a:lnTo>
                        <a:pt x="200" y="113"/>
                      </a:lnTo>
                      <a:lnTo>
                        <a:pt x="200" y="111"/>
                      </a:lnTo>
                      <a:lnTo>
                        <a:pt x="201" y="111"/>
                      </a:lnTo>
                      <a:lnTo>
                        <a:pt x="202" y="111"/>
                      </a:lnTo>
                      <a:lnTo>
                        <a:pt x="202" y="110"/>
                      </a:lnTo>
                      <a:lnTo>
                        <a:pt x="203" y="109"/>
                      </a:lnTo>
                      <a:lnTo>
                        <a:pt x="205" y="107"/>
                      </a:lnTo>
                      <a:lnTo>
                        <a:pt x="206" y="107"/>
                      </a:lnTo>
                      <a:lnTo>
                        <a:pt x="206" y="109"/>
                      </a:lnTo>
                      <a:lnTo>
                        <a:pt x="207" y="109"/>
                      </a:lnTo>
                      <a:lnTo>
                        <a:pt x="209" y="107"/>
                      </a:lnTo>
                      <a:lnTo>
                        <a:pt x="210" y="106"/>
                      </a:lnTo>
                      <a:lnTo>
                        <a:pt x="212" y="106"/>
                      </a:lnTo>
                      <a:lnTo>
                        <a:pt x="214" y="106"/>
                      </a:lnTo>
                      <a:lnTo>
                        <a:pt x="215" y="107"/>
                      </a:lnTo>
                      <a:lnTo>
                        <a:pt x="216" y="107"/>
                      </a:lnTo>
                      <a:lnTo>
                        <a:pt x="217" y="107"/>
                      </a:lnTo>
                      <a:lnTo>
                        <a:pt x="219" y="107"/>
                      </a:lnTo>
                      <a:lnTo>
                        <a:pt x="219" y="109"/>
                      </a:lnTo>
                      <a:lnTo>
                        <a:pt x="220" y="109"/>
                      </a:lnTo>
                      <a:lnTo>
                        <a:pt x="221" y="110"/>
                      </a:lnTo>
                      <a:lnTo>
                        <a:pt x="224" y="112"/>
                      </a:lnTo>
                      <a:lnTo>
                        <a:pt x="226" y="113"/>
                      </a:lnTo>
                      <a:lnTo>
                        <a:pt x="227" y="113"/>
                      </a:lnTo>
                      <a:lnTo>
                        <a:pt x="228" y="114"/>
                      </a:lnTo>
                      <a:lnTo>
                        <a:pt x="229" y="116"/>
                      </a:lnTo>
                      <a:lnTo>
                        <a:pt x="230" y="117"/>
                      </a:lnTo>
                      <a:lnTo>
                        <a:pt x="231" y="118"/>
                      </a:lnTo>
                      <a:lnTo>
                        <a:pt x="231" y="119"/>
                      </a:lnTo>
                      <a:lnTo>
                        <a:pt x="233" y="119"/>
                      </a:lnTo>
                      <a:lnTo>
                        <a:pt x="234" y="119"/>
                      </a:lnTo>
                      <a:lnTo>
                        <a:pt x="235" y="119"/>
                      </a:lnTo>
                      <a:lnTo>
                        <a:pt x="235" y="120"/>
                      </a:lnTo>
                      <a:lnTo>
                        <a:pt x="236" y="120"/>
                      </a:lnTo>
                      <a:lnTo>
                        <a:pt x="238" y="119"/>
                      </a:lnTo>
                      <a:lnTo>
                        <a:pt x="241" y="119"/>
                      </a:lnTo>
                      <a:lnTo>
                        <a:pt x="242" y="120"/>
                      </a:lnTo>
                      <a:lnTo>
                        <a:pt x="244" y="123"/>
                      </a:lnTo>
                      <a:lnTo>
                        <a:pt x="245" y="124"/>
                      </a:lnTo>
                      <a:lnTo>
                        <a:pt x="247" y="124"/>
                      </a:lnTo>
                      <a:lnTo>
                        <a:pt x="248" y="124"/>
                      </a:lnTo>
                      <a:lnTo>
                        <a:pt x="249" y="123"/>
                      </a:lnTo>
                      <a:lnTo>
                        <a:pt x="250" y="124"/>
                      </a:lnTo>
                      <a:lnTo>
                        <a:pt x="252" y="124"/>
                      </a:lnTo>
                      <a:lnTo>
                        <a:pt x="255" y="125"/>
                      </a:lnTo>
                      <a:lnTo>
                        <a:pt x="256" y="126"/>
                      </a:lnTo>
                      <a:lnTo>
                        <a:pt x="258" y="125"/>
                      </a:lnTo>
                      <a:lnTo>
                        <a:pt x="259" y="126"/>
                      </a:lnTo>
                      <a:lnTo>
                        <a:pt x="260" y="126"/>
                      </a:lnTo>
                      <a:lnTo>
                        <a:pt x="263" y="125"/>
                      </a:lnTo>
                      <a:lnTo>
                        <a:pt x="265" y="124"/>
                      </a:lnTo>
                      <a:lnTo>
                        <a:pt x="266" y="123"/>
                      </a:lnTo>
                      <a:lnTo>
                        <a:pt x="267" y="123"/>
                      </a:lnTo>
                      <a:lnTo>
                        <a:pt x="269" y="123"/>
                      </a:lnTo>
                      <a:lnTo>
                        <a:pt x="270" y="124"/>
                      </a:lnTo>
                      <a:lnTo>
                        <a:pt x="272" y="124"/>
                      </a:lnTo>
                      <a:lnTo>
                        <a:pt x="278" y="123"/>
                      </a:lnTo>
                      <a:lnTo>
                        <a:pt x="280" y="121"/>
                      </a:lnTo>
                      <a:lnTo>
                        <a:pt x="285" y="119"/>
                      </a:lnTo>
                      <a:lnTo>
                        <a:pt x="285" y="117"/>
                      </a:lnTo>
                      <a:lnTo>
                        <a:pt x="286" y="113"/>
                      </a:lnTo>
                      <a:lnTo>
                        <a:pt x="287" y="112"/>
                      </a:lnTo>
                      <a:lnTo>
                        <a:pt x="288" y="107"/>
                      </a:lnTo>
                      <a:lnTo>
                        <a:pt x="291" y="102"/>
                      </a:lnTo>
                      <a:lnTo>
                        <a:pt x="291" y="99"/>
                      </a:lnTo>
                      <a:lnTo>
                        <a:pt x="292" y="98"/>
                      </a:lnTo>
                      <a:lnTo>
                        <a:pt x="292" y="97"/>
                      </a:lnTo>
                      <a:lnTo>
                        <a:pt x="293" y="95"/>
                      </a:lnTo>
                      <a:lnTo>
                        <a:pt x="293" y="93"/>
                      </a:lnTo>
                      <a:lnTo>
                        <a:pt x="293" y="92"/>
                      </a:lnTo>
                      <a:lnTo>
                        <a:pt x="293" y="90"/>
                      </a:lnTo>
                      <a:lnTo>
                        <a:pt x="293" y="89"/>
                      </a:lnTo>
                      <a:lnTo>
                        <a:pt x="294" y="89"/>
                      </a:lnTo>
                      <a:lnTo>
                        <a:pt x="294" y="88"/>
                      </a:lnTo>
                      <a:lnTo>
                        <a:pt x="297" y="88"/>
                      </a:lnTo>
                      <a:lnTo>
                        <a:pt x="298" y="88"/>
                      </a:lnTo>
                      <a:lnTo>
                        <a:pt x="302" y="85"/>
                      </a:lnTo>
                      <a:lnTo>
                        <a:pt x="306" y="84"/>
                      </a:lnTo>
                      <a:lnTo>
                        <a:pt x="307" y="84"/>
                      </a:lnTo>
                      <a:lnTo>
                        <a:pt x="308" y="84"/>
                      </a:lnTo>
                      <a:lnTo>
                        <a:pt x="309" y="84"/>
                      </a:lnTo>
                      <a:lnTo>
                        <a:pt x="311" y="85"/>
                      </a:lnTo>
                      <a:lnTo>
                        <a:pt x="312" y="83"/>
                      </a:lnTo>
                      <a:lnTo>
                        <a:pt x="313" y="82"/>
                      </a:lnTo>
                      <a:lnTo>
                        <a:pt x="313" y="79"/>
                      </a:lnTo>
                      <a:lnTo>
                        <a:pt x="314" y="78"/>
                      </a:lnTo>
                      <a:lnTo>
                        <a:pt x="315" y="78"/>
                      </a:lnTo>
                      <a:lnTo>
                        <a:pt x="316" y="77"/>
                      </a:lnTo>
                      <a:lnTo>
                        <a:pt x="319" y="75"/>
                      </a:lnTo>
                      <a:lnTo>
                        <a:pt x="320" y="74"/>
                      </a:lnTo>
                      <a:lnTo>
                        <a:pt x="322" y="72"/>
                      </a:lnTo>
                      <a:lnTo>
                        <a:pt x="323" y="72"/>
                      </a:lnTo>
                      <a:lnTo>
                        <a:pt x="324" y="71"/>
                      </a:lnTo>
                      <a:lnTo>
                        <a:pt x="324" y="69"/>
                      </a:lnTo>
                      <a:lnTo>
                        <a:pt x="324" y="67"/>
                      </a:lnTo>
                      <a:lnTo>
                        <a:pt x="327" y="58"/>
                      </a:lnTo>
                      <a:lnTo>
                        <a:pt x="327" y="57"/>
                      </a:lnTo>
                      <a:lnTo>
                        <a:pt x="327" y="56"/>
                      </a:lnTo>
                      <a:lnTo>
                        <a:pt x="328" y="55"/>
                      </a:lnTo>
                      <a:lnTo>
                        <a:pt x="328" y="54"/>
                      </a:lnTo>
                      <a:lnTo>
                        <a:pt x="328" y="53"/>
                      </a:lnTo>
                      <a:lnTo>
                        <a:pt x="329" y="51"/>
                      </a:lnTo>
                      <a:lnTo>
                        <a:pt x="329" y="50"/>
                      </a:lnTo>
                      <a:lnTo>
                        <a:pt x="329" y="51"/>
                      </a:lnTo>
                      <a:lnTo>
                        <a:pt x="330" y="51"/>
                      </a:lnTo>
                      <a:lnTo>
                        <a:pt x="330" y="50"/>
                      </a:lnTo>
                      <a:lnTo>
                        <a:pt x="330" y="49"/>
                      </a:lnTo>
                      <a:lnTo>
                        <a:pt x="331" y="50"/>
                      </a:lnTo>
                      <a:lnTo>
                        <a:pt x="331" y="49"/>
                      </a:lnTo>
                      <a:lnTo>
                        <a:pt x="331" y="48"/>
                      </a:lnTo>
                      <a:lnTo>
                        <a:pt x="333" y="48"/>
                      </a:lnTo>
                      <a:lnTo>
                        <a:pt x="333" y="47"/>
                      </a:lnTo>
                      <a:lnTo>
                        <a:pt x="334" y="47"/>
                      </a:lnTo>
                      <a:lnTo>
                        <a:pt x="335" y="47"/>
                      </a:lnTo>
                      <a:lnTo>
                        <a:pt x="335" y="46"/>
                      </a:lnTo>
                      <a:lnTo>
                        <a:pt x="336" y="46"/>
                      </a:lnTo>
                      <a:lnTo>
                        <a:pt x="337" y="44"/>
                      </a:lnTo>
                      <a:lnTo>
                        <a:pt x="338" y="44"/>
                      </a:lnTo>
                      <a:lnTo>
                        <a:pt x="340" y="43"/>
                      </a:lnTo>
                      <a:lnTo>
                        <a:pt x="340" y="42"/>
                      </a:lnTo>
                      <a:lnTo>
                        <a:pt x="340" y="43"/>
                      </a:lnTo>
                      <a:lnTo>
                        <a:pt x="341" y="43"/>
                      </a:lnTo>
                      <a:lnTo>
                        <a:pt x="341" y="42"/>
                      </a:lnTo>
                      <a:lnTo>
                        <a:pt x="342" y="42"/>
                      </a:lnTo>
                      <a:lnTo>
                        <a:pt x="342" y="43"/>
                      </a:lnTo>
                      <a:lnTo>
                        <a:pt x="343" y="42"/>
                      </a:lnTo>
                      <a:lnTo>
                        <a:pt x="344" y="42"/>
                      </a:lnTo>
                      <a:lnTo>
                        <a:pt x="345" y="42"/>
                      </a:lnTo>
                      <a:lnTo>
                        <a:pt x="345" y="41"/>
                      </a:lnTo>
                      <a:lnTo>
                        <a:pt x="347" y="41"/>
                      </a:lnTo>
                      <a:lnTo>
                        <a:pt x="347" y="40"/>
                      </a:lnTo>
                      <a:lnTo>
                        <a:pt x="347" y="39"/>
                      </a:lnTo>
                      <a:lnTo>
                        <a:pt x="347" y="37"/>
                      </a:lnTo>
                      <a:lnTo>
                        <a:pt x="348" y="37"/>
                      </a:lnTo>
                      <a:lnTo>
                        <a:pt x="348" y="36"/>
                      </a:lnTo>
                      <a:lnTo>
                        <a:pt x="349" y="36"/>
                      </a:lnTo>
                      <a:lnTo>
                        <a:pt x="350" y="35"/>
                      </a:lnTo>
                      <a:lnTo>
                        <a:pt x="351" y="36"/>
                      </a:lnTo>
                      <a:lnTo>
                        <a:pt x="352" y="36"/>
                      </a:lnTo>
                      <a:lnTo>
                        <a:pt x="352" y="35"/>
                      </a:lnTo>
                      <a:lnTo>
                        <a:pt x="354" y="35"/>
                      </a:lnTo>
                      <a:lnTo>
                        <a:pt x="354" y="34"/>
                      </a:lnTo>
                      <a:lnTo>
                        <a:pt x="352" y="34"/>
                      </a:lnTo>
                      <a:lnTo>
                        <a:pt x="352" y="33"/>
                      </a:lnTo>
                      <a:lnTo>
                        <a:pt x="354" y="33"/>
                      </a:lnTo>
                      <a:lnTo>
                        <a:pt x="354" y="34"/>
                      </a:lnTo>
                      <a:lnTo>
                        <a:pt x="355" y="33"/>
                      </a:lnTo>
                      <a:lnTo>
                        <a:pt x="356" y="33"/>
                      </a:lnTo>
                      <a:lnTo>
                        <a:pt x="357" y="32"/>
                      </a:lnTo>
                      <a:lnTo>
                        <a:pt x="358" y="30"/>
                      </a:lnTo>
                      <a:lnTo>
                        <a:pt x="358" y="28"/>
                      </a:lnTo>
                      <a:lnTo>
                        <a:pt x="358" y="27"/>
                      </a:lnTo>
                      <a:lnTo>
                        <a:pt x="359" y="27"/>
                      </a:lnTo>
                      <a:lnTo>
                        <a:pt x="361" y="27"/>
                      </a:lnTo>
                      <a:lnTo>
                        <a:pt x="362" y="26"/>
                      </a:lnTo>
                      <a:lnTo>
                        <a:pt x="362" y="25"/>
                      </a:lnTo>
                      <a:lnTo>
                        <a:pt x="362" y="23"/>
                      </a:lnTo>
                      <a:lnTo>
                        <a:pt x="363" y="23"/>
                      </a:lnTo>
                      <a:lnTo>
                        <a:pt x="363" y="22"/>
                      </a:lnTo>
                      <a:lnTo>
                        <a:pt x="364" y="22"/>
                      </a:lnTo>
                      <a:lnTo>
                        <a:pt x="364" y="21"/>
                      </a:lnTo>
                      <a:lnTo>
                        <a:pt x="365" y="21"/>
                      </a:lnTo>
                      <a:lnTo>
                        <a:pt x="365" y="20"/>
                      </a:lnTo>
                      <a:lnTo>
                        <a:pt x="365" y="19"/>
                      </a:lnTo>
                      <a:lnTo>
                        <a:pt x="366" y="18"/>
                      </a:lnTo>
                      <a:lnTo>
                        <a:pt x="368" y="18"/>
                      </a:lnTo>
                      <a:lnTo>
                        <a:pt x="369" y="16"/>
                      </a:lnTo>
                      <a:lnTo>
                        <a:pt x="370" y="15"/>
                      </a:lnTo>
                      <a:lnTo>
                        <a:pt x="371" y="15"/>
                      </a:lnTo>
                      <a:lnTo>
                        <a:pt x="372" y="14"/>
                      </a:lnTo>
                      <a:lnTo>
                        <a:pt x="375" y="14"/>
                      </a:lnTo>
                      <a:lnTo>
                        <a:pt x="377" y="15"/>
                      </a:lnTo>
                      <a:lnTo>
                        <a:pt x="378" y="14"/>
                      </a:lnTo>
                      <a:lnTo>
                        <a:pt x="379" y="14"/>
                      </a:lnTo>
                      <a:lnTo>
                        <a:pt x="380" y="14"/>
                      </a:lnTo>
                      <a:lnTo>
                        <a:pt x="383" y="13"/>
                      </a:lnTo>
                      <a:lnTo>
                        <a:pt x="384" y="12"/>
                      </a:lnTo>
                      <a:lnTo>
                        <a:pt x="385" y="12"/>
                      </a:lnTo>
                      <a:lnTo>
                        <a:pt x="386" y="12"/>
                      </a:lnTo>
                      <a:lnTo>
                        <a:pt x="386" y="11"/>
                      </a:lnTo>
                      <a:lnTo>
                        <a:pt x="387" y="11"/>
                      </a:lnTo>
                      <a:lnTo>
                        <a:pt x="388" y="11"/>
                      </a:lnTo>
                      <a:lnTo>
                        <a:pt x="390" y="11"/>
                      </a:lnTo>
                      <a:lnTo>
                        <a:pt x="390" y="8"/>
                      </a:lnTo>
                      <a:lnTo>
                        <a:pt x="391" y="8"/>
                      </a:lnTo>
                      <a:lnTo>
                        <a:pt x="390" y="6"/>
                      </a:lnTo>
                      <a:lnTo>
                        <a:pt x="391" y="5"/>
                      </a:lnTo>
                      <a:lnTo>
                        <a:pt x="392" y="4"/>
                      </a:lnTo>
                      <a:lnTo>
                        <a:pt x="393" y="2"/>
                      </a:lnTo>
                      <a:lnTo>
                        <a:pt x="397" y="2"/>
                      </a:lnTo>
                      <a:lnTo>
                        <a:pt x="398" y="2"/>
                      </a:lnTo>
                      <a:lnTo>
                        <a:pt x="398" y="1"/>
                      </a:lnTo>
                      <a:lnTo>
                        <a:pt x="399" y="1"/>
                      </a:lnTo>
                      <a:lnTo>
                        <a:pt x="401" y="1"/>
                      </a:lnTo>
                      <a:lnTo>
                        <a:pt x="402" y="1"/>
                      </a:lnTo>
                      <a:lnTo>
                        <a:pt x="404" y="1"/>
                      </a:lnTo>
                      <a:lnTo>
                        <a:pt x="405" y="1"/>
                      </a:lnTo>
                      <a:lnTo>
                        <a:pt x="406" y="0"/>
                      </a:lnTo>
                      <a:lnTo>
                        <a:pt x="407" y="1"/>
                      </a:lnTo>
                      <a:lnTo>
                        <a:pt x="408" y="1"/>
                      </a:lnTo>
                      <a:lnTo>
                        <a:pt x="408" y="0"/>
                      </a:lnTo>
                      <a:lnTo>
                        <a:pt x="409" y="0"/>
                      </a:lnTo>
                      <a:lnTo>
                        <a:pt x="411" y="0"/>
                      </a:lnTo>
                      <a:lnTo>
                        <a:pt x="412" y="0"/>
                      </a:lnTo>
                      <a:close/>
                      <a:moveTo>
                        <a:pt x="370" y="226"/>
                      </a:moveTo>
                      <a:lnTo>
                        <a:pt x="369" y="226"/>
                      </a:lnTo>
                      <a:lnTo>
                        <a:pt x="368" y="226"/>
                      </a:lnTo>
                      <a:lnTo>
                        <a:pt x="366" y="226"/>
                      </a:lnTo>
                      <a:lnTo>
                        <a:pt x="365" y="226"/>
                      </a:lnTo>
                      <a:lnTo>
                        <a:pt x="364" y="226"/>
                      </a:lnTo>
                      <a:lnTo>
                        <a:pt x="364" y="228"/>
                      </a:lnTo>
                      <a:lnTo>
                        <a:pt x="363" y="229"/>
                      </a:lnTo>
                      <a:lnTo>
                        <a:pt x="362" y="231"/>
                      </a:lnTo>
                      <a:lnTo>
                        <a:pt x="361" y="232"/>
                      </a:lnTo>
                      <a:lnTo>
                        <a:pt x="361" y="233"/>
                      </a:lnTo>
                      <a:lnTo>
                        <a:pt x="359" y="233"/>
                      </a:lnTo>
                      <a:lnTo>
                        <a:pt x="358" y="233"/>
                      </a:lnTo>
                      <a:lnTo>
                        <a:pt x="358" y="232"/>
                      </a:lnTo>
                      <a:lnTo>
                        <a:pt x="357" y="232"/>
                      </a:lnTo>
                      <a:lnTo>
                        <a:pt x="357" y="233"/>
                      </a:lnTo>
                      <a:lnTo>
                        <a:pt x="356" y="233"/>
                      </a:lnTo>
                      <a:lnTo>
                        <a:pt x="356" y="235"/>
                      </a:lnTo>
                      <a:lnTo>
                        <a:pt x="352" y="235"/>
                      </a:lnTo>
                      <a:lnTo>
                        <a:pt x="351" y="235"/>
                      </a:lnTo>
                      <a:lnTo>
                        <a:pt x="351" y="236"/>
                      </a:lnTo>
                      <a:lnTo>
                        <a:pt x="351" y="237"/>
                      </a:lnTo>
                      <a:lnTo>
                        <a:pt x="350" y="237"/>
                      </a:lnTo>
                      <a:lnTo>
                        <a:pt x="350" y="238"/>
                      </a:lnTo>
                      <a:lnTo>
                        <a:pt x="349" y="238"/>
                      </a:lnTo>
                      <a:lnTo>
                        <a:pt x="349" y="239"/>
                      </a:lnTo>
                      <a:lnTo>
                        <a:pt x="349" y="240"/>
                      </a:lnTo>
                      <a:lnTo>
                        <a:pt x="349" y="239"/>
                      </a:lnTo>
                      <a:lnTo>
                        <a:pt x="348" y="240"/>
                      </a:lnTo>
                      <a:lnTo>
                        <a:pt x="349" y="240"/>
                      </a:lnTo>
                      <a:lnTo>
                        <a:pt x="348" y="242"/>
                      </a:lnTo>
                      <a:lnTo>
                        <a:pt x="345" y="244"/>
                      </a:lnTo>
                      <a:lnTo>
                        <a:pt x="345" y="245"/>
                      </a:lnTo>
                      <a:lnTo>
                        <a:pt x="344" y="245"/>
                      </a:lnTo>
                      <a:lnTo>
                        <a:pt x="345" y="246"/>
                      </a:lnTo>
                      <a:lnTo>
                        <a:pt x="344" y="246"/>
                      </a:lnTo>
                      <a:lnTo>
                        <a:pt x="344" y="247"/>
                      </a:lnTo>
                      <a:lnTo>
                        <a:pt x="343" y="247"/>
                      </a:lnTo>
                      <a:lnTo>
                        <a:pt x="342" y="249"/>
                      </a:lnTo>
                      <a:lnTo>
                        <a:pt x="342" y="250"/>
                      </a:lnTo>
                      <a:lnTo>
                        <a:pt x="341" y="250"/>
                      </a:lnTo>
                      <a:lnTo>
                        <a:pt x="341" y="251"/>
                      </a:lnTo>
                      <a:lnTo>
                        <a:pt x="342" y="251"/>
                      </a:lnTo>
                      <a:lnTo>
                        <a:pt x="342" y="252"/>
                      </a:lnTo>
                      <a:lnTo>
                        <a:pt x="341" y="252"/>
                      </a:lnTo>
                      <a:lnTo>
                        <a:pt x="340" y="253"/>
                      </a:lnTo>
                      <a:lnTo>
                        <a:pt x="340" y="254"/>
                      </a:lnTo>
                      <a:lnTo>
                        <a:pt x="338" y="254"/>
                      </a:lnTo>
                      <a:lnTo>
                        <a:pt x="338" y="256"/>
                      </a:lnTo>
                      <a:lnTo>
                        <a:pt x="337" y="256"/>
                      </a:lnTo>
                      <a:lnTo>
                        <a:pt x="337" y="257"/>
                      </a:lnTo>
                      <a:lnTo>
                        <a:pt x="336" y="257"/>
                      </a:lnTo>
                      <a:lnTo>
                        <a:pt x="335" y="257"/>
                      </a:lnTo>
                      <a:lnTo>
                        <a:pt x="335" y="258"/>
                      </a:lnTo>
                      <a:lnTo>
                        <a:pt x="334" y="258"/>
                      </a:lnTo>
                      <a:lnTo>
                        <a:pt x="333" y="258"/>
                      </a:lnTo>
                      <a:lnTo>
                        <a:pt x="331" y="259"/>
                      </a:lnTo>
                      <a:lnTo>
                        <a:pt x="330" y="259"/>
                      </a:lnTo>
                      <a:lnTo>
                        <a:pt x="330" y="260"/>
                      </a:lnTo>
                      <a:lnTo>
                        <a:pt x="329" y="259"/>
                      </a:lnTo>
                      <a:lnTo>
                        <a:pt x="329" y="260"/>
                      </a:lnTo>
                      <a:lnTo>
                        <a:pt x="329" y="261"/>
                      </a:lnTo>
                      <a:lnTo>
                        <a:pt x="330" y="263"/>
                      </a:lnTo>
                      <a:lnTo>
                        <a:pt x="331" y="264"/>
                      </a:lnTo>
                      <a:lnTo>
                        <a:pt x="334" y="271"/>
                      </a:lnTo>
                      <a:lnTo>
                        <a:pt x="335" y="272"/>
                      </a:lnTo>
                      <a:lnTo>
                        <a:pt x="335" y="273"/>
                      </a:lnTo>
                      <a:lnTo>
                        <a:pt x="337" y="274"/>
                      </a:lnTo>
                      <a:lnTo>
                        <a:pt x="337" y="275"/>
                      </a:lnTo>
                      <a:lnTo>
                        <a:pt x="337" y="277"/>
                      </a:lnTo>
                      <a:lnTo>
                        <a:pt x="338" y="278"/>
                      </a:lnTo>
                      <a:lnTo>
                        <a:pt x="340" y="278"/>
                      </a:lnTo>
                      <a:lnTo>
                        <a:pt x="341" y="278"/>
                      </a:lnTo>
                      <a:lnTo>
                        <a:pt x="341" y="279"/>
                      </a:lnTo>
                      <a:lnTo>
                        <a:pt x="340" y="279"/>
                      </a:lnTo>
                      <a:lnTo>
                        <a:pt x="340" y="281"/>
                      </a:lnTo>
                      <a:lnTo>
                        <a:pt x="340" y="284"/>
                      </a:lnTo>
                      <a:lnTo>
                        <a:pt x="340" y="285"/>
                      </a:lnTo>
                      <a:lnTo>
                        <a:pt x="341" y="285"/>
                      </a:lnTo>
                      <a:lnTo>
                        <a:pt x="342" y="285"/>
                      </a:lnTo>
                      <a:lnTo>
                        <a:pt x="343" y="285"/>
                      </a:lnTo>
                      <a:lnTo>
                        <a:pt x="343" y="286"/>
                      </a:lnTo>
                      <a:lnTo>
                        <a:pt x="344" y="286"/>
                      </a:lnTo>
                      <a:lnTo>
                        <a:pt x="345" y="287"/>
                      </a:lnTo>
                      <a:lnTo>
                        <a:pt x="347" y="288"/>
                      </a:lnTo>
                      <a:lnTo>
                        <a:pt x="347" y="289"/>
                      </a:lnTo>
                      <a:lnTo>
                        <a:pt x="347" y="291"/>
                      </a:lnTo>
                      <a:lnTo>
                        <a:pt x="349" y="292"/>
                      </a:lnTo>
                      <a:lnTo>
                        <a:pt x="351" y="294"/>
                      </a:lnTo>
                      <a:lnTo>
                        <a:pt x="351" y="295"/>
                      </a:lnTo>
                      <a:lnTo>
                        <a:pt x="352" y="295"/>
                      </a:lnTo>
                      <a:lnTo>
                        <a:pt x="354" y="295"/>
                      </a:lnTo>
                      <a:lnTo>
                        <a:pt x="355" y="295"/>
                      </a:lnTo>
                      <a:lnTo>
                        <a:pt x="356" y="295"/>
                      </a:lnTo>
                      <a:lnTo>
                        <a:pt x="357" y="296"/>
                      </a:lnTo>
                      <a:lnTo>
                        <a:pt x="358" y="296"/>
                      </a:lnTo>
                      <a:lnTo>
                        <a:pt x="362" y="296"/>
                      </a:lnTo>
                      <a:lnTo>
                        <a:pt x="362" y="295"/>
                      </a:lnTo>
                      <a:lnTo>
                        <a:pt x="362" y="294"/>
                      </a:lnTo>
                      <a:lnTo>
                        <a:pt x="363" y="294"/>
                      </a:lnTo>
                      <a:lnTo>
                        <a:pt x="363" y="293"/>
                      </a:lnTo>
                      <a:lnTo>
                        <a:pt x="364" y="293"/>
                      </a:lnTo>
                      <a:lnTo>
                        <a:pt x="364" y="291"/>
                      </a:lnTo>
                      <a:lnTo>
                        <a:pt x="364" y="289"/>
                      </a:lnTo>
                      <a:lnTo>
                        <a:pt x="366" y="287"/>
                      </a:lnTo>
                      <a:lnTo>
                        <a:pt x="368" y="286"/>
                      </a:lnTo>
                      <a:lnTo>
                        <a:pt x="368" y="285"/>
                      </a:lnTo>
                      <a:lnTo>
                        <a:pt x="366" y="285"/>
                      </a:lnTo>
                      <a:lnTo>
                        <a:pt x="366" y="284"/>
                      </a:lnTo>
                      <a:lnTo>
                        <a:pt x="366" y="282"/>
                      </a:lnTo>
                      <a:lnTo>
                        <a:pt x="368" y="282"/>
                      </a:lnTo>
                      <a:lnTo>
                        <a:pt x="369" y="282"/>
                      </a:lnTo>
                      <a:lnTo>
                        <a:pt x="369" y="281"/>
                      </a:lnTo>
                      <a:lnTo>
                        <a:pt x="370" y="281"/>
                      </a:lnTo>
                      <a:lnTo>
                        <a:pt x="370" y="280"/>
                      </a:lnTo>
                      <a:lnTo>
                        <a:pt x="371" y="279"/>
                      </a:lnTo>
                      <a:lnTo>
                        <a:pt x="372" y="278"/>
                      </a:lnTo>
                      <a:lnTo>
                        <a:pt x="373" y="279"/>
                      </a:lnTo>
                      <a:lnTo>
                        <a:pt x="375" y="278"/>
                      </a:lnTo>
                      <a:lnTo>
                        <a:pt x="376" y="278"/>
                      </a:lnTo>
                      <a:lnTo>
                        <a:pt x="377" y="277"/>
                      </a:lnTo>
                      <a:lnTo>
                        <a:pt x="377" y="278"/>
                      </a:lnTo>
                      <a:lnTo>
                        <a:pt x="378" y="278"/>
                      </a:lnTo>
                      <a:lnTo>
                        <a:pt x="379" y="278"/>
                      </a:lnTo>
                      <a:lnTo>
                        <a:pt x="383" y="277"/>
                      </a:lnTo>
                      <a:lnTo>
                        <a:pt x="385" y="277"/>
                      </a:lnTo>
                      <a:lnTo>
                        <a:pt x="386" y="275"/>
                      </a:lnTo>
                      <a:lnTo>
                        <a:pt x="390" y="273"/>
                      </a:lnTo>
                      <a:lnTo>
                        <a:pt x="391" y="272"/>
                      </a:lnTo>
                      <a:lnTo>
                        <a:pt x="394" y="271"/>
                      </a:lnTo>
                      <a:lnTo>
                        <a:pt x="395" y="271"/>
                      </a:lnTo>
                      <a:lnTo>
                        <a:pt x="395" y="270"/>
                      </a:lnTo>
                      <a:lnTo>
                        <a:pt x="395" y="268"/>
                      </a:lnTo>
                      <a:lnTo>
                        <a:pt x="395" y="267"/>
                      </a:lnTo>
                      <a:lnTo>
                        <a:pt x="394" y="267"/>
                      </a:lnTo>
                      <a:lnTo>
                        <a:pt x="394" y="266"/>
                      </a:lnTo>
                      <a:lnTo>
                        <a:pt x="394" y="265"/>
                      </a:lnTo>
                      <a:lnTo>
                        <a:pt x="394" y="264"/>
                      </a:lnTo>
                      <a:lnTo>
                        <a:pt x="395" y="263"/>
                      </a:lnTo>
                      <a:lnTo>
                        <a:pt x="395" y="261"/>
                      </a:lnTo>
                      <a:lnTo>
                        <a:pt x="397" y="260"/>
                      </a:lnTo>
                      <a:lnTo>
                        <a:pt x="399" y="260"/>
                      </a:lnTo>
                      <a:lnTo>
                        <a:pt x="400" y="259"/>
                      </a:lnTo>
                      <a:lnTo>
                        <a:pt x="400" y="258"/>
                      </a:lnTo>
                      <a:lnTo>
                        <a:pt x="400" y="257"/>
                      </a:lnTo>
                      <a:lnTo>
                        <a:pt x="399" y="257"/>
                      </a:lnTo>
                      <a:lnTo>
                        <a:pt x="399" y="256"/>
                      </a:lnTo>
                      <a:lnTo>
                        <a:pt x="400" y="254"/>
                      </a:lnTo>
                      <a:lnTo>
                        <a:pt x="401" y="253"/>
                      </a:lnTo>
                      <a:lnTo>
                        <a:pt x="402" y="253"/>
                      </a:lnTo>
                      <a:lnTo>
                        <a:pt x="404" y="253"/>
                      </a:lnTo>
                      <a:lnTo>
                        <a:pt x="404" y="252"/>
                      </a:lnTo>
                      <a:lnTo>
                        <a:pt x="404" y="251"/>
                      </a:lnTo>
                      <a:lnTo>
                        <a:pt x="405" y="250"/>
                      </a:lnTo>
                      <a:lnTo>
                        <a:pt x="404" y="249"/>
                      </a:lnTo>
                      <a:lnTo>
                        <a:pt x="404" y="247"/>
                      </a:lnTo>
                      <a:lnTo>
                        <a:pt x="402" y="246"/>
                      </a:lnTo>
                      <a:lnTo>
                        <a:pt x="402" y="244"/>
                      </a:lnTo>
                      <a:lnTo>
                        <a:pt x="401" y="244"/>
                      </a:lnTo>
                      <a:lnTo>
                        <a:pt x="401" y="243"/>
                      </a:lnTo>
                      <a:lnTo>
                        <a:pt x="400" y="240"/>
                      </a:lnTo>
                      <a:lnTo>
                        <a:pt x="399" y="240"/>
                      </a:lnTo>
                      <a:lnTo>
                        <a:pt x="398" y="239"/>
                      </a:lnTo>
                      <a:lnTo>
                        <a:pt x="394" y="237"/>
                      </a:lnTo>
                      <a:lnTo>
                        <a:pt x="393" y="237"/>
                      </a:lnTo>
                      <a:lnTo>
                        <a:pt x="393" y="236"/>
                      </a:lnTo>
                      <a:lnTo>
                        <a:pt x="392" y="236"/>
                      </a:lnTo>
                      <a:lnTo>
                        <a:pt x="392" y="235"/>
                      </a:lnTo>
                      <a:lnTo>
                        <a:pt x="391" y="235"/>
                      </a:lnTo>
                      <a:lnTo>
                        <a:pt x="388" y="232"/>
                      </a:lnTo>
                      <a:lnTo>
                        <a:pt x="387" y="230"/>
                      </a:lnTo>
                      <a:lnTo>
                        <a:pt x="386" y="229"/>
                      </a:lnTo>
                      <a:lnTo>
                        <a:pt x="385" y="229"/>
                      </a:lnTo>
                      <a:lnTo>
                        <a:pt x="384" y="229"/>
                      </a:lnTo>
                      <a:lnTo>
                        <a:pt x="384" y="226"/>
                      </a:lnTo>
                      <a:lnTo>
                        <a:pt x="383" y="226"/>
                      </a:lnTo>
                      <a:lnTo>
                        <a:pt x="381" y="226"/>
                      </a:lnTo>
                      <a:lnTo>
                        <a:pt x="381" y="225"/>
                      </a:lnTo>
                      <a:lnTo>
                        <a:pt x="381" y="224"/>
                      </a:lnTo>
                      <a:lnTo>
                        <a:pt x="380" y="224"/>
                      </a:lnTo>
                      <a:lnTo>
                        <a:pt x="380" y="223"/>
                      </a:lnTo>
                      <a:lnTo>
                        <a:pt x="379" y="222"/>
                      </a:lnTo>
                      <a:lnTo>
                        <a:pt x="377" y="223"/>
                      </a:lnTo>
                      <a:lnTo>
                        <a:pt x="372" y="224"/>
                      </a:lnTo>
                      <a:lnTo>
                        <a:pt x="371" y="224"/>
                      </a:lnTo>
                      <a:lnTo>
                        <a:pt x="370" y="226"/>
                      </a:lnTo>
                      <a:close/>
                    </a:path>
                  </a:pathLst>
                </a:custGeom>
                <a:solidFill>
                  <a:schemeClr val="accent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j-lt"/>
                    <a:ea typeface="+mn-ea"/>
                    <a:cs typeface="+mn-cs"/>
                  </a:endParaRPr>
                </a:p>
              </p:txBody>
            </p:sp>
            <p:sp>
              <p:nvSpPr>
                <p:cNvPr id="104" name="Freeform 120">
                  <a:extLst>
                    <a:ext uri="{FF2B5EF4-FFF2-40B4-BE49-F238E27FC236}">
                      <a16:creationId xmlns:a16="http://schemas.microsoft.com/office/drawing/2014/main" id="{10D732FB-1757-61EF-1E9D-9BEA1850F333}"/>
                    </a:ext>
                  </a:extLst>
                </p:cNvPr>
                <p:cNvSpPr>
                  <a:spLocks noEditPoints="1"/>
                </p:cNvSpPr>
                <p:nvPr/>
              </p:nvSpPr>
              <p:spPr bwMode="auto">
                <a:xfrm>
                  <a:off x="6475734" y="2410755"/>
                  <a:ext cx="141707" cy="298557"/>
                </a:xfrm>
                <a:custGeom>
                  <a:avLst/>
                  <a:gdLst>
                    <a:gd name="T0" fmla="*/ 112 w 131"/>
                    <a:gd name="T1" fmla="*/ 143 h 276"/>
                    <a:gd name="T2" fmla="*/ 107 w 131"/>
                    <a:gd name="T3" fmla="*/ 143 h 276"/>
                    <a:gd name="T4" fmla="*/ 105 w 131"/>
                    <a:gd name="T5" fmla="*/ 137 h 276"/>
                    <a:gd name="T6" fmla="*/ 112 w 131"/>
                    <a:gd name="T7" fmla="*/ 107 h 276"/>
                    <a:gd name="T8" fmla="*/ 117 w 131"/>
                    <a:gd name="T9" fmla="*/ 105 h 276"/>
                    <a:gd name="T10" fmla="*/ 123 w 131"/>
                    <a:gd name="T11" fmla="*/ 101 h 276"/>
                    <a:gd name="T12" fmla="*/ 74 w 131"/>
                    <a:gd name="T13" fmla="*/ 7 h 276"/>
                    <a:gd name="T14" fmla="*/ 74 w 131"/>
                    <a:gd name="T15" fmla="*/ 5 h 276"/>
                    <a:gd name="T16" fmla="*/ 88 w 131"/>
                    <a:gd name="T17" fmla="*/ 6 h 276"/>
                    <a:gd name="T18" fmla="*/ 87 w 131"/>
                    <a:gd name="T19" fmla="*/ 10 h 276"/>
                    <a:gd name="T20" fmla="*/ 91 w 131"/>
                    <a:gd name="T21" fmla="*/ 21 h 276"/>
                    <a:gd name="T22" fmla="*/ 88 w 131"/>
                    <a:gd name="T23" fmla="*/ 23 h 276"/>
                    <a:gd name="T24" fmla="*/ 98 w 131"/>
                    <a:gd name="T25" fmla="*/ 23 h 276"/>
                    <a:gd name="T26" fmla="*/ 109 w 131"/>
                    <a:gd name="T27" fmla="*/ 13 h 276"/>
                    <a:gd name="T28" fmla="*/ 115 w 131"/>
                    <a:gd name="T29" fmla="*/ 14 h 276"/>
                    <a:gd name="T30" fmla="*/ 113 w 131"/>
                    <a:gd name="T31" fmla="*/ 24 h 276"/>
                    <a:gd name="T32" fmla="*/ 98 w 131"/>
                    <a:gd name="T33" fmla="*/ 41 h 276"/>
                    <a:gd name="T34" fmla="*/ 97 w 131"/>
                    <a:gd name="T35" fmla="*/ 54 h 276"/>
                    <a:gd name="T36" fmla="*/ 103 w 131"/>
                    <a:gd name="T37" fmla="*/ 63 h 276"/>
                    <a:gd name="T38" fmla="*/ 112 w 131"/>
                    <a:gd name="T39" fmla="*/ 68 h 276"/>
                    <a:gd name="T40" fmla="*/ 115 w 131"/>
                    <a:gd name="T41" fmla="*/ 74 h 276"/>
                    <a:gd name="T42" fmla="*/ 117 w 131"/>
                    <a:gd name="T43" fmla="*/ 84 h 276"/>
                    <a:gd name="T44" fmla="*/ 114 w 131"/>
                    <a:gd name="T45" fmla="*/ 93 h 276"/>
                    <a:gd name="T46" fmla="*/ 108 w 131"/>
                    <a:gd name="T47" fmla="*/ 101 h 276"/>
                    <a:gd name="T48" fmla="*/ 101 w 131"/>
                    <a:gd name="T49" fmla="*/ 108 h 276"/>
                    <a:gd name="T50" fmla="*/ 92 w 131"/>
                    <a:gd name="T51" fmla="*/ 117 h 276"/>
                    <a:gd name="T52" fmla="*/ 84 w 131"/>
                    <a:gd name="T53" fmla="*/ 122 h 276"/>
                    <a:gd name="T54" fmla="*/ 83 w 131"/>
                    <a:gd name="T55" fmla="*/ 132 h 276"/>
                    <a:gd name="T56" fmla="*/ 99 w 131"/>
                    <a:gd name="T57" fmla="*/ 146 h 276"/>
                    <a:gd name="T58" fmla="*/ 103 w 131"/>
                    <a:gd name="T59" fmla="*/ 152 h 276"/>
                    <a:gd name="T60" fmla="*/ 112 w 131"/>
                    <a:gd name="T61" fmla="*/ 146 h 276"/>
                    <a:gd name="T62" fmla="*/ 117 w 131"/>
                    <a:gd name="T63" fmla="*/ 156 h 276"/>
                    <a:gd name="T64" fmla="*/ 120 w 131"/>
                    <a:gd name="T65" fmla="*/ 159 h 276"/>
                    <a:gd name="T66" fmla="*/ 127 w 131"/>
                    <a:gd name="T67" fmla="*/ 164 h 276"/>
                    <a:gd name="T68" fmla="*/ 130 w 131"/>
                    <a:gd name="T69" fmla="*/ 166 h 276"/>
                    <a:gd name="T70" fmla="*/ 131 w 131"/>
                    <a:gd name="T71" fmla="*/ 189 h 276"/>
                    <a:gd name="T72" fmla="*/ 108 w 131"/>
                    <a:gd name="T73" fmla="*/ 208 h 276"/>
                    <a:gd name="T74" fmla="*/ 99 w 131"/>
                    <a:gd name="T75" fmla="*/ 216 h 276"/>
                    <a:gd name="T76" fmla="*/ 85 w 131"/>
                    <a:gd name="T77" fmla="*/ 231 h 276"/>
                    <a:gd name="T78" fmla="*/ 88 w 131"/>
                    <a:gd name="T79" fmla="*/ 257 h 276"/>
                    <a:gd name="T80" fmla="*/ 64 w 131"/>
                    <a:gd name="T81" fmla="*/ 264 h 276"/>
                    <a:gd name="T82" fmla="*/ 56 w 131"/>
                    <a:gd name="T83" fmla="*/ 227 h 276"/>
                    <a:gd name="T84" fmla="*/ 44 w 131"/>
                    <a:gd name="T85" fmla="*/ 202 h 276"/>
                    <a:gd name="T86" fmla="*/ 23 w 131"/>
                    <a:gd name="T87" fmla="*/ 173 h 276"/>
                    <a:gd name="T88" fmla="*/ 9 w 131"/>
                    <a:gd name="T89" fmla="*/ 164 h 276"/>
                    <a:gd name="T90" fmla="*/ 1 w 131"/>
                    <a:gd name="T91" fmla="*/ 142 h 276"/>
                    <a:gd name="T92" fmla="*/ 5 w 131"/>
                    <a:gd name="T93" fmla="*/ 125 h 276"/>
                    <a:gd name="T94" fmla="*/ 16 w 131"/>
                    <a:gd name="T95" fmla="*/ 114 h 276"/>
                    <a:gd name="T96" fmla="*/ 23 w 131"/>
                    <a:gd name="T97" fmla="*/ 107 h 276"/>
                    <a:gd name="T98" fmla="*/ 26 w 131"/>
                    <a:gd name="T99" fmla="*/ 91 h 276"/>
                    <a:gd name="T100" fmla="*/ 26 w 131"/>
                    <a:gd name="T101" fmla="*/ 80 h 276"/>
                    <a:gd name="T102" fmla="*/ 24 w 131"/>
                    <a:gd name="T103" fmla="*/ 63 h 276"/>
                    <a:gd name="T104" fmla="*/ 27 w 131"/>
                    <a:gd name="T105" fmla="*/ 48 h 276"/>
                    <a:gd name="T106" fmla="*/ 21 w 131"/>
                    <a:gd name="T107" fmla="*/ 34 h 276"/>
                    <a:gd name="T108" fmla="*/ 29 w 131"/>
                    <a:gd name="T109" fmla="*/ 24 h 276"/>
                    <a:gd name="T110" fmla="*/ 35 w 131"/>
                    <a:gd name="T111" fmla="*/ 18 h 276"/>
                    <a:gd name="T112" fmla="*/ 46 w 131"/>
                    <a:gd name="T113" fmla="*/ 12 h 276"/>
                    <a:gd name="T114" fmla="*/ 60 w 131"/>
                    <a:gd name="T115" fmla="*/ 4 h 276"/>
                    <a:gd name="T116" fmla="*/ 66 w 131"/>
                    <a:gd name="T117" fmla="*/ 3 h 276"/>
                    <a:gd name="T118" fmla="*/ 76 w 131"/>
                    <a:gd name="T119" fmla="*/ 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1" h="276">
                      <a:moveTo>
                        <a:pt x="112" y="137"/>
                      </a:moveTo>
                      <a:lnTo>
                        <a:pt x="112" y="138"/>
                      </a:lnTo>
                      <a:lnTo>
                        <a:pt x="113" y="138"/>
                      </a:lnTo>
                      <a:lnTo>
                        <a:pt x="114" y="139"/>
                      </a:lnTo>
                      <a:lnTo>
                        <a:pt x="115" y="139"/>
                      </a:lnTo>
                      <a:lnTo>
                        <a:pt x="115" y="140"/>
                      </a:lnTo>
                      <a:lnTo>
                        <a:pt x="113" y="143"/>
                      </a:lnTo>
                      <a:lnTo>
                        <a:pt x="112" y="144"/>
                      </a:lnTo>
                      <a:lnTo>
                        <a:pt x="112" y="143"/>
                      </a:lnTo>
                      <a:lnTo>
                        <a:pt x="112" y="144"/>
                      </a:lnTo>
                      <a:lnTo>
                        <a:pt x="110" y="145"/>
                      </a:lnTo>
                      <a:lnTo>
                        <a:pt x="110" y="146"/>
                      </a:lnTo>
                      <a:lnTo>
                        <a:pt x="109" y="146"/>
                      </a:lnTo>
                      <a:lnTo>
                        <a:pt x="109" y="145"/>
                      </a:lnTo>
                      <a:lnTo>
                        <a:pt x="109" y="144"/>
                      </a:lnTo>
                      <a:lnTo>
                        <a:pt x="108" y="144"/>
                      </a:lnTo>
                      <a:lnTo>
                        <a:pt x="108" y="143"/>
                      </a:lnTo>
                      <a:lnTo>
                        <a:pt x="107" y="143"/>
                      </a:lnTo>
                      <a:lnTo>
                        <a:pt x="107" y="144"/>
                      </a:lnTo>
                      <a:lnTo>
                        <a:pt x="106" y="144"/>
                      </a:lnTo>
                      <a:lnTo>
                        <a:pt x="105" y="144"/>
                      </a:lnTo>
                      <a:lnTo>
                        <a:pt x="105" y="143"/>
                      </a:lnTo>
                      <a:lnTo>
                        <a:pt x="105" y="142"/>
                      </a:lnTo>
                      <a:lnTo>
                        <a:pt x="105" y="140"/>
                      </a:lnTo>
                      <a:lnTo>
                        <a:pt x="106" y="140"/>
                      </a:lnTo>
                      <a:lnTo>
                        <a:pt x="105" y="138"/>
                      </a:lnTo>
                      <a:lnTo>
                        <a:pt x="105" y="137"/>
                      </a:lnTo>
                      <a:lnTo>
                        <a:pt x="106" y="137"/>
                      </a:lnTo>
                      <a:lnTo>
                        <a:pt x="108" y="137"/>
                      </a:lnTo>
                      <a:lnTo>
                        <a:pt x="110" y="137"/>
                      </a:lnTo>
                      <a:lnTo>
                        <a:pt x="112" y="137"/>
                      </a:lnTo>
                      <a:close/>
                      <a:moveTo>
                        <a:pt x="116" y="108"/>
                      </a:moveTo>
                      <a:lnTo>
                        <a:pt x="115" y="109"/>
                      </a:lnTo>
                      <a:lnTo>
                        <a:pt x="114" y="108"/>
                      </a:lnTo>
                      <a:lnTo>
                        <a:pt x="113" y="108"/>
                      </a:lnTo>
                      <a:lnTo>
                        <a:pt x="112" y="107"/>
                      </a:lnTo>
                      <a:lnTo>
                        <a:pt x="113" y="107"/>
                      </a:lnTo>
                      <a:lnTo>
                        <a:pt x="116" y="107"/>
                      </a:lnTo>
                      <a:lnTo>
                        <a:pt x="116" y="108"/>
                      </a:lnTo>
                      <a:close/>
                      <a:moveTo>
                        <a:pt x="122" y="103"/>
                      </a:moveTo>
                      <a:lnTo>
                        <a:pt x="123" y="103"/>
                      </a:lnTo>
                      <a:lnTo>
                        <a:pt x="123" y="104"/>
                      </a:lnTo>
                      <a:lnTo>
                        <a:pt x="120" y="105"/>
                      </a:lnTo>
                      <a:lnTo>
                        <a:pt x="117" y="107"/>
                      </a:lnTo>
                      <a:lnTo>
                        <a:pt x="117" y="105"/>
                      </a:lnTo>
                      <a:lnTo>
                        <a:pt x="119" y="105"/>
                      </a:lnTo>
                      <a:lnTo>
                        <a:pt x="119" y="104"/>
                      </a:lnTo>
                      <a:lnTo>
                        <a:pt x="119" y="103"/>
                      </a:lnTo>
                      <a:lnTo>
                        <a:pt x="120" y="103"/>
                      </a:lnTo>
                      <a:lnTo>
                        <a:pt x="120" y="102"/>
                      </a:lnTo>
                      <a:lnTo>
                        <a:pt x="121" y="102"/>
                      </a:lnTo>
                      <a:lnTo>
                        <a:pt x="121" y="101"/>
                      </a:lnTo>
                      <a:lnTo>
                        <a:pt x="122" y="101"/>
                      </a:lnTo>
                      <a:lnTo>
                        <a:pt x="123" y="101"/>
                      </a:lnTo>
                      <a:lnTo>
                        <a:pt x="122" y="102"/>
                      </a:lnTo>
                      <a:lnTo>
                        <a:pt x="122" y="103"/>
                      </a:lnTo>
                      <a:close/>
                      <a:moveTo>
                        <a:pt x="76" y="2"/>
                      </a:moveTo>
                      <a:lnTo>
                        <a:pt x="76" y="3"/>
                      </a:lnTo>
                      <a:lnTo>
                        <a:pt x="74" y="4"/>
                      </a:lnTo>
                      <a:lnTo>
                        <a:pt x="73" y="5"/>
                      </a:lnTo>
                      <a:lnTo>
                        <a:pt x="73" y="6"/>
                      </a:lnTo>
                      <a:lnTo>
                        <a:pt x="73" y="7"/>
                      </a:lnTo>
                      <a:lnTo>
                        <a:pt x="74" y="7"/>
                      </a:lnTo>
                      <a:lnTo>
                        <a:pt x="74" y="9"/>
                      </a:lnTo>
                      <a:lnTo>
                        <a:pt x="76" y="9"/>
                      </a:lnTo>
                      <a:lnTo>
                        <a:pt x="77" y="9"/>
                      </a:lnTo>
                      <a:lnTo>
                        <a:pt x="77" y="7"/>
                      </a:lnTo>
                      <a:lnTo>
                        <a:pt x="78" y="7"/>
                      </a:lnTo>
                      <a:lnTo>
                        <a:pt x="78" y="6"/>
                      </a:lnTo>
                      <a:lnTo>
                        <a:pt x="78" y="5"/>
                      </a:lnTo>
                      <a:lnTo>
                        <a:pt x="76" y="5"/>
                      </a:lnTo>
                      <a:lnTo>
                        <a:pt x="74" y="5"/>
                      </a:lnTo>
                      <a:lnTo>
                        <a:pt x="76" y="4"/>
                      </a:lnTo>
                      <a:lnTo>
                        <a:pt x="77" y="4"/>
                      </a:lnTo>
                      <a:lnTo>
                        <a:pt x="79" y="4"/>
                      </a:lnTo>
                      <a:lnTo>
                        <a:pt x="80" y="4"/>
                      </a:lnTo>
                      <a:lnTo>
                        <a:pt x="81" y="4"/>
                      </a:lnTo>
                      <a:lnTo>
                        <a:pt x="83" y="4"/>
                      </a:lnTo>
                      <a:lnTo>
                        <a:pt x="85" y="5"/>
                      </a:lnTo>
                      <a:lnTo>
                        <a:pt x="86" y="5"/>
                      </a:lnTo>
                      <a:lnTo>
                        <a:pt x="88" y="6"/>
                      </a:lnTo>
                      <a:lnTo>
                        <a:pt x="90" y="7"/>
                      </a:lnTo>
                      <a:lnTo>
                        <a:pt x="88" y="7"/>
                      </a:lnTo>
                      <a:lnTo>
                        <a:pt x="87" y="7"/>
                      </a:lnTo>
                      <a:lnTo>
                        <a:pt x="86" y="7"/>
                      </a:lnTo>
                      <a:lnTo>
                        <a:pt x="85" y="7"/>
                      </a:lnTo>
                      <a:lnTo>
                        <a:pt x="85" y="9"/>
                      </a:lnTo>
                      <a:lnTo>
                        <a:pt x="86" y="9"/>
                      </a:lnTo>
                      <a:lnTo>
                        <a:pt x="87" y="9"/>
                      </a:lnTo>
                      <a:lnTo>
                        <a:pt x="87" y="10"/>
                      </a:lnTo>
                      <a:lnTo>
                        <a:pt x="86" y="11"/>
                      </a:lnTo>
                      <a:lnTo>
                        <a:pt x="86" y="13"/>
                      </a:lnTo>
                      <a:lnTo>
                        <a:pt x="87" y="16"/>
                      </a:lnTo>
                      <a:lnTo>
                        <a:pt x="88" y="17"/>
                      </a:lnTo>
                      <a:lnTo>
                        <a:pt x="90" y="17"/>
                      </a:lnTo>
                      <a:lnTo>
                        <a:pt x="91" y="18"/>
                      </a:lnTo>
                      <a:lnTo>
                        <a:pt x="92" y="19"/>
                      </a:lnTo>
                      <a:lnTo>
                        <a:pt x="91" y="20"/>
                      </a:lnTo>
                      <a:lnTo>
                        <a:pt x="91" y="21"/>
                      </a:lnTo>
                      <a:lnTo>
                        <a:pt x="90" y="21"/>
                      </a:lnTo>
                      <a:lnTo>
                        <a:pt x="90" y="20"/>
                      </a:lnTo>
                      <a:lnTo>
                        <a:pt x="88" y="20"/>
                      </a:lnTo>
                      <a:lnTo>
                        <a:pt x="87" y="20"/>
                      </a:lnTo>
                      <a:lnTo>
                        <a:pt x="87" y="21"/>
                      </a:lnTo>
                      <a:lnTo>
                        <a:pt x="86" y="21"/>
                      </a:lnTo>
                      <a:lnTo>
                        <a:pt x="86" y="23"/>
                      </a:lnTo>
                      <a:lnTo>
                        <a:pt x="87" y="23"/>
                      </a:lnTo>
                      <a:lnTo>
                        <a:pt x="88" y="23"/>
                      </a:lnTo>
                      <a:lnTo>
                        <a:pt x="90" y="21"/>
                      </a:lnTo>
                      <a:lnTo>
                        <a:pt x="90" y="23"/>
                      </a:lnTo>
                      <a:lnTo>
                        <a:pt x="91" y="24"/>
                      </a:lnTo>
                      <a:lnTo>
                        <a:pt x="92" y="25"/>
                      </a:lnTo>
                      <a:lnTo>
                        <a:pt x="93" y="25"/>
                      </a:lnTo>
                      <a:lnTo>
                        <a:pt x="94" y="25"/>
                      </a:lnTo>
                      <a:lnTo>
                        <a:pt x="97" y="24"/>
                      </a:lnTo>
                      <a:lnTo>
                        <a:pt x="98" y="24"/>
                      </a:lnTo>
                      <a:lnTo>
                        <a:pt x="98" y="23"/>
                      </a:lnTo>
                      <a:lnTo>
                        <a:pt x="98" y="21"/>
                      </a:lnTo>
                      <a:lnTo>
                        <a:pt x="99" y="19"/>
                      </a:lnTo>
                      <a:lnTo>
                        <a:pt x="100" y="19"/>
                      </a:lnTo>
                      <a:lnTo>
                        <a:pt x="101" y="19"/>
                      </a:lnTo>
                      <a:lnTo>
                        <a:pt x="102" y="19"/>
                      </a:lnTo>
                      <a:lnTo>
                        <a:pt x="103" y="18"/>
                      </a:lnTo>
                      <a:lnTo>
                        <a:pt x="106" y="17"/>
                      </a:lnTo>
                      <a:lnTo>
                        <a:pt x="107" y="16"/>
                      </a:lnTo>
                      <a:lnTo>
                        <a:pt x="109" y="13"/>
                      </a:lnTo>
                      <a:lnTo>
                        <a:pt x="109" y="12"/>
                      </a:lnTo>
                      <a:lnTo>
                        <a:pt x="110" y="12"/>
                      </a:lnTo>
                      <a:lnTo>
                        <a:pt x="112" y="12"/>
                      </a:lnTo>
                      <a:lnTo>
                        <a:pt x="113" y="11"/>
                      </a:lnTo>
                      <a:lnTo>
                        <a:pt x="114" y="11"/>
                      </a:lnTo>
                      <a:lnTo>
                        <a:pt x="114" y="12"/>
                      </a:lnTo>
                      <a:lnTo>
                        <a:pt x="114" y="13"/>
                      </a:lnTo>
                      <a:lnTo>
                        <a:pt x="114" y="14"/>
                      </a:lnTo>
                      <a:lnTo>
                        <a:pt x="115" y="14"/>
                      </a:lnTo>
                      <a:lnTo>
                        <a:pt x="115" y="16"/>
                      </a:lnTo>
                      <a:lnTo>
                        <a:pt x="115" y="17"/>
                      </a:lnTo>
                      <a:lnTo>
                        <a:pt x="116" y="18"/>
                      </a:lnTo>
                      <a:lnTo>
                        <a:pt x="116" y="19"/>
                      </a:lnTo>
                      <a:lnTo>
                        <a:pt x="117" y="19"/>
                      </a:lnTo>
                      <a:lnTo>
                        <a:pt x="116" y="20"/>
                      </a:lnTo>
                      <a:lnTo>
                        <a:pt x="115" y="21"/>
                      </a:lnTo>
                      <a:lnTo>
                        <a:pt x="113" y="23"/>
                      </a:lnTo>
                      <a:lnTo>
                        <a:pt x="113" y="24"/>
                      </a:lnTo>
                      <a:lnTo>
                        <a:pt x="110" y="26"/>
                      </a:lnTo>
                      <a:lnTo>
                        <a:pt x="109" y="31"/>
                      </a:lnTo>
                      <a:lnTo>
                        <a:pt x="107" y="35"/>
                      </a:lnTo>
                      <a:lnTo>
                        <a:pt x="106" y="37"/>
                      </a:lnTo>
                      <a:lnTo>
                        <a:pt x="103" y="37"/>
                      </a:lnTo>
                      <a:lnTo>
                        <a:pt x="100" y="39"/>
                      </a:lnTo>
                      <a:lnTo>
                        <a:pt x="99" y="38"/>
                      </a:lnTo>
                      <a:lnTo>
                        <a:pt x="98" y="39"/>
                      </a:lnTo>
                      <a:lnTo>
                        <a:pt x="98" y="41"/>
                      </a:lnTo>
                      <a:lnTo>
                        <a:pt x="97" y="42"/>
                      </a:lnTo>
                      <a:lnTo>
                        <a:pt x="97" y="44"/>
                      </a:lnTo>
                      <a:lnTo>
                        <a:pt x="97" y="46"/>
                      </a:lnTo>
                      <a:lnTo>
                        <a:pt x="95" y="47"/>
                      </a:lnTo>
                      <a:lnTo>
                        <a:pt x="95" y="49"/>
                      </a:lnTo>
                      <a:lnTo>
                        <a:pt x="97" y="51"/>
                      </a:lnTo>
                      <a:lnTo>
                        <a:pt x="97" y="52"/>
                      </a:lnTo>
                      <a:lnTo>
                        <a:pt x="97" y="53"/>
                      </a:lnTo>
                      <a:lnTo>
                        <a:pt x="97" y="54"/>
                      </a:lnTo>
                      <a:lnTo>
                        <a:pt x="98" y="54"/>
                      </a:lnTo>
                      <a:lnTo>
                        <a:pt x="98" y="55"/>
                      </a:lnTo>
                      <a:lnTo>
                        <a:pt x="98" y="56"/>
                      </a:lnTo>
                      <a:lnTo>
                        <a:pt x="99" y="56"/>
                      </a:lnTo>
                      <a:lnTo>
                        <a:pt x="99" y="58"/>
                      </a:lnTo>
                      <a:lnTo>
                        <a:pt x="100" y="60"/>
                      </a:lnTo>
                      <a:lnTo>
                        <a:pt x="101" y="60"/>
                      </a:lnTo>
                      <a:lnTo>
                        <a:pt x="103" y="62"/>
                      </a:lnTo>
                      <a:lnTo>
                        <a:pt x="103" y="63"/>
                      </a:lnTo>
                      <a:lnTo>
                        <a:pt x="105" y="63"/>
                      </a:lnTo>
                      <a:lnTo>
                        <a:pt x="107" y="62"/>
                      </a:lnTo>
                      <a:lnTo>
                        <a:pt x="108" y="63"/>
                      </a:lnTo>
                      <a:lnTo>
                        <a:pt x="107" y="63"/>
                      </a:lnTo>
                      <a:lnTo>
                        <a:pt x="107" y="65"/>
                      </a:lnTo>
                      <a:lnTo>
                        <a:pt x="107" y="66"/>
                      </a:lnTo>
                      <a:lnTo>
                        <a:pt x="108" y="66"/>
                      </a:lnTo>
                      <a:lnTo>
                        <a:pt x="109" y="67"/>
                      </a:lnTo>
                      <a:lnTo>
                        <a:pt x="112" y="68"/>
                      </a:lnTo>
                      <a:lnTo>
                        <a:pt x="113" y="68"/>
                      </a:lnTo>
                      <a:lnTo>
                        <a:pt x="114" y="68"/>
                      </a:lnTo>
                      <a:lnTo>
                        <a:pt x="115" y="69"/>
                      </a:lnTo>
                      <a:lnTo>
                        <a:pt x="114" y="69"/>
                      </a:lnTo>
                      <a:lnTo>
                        <a:pt x="113" y="70"/>
                      </a:lnTo>
                      <a:lnTo>
                        <a:pt x="113" y="72"/>
                      </a:lnTo>
                      <a:lnTo>
                        <a:pt x="114" y="72"/>
                      </a:lnTo>
                      <a:lnTo>
                        <a:pt x="114" y="73"/>
                      </a:lnTo>
                      <a:lnTo>
                        <a:pt x="115" y="74"/>
                      </a:lnTo>
                      <a:lnTo>
                        <a:pt x="115" y="75"/>
                      </a:lnTo>
                      <a:lnTo>
                        <a:pt x="114" y="76"/>
                      </a:lnTo>
                      <a:lnTo>
                        <a:pt x="115" y="79"/>
                      </a:lnTo>
                      <a:lnTo>
                        <a:pt x="114" y="79"/>
                      </a:lnTo>
                      <a:lnTo>
                        <a:pt x="114" y="81"/>
                      </a:lnTo>
                      <a:lnTo>
                        <a:pt x="115" y="82"/>
                      </a:lnTo>
                      <a:lnTo>
                        <a:pt x="116" y="83"/>
                      </a:lnTo>
                      <a:lnTo>
                        <a:pt x="117" y="83"/>
                      </a:lnTo>
                      <a:lnTo>
                        <a:pt x="117" y="84"/>
                      </a:lnTo>
                      <a:lnTo>
                        <a:pt x="119" y="84"/>
                      </a:lnTo>
                      <a:lnTo>
                        <a:pt x="117" y="84"/>
                      </a:lnTo>
                      <a:lnTo>
                        <a:pt x="116" y="86"/>
                      </a:lnTo>
                      <a:lnTo>
                        <a:pt x="116" y="87"/>
                      </a:lnTo>
                      <a:lnTo>
                        <a:pt x="115" y="88"/>
                      </a:lnTo>
                      <a:lnTo>
                        <a:pt x="114" y="89"/>
                      </a:lnTo>
                      <a:lnTo>
                        <a:pt x="114" y="90"/>
                      </a:lnTo>
                      <a:lnTo>
                        <a:pt x="114" y="91"/>
                      </a:lnTo>
                      <a:lnTo>
                        <a:pt x="114" y="93"/>
                      </a:lnTo>
                      <a:lnTo>
                        <a:pt x="113" y="94"/>
                      </a:lnTo>
                      <a:lnTo>
                        <a:pt x="112" y="94"/>
                      </a:lnTo>
                      <a:lnTo>
                        <a:pt x="110" y="95"/>
                      </a:lnTo>
                      <a:lnTo>
                        <a:pt x="110" y="96"/>
                      </a:lnTo>
                      <a:lnTo>
                        <a:pt x="110" y="97"/>
                      </a:lnTo>
                      <a:lnTo>
                        <a:pt x="110" y="98"/>
                      </a:lnTo>
                      <a:lnTo>
                        <a:pt x="109" y="100"/>
                      </a:lnTo>
                      <a:lnTo>
                        <a:pt x="108" y="100"/>
                      </a:lnTo>
                      <a:lnTo>
                        <a:pt x="108" y="101"/>
                      </a:lnTo>
                      <a:lnTo>
                        <a:pt x="109" y="101"/>
                      </a:lnTo>
                      <a:lnTo>
                        <a:pt x="109" y="102"/>
                      </a:lnTo>
                      <a:lnTo>
                        <a:pt x="108" y="102"/>
                      </a:lnTo>
                      <a:lnTo>
                        <a:pt x="107" y="103"/>
                      </a:lnTo>
                      <a:lnTo>
                        <a:pt x="106" y="104"/>
                      </a:lnTo>
                      <a:lnTo>
                        <a:pt x="105" y="105"/>
                      </a:lnTo>
                      <a:lnTo>
                        <a:pt x="105" y="107"/>
                      </a:lnTo>
                      <a:lnTo>
                        <a:pt x="103" y="107"/>
                      </a:lnTo>
                      <a:lnTo>
                        <a:pt x="101" y="108"/>
                      </a:lnTo>
                      <a:lnTo>
                        <a:pt x="101" y="109"/>
                      </a:lnTo>
                      <a:lnTo>
                        <a:pt x="100" y="110"/>
                      </a:lnTo>
                      <a:lnTo>
                        <a:pt x="100" y="111"/>
                      </a:lnTo>
                      <a:lnTo>
                        <a:pt x="100" y="112"/>
                      </a:lnTo>
                      <a:lnTo>
                        <a:pt x="99" y="112"/>
                      </a:lnTo>
                      <a:lnTo>
                        <a:pt x="97" y="112"/>
                      </a:lnTo>
                      <a:lnTo>
                        <a:pt x="95" y="114"/>
                      </a:lnTo>
                      <a:lnTo>
                        <a:pt x="93" y="116"/>
                      </a:lnTo>
                      <a:lnTo>
                        <a:pt x="92" y="117"/>
                      </a:lnTo>
                      <a:lnTo>
                        <a:pt x="91" y="116"/>
                      </a:lnTo>
                      <a:lnTo>
                        <a:pt x="91" y="117"/>
                      </a:lnTo>
                      <a:lnTo>
                        <a:pt x="90" y="117"/>
                      </a:lnTo>
                      <a:lnTo>
                        <a:pt x="90" y="118"/>
                      </a:lnTo>
                      <a:lnTo>
                        <a:pt x="88" y="118"/>
                      </a:lnTo>
                      <a:lnTo>
                        <a:pt x="87" y="119"/>
                      </a:lnTo>
                      <a:lnTo>
                        <a:pt x="86" y="119"/>
                      </a:lnTo>
                      <a:lnTo>
                        <a:pt x="85" y="121"/>
                      </a:lnTo>
                      <a:lnTo>
                        <a:pt x="84" y="122"/>
                      </a:lnTo>
                      <a:lnTo>
                        <a:pt x="83" y="124"/>
                      </a:lnTo>
                      <a:lnTo>
                        <a:pt x="83" y="125"/>
                      </a:lnTo>
                      <a:lnTo>
                        <a:pt x="81" y="125"/>
                      </a:lnTo>
                      <a:lnTo>
                        <a:pt x="81" y="126"/>
                      </a:lnTo>
                      <a:lnTo>
                        <a:pt x="81" y="128"/>
                      </a:lnTo>
                      <a:lnTo>
                        <a:pt x="81" y="129"/>
                      </a:lnTo>
                      <a:lnTo>
                        <a:pt x="81" y="130"/>
                      </a:lnTo>
                      <a:lnTo>
                        <a:pt x="83" y="131"/>
                      </a:lnTo>
                      <a:lnTo>
                        <a:pt x="83" y="132"/>
                      </a:lnTo>
                      <a:lnTo>
                        <a:pt x="83" y="133"/>
                      </a:lnTo>
                      <a:lnTo>
                        <a:pt x="84" y="135"/>
                      </a:lnTo>
                      <a:lnTo>
                        <a:pt x="86" y="139"/>
                      </a:lnTo>
                      <a:lnTo>
                        <a:pt x="87" y="139"/>
                      </a:lnTo>
                      <a:lnTo>
                        <a:pt x="92" y="144"/>
                      </a:lnTo>
                      <a:lnTo>
                        <a:pt x="93" y="145"/>
                      </a:lnTo>
                      <a:lnTo>
                        <a:pt x="95" y="146"/>
                      </a:lnTo>
                      <a:lnTo>
                        <a:pt x="97" y="146"/>
                      </a:lnTo>
                      <a:lnTo>
                        <a:pt x="99" y="146"/>
                      </a:lnTo>
                      <a:lnTo>
                        <a:pt x="101" y="145"/>
                      </a:lnTo>
                      <a:lnTo>
                        <a:pt x="103" y="144"/>
                      </a:lnTo>
                      <a:lnTo>
                        <a:pt x="105" y="144"/>
                      </a:lnTo>
                      <a:lnTo>
                        <a:pt x="105" y="145"/>
                      </a:lnTo>
                      <a:lnTo>
                        <a:pt x="105" y="147"/>
                      </a:lnTo>
                      <a:lnTo>
                        <a:pt x="103" y="149"/>
                      </a:lnTo>
                      <a:lnTo>
                        <a:pt x="103" y="150"/>
                      </a:lnTo>
                      <a:lnTo>
                        <a:pt x="103" y="151"/>
                      </a:lnTo>
                      <a:lnTo>
                        <a:pt x="103" y="152"/>
                      </a:lnTo>
                      <a:lnTo>
                        <a:pt x="105" y="152"/>
                      </a:lnTo>
                      <a:lnTo>
                        <a:pt x="105" y="153"/>
                      </a:lnTo>
                      <a:lnTo>
                        <a:pt x="106" y="152"/>
                      </a:lnTo>
                      <a:lnTo>
                        <a:pt x="109" y="151"/>
                      </a:lnTo>
                      <a:lnTo>
                        <a:pt x="110" y="151"/>
                      </a:lnTo>
                      <a:lnTo>
                        <a:pt x="110" y="150"/>
                      </a:lnTo>
                      <a:lnTo>
                        <a:pt x="112" y="149"/>
                      </a:lnTo>
                      <a:lnTo>
                        <a:pt x="110" y="147"/>
                      </a:lnTo>
                      <a:lnTo>
                        <a:pt x="112" y="146"/>
                      </a:lnTo>
                      <a:lnTo>
                        <a:pt x="112" y="147"/>
                      </a:lnTo>
                      <a:lnTo>
                        <a:pt x="113" y="146"/>
                      </a:lnTo>
                      <a:lnTo>
                        <a:pt x="114" y="146"/>
                      </a:lnTo>
                      <a:lnTo>
                        <a:pt x="115" y="147"/>
                      </a:lnTo>
                      <a:lnTo>
                        <a:pt x="116" y="149"/>
                      </a:lnTo>
                      <a:lnTo>
                        <a:pt x="117" y="150"/>
                      </a:lnTo>
                      <a:lnTo>
                        <a:pt x="117" y="152"/>
                      </a:lnTo>
                      <a:lnTo>
                        <a:pt x="116" y="153"/>
                      </a:lnTo>
                      <a:lnTo>
                        <a:pt x="117" y="156"/>
                      </a:lnTo>
                      <a:lnTo>
                        <a:pt x="116" y="157"/>
                      </a:lnTo>
                      <a:lnTo>
                        <a:pt x="117" y="157"/>
                      </a:lnTo>
                      <a:lnTo>
                        <a:pt x="119" y="158"/>
                      </a:lnTo>
                      <a:lnTo>
                        <a:pt x="120" y="159"/>
                      </a:lnTo>
                      <a:lnTo>
                        <a:pt x="121" y="159"/>
                      </a:lnTo>
                      <a:lnTo>
                        <a:pt x="122" y="160"/>
                      </a:lnTo>
                      <a:lnTo>
                        <a:pt x="123" y="160"/>
                      </a:lnTo>
                      <a:lnTo>
                        <a:pt x="122" y="160"/>
                      </a:lnTo>
                      <a:lnTo>
                        <a:pt x="120" y="159"/>
                      </a:lnTo>
                      <a:lnTo>
                        <a:pt x="117" y="159"/>
                      </a:lnTo>
                      <a:lnTo>
                        <a:pt x="117" y="160"/>
                      </a:lnTo>
                      <a:lnTo>
                        <a:pt x="119" y="161"/>
                      </a:lnTo>
                      <a:lnTo>
                        <a:pt x="119" y="163"/>
                      </a:lnTo>
                      <a:lnTo>
                        <a:pt x="120" y="163"/>
                      </a:lnTo>
                      <a:lnTo>
                        <a:pt x="121" y="163"/>
                      </a:lnTo>
                      <a:lnTo>
                        <a:pt x="123" y="163"/>
                      </a:lnTo>
                      <a:lnTo>
                        <a:pt x="126" y="164"/>
                      </a:lnTo>
                      <a:lnTo>
                        <a:pt x="127" y="164"/>
                      </a:lnTo>
                      <a:lnTo>
                        <a:pt x="128" y="164"/>
                      </a:lnTo>
                      <a:lnTo>
                        <a:pt x="127" y="163"/>
                      </a:lnTo>
                      <a:lnTo>
                        <a:pt x="126" y="163"/>
                      </a:lnTo>
                      <a:lnTo>
                        <a:pt x="126" y="161"/>
                      </a:lnTo>
                      <a:lnTo>
                        <a:pt x="124" y="161"/>
                      </a:lnTo>
                      <a:lnTo>
                        <a:pt x="128" y="163"/>
                      </a:lnTo>
                      <a:lnTo>
                        <a:pt x="129" y="164"/>
                      </a:lnTo>
                      <a:lnTo>
                        <a:pt x="130" y="164"/>
                      </a:lnTo>
                      <a:lnTo>
                        <a:pt x="130" y="166"/>
                      </a:lnTo>
                      <a:lnTo>
                        <a:pt x="129" y="170"/>
                      </a:lnTo>
                      <a:lnTo>
                        <a:pt x="129" y="172"/>
                      </a:lnTo>
                      <a:lnTo>
                        <a:pt x="128" y="174"/>
                      </a:lnTo>
                      <a:lnTo>
                        <a:pt x="129" y="179"/>
                      </a:lnTo>
                      <a:lnTo>
                        <a:pt x="128" y="182"/>
                      </a:lnTo>
                      <a:lnTo>
                        <a:pt x="128" y="185"/>
                      </a:lnTo>
                      <a:lnTo>
                        <a:pt x="129" y="186"/>
                      </a:lnTo>
                      <a:lnTo>
                        <a:pt x="131" y="188"/>
                      </a:lnTo>
                      <a:lnTo>
                        <a:pt x="131" y="189"/>
                      </a:lnTo>
                      <a:lnTo>
                        <a:pt x="131" y="192"/>
                      </a:lnTo>
                      <a:lnTo>
                        <a:pt x="131" y="193"/>
                      </a:lnTo>
                      <a:lnTo>
                        <a:pt x="130" y="193"/>
                      </a:lnTo>
                      <a:lnTo>
                        <a:pt x="130" y="194"/>
                      </a:lnTo>
                      <a:lnTo>
                        <a:pt x="128" y="195"/>
                      </a:lnTo>
                      <a:lnTo>
                        <a:pt x="120" y="199"/>
                      </a:lnTo>
                      <a:lnTo>
                        <a:pt x="109" y="203"/>
                      </a:lnTo>
                      <a:lnTo>
                        <a:pt x="109" y="205"/>
                      </a:lnTo>
                      <a:lnTo>
                        <a:pt x="108" y="208"/>
                      </a:lnTo>
                      <a:lnTo>
                        <a:pt x="107" y="209"/>
                      </a:lnTo>
                      <a:lnTo>
                        <a:pt x="106" y="209"/>
                      </a:lnTo>
                      <a:lnTo>
                        <a:pt x="105" y="210"/>
                      </a:lnTo>
                      <a:lnTo>
                        <a:pt x="103" y="210"/>
                      </a:lnTo>
                      <a:lnTo>
                        <a:pt x="102" y="210"/>
                      </a:lnTo>
                      <a:lnTo>
                        <a:pt x="101" y="210"/>
                      </a:lnTo>
                      <a:lnTo>
                        <a:pt x="101" y="214"/>
                      </a:lnTo>
                      <a:lnTo>
                        <a:pt x="100" y="215"/>
                      </a:lnTo>
                      <a:lnTo>
                        <a:pt x="99" y="216"/>
                      </a:lnTo>
                      <a:lnTo>
                        <a:pt x="99" y="217"/>
                      </a:lnTo>
                      <a:lnTo>
                        <a:pt x="98" y="219"/>
                      </a:lnTo>
                      <a:lnTo>
                        <a:pt x="98" y="220"/>
                      </a:lnTo>
                      <a:lnTo>
                        <a:pt x="95" y="220"/>
                      </a:lnTo>
                      <a:lnTo>
                        <a:pt x="92" y="220"/>
                      </a:lnTo>
                      <a:lnTo>
                        <a:pt x="91" y="221"/>
                      </a:lnTo>
                      <a:lnTo>
                        <a:pt x="88" y="226"/>
                      </a:lnTo>
                      <a:lnTo>
                        <a:pt x="86" y="228"/>
                      </a:lnTo>
                      <a:lnTo>
                        <a:pt x="85" y="231"/>
                      </a:lnTo>
                      <a:lnTo>
                        <a:pt x="87" y="238"/>
                      </a:lnTo>
                      <a:lnTo>
                        <a:pt x="88" y="242"/>
                      </a:lnTo>
                      <a:lnTo>
                        <a:pt x="90" y="244"/>
                      </a:lnTo>
                      <a:lnTo>
                        <a:pt x="90" y="247"/>
                      </a:lnTo>
                      <a:lnTo>
                        <a:pt x="90" y="248"/>
                      </a:lnTo>
                      <a:lnTo>
                        <a:pt x="91" y="250"/>
                      </a:lnTo>
                      <a:lnTo>
                        <a:pt x="91" y="251"/>
                      </a:lnTo>
                      <a:lnTo>
                        <a:pt x="91" y="252"/>
                      </a:lnTo>
                      <a:lnTo>
                        <a:pt x="88" y="257"/>
                      </a:lnTo>
                      <a:lnTo>
                        <a:pt x="85" y="261"/>
                      </a:lnTo>
                      <a:lnTo>
                        <a:pt x="81" y="265"/>
                      </a:lnTo>
                      <a:lnTo>
                        <a:pt x="78" y="271"/>
                      </a:lnTo>
                      <a:lnTo>
                        <a:pt x="77" y="271"/>
                      </a:lnTo>
                      <a:lnTo>
                        <a:pt x="74" y="272"/>
                      </a:lnTo>
                      <a:lnTo>
                        <a:pt x="66" y="276"/>
                      </a:lnTo>
                      <a:lnTo>
                        <a:pt x="66" y="272"/>
                      </a:lnTo>
                      <a:lnTo>
                        <a:pt x="65" y="268"/>
                      </a:lnTo>
                      <a:lnTo>
                        <a:pt x="64" y="264"/>
                      </a:lnTo>
                      <a:lnTo>
                        <a:pt x="63" y="259"/>
                      </a:lnTo>
                      <a:lnTo>
                        <a:pt x="62" y="256"/>
                      </a:lnTo>
                      <a:lnTo>
                        <a:pt x="62" y="251"/>
                      </a:lnTo>
                      <a:lnTo>
                        <a:pt x="60" y="247"/>
                      </a:lnTo>
                      <a:lnTo>
                        <a:pt x="59" y="243"/>
                      </a:lnTo>
                      <a:lnTo>
                        <a:pt x="58" y="238"/>
                      </a:lnTo>
                      <a:lnTo>
                        <a:pt x="57" y="235"/>
                      </a:lnTo>
                      <a:lnTo>
                        <a:pt x="56" y="230"/>
                      </a:lnTo>
                      <a:lnTo>
                        <a:pt x="56" y="227"/>
                      </a:lnTo>
                      <a:lnTo>
                        <a:pt x="55" y="222"/>
                      </a:lnTo>
                      <a:lnTo>
                        <a:pt x="53" y="219"/>
                      </a:lnTo>
                      <a:lnTo>
                        <a:pt x="52" y="214"/>
                      </a:lnTo>
                      <a:lnTo>
                        <a:pt x="51" y="210"/>
                      </a:lnTo>
                      <a:lnTo>
                        <a:pt x="51" y="209"/>
                      </a:lnTo>
                      <a:lnTo>
                        <a:pt x="51" y="207"/>
                      </a:lnTo>
                      <a:lnTo>
                        <a:pt x="51" y="206"/>
                      </a:lnTo>
                      <a:lnTo>
                        <a:pt x="50" y="206"/>
                      </a:lnTo>
                      <a:lnTo>
                        <a:pt x="44" y="202"/>
                      </a:lnTo>
                      <a:lnTo>
                        <a:pt x="38" y="196"/>
                      </a:lnTo>
                      <a:lnTo>
                        <a:pt x="32" y="193"/>
                      </a:lnTo>
                      <a:lnTo>
                        <a:pt x="29" y="191"/>
                      </a:lnTo>
                      <a:lnTo>
                        <a:pt x="28" y="189"/>
                      </a:lnTo>
                      <a:lnTo>
                        <a:pt x="28" y="188"/>
                      </a:lnTo>
                      <a:lnTo>
                        <a:pt x="27" y="185"/>
                      </a:lnTo>
                      <a:lnTo>
                        <a:pt x="27" y="179"/>
                      </a:lnTo>
                      <a:lnTo>
                        <a:pt x="27" y="178"/>
                      </a:lnTo>
                      <a:lnTo>
                        <a:pt x="23" y="173"/>
                      </a:lnTo>
                      <a:lnTo>
                        <a:pt x="20" y="168"/>
                      </a:lnTo>
                      <a:lnTo>
                        <a:pt x="19" y="167"/>
                      </a:lnTo>
                      <a:lnTo>
                        <a:pt x="19" y="168"/>
                      </a:lnTo>
                      <a:lnTo>
                        <a:pt x="17" y="167"/>
                      </a:lnTo>
                      <a:lnTo>
                        <a:pt x="16" y="167"/>
                      </a:lnTo>
                      <a:lnTo>
                        <a:pt x="13" y="165"/>
                      </a:lnTo>
                      <a:lnTo>
                        <a:pt x="12" y="165"/>
                      </a:lnTo>
                      <a:lnTo>
                        <a:pt x="10" y="164"/>
                      </a:lnTo>
                      <a:lnTo>
                        <a:pt x="9" y="164"/>
                      </a:lnTo>
                      <a:lnTo>
                        <a:pt x="8" y="163"/>
                      </a:lnTo>
                      <a:lnTo>
                        <a:pt x="8" y="161"/>
                      </a:lnTo>
                      <a:lnTo>
                        <a:pt x="8" y="156"/>
                      </a:lnTo>
                      <a:lnTo>
                        <a:pt x="7" y="154"/>
                      </a:lnTo>
                      <a:lnTo>
                        <a:pt x="5" y="150"/>
                      </a:lnTo>
                      <a:lnTo>
                        <a:pt x="2" y="146"/>
                      </a:lnTo>
                      <a:lnTo>
                        <a:pt x="2" y="145"/>
                      </a:lnTo>
                      <a:lnTo>
                        <a:pt x="2" y="144"/>
                      </a:lnTo>
                      <a:lnTo>
                        <a:pt x="1" y="142"/>
                      </a:lnTo>
                      <a:lnTo>
                        <a:pt x="0" y="139"/>
                      </a:lnTo>
                      <a:lnTo>
                        <a:pt x="0" y="137"/>
                      </a:lnTo>
                      <a:lnTo>
                        <a:pt x="1" y="133"/>
                      </a:lnTo>
                      <a:lnTo>
                        <a:pt x="1" y="131"/>
                      </a:lnTo>
                      <a:lnTo>
                        <a:pt x="1" y="130"/>
                      </a:lnTo>
                      <a:lnTo>
                        <a:pt x="2" y="129"/>
                      </a:lnTo>
                      <a:lnTo>
                        <a:pt x="3" y="128"/>
                      </a:lnTo>
                      <a:lnTo>
                        <a:pt x="3" y="126"/>
                      </a:lnTo>
                      <a:lnTo>
                        <a:pt x="5" y="125"/>
                      </a:lnTo>
                      <a:lnTo>
                        <a:pt x="6" y="125"/>
                      </a:lnTo>
                      <a:lnTo>
                        <a:pt x="8" y="124"/>
                      </a:lnTo>
                      <a:lnTo>
                        <a:pt x="9" y="124"/>
                      </a:lnTo>
                      <a:lnTo>
                        <a:pt x="9" y="123"/>
                      </a:lnTo>
                      <a:lnTo>
                        <a:pt x="10" y="118"/>
                      </a:lnTo>
                      <a:lnTo>
                        <a:pt x="12" y="117"/>
                      </a:lnTo>
                      <a:lnTo>
                        <a:pt x="13" y="116"/>
                      </a:lnTo>
                      <a:lnTo>
                        <a:pt x="15" y="115"/>
                      </a:lnTo>
                      <a:lnTo>
                        <a:pt x="16" y="114"/>
                      </a:lnTo>
                      <a:lnTo>
                        <a:pt x="20" y="112"/>
                      </a:lnTo>
                      <a:lnTo>
                        <a:pt x="21" y="111"/>
                      </a:lnTo>
                      <a:lnTo>
                        <a:pt x="22" y="111"/>
                      </a:lnTo>
                      <a:lnTo>
                        <a:pt x="22" y="110"/>
                      </a:lnTo>
                      <a:lnTo>
                        <a:pt x="22" y="109"/>
                      </a:lnTo>
                      <a:lnTo>
                        <a:pt x="23" y="109"/>
                      </a:lnTo>
                      <a:lnTo>
                        <a:pt x="24" y="109"/>
                      </a:lnTo>
                      <a:lnTo>
                        <a:pt x="24" y="108"/>
                      </a:lnTo>
                      <a:lnTo>
                        <a:pt x="23" y="107"/>
                      </a:lnTo>
                      <a:lnTo>
                        <a:pt x="23" y="105"/>
                      </a:lnTo>
                      <a:lnTo>
                        <a:pt x="24" y="104"/>
                      </a:lnTo>
                      <a:lnTo>
                        <a:pt x="26" y="104"/>
                      </a:lnTo>
                      <a:lnTo>
                        <a:pt x="26" y="103"/>
                      </a:lnTo>
                      <a:lnTo>
                        <a:pt x="24" y="100"/>
                      </a:lnTo>
                      <a:lnTo>
                        <a:pt x="24" y="98"/>
                      </a:lnTo>
                      <a:lnTo>
                        <a:pt x="24" y="96"/>
                      </a:lnTo>
                      <a:lnTo>
                        <a:pt x="26" y="95"/>
                      </a:lnTo>
                      <a:lnTo>
                        <a:pt x="26" y="91"/>
                      </a:lnTo>
                      <a:lnTo>
                        <a:pt x="27" y="90"/>
                      </a:lnTo>
                      <a:lnTo>
                        <a:pt x="28" y="88"/>
                      </a:lnTo>
                      <a:lnTo>
                        <a:pt x="30" y="86"/>
                      </a:lnTo>
                      <a:lnTo>
                        <a:pt x="30" y="84"/>
                      </a:lnTo>
                      <a:lnTo>
                        <a:pt x="29" y="83"/>
                      </a:lnTo>
                      <a:lnTo>
                        <a:pt x="28" y="83"/>
                      </a:lnTo>
                      <a:lnTo>
                        <a:pt x="27" y="83"/>
                      </a:lnTo>
                      <a:lnTo>
                        <a:pt x="26" y="81"/>
                      </a:lnTo>
                      <a:lnTo>
                        <a:pt x="26" y="80"/>
                      </a:lnTo>
                      <a:lnTo>
                        <a:pt x="26" y="79"/>
                      </a:lnTo>
                      <a:lnTo>
                        <a:pt x="26" y="77"/>
                      </a:lnTo>
                      <a:lnTo>
                        <a:pt x="27" y="74"/>
                      </a:lnTo>
                      <a:lnTo>
                        <a:pt x="27" y="73"/>
                      </a:lnTo>
                      <a:lnTo>
                        <a:pt x="27" y="69"/>
                      </a:lnTo>
                      <a:lnTo>
                        <a:pt x="27" y="68"/>
                      </a:lnTo>
                      <a:lnTo>
                        <a:pt x="26" y="67"/>
                      </a:lnTo>
                      <a:lnTo>
                        <a:pt x="24" y="65"/>
                      </a:lnTo>
                      <a:lnTo>
                        <a:pt x="24" y="63"/>
                      </a:lnTo>
                      <a:lnTo>
                        <a:pt x="24" y="61"/>
                      </a:lnTo>
                      <a:lnTo>
                        <a:pt x="24" y="59"/>
                      </a:lnTo>
                      <a:lnTo>
                        <a:pt x="24" y="56"/>
                      </a:lnTo>
                      <a:lnTo>
                        <a:pt x="24" y="55"/>
                      </a:lnTo>
                      <a:lnTo>
                        <a:pt x="26" y="53"/>
                      </a:lnTo>
                      <a:lnTo>
                        <a:pt x="26" y="51"/>
                      </a:lnTo>
                      <a:lnTo>
                        <a:pt x="26" y="49"/>
                      </a:lnTo>
                      <a:lnTo>
                        <a:pt x="27" y="49"/>
                      </a:lnTo>
                      <a:lnTo>
                        <a:pt x="27" y="48"/>
                      </a:lnTo>
                      <a:lnTo>
                        <a:pt x="26" y="47"/>
                      </a:lnTo>
                      <a:lnTo>
                        <a:pt x="26" y="45"/>
                      </a:lnTo>
                      <a:lnTo>
                        <a:pt x="28" y="40"/>
                      </a:lnTo>
                      <a:lnTo>
                        <a:pt x="28" y="38"/>
                      </a:lnTo>
                      <a:lnTo>
                        <a:pt x="27" y="37"/>
                      </a:lnTo>
                      <a:lnTo>
                        <a:pt x="26" y="35"/>
                      </a:lnTo>
                      <a:lnTo>
                        <a:pt x="23" y="35"/>
                      </a:lnTo>
                      <a:lnTo>
                        <a:pt x="21" y="35"/>
                      </a:lnTo>
                      <a:lnTo>
                        <a:pt x="21" y="34"/>
                      </a:lnTo>
                      <a:lnTo>
                        <a:pt x="22" y="33"/>
                      </a:lnTo>
                      <a:lnTo>
                        <a:pt x="23" y="32"/>
                      </a:lnTo>
                      <a:lnTo>
                        <a:pt x="26" y="32"/>
                      </a:lnTo>
                      <a:lnTo>
                        <a:pt x="29" y="28"/>
                      </a:lnTo>
                      <a:lnTo>
                        <a:pt x="30" y="28"/>
                      </a:lnTo>
                      <a:lnTo>
                        <a:pt x="30" y="27"/>
                      </a:lnTo>
                      <a:lnTo>
                        <a:pt x="31" y="25"/>
                      </a:lnTo>
                      <a:lnTo>
                        <a:pt x="30" y="25"/>
                      </a:lnTo>
                      <a:lnTo>
                        <a:pt x="29" y="24"/>
                      </a:lnTo>
                      <a:lnTo>
                        <a:pt x="30" y="23"/>
                      </a:lnTo>
                      <a:lnTo>
                        <a:pt x="31" y="23"/>
                      </a:lnTo>
                      <a:lnTo>
                        <a:pt x="32" y="23"/>
                      </a:lnTo>
                      <a:lnTo>
                        <a:pt x="34" y="23"/>
                      </a:lnTo>
                      <a:lnTo>
                        <a:pt x="36" y="21"/>
                      </a:lnTo>
                      <a:lnTo>
                        <a:pt x="36" y="20"/>
                      </a:lnTo>
                      <a:lnTo>
                        <a:pt x="36" y="19"/>
                      </a:lnTo>
                      <a:lnTo>
                        <a:pt x="35" y="19"/>
                      </a:lnTo>
                      <a:lnTo>
                        <a:pt x="35" y="18"/>
                      </a:lnTo>
                      <a:lnTo>
                        <a:pt x="35" y="17"/>
                      </a:lnTo>
                      <a:lnTo>
                        <a:pt x="36" y="17"/>
                      </a:lnTo>
                      <a:lnTo>
                        <a:pt x="38" y="16"/>
                      </a:lnTo>
                      <a:lnTo>
                        <a:pt x="39" y="16"/>
                      </a:lnTo>
                      <a:lnTo>
                        <a:pt x="42" y="16"/>
                      </a:lnTo>
                      <a:lnTo>
                        <a:pt x="44" y="14"/>
                      </a:lnTo>
                      <a:lnTo>
                        <a:pt x="44" y="13"/>
                      </a:lnTo>
                      <a:lnTo>
                        <a:pt x="45" y="13"/>
                      </a:lnTo>
                      <a:lnTo>
                        <a:pt x="46" y="12"/>
                      </a:lnTo>
                      <a:lnTo>
                        <a:pt x="48" y="10"/>
                      </a:lnTo>
                      <a:lnTo>
                        <a:pt x="49" y="10"/>
                      </a:lnTo>
                      <a:lnTo>
                        <a:pt x="49" y="9"/>
                      </a:lnTo>
                      <a:lnTo>
                        <a:pt x="50" y="9"/>
                      </a:lnTo>
                      <a:lnTo>
                        <a:pt x="51" y="7"/>
                      </a:lnTo>
                      <a:lnTo>
                        <a:pt x="53" y="6"/>
                      </a:lnTo>
                      <a:lnTo>
                        <a:pt x="55" y="5"/>
                      </a:lnTo>
                      <a:lnTo>
                        <a:pt x="59" y="5"/>
                      </a:lnTo>
                      <a:lnTo>
                        <a:pt x="60" y="4"/>
                      </a:lnTo>
                      <a:lnTo>
                        <a:pt x="62" y="4"/>
                      </a:lnTo>
                      <a:lnTo>
                        <a:pt x="62" y="3"/>
                      </a:lnTo>
                      <a:lnTo>
                        <a:pt x="62" y="4"/>
                      </a:lnTo>
                      <a:lnTo>
                        <a:pt x="63" y="4"/>
                      </a:lnTo>
                      <a:lnTo>
                        <a:pt x="63" y="3"/>
                      </a:lnTo>
                      <a:lnTo>
                        <a:pt x="64" y="3"/>
                      </a:lnTo>
                      <a:lnTo>
                        <a:pt x="65" y="3"/>
                      </a:lnTo>
                      <a:lnTo>
                        <a:pt x="66" y="2"/>
                      </a:lnTo>
                      <a:lnTo>
                        <a:pt x="66" y="3"/>
                      </a:lnTo>
                      <a:lnTo>
                        <a:pt x="67" y="2"/>
                      </a:lnTo>
                      <a:lnTo>
                        <a:pt x="69" y="2"/>
                      </a:lnTo>
                      <a:lnTo>
                        <a:pt x="69" y="0"/>
                      </a:lnTo>
                      <a:lnTo>
                        <a:pt x="70" y="0"/>
                      </a:lnTo>
                      <a:lnTo>
                        <a:pt x="71" y="0"/>
                      </a:lnTo>
                      <a:lnTo>
                        <a:pt x="72" y="0"/>
                      </a:lnTo>
                      <a:lnTo>
                        <a:pt x="73" y="0"/>
                      </a:lnTo>
                      <a:lnTo>
                        <a:pt x="76" y="0"/>
                      </a:lnTo>
                      <a:lnTo>
                        <a:pt x="76" y="2"/>
                      </a:lnTo>
                      <a:close/>
                    </a:path>
                  </a:pathLst>
                </a:custGeom>
                <a:solidFill>
                  <a:schemeClr val="accent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solidFill>
                      <a:srgbClr val="575757"/>
                    </a:solidFill>
                    <a:latin typeface="+mj-lt"/>
                  </a:endParaRPr>
                </a:p>
              </p:txBody>
            </p:sp>
          </p:grpSp>
        </p:grpSp>
        <p:sp>
          <p:nvSpPr>
            <p:cNvPr id="87" name="Rectangle 86">
              <a:extLst>
                <a:ext uri="{FF2B5EF4-FFF2-40B4-BE49-F238E27FC236}">
                  <a16:creationId xmlns:a16="http://schemas.microsoft.com/office/drawing/2014/main" id="{95411093-07E9-F8DC-5280-1B86275C3DAB}"/>
                </a:ext>
              </a:extLst>
            </p:cNvPr>
            <p:cNvSpPr/>
            <p:nvPr/>
          </p:nvSpPr>
          <p:spPr>
            <a:xfrm>
              <a:off x="5990736" y="4931632"/>
              <a:ext cx="1111703" cy="46030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err="1">
                  <a:ln>
                    <a:noFill/>
                  </a:ln>
                  <a:solidFill>
                    <a:schemeClr val="tx1"/>
                  </a:solidFill>
                  <a:effectLst/>
                  <a:uLnTx/>
                  <a:uFillTx/>
                  <a:latin typeface="Raleway" pitchFamily="2" charset="0"/>
                </a:rPr>
                <a:t>Biovac</a:t>
              </a:r>
              <a:endParaRPr kumimoji="0" lang="en-US" sz="1100" b="1" u="none" strike="noStrike" kern="1200" cap="none" spc="0" normalizeH="0" baseline="0" noProof="0">
                <a:ln>
                  <a:noFill/>
                </a:ln>
                <a:solidFill>
                  <a:schemeClr val="tx1"/>
                </a:solidFill>
                <a:effectLst/>
                <a:uLnTx/>
                <a:uFillTx/>
                <a:latin typeface="Raleway"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chemeClr val="accent2"/>
                  </a:solidFill>
                  <a:effectLst/>
                  <a:uLnTx/>
                  <a:uFillTx/>
                  <a:latin typeface="Raleway" pitchFamily="2" charset="0"/>
                </a:rPr>
                <a:t>South African Hu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chemeClr val="accent2"/>
                  </a:solidFill>
                  <a:effectLst/>
                  <a:uLnTx/>
                  <a:uFillTx/>
                  <a:latin typeface="Raleway" pitchFamily="2" charset="0"/>
                </a:rPr>
                <a:t>(Afrigen, </a:t>
              </a:r>
              <a:r>
                <a:rPr kumimoji="0" lang="en-US" sz="1100" b="1" i="1" u="none" strike="noStrike" kern="1200" cap="none" spc="0" normalizeH="0" baseline="0" noProof="0" err="1">
                  <a:ln>
                    <a:noFill/>
                  </a:ln>
                  <a:solidFill>
                    <a:schemeClr val="accent2"/>
                  </a:solidFill>
                  <a:effectLst/>
                  <a:uLnTx/>
                  <a:uFillTx/>
                  <a:latin typeface="Raleway" pitchFamily="2" charset="0"/>
                </a:rPr>
                <a:t>Biovac</a:t>
              </a:r>
              <a:r>
                <a:rPr kumimoji="0" lang="en-US" sz="1100" b="1" i="1" u="none" strike="noStrike" kern="1200" cap="none" spc="0" normalizeH="0" baseline="0" noProof="0">
                  <a:ln>
                    <a:noFill/>
                  </a:ln>
                  <a:solidFill>
                    <a:schemeClr val="accent2"/>
                  </a:solidFill>
                  <a:effectLst/>
                  <a:uLnTx/>
                  <a:uFillTx/>
                  <a:latin typeface="Raleway" pitchFamily="2" charset="0"/>
                </a:rPr>
                <a:t> and SAMRC)</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Raleway" pitchFamily="2" charset="0"/>
                </a:rPr>
                <a:t>South Africa</a:t>
              </a:r>
              <a:endParaRPr kumimoji="0" lang="en-US" sz="1050" b="1" u="none" strike="noStrike" kern="1200" cap="none" spc="0" normalizeH="0" baseline="0" noProof="0">
                <a:ln>
                  <a:noFill/>
                </a:ln>
                <a:solidFill>
                  <a:schemeClr val="tx1"/>
                </a:solidFill>
                <a:effectLst/>
                <a:uLnTx/>
                <a:uFillTx/>
                <a:latin typeface="Raleway" pitchFamily="2" charset="0"/>
              </a:endParaRPr>
            </a:p>
          </p:txBody>
        </p:sp>
      </p:grpSp>
      <p:sp>
        <p:nvSpPr>
          <p:cNvPr id="70" name="Rectangle 69">
            <a:extLst>
              <a:ext uri="{FF2B5EF4-FFF2-40B4-BE49-F238E27FC236}">
                <a16:creationId xmlns:a16="http://schemas.microsoft.com/office/drawing/2014/main" id="{71A4DD97-4541-4F63-BCAF-7F1588941B14}"/>
              </a:ext>
            </a:extLst>
          </p:cNvPr>
          <p:cNvSpPr/>
          <p:nvPr/>
        </p:nvSpPr>
        <p:spPr>
          <a:xfrm>
            <a:off x="927099" y="1046991"/>
            <a:ext cx="1846085" cy="43088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i="1">
                <a:solidFill>
                  <a:schemeClr val="accent2"/>
                </a:solidFill>
                <a:latin typeface="Raleway" pitchFamily="2" charset="0"/>
              </a:rPr>
              <a:t>Institute Pasteur Tunis </a:t>
            </a:r>
            <a:r>
              <a:rPr lang="en-US" sz="1100" b="1">
                <a:solidFill>
                  <a:schemeClr val="tx1"/>
                </a:solidFill>
                <a:latin typeface="Raleway" pitchFamily="2" charset="0"/>
              </a:rPr>
              <a:t>Tunisia</a:t>
            </a:r>
            <a:endParaRPr kumimoji="0" lang="en-US" sz="1100" b="1" u="none" strike="noStrike" kern="1200" cap="none" spc="0" normalizeH="0" baseline="0" noProof="0">
              <a:ln>
                <a:noFill/>
              </a:ln>
              <a:solidFill>
                <a:schemeClr val="tx1"/>
              </a:solidFill>
              <a:effectLst/>
              <a:uLnTx/>
              <a:uFillTx/>
              <a:latin typeface="Raleway" pitchFamily="2" charset="0"/>
            </a:endParaRPr>
          </a:p>
        </p:txBody>
      </p:sp>
      <p:sp>
        <p:nvSpPr>
          <p:cNvPr id="75" name="Rectangle 74">
            <a:extLst>
              <a:ext uri="{FF2B5EF4-FFF2-40B4-BE49-F238E27FC236}">
                <a16:creationId xmlns:a16="http://schemas.microsoft.com/office/drawing/2014/main" id="{81DD4AC1-BEEC-4933-B3BB-30D6F1A3C4D8}"/>
              </a:ext>
            </a:extLst>
          </p:cNvPr>
          <p:cNvSpPr/>
          <p:nvPr/>
        </p:nvSpPr>
        <p:spPr>
          <a:xfrm>
            <a:off x="2510623" y="1424427"/>
            <a:ext cx="1928382" cy="430887"/>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err="1">
                <a:ln>
                  <a:noFill/>
                </a:ln>
                <a:solidFill>
                  <a:schemeClr val="accent2"/>
                </a:solidFill>
                <a:effectLst/>
                <a:uLnTx/>
                <a:uFillTx/>
                <a:latin typeface="Raleway" pitchFamily="2" charset="0"/>
              </a:rPr>
              <a:t>BioGeneric</a:t>
            </a:r>
            <a:r>
              <a:rPr kumimoji="0" lang="en-US" sz="1100" b="1" i="1" u="none" strike="noStrike" kern="1200" cap="none" spc="0" normalizeH="0" baseline="0" noProof="0">
                <a:ln>
                  <a:noFill/>
                </a:ln>
                <a:solidFill>
                  <a:schemeClr val="accent2"/>
                </a:solidFill>
                <a:effectLst/>
                <a:uLnTx/>
                <a:uFillTx/>
                <a:latin typeface="Raleway" pitchFamily="2" charset="0"/>
              </a:rPr>
              <a:t> Pharm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chemeClr val="accent2"/>
                </a:solidFill>
                <a:effectLst/>
                <a:uLnTx/>
                <a:uFillTx/>
                <a:latin typeface="Raleway" pitchFamily="2" charset="0"/>
              </a:rPr>
              <a:t> </a:t>
            </a:r>
            <a:r>
              <a:rPr kumimoji="0" lang="en-US" sz="1100" b="1" u="none" strike="noStrike" kern="1200" cap="none" spc="0" normalizeH="0" baseline="0" noProof="0">
                <a:ln>
                  <a:noFill/>
                </a:ln>
                <a:solidFill>
                  <a:schemeClr val="tx1"/>
                </a:solidFill>
                <a:effectLst/>
                <a:uLnTx/>
                <a:uFillTx/>
                <a:latin typeface="Raleway" pitchFamily="2" charset="0"/>
              </a:rPr>
              <a:t>Egypt</a:t>
            </a:r>
          </a:p>
        </p:txBody>
      </p:sp>
      <p:sp>
        <p:nvSpPr>
          <p:cNvPr id="78" name="Rectangle 77">
            <a:extLst>
              <a:ext uri="{FF2B5EF4-FFF2-40B4-BE49-F238E27FC236}">
                <a16:creationId xmlns:a16="http://schemas.microsoft.com/office/drawing/2014/main" id="{55BEA601-F601-4B11-9B6F-1E736C6D82D6}"/>
              </a:ext>
            </a:extLst>
          </p:cNvPr>
          <p:cNvSpPr/>
          <p:nvPr/>
        </p:nvSpPr>
        <p:spPr>
          <a:xfrm>
            <a:off x="3793183" y="3691542"/>
            <a:ext cx="735546" cy="60016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i="0">
                <a:solidFill>
                  <a:schemeClr val="tx1"/>
                </a:solidFill>
                <a:effectLst/>
                <a:latin typeface="Raleway" pitchFamily="2" charset="0"/>
              </a:rPr>
              <a:t>TB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i="1" err="1">
                <a:solidFill>
                  <a:schemeClr val="accent2"/>
                </a:solidFill>
                <a:effectLst/>
                <a:latin typeface="Raleway" pitchFamily="2" charset="0"/>
              </a:rPr>
              <a:t>Biovax</a:t>
            </a:r>
            <a:endParaRPr lang="en-US" sz="1100" b="1" i="1">
              <a:solidFill>
                <a:schemeClr val="accent2"/>
              </a:solidFill>
              <a:effectLst/>
              <a:latin typeface="Raleway"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Raleway" pitchFamily="2" charset="0"/>
              </a:rPr>
              <a:t>K</a:t>
            </a:r>
            <a:r>
              <a:rPr lang="en-US" sz="1100" b="1" i="0">
                <a:solidFill>
                  <a:schemeClr val="tx1"/>
                </a:solidFill>
                <a:effectLst/>
                <a:latin typeface="Raleway" pitchFamily="2" charset="0"/>
              </a:rPr>
              <a:t>enya</a:t>
            </a:r>
            <a:endParaRPr lang="en-US" sz="1100" b="1" i="1">
              <a:solidFill>
                <a:schemeClr val="tx1"/>
              </a:solidFill>
              <a:latin typeface="Raleway" pitchFamily="2" charset="0"/>
            </a:endParaRPr>
          </a:p>
        </p:txBody>
      </p:sp>
      <p:sp>
        <p:nvSpPr>
          <p:cNvPr id="148" name="Rectangle 147">
            <a:extLst>
              <a:ext uri="{FF2B5EF4-FFF2-40B4-BE49-F238E27FC236}">
                <a16:creationId xmlns:a16="http://schemas.microsoft.com/office/drawing/2014/main" id="{AB98686B-A169-4CA0-889B-B058C6AE97E9}"/>
              </a:ext>
            </a:extLst>
          </p:cNvPr>
          <p:cNvSpPr/>
          <p:nvPr/>
        </p:nvSpPr>
        <p:spPr>
          <a:xfrm>
            <a:off x="195194" y="1623446"/>
            <a:ext cx="1399269" cy="93871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chemeClr val="tx1"/>
                </a:solidFill>
                <a:uLnTx/>
                <a:uFillTx/>
                <a:latin typeface="Raleway" pitchFamily="2" charset="0"/>
              </a:rPr>
              <a:t>Institute Pasteur Dakar (BioNTe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a:ln>
                  <a:noFill/>
                </a:ln>
                <a:solidFill>
                  <a:schemeClr val="accent2"/>
                </a:solidFill>
                <a:uLnTx/>
                <a:uFillTx/>
                <a:latin typeface="Raleway" pitchFamily="2" charset="0"/>
              </a:rPr>
              <a:t>Institute Pasteur Daka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chemeClr val="tx1"/>
                </a:solidFill>
                <a:uLnTx/>
                <a:uFillTx/>
                <a:latin typeface="Raleway" pitchFamily="2" charset="0"/>
              </a:rPr>
              <a:t>Senegal</a:t>
            </a:r>
            <a:endParaRPr kumimoji="0" lang="en-US" sz="1100" b="1" i="1" u="none" strike="noStrike" kern="1200" cap="none" spc="0" normalizeH="0" baseline="0" noProof="0">
              <a:ln>
                <a:noFill/>
              </a:ln>
              <a:solidFill>
                <a:schemeClr val="tx1"/>
              </a:solidFill>
              <a:effectLst/>
              <a:uLnTx/>
              <a:uFillTx/>
              <a:latin typeface="Raleway" pitchFamily="2" charset="0"/>
            </a:endParaRPr>
          </a:p>
        </p:txBody>
      </p:sp>
      <p:sp>
        <p:nvSpPr>
          <p:cNvPr id="152" name="Rectangle 151">
            <a:extLst>
              <a:ext uri="{FF2B5EF4-FFF2-40B4-BE49-F238E27FC236}">
                <a16:creationId xmlns:a16="http://schemas.microsoft.com/office/drawing/2014/main" id="{DC9BA1A5-B691-41EE-B0F7-A117EFD3DF11}"/>
              </a:ext>
            </a:extLst>
          </p:cNvPr>
          <p:cNvSpPr/>
          <p:nvPr/>
        </p:nvSpPr>
        <p:spPr>
          <a:xfrm>
            <a:off x="1097943" y="3486428"/>
            <a:ext cx="1067110" cy="60016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i="1" err="1">
                <a:solidFill>
                  <a:schemeClr val="accent2"/>
                </a:solidFill>
                <a:effectLst/>
                <a:latin typeface="Raleway" pitchFamily="2" charset="0"/>
              </a:rPr>
              <a:t>Biovaccines</a:t>
            </a:r>
            <a:r>
              <a:rPr lang="en-US" sz="1100" b="1" err="1">
                <a:solidFill>
                  <a:schemeClr val="tx1"/>
                </a:solidFill>
                <a:effectLst/>
                <a:latin typeface="Raleway" pitchFamily="2" charset="0"/>
              </a:rPr>
              <a:t>Nigeria</a:t>
            </a:r>
            <a:endParaRPr lang="en-US" sz="1100" b="1">
              <a:solidFill>
                <a:schemeClr val="tx1"/>
              </a:solidFill>
              <a:latin typeface="Raleway"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1" u="none" strike="noStrike" kern="1200" cap="none" spc="0" normalizeH="0" baseline="0" noProof="0">
              <a:ln>
                <a:noFill/>
              </a:ln>
              <a:solidFill>
                <a:schemeClr val="tx1"/>
              </a:solidFill>
              <a:effectLst/>
              <a:uLnTx/>
              <a:uFillTx/>
              <a:latin typeface="Raleway" pitchFamily="2" charset="0"/>
            </a:endParaRPr>
          </a:p>
        </p:txBody>
      </p:sp>
      <p:sp>
        <p:nvSpPr>
          <p:cNvPr id="162" name="ZoneTexte 161">
            <a:extLst>
              <a:ext uri="{FF2B5EF4-FFF2-40B4-BE49-F238E27FC236}">
                <a16:creationId xmlns:a16="http://schemas.microsoft.com/office/drawing/2014/main" id="{E3522DF1-F809-46D4-A6D7-5E590F2BB744}"/>
              </a:ext>
            </a:extLst>
          </p:cNvPr>
          <p:cNvSpPr txBox="1"/>
          <p:nvPr/>
        </p:nvSpPr>
        <p:spPr>
          <a:xfrm>
            <a:off x="8015766" y="6129159"/>
            <a:ext cx="1373378" cy="18096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End-to-End</a:t>
            </a:r>
          </a:p>
        </p:txBody>
      </p:sp>
      <p:sp>
        <p:nvSpPr>
          <p:cNvPr id="165" name="Triangle isocèle 164">
            <a:extLst>
              <a:ext uri="{FF2B5EF4-FFF2-40B4-BE49-F238E27FC236}">
                <a16:creationId xmlns:a16="http://schemas.microsoft.com/office/drawing/2014/main" id="{72E1E8C8-849A-49AB-93E9-3CF3F9BE1146}"/>
              </a:ext>
            </a:extLst>
          </p:cNvPr>
          <p:cNvSpPr/>
          <p:nvPr/>
        </p:nvSpPr>
        <p:spPr>
          <a:xfrm flipH="1">
            <a:off x="6698346" y="6067678"/>
            <a:ext cx="243448" cy="205479"/>
          </a:xfrm>
          <a:prstGeom prst="triangle">
            <a:avLst/>
          </a:prstGeom>
          <a:solidFill>
            <a:srgbClr val="00B050"/>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
        <p:nvSpPr>
          <p:cNvPr id="194" name="Titre 193">
            <a:extLst>
              <a:ext uri="{FF2B5EF4-FFF2-40B4-BE49-F238E27FC236}">
                <a16:creationId xmlns:a16="http://schemas.microsoft.com/office/drawing/2014/main" id="{A35AE360-4740-42AB-85EA-F72768085219}"/>
              </a:ext>
            </a:extLst>
          </p:cNvPr>
          <p:cNvSpPr>
            <a:spLocks noGrp="1"/>
          </p:cNvSpPr>
          <p:nvPr>
            <p:ph type="title"/>
          </p:nvPr>
        </p:nvSpPr>
        <p:spPr>
          <a:xfrm>
            <a:off x="933469" y="351795"/>
            <a:ext cx="10515600" cy="630298"/>
          </a:xfrm>
        </p:spPr>
        <p:txBody>
          <a:bodyPr vert="horz" lIns="91440" tIns="45720" rIns="91440" bIns="45720" rtlCol="0" anchor="t">
            <a:noAutofit/>
          </a:bodyPr>
          <a:lstStyle/>
          <a:p>
            <a:r>
              <a:rPr lang="en-US" sz="3600">
                <a:solidFill>
                  <a:srgbClr val="0070C0"/>
                </a:solidFill>
              </a:rPr>
              <a:t>Africa</a:t>
            </a:r>
          </a:p>
        </p:txBody>
      </p:sp>
      <p:sp>
        <p:nvSpPr>
          <p:cNvPr id="201" name="ZoneTexte 200">
            <a:extLst>
              <a:ext uri="{FF2B5EF4-FFF2-40B4-BE49-F238E27FC236}">
                <a16:creationId xmlns:a16="http://schemas.microsoft.com/office/drawing/2014/main" id="{C034D6B0-D275-45F8-AB05-E04A5B6EC0DE}"/>
              </a:ext>
            </a:extLst>
          </p:cNvPr>
          <p:cNvSpPr txBox="1"/>
          <p:nvPr/>
        </p:nvSpPr>
        <p:spPr>
          <a:xfrm>
            <a:off x="6978878" y="6153088"/>
            <a:ext cx="860204" cy="15703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Fill &amp; Finish</a:t>
            </a:r>
          </a:p>
        </p:txBody>
      </p:sp>
      <p:sp>
        <p:nvSpPr>
          <p:cNvPr id="204" name="Triangle isocèle 203">
            <a:extLst>
              <a:ext uri="{FF2B5EF4-FFF2-40B4-BE49-F238E27FC236}">
                <a16:creationId xmlns:a16="http://schemas.microsoft.com/office/drawing/2014/main" id="{D8ABEC08-BE9B-468D-8979-121B05D9B10C}"/>
              </a:ext>
            </a:extLst>
          </p:cNvPr>
          <p:cNvSpPr/>
          <p:nvPr/>
        </p:nvSpPr>
        <p:spPr>
          <a:xfrm flipH="1">
            <a:off x="249604" y="2822815"/>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Raleway" pitchFamily="2" charset="0"/>
            </a:endParaRPr>
          </a:p>
        </p:txBody>
      </p:sp>
      <p:sp>
        <p:nvSpPr>
          <p:cNvPr id="2" name="Rectangle 1">
            <a:extLst>
              <a:ext uri="{FF2B5EF4-FFF2-40B4-BE49-F238E27FC236}">
                <a16:creationId xmlns:a16="http://schemas.microsoft.com/office/drawing/2014/main" id="{AAF72A3F-F438-4E2E-ADDB-8AF9CA69E121}"/>
              </a:ext>
            </a:extLst>
          </p:cNvPr>
          <p:cNvSpPr/>
          <p:nvPr/>
        </p:nvSpPr>
        <p:spPr>
          <a:xfrm>
            <a:off x="4565400" y="6143343"/>
            <a:ext cx="299221" cy="131853"/>
          </a:xfrm>
          <a:prstGeom prst="rect">
            <a:avLst/>
          </a:prstGeom>
          <a:solidFill>
            <a:schemeClr val="accent2"/>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err="1">
              <a:solidFill>
                <a:schemeClr val="bg1"/>
              </a:solidFill>
              <a:latin typeface="Raleway" pitchFamily="2" charset="0"/>
            </a:endParaRPr>
          </a:p>
        </p:txBody>
      </p:sp>
      <p:sp>
        <p:nvSpPr>
          <p:cNvPr id="3" name="ZoneTexte 2">
            <a:extLst>
              <a:ext uri="{FF2B5EF4-FFF2-40B4-BE49-F238E27FC236}">
                <a16:creationId xmlns:a16="http://schemas.microsoft.com/office/drawing/2014/main" id="{FBA2E874-0570-4DD5-9392-33EC960D4A1F}"/>
              </a:ext>
            </a:extLst>
          </p:cNvPr>
          <p:cNvSpPr txBox="1"/>
          <p:nvPr/>
        </p:nvSpPr>
        <p:spPr>
          <a:xfrm>
            <a:off x="4948256" y="6129159"/>
            <a:ext cx="2110733" cy="18526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i="1">
                <a:solidFill>
                  <a:srgbClr val="E86A28"/>
                </a:solidFill>
                <a:latin typeface="Raleway" pitchFamily="2" charset="0"/>
              </a:rPr>
              <a:t>mRNA </a:t>
            </a:r>
            <a:r>
              <a:rPr lang="en-US" sz="1050" b="1" i="1" err="1">
                <a:solidFill>
                  <a:srgbClr val="E86A28"/>
                </a:solidFill>
                <a:latin typeface="Raleway" pitchFamily="2" charset="0"/>
              </a:rPr>
              <a:t>programme</a:t>
            </a:r>
            <a:r>
              <a:rPr lang="en-US" sz="1050" b="1" i="1">
                <a:solidFill>
                  <a:srgbClr val="E86A28"/>
                </a:solidFill>
                <a:latin typeface="Raleway" pitchFamily="2" charset="0"/>
              </a:rPr>
              <a:t> partner</a:t>
            </a:r>
          </a:p>
        </p:txBody>
      </p:sp>
      <p:sp>
        <p:nvSpPr>
          <p:cNvPr id="120" name="Rectangle 119">
            <a:extLst>
              <a:ext uri="{FF2B5EF4-FFF2-40B4-BE49-F238E27FC236}">
                <a16:creationId xmlns:a16="http://schemas.microsoft.com/office/drawing/2014/main" id="{286F4C4C-CD4D-4BC8-8F42-BA0BA25CFE37}"/>
              </a:ext>
            </a:extLst>
          </p:cNvPr>
          <p:cNvSpPr/>
          <p:nvPr/>
        </p:nvSpPr>
        <p:spPr>
          <a:xfrm>
            <a:off x="452322" y="3611761"/>
            <a:ext cx="915695" cy="76944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chemeClr val="tx1"/>
                </a:solidFill>
                <a:effectLst/>
                <a:uLnTx/>
                <a:uFillTx/>
                <a:latin typeface="Raleway" pitchFamily="2" charset="0"/>
              </a:rPr>
              <a:t>DEKS Vaccines Ltd</a:t>
            </a:r>
            <a:r>
              <a:rPr kumimoji="0" lang="en-US" sz="1100" b="1" u="none" strike="noStrike" kern="1200" cap="none" spc="0" normalizeH="0" baseline="0" noProof="0">
                <a:ln>
                  <a:noFill/>
                </a:ln>
                <a:solidFill>
                  <a:srgbClr val="E86A28"/>
                </a:solidFill>
                <a:effectLst/>
                <a:uLnTx/>
                <a:uFillTx/>
                <a:latin typeface="Raleway" pitchFamily="2"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solidFill>
                  <a:srgbClr val="082F3B"/>
                </a:solidFill>
                <a:effectLst/>
                <a:uLnTx/>
                <a:uFillTx/>
                <a:latin typeface="Raleway" pitchFamily="2" charset="0"/>
              </a:rPr>
              <a:t>Ghana</a:t>
            </a:r>
          </a:p>
        </p:txBody>
      </p:sp>
      <p:sp>
        <p:nvSpPr>
          <p:cNvPr id="124" name="Rectangle 123">
            <a:extLst>
              <a:ext uri="{FF2B5EF4-FFF2-40B4-BE49-F238E27FC236}">
                <a16:creationId xmlns:a16="http://schemas.microsoft.com/office/drawing/2014/main" id="{20A96C38-1250-42F2-ADA3-4FF20CBC3363}"/>
              </a:ext>
            </a:extLst>
          </p:cNvPr>
          <p:cNvSpPr/>
          <p:nvPr/>
        </p:nvSpPr>
        <p:spPr>
          <a:xfrm>
            <a:off x="2472778" y="3152482"/>
            <a:ext cx="1076001" cy="76944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Raleway" pitchFamily="2" charset="0"/>
              </a:rPr>
              <a:t>Rwanda Biomedical Centr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Raleway" pitchFamily="2" charset="0"/>
              </a:rPr>
              <a:t>Rwanda</a:t>
            </a:r>
            <a:endParaRPr kumimoji="0" lang="en-US" sz="1100" b="1" u="none" strike="noStrike" kern="1200" cap="none" spc="0" normalizeH="0" baseline="0" noProof="0" dirty="0">
              <a:ln>
                <a:noFill/>
              </a:ln>
              <a:solidFill>
                <a:schemeClr val="tx1"/>
              </a:solidFill>
              <a:effectLst/>
              <a:uLnTx/>
              <a:uFillTx/>
              <a:latin typeface="Raleway" pitchFamily="2" charset="0"/>
            </a:endParaRPr>
          </a:p>
        </p:txBody>
      </p:sp>
      <p:sp>
        <p:nvSpPr>
          <p:cNvPr id="93" name="Triangle isocèle 92">
            <a:extLst>
              <a:ext uri="{FF2B5EF4-FFF2-40B4-BE49-F238E27FC236}">
                <a16:creationId xmlns:a16="http://schemas.microsoft.com/office/drawing/2014/main" id="{4869CFBF-DA7D-1C1F-7573-129CB0E8A366}"/>
              </a:ext>
            </a:extLst>
          </p:cNvPr>
          <p:cNvSpPr/>
          <p:nvPr/>
        </p:nvSpPr>
        <p:spPr>
          <a:xfrm flipH="1">
            <a:off x="3729431" y="3694209"/>
            <a:ext cx="108000" cy="144000"/>
          </a:xfrm>
          <a:prstGeom prst="triangle">
            <a:avLst/>
          </a:prstGeom>
          <a:solidFill>
            <a:srgbClr val="00B050"/>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Raleway" pitchFamily="2" charset="0"/>
            </a:endParaRPr>
          </a:p>
        </p:txBody>
      </p:sp>
      <p:sp>
        <p:nvSpPr>
          <p:cNvPr id="125" name="Triangle isocèle 124">
            <a:extLst>
              <a:ext uri="{FF2B5EF4-FFF2-40B4-BE49-F238E27FC236}">
                <a16:creationId xmlns:a16="http://schemas.microsoft.com/office/drawing/2014/main" id="{43B483B2-91F7-3210-FEDA-9D37ACE63D5A}"/>
              </a:ext>
            </a:extLst>
          </p:cNvPr>
          <p:cNvSpPr/>
          <p:nvPr/>
        </p:nvSpPr>
        <p:spPr>
          <a:xfrm flipH="1">
            <a:off x="2534899" y="5620763"/>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Raleway" pitchFamily="2" charset="0"/>
            </a:endParaRPr>
          </a:p>
        </p:txBody>
      </p:sp>
      <p:graphicFrame>
        <p:nvGraphicFramePr>
          <p:cNvPr id="73" name="Tableau 72">
            <a:extLst>
              <a:ext uri="{FF2B5EF4-FFF2-40B4-BE49-F238E27FC236}">
                <a16:creationId xmlns:a16="http://schemas.microsoft.com/office/drawing/2014/main" id="{14D15905-0AAE-856A-B706-31AF1A7C2FDE}"/>
              </a:ext>
            </a:extLst>
          </p:cNvPr>
          <p:cNvGraphicFramePr>
            <a:graphicFrameLocks noGrp="1"/>
          </p:cNvGraphicFramePr>
          <p:nvPr>
            <p:extLst>
              <p:ext uri="{D42A27DB-BD31-4B8C-83A1-F6EECF244321}">
                <p14:modId xmlns:p14="http://schemas.microsoft.com/office/powerpoint/2010/main" val="990099165"/>
              </p:ext>
            </p:extLst>
          </p:nvPr>
        </p:nvGraphicFramePr>
        <p:xfrm>
          <a:off x="4545496" y="3419061"/>
          <a:ext cx="208280" cy="365760"/>
        </p:xfrm>
        <a:graphic>
          <a:graphicData uri="http://schemas.openxmlformats.org/drawingml/2006/table">
            <a:tbl>
              <a:tblPr/>
              <a:tblGrid>
                <a:gridCol w="208280">
                  <a:extLst>
                    <a:ext uri="{9D8B030D-6E8A-4147-A177-3AD203B41FA5}">
                      <a16:colId xmlns:a16="http://schemas.microsoft.com/office/drawing/2014/main" val="610337790"/>
                    </a:ext>
                  </a:extLst>
                </a:gridCol>
              </a:tblGrid>
              <a:tr h="0">
                <a:tc>
                  <a:txBody>
                    <a:bodyPr/>
                    <a:lstStyle/>
                    <a:p>
                      <a:endParaRPr lang="en-GB"/>
                    </a:p>
                  </a:txBody>
                  <a:tcP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603619069"/>
                  </a:ext>
                </a:extLst>
              </a:tr>
            </a:tbl>
          </a:graphicData>
        </a:graphic>
      </p:graphicFrame>
      <p:sp>
        <p:nvSpPr>
          <p:cNvPr id="71" name="Triangle isocèle 203">
            <a:extLst>
              <a:ext uri="{FF2B5EF4-FFF2-40B4-BE49-F238E27FC236}">
                <a16:creationId xmlns:a16="http://schemas.microsoft.com/office/drawing/2014/main" id="{DC1ED4EE-6142-4DAB-0925-1ED35DF038C3}"/>
              </a:ext>
            </a:extLst>
          </p:cNvPr>
          <p:cNvSpPr/>
          <p:nvPr/>
        </p:nvSpPr>
        <p:spPr>
          <a:xfrm flipH="1">
            <a:off x="1145057" y="3204609"/>
            <a:ext cx="108000" cy="144000"/>
          </a:xfrm>
          <a:prstGeom prst="triangle">
            <a:avLst/>
          </a:prstGeom>
          <a:solidFill>
            <a:srgbClr val="00B050"/>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
        <p:nvSpPr>
          <p:cNvPr id="80" name="Triangle isocèle 203">
            <a:extLst>
              <a:ext uri="{FF2B5EF4-FFF2-40B4-BE49-F238E27FC236}">
                <a16:creationId xmlns:a16="http://schemas.microsoft.com/office/drawing/2014/main" id="{B42A249E-64F5-7C6D-D043-4762EDF58ADB}"/>
              </a:ext>
            </a:extLst>
          </p:cNvPr>
          <p:cNvSpPr/>
          <p:nvPr/>
        </p:nvSpPr>
        <p:spPr>
          <a:xfrm flipH="1">
            <a:off x="3302018" y="3563857"/>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Raleway" pitchFamily="2" charset="0"/>
            </a:endParaRPr>
          </a:p>
        </p:txBody>
      </p:sp>
      <p:graphicFrame>
        <p:nvGraphicFramePr>
          <p:cNvPr id="81" name="Table 5">
            <a:extLst>
              <a:ext uri="{FF2B5EF4-FFF2-40B4-BE49-F238E27FC236}">
                <a16:creationId xmlns:a16="http://schemas.microsoft.com/office/drawing/2014/main" id="{FBC8E954-FAF6-C1D7-0CA0-646E48C586A2}"/>
              </a:ext>
            </a:extLst>
          </p:cNvPr>
          <p:cNvGraphicFramePr>
            <a:graphicFrameLocks noGrp="1"/>
          </p:cNvGraphicFramePr>
          <p:nvPr>
            <p:extLst>
              <p:ext uri="{D42A27DB-BD31-4B8C-83A1-F6EECF244321}">
                <p14:modId xmlns:p14="http://schemas.microsoft.com/office/powerpoint/2010/main" val="3713098428"/>
              </p:ext>
            </p:extLst>
          </p:nvPr>
        </p:nvGraphicFramePr>
        <p:xfrm>
          <a:off x="5073565" y="138416"/>
          <a:ext cx="6776303" cy="5608320"/>
        </p:xfrm>
        <a:graphic>
          <a:graphicData uri="http://schemas.openxmlformats.org/drawingml/2006/table">
            <a:tbl>
              <a:tblPr firstRow="1" bandRow="1">
                <a:tableStyleId>{9D7B26C5-4107-4FEC-AEDC-1716B250A1EF}</a:tableStyleId>
              </a:tblPr>
              <a:tblGrid>
                <a:gridCol w="763315">
                  <a:extLst>
                    <a:ext uri="{9D8B030D-6E8A-4147-A177-3AD203B41FA5}">
                      <a16:colId xmlns:a16="http://schemas.microsoft.com/office/drawing/2014/main" val="1971178031"/>
                    </a:ext>
                  </a:extLst>
                </a:gridCol>
                <a:gridCol w="928131">
                  <a:extLst>
                    <a:ext uri="{9D8B030D-6E8A-4147-A177-3AD203B41FA5}">
                      <a16:colId xmlns:a16="http://schemas.microsoft.com/office/drawing/2014/main" val="4106639385"/>
                    </a:ext>
                  </a:extLst>
                </a:gridCol>
                <a:gridCol w="951499">
                  <a:extLst>
                    <a:ext uri="{9D8B030D-6E8A-4147-A177-3AD203B41FA5}">
                      <a16:colId xmlns:a16="http://schemas.microsoft.com/office/drawing/2014/main" val="1505498681"/>
                    </a:ext>
                  </a:extLst>
                </a:gridCol>
                <a:gridCol w="1120832">
                  <a:extLst>
                    <a:ext uri="{9D8B030D-6E8A-4147-A177-3AD203B41FA5}">
                      <a16:colId xmlns:a16="http://schemas.microsoft.com/office/drawing/2014/main" val="845154092"/>
                    </a:ext>
                  </a:extLst>
                </a:gridCol>
                <a:gridCol w="3012526">
                  <a:extLst>
                    <a:ext uri="{9D8B030D-6E8A-4147-A177-3AD203B41FA5}">
                      <a16:colId xmlns:a16="http://schemas.microsoft.com/office/drawing/2014/main" val="4158918225"/>
                    </a:ext>
                  </a:extLst>
                </a:gridCol>
              </a:tblGrid>
              <a:tr h="232541">
                <a:tc>
                  <a:txBody>
                    <a:bodyPr/>
                    <a:lstStyle/>
                    <a:p>
                      <a:r>
                        <a:rPr lang="en-US" sz="700">
                          <a:solidFill>
                            <a:schemeClr val="bg1"/>
                          </a:solidFill>
                          <a:latin typeface="Raleway" pitchFamily="2" charset="0"/>
                        </a:rPr>
                        <a:t>Country</a:t>
                      </a:r>
                    </a:p>
                  </a:txBody>
                  <a:tcPr>
                    <a:solidFill>
                      <a:schemeClr val="tx1"/>
                    </a:solidFill>
                  </a:tcPr>
                </a:tc>
                <a:tc>
                  <a:txBody>
                    <a:bodyPr/>
                    <a:lstStyle/>
                    <a:p>
                      <a:r>
                        <a:rPr lang="en-US" sz="700">
                          <a:solidFill>
                            <a:schemeClr val="bg1"/>
                          </a:solidFill>
                          <a:latin typeface="Raleway" pitchFamily="2" charset="0"/>
                        </a:rPr>
                        <a:t>Recipient company</a:t>
                      </a:r>
                    </a:p>
                  </a:txBody>
                  <a:tcPr>
                    <a:solidFill>
                      <a:schemeClr val="tx1"/>
                    </a:solidFill>
                  </a:tcPr>
                </a:tc>
                <a:tc>
                  <a:txBody>
                    <a:bodyPr/>
                    <a:lstStyle/>
                    <a:p>
                      <a:r>
                        <a:rPr lang="en-US" sz="700">
                          <a:solidFill>
                            <a:schemeClr val="bg1"/>
                          </a:solidFill>
                          <a:latin typeface="Raleway" pitchFamily="2" charset="0"/>
                        </a:rPr>
                        <a:t>Developer</a:t>
                      </a:r>
                    </a:p>
                  </a:txBody>
                  <a:tcPr>
                    <a:solidFill>
                      <a:schemeClr val="tx1"/>
                    </a:solidFill>
                  </a:tcPr>
                </a:tc>
                <a:tc>
                  <a:txBody>
                    <a:bodyPr/>
                    <a:lstStyle/>
                    <a:p>
                      <a:r>
                        <a:rPr lang="en-US" sz="700">
                          <a:solidFill>
                            <a:schemeClr val="bg1"/>
                          </a:solidFill>
                          <a:latin typeface="Raleway" pitchFamily="2" charset="0"/>
                        </a:rPr>
                        <a:t>Production type</a:t>
                      </a:r>
                    </a:p>
                  </a:txBody>
                  <a:tcPr>
                    <a:solidFill>
                      <a:schemeClr val="tx1"/>
                    </a:solidFill>
                  </a:tcPr>
                </a:tc>
                <a:tc>
                  <a:txBody>
                    <a:bodyPr/>
                    <a:lstStyle/>
                    <a:p>
                      <a:r>
                        <a:rPr lang="en-US" sz="700" dirty="0">
                          <a:solidFill>
                            <a:schemeClr val="bg1"/>
                          </a:solidFill>
                          <a:latin typeface="Raleway" pitchFamily="2" charset="0"/>
                        </a:rPr>
                        <a:t>Status</a:t>
                      </a:r>
                    </a:p>
                  </a:txBody>
                  <a:tcPr>
                    <a:solidFill>
                      <a:schemeClr val="tx1"/>
                    </a:solidFill>
                  </a:tcPr>
                </a:tc>
                <a:extLst>
                  <a:ext uri="{0D108BD9-81ED-4DB2-BD59-A6C34878D82A}">
                    <a16:rowId xmlns:a16="http://schemas.microsoft.com/office/drawing/2014/main" val="3036631337"/>
                  </a:ext>
                </a:extLst>
              </a:tr>
              <a:tr h="408456">
                <a:tc>
                  <a:txBody>
                    <a:bodyPr/>
                    <a:lstStyle/>
                    <a:p>
                      <a:r>
                        <a:rPr lang="en-US" sz="600" b="1">
                          <a:latin typeface="Raleway" pitchFamily="2" charset="0"/>
                        </a:rPr>
                        <a:t>Ghana</a:t>
                      </a:r>
                    </a:p>
                  </a:txBody>
                  <a:tcPr/>
                </a:tc>
                <a:tc>
                  <a:txBody>
                    <a:bodyPr/>
                    <a:lstStyle/>
                    <a:p>
                      <a:r>
                        <a:rPr lang="en-US" sz="600" b="0">
                          <a:latin typeface="Raleway" pitchFamily="2" charset="0"/>
                        </a:rPr>
                        <a:t>DEKS Vaccines Limited</a:t>
                      </a:r>
                    </a:p>
                  </a:txBody>
                  <a:tcPr/>
                </a:tc>
                <a:tc>
                  <a:txBody>
                    <a:bodyPr/>
                    <a:lstStyle/>
                    <a:p>
                      <a:r>
                        <a:rPr lang="en-US" sz="600" b="0">
                          <a:latin typeface="Raleway" pitchFamily="2" charset="0"/>
                        </a:rPr>
                        <a:t>BioNTech</a:t>
                      </a:r>
                    </a:p>
                  </a:txBody>
                  <a:tcPr/>
                </a:tc>
                <a:tc>
                  <a:txBody>
                    <a:bodyPr/>
                    <a:lstStyle/>
                    <a:p>
                      <a:r>
                        <a:rPr lang="en-US" sz="600" b="0" dirty="0">
                          <a:latin typeface="Raleway" pitchFamily="2" charset="0"/>
                        </a:rPr>
                        <a:t>Fill &amp; Finish</a:t>
                      </a:r>
                    </a:p>
                  </a:txBody>
                  <a:tcPr/>
                </a:tc>
                <a:tc>
                  <a:txBody>
                    <a:bodyPr/>
                    <a:lstStyle/>
                    <a:p>
                      <a:r>
                        <a:rPr lang="en-US" sz="600" dirty="0">
                          <a:latin typeface="Raleway" pitchFamily="2" charset="0"/>
                        </a:rPr>
                        <a:t>€ 5 million-investment grant agreement between the European Investment Bank (EIB) and DEK Vaccines Ltd in April 2023 to produce 600 million dose/year for vaccines (Malaria, HPV, Pneumonia, Rotavirus, Cholera). 1st commercial production anticipated in 2025.</a:t>
                      </a:r>
                    </a:p>
                  </a:txBody>
                  <a:tcPr/>
                </a:tc>
                <a:extLst>
                  <a:ext uri="{0D108BD9-81ED-4DB2-BD59-A6C34878D82A}">
                    <a16:rowId xmlns:a16="http://schemas.microsoft.com/office/drawing/2014/main" val="2859557857"/>
                  </a:ext>
                </a:extLst>
              </a:tr>
              <a:tr h="248806">
                <a:tc>
                  <a:txBody>
                    <a:bodyPr/>
                    <a:lstStyle/>
                    <a:p>
                      <a:r>
                        <a:rPr lang="en-US" sz="600" b="1" dirty="0">
                          <a:latin typeface="Raleway" pitchFamily="2" charset="0"/>
                        </a:rPr>
                        <a:t>Kenya</a:t>
                      </a:r>
                    </a:p>
                  </a:txBody>
                  <a:tcPr/>
                </a:tc>
                <a:tc>
                  <a:txBody>
                    <a:bodyPr/>
                    <a:lstStyle/>
                    <a:p>
                      <a:r>
                        <a:rPr lang="en-US" sz="600" b="0">
                          <a:latin typeface="Raleway" pitchFamily="2" charset="0"/>
                        </a:rPr>
                        <a:t>TBD</a:t>
                      </a:r>
                    </a:p>
                  </a:txBody>
                  <a:tcPr/>
                </a:tc>
                <a:tc>
                  <a:txBody>
                    <a:bodyPr/>
                    <a:lstStyle/>
                    <a:p>
                      <a:r>
                        <a:rPr lang="en-US" sz="600" b="0">
                          <a:latin typeface="Raleway" pitchFamily="2" charset="0"/>
                        </a:rPr>
                        <a:t>Moderna</a:t>
                      </a:r>
                    </a:p>
                  </a:txBody>
                  <a:tcPr/>
                </a:tc>
                <a:tc>
                  <a:txBody>
                    <a:bodyPr/>
                    <a:lstStyle/>
                    <a:p>
                      <a:r>
                        <a:rPr lang="en-US" sz="600" b="0">
                          <a:latin typeface="Raleway" pitchFamily="2" charset="0"/>
                        </a:rPr>
                        <a:t>Fill &amp; Finish</a:t>
                      </a:r>
                    </a:p>
                  </a:txBody>
                  <a:tcPr/>
                </a:tc>
                <a:tc>
                  <a:txBody>
                    <a:bodyPr/>
                    <a:lstStyle/>
                    <a:p>
                      <a:r>
                        <a:rPr lang="en-US" sz="600" dirty="0">
                          <a:latin typeface="Raleway" pitchFamily="2" charset="0"/>
                        </a:rPr>
                        <a:t>In Mar2023, the company announced that it will produce 500 million doses/year. However, in Apr 2024, Moderna pauses plans to build mRNA facility in Kenya, </a:t>
                      </a:r>
                    </a:p>
                  </a:txBody>
                  <a:tcPr/>
                </a:tc>
                <a:extLst>
                  <a:ext uri="{0D108BD9-81ED-4DB2-BD59-A6C34878D82A}">
                    <a16:rowId xmlns:a16="http://schemas.microsoft.com/office/drawing/2014/main" val="3801935204"/>
                  </a:ext>
                </a:extLst>
              </a:tr>
              <a:tr h="392920">
                <a:tc>
                  <a:txBody>
                    <a:bodyPr/>
                    <a:lstStyle/>
                    <a:p>
                      <a:r>
                        <a:rPr lang="en-US" sz="600" b="1">
                          <a:solidFill>
                            <a:schemeClr val="accent1">
                              <a:lumMod val="75000"/>
                            </a:schemeClr>
                          </a:solidFill>
                          <a:latin typeface="Raleway" pitchFamily="2" charset="0"/>
                        </a:rPr>
                        <a:t>Rwanda</a:t>
                      </a:r>
                    </a:p>
                  </a:txBody>
                  <a:tcPr/>
                </a:tc>
                <a:tc>
                  <a:txBody>
                    <a:bodyPr/>
                    <a:lstStyle/>
                    <a:p>
                      <a:r>
                        <a:rPr lang="en-US" sz="600" b="0">
                          <a:solidFill>
                            <a:schemeClr val="accent1">
                              <a:lumMod val="75000"/>
                            </a:schemeClr>
                          </a:solidFill>
                          <a:latin typeface="Raleway" pitchFamily="2" charset="0"/>
                        </a:rPr>
                        <a:t>Rwanda Biomedical Centre</a:t>
                      </a:r>
                    </a:p>
                  </a:txBody>
                  <a:tcPr/>
                </a:tc>
                <a:tc>
                  <a:txBody>
                    <a:bodyPr/>
                    <a:lstStyle/>
                    <a:p>
                      <a:r>
                        <a:rPr lang="en-US" sz="600" b="0">
                          <a:solidFill>
                            <a:schemeClr val="accent1">
                              <a:lumMod val="75000"/>
                            </a:schemeClr>
                          </a:solidFill>
                          <a:latin typeface="Raleway" pitchFamily="2" charset="0"/>
                        </a:rPr>
                        <a:t>BioNTech</a:t>
                      </a:r>
                    </a:p>
                    <a:p>
                      <a:endParaRPr lang="en-US" sz="600" b="0">
                        <a:solidFill>
                          <a:schemeClr val="accent1">
                            <a:lumMod val="75000"/>
                          </a:schemeClr>
                        </a:solidFill>
                        <a:latin typeface="Raleway" pitchFamily="2" charset="0"/>
                      </a:endParaRPr>
                    </a:p>
                  </a:txBody>
                  <a:tcPr/>
                </a:tc>
                <a:tc>
                  <a:txBody>
                    <a:bodyPr/>
                    <a:lstStyle/>
                    <a:p>
                      <a:r>
                        <a:rPr lang="en-US" sz="600" b="0">
                          <a:solidFill>
                            <a:schemeClr val="accent1">
                              <a:lumMod val="75000"/>
                            </a:schemeClr>
                          </a:solidFill>
                          <a:latin typeface="Raleway" pitchFamily="2" charset="0"/>
                        </a:rPr>
                        <a:t>End to End</a:t>
                      </a:r>
                    </a:p>
                  </a:txBody>
                  <a:tcPr/>
                </a:tc>
                <a:tc>
                  <a:txBody>
                    <a:bodyPr/>
                    <a:lstStyle/>
                    <a:p>
                      <a:r>
                        <a:rPr lang="en-US" sz="600" dirty="0">
                          <a:solidFill>
                            <a:schemeClr val="accent1">
                              <a:lumMod val="75000"/>
                            </a:schemeClr>
                          </a:solidFill>
                          <a:latin typeface="Raleway" pitchFamily="2" charset="0"/>
                        </a:rPr>
                        <a:t>As of April 2025, Rwanda is the only active </a:t>
                      </a:r>
                      <a:r>
                        <a:rPr lang="en-US" sz="600" dirty="0" err="1">
                          <a:solidFill>
                            <a:schemeClr val="accent1">
                              <a:lumMod val="75000"/>
                            </a:schemeClr>
                          </a:solidFill>
                          <a:latin typeface="Raleway" pitchFamily="2" charset="0"/>
                        </a:rPr>
                        <a:t>BioNTainer</a:t>
                      </a:r>
                      <a:r>
                        <a:rPr lang="en-US" sz="600" dirty="0">
                          <a:solidFill>
                            <a:schemeClr val="accent1">
                              <a:lumMod val="75000"/>
                            </a:schemeClr>
                          </a:solidFill>
                          <a:latin typeface="Raleway" pitchFamily="2" charset="0"/>
                        </a:rPr>
                        <a:t> site as of April 2025. Construction milestone reached; facility uses </a:t>
                      </a:r>
                      <a:r>
                        <a:rPr lang="en-US" sz="600" dirty="0" err="1">
                          <a:solidFill>
                            <a:schemeClr val="accent1">
                              <a:lumMod val="75000"/>
                            </a:schemeClr>
                          </a:solidFill>
                          <a:latin typeface="Raleway" pitchFamily="2" charset="0"/>
                        </a:rPr>
                        <a:t>BioNTainer</a:t>
                      </a:r>
                      <a:r>
                        <a:rPr lang="en-US" sz="600" dirty="0">
                          <a:solidFill>
                            <a:schemeClr val="accent1">
                              <a:lumMod val="75000"/>
                            </a:schemeClr>
                          </a:solidFill>
                          <a:latin typeface="Raleway" pitchFamily="2" charset="0"/>
                        </a:rPr>
                        <a:t> modular units; clinical trials for malaria and TB ongoing; BioNTech aims to support a sustainable African vaccine ecosystem and equitable access.</a:t>
                      </a:r>
                    </a:p>
                  </a:txBody>
                  <a:tcPr/>
                </a:tc>
                <a:extLst>
                  <a:ext uri="{0D108BD9-81ED-4DB2-BD59-A6C34878D82A}">
                    <a16:rowId xmlns:a16="http://schemas.microsoft.com/office/drawing/2014/main" val="3303005005"/>
                  </a:ext>
                </a:extLst>
              </a:tr>
              <a:tr h="541769">
                <a:tc>
                  <a:txBody>
                    <a:bodyPr/>
                    <a:lstStyle/>
                    <a:p>
                      <a:r>
                        <a:rPr lang="en-US" sz="600" b="1" dirty="0">
                          <a:solidFill>
                            <a:schemeClr val="accent1">
                              <a:lumMod val="75000"/>
                            </a:schemeClr>
                          </a:solidFill>
                          <a:latin typeface="Raleway" pitchFamily="2" charset="0"/>
                        </a:rPr>
                        <a:t>Senegal</a:t>
                      </a:r>
                    </a:p>
                  </a:txBody>
                  <a:tcPr/>
                </a:tc>
                <a:tc>
                  <a:txBody>
                    <a:bodyPr/>
                    <a:lstStyle/>
                    <a:p>
                      <a:r>
                        <a:rPr lang="en-US" sz="600" b="0" dirty="0">
                          <a:solidFill>
                            <a:schemeClr val="accent1">
                              <a:lumMod val="75000"/>
                            </a:schemeClr>
                          </a:solidFill>
                          <a:latin typeface="Raleway" pitchFamily="2" charset="0"/>
                        </a:rPr>
                        <a:t>Institute Pasteur Dakar</a:t>
                      </a:r>
                    </a:p>
                  </a:txBody>
                  <a:tcPr/>
                </a:tc>
                <a:tc>
                  <a:txBody>
                    <a:bodyPr/>
                    <a:lstStyle/>
                    <a:p>
                      <a:r>
                        <a:rPr lang="en-US" sz="600" b="0">
                          <a:solidFill>
                            <a:schemeClr val="accent1">
                              <a:lumMod val="75000"/>
                            </a:schemeClr>
                          </a:solidFill>
                          <a:latin typeface="Raleway" pitchFamily="2" charset="0"/>
                        </a:rPr>
                        <a:t>BioNTech</a:t>
                      </a:r>
                    </a:p>
                  </a:txBody>
                  <a:tcPr/>
                </a:tc>
                <a:tc>
                  <a:txBody>
                    <a:bodyPr/>
                    <a:lstStyle/>
                    <a:p>
                      <a:r>
                        <a:rPr lang="en-US" sz="600" b="0" dirty="0">
                          <a:solidFill>
                            <a:schemeClr val="accent1">
                              <a:lumMod val="75000"/>
                            </a:schemeClr>
                          </a:solidFill>
                          <a:latin typeface="Raleway" pitchFamily="2" charset="0"/>
                        </a:rPr>
                        <a:t>End to End</a:t>
                      </a:r>
                    </a:p>
                  </a:txBody>
                  <a:tcPr/>
                </a:tc>
                <a:tc>
                  <a:txBody>
                    <a:bodyPr/>
                    <a:lstStyle/>
                    <a:p>
                      <a:r>
                        <a:rPr lang="en-US" sz="600" dirty="0" err="1">
                          <a:solidFill>
                            <a:schemeClr val="accent1">
                              <a:lumMod val="75000"/>
                            </a:schemeClr>
                          </a:solidFill>
                          <a:latin typeface="Raleway" pitchFamily="2" charset="0"/>
                        </a:rPr>
                        <a:t>Afrigen</a:t>
                      </a:r>
                      <a:r>
                        <a:rPr lang="en-US" sz="600" dirty="0">
                          <a:solidFill>
                            <a:schemeClr val="accent1">
                              <a:lumMod val="75000"/>
                            </a:schemeClr>
                          </a:solidFill>
                          <a:latin typeface="Raleway" pitchFamily="2" charset="0"/>
                        </a:rPr>
                        <a:t> is establishing a cutting-edge mRNA technology transfer and training hub, using first-generation COVID-19 vaccines as comparators for next-gen candidates. In May 2024, WHO/MPP and partners officially launched the local </a:t>
                      </a:r>
                      <a:r>
                        <a:rPr lang="en-US" sz="600" dirty="0" err="1">
                          <a:solidFill>
                            <a:schemeClr val="accent1">
                              <a:lumMod val="75000"/>
                            </a:schemeClr>
                          </a:solidFill>
                          <a:latin typeface="Raleway" pitchFamily="2" charset="0"/>
                        </a:rPr>
                        <a:t>programme</a:t>
                      </a:r>
                      <a:r>
                        <a:rPr lang="en-US" sz="600" dirty="0">
                          <a:solidFill>
                            <a:schemeClr val="accent1">
                              <a:lumMod val="75000"/>
                            </a:schemeClr>
                          </a:solidFill>
                          <a:latin typeface="Raleway" pitchFamily="2" charset="0"/>
                        </a:rPr>
                        <a:t> in Senegal, where </a:t>
                      </a:r>
                      <a:r>
                        <a:rPr lang="en-US" sz="600" dirty="0" err="1">
                          <a:solidFill>
                            <a:schemeClr val="accent1">
                              <a:lumMod val="75000"/>
                            </a:schemeClr>
                          </a:solidFill>
                          <a:latin typeface="Raleway" pitchFamily="2" charset="0"/>
                        </a:rPr>
                        <a:t>Institut</a:t>
                      </a:r>
                      <a:r>
                        <a:rPr lang="en-US" sz="600" dirty="0">
                          <a:solidFill>
                            <a:schemeClr val="accent1">
                              <a:lumMod val="75000"/>
                            </a:schemeClr>
                          </a:solidFill>
                          <a:latin typeface="Raleway" pitchFamily="2" charset="0"/>
                        </a:rPr>
                        <a:t> Pasteur de Dakar is advancing capacity-building with WHO/MPP support.</a:t>
                      </a:r>
                    </a:p>
                  </a:txBody>
                  <a:tcPr/>
                </a:tc>
                <a:extLst>
                  <a:ext uri="{0D108BD9-81ED-4DB2-BD59-A6C34878D82A}">
                    <a16:rowId xmlns:a16="http://schemas.microsoft.com/office/drawing/2014/main" val="2138644565"/>
                  </a:ext>
                </a:extLst>
              </a:tr>
              <a:tr h="154482">
                <a:tc>
                  <a:txBody>
                    <a:bodyPr/>
                    <a:lstStyle/>
                    <a:p>
                      <a:r>
                        <a:rPr lang="en-US" sz="600" b="1" dirty="0">
                          <a:solidFill>
                            <a:schemeClr val="accent1">
                              <a:lumMod val="75000"/>
                            </a:schemeClr>
                          </a:solidFill>
                          <a:latin typeface="Raleway" pitchFamily="2" charset="0"/>
                        </a:rPr>
                        <a:t>South Africa</a:t>
                      </a:r>
                    </a:p>
                  </a:txBody>
                  <a:tcPr/>
                </a:tc>
                <a:tc>
                  <a:txBody>
                    <a:bodyPr/>
                    <a:lstStyle/>
                    <a:p>
                      <a:r>
                        <a:rPr lang="en-US" sz="600" b="0" dirty="0" err="1">
                          <a:solidFill>
                            <a:schemeClr val="accent1">
                              <a:lumMod val="75000"/>
                            </a:schemeClr>
                          </a:solidFill>
                          <a:latin typeface="Raleway" pitchFamily="2" charset="0"/>
                        </a:rPr>
                        <a:t>Biovac</a:t>
                      </a:r>
                      <a:endParaRPr lang="en-US" sz="600" b="0" dirty="0">
                        <a:solidFill>
                          <a:schemeClr val="accent1">
                            <a:lumMod val="75000"/>
                          </a:schemeClr>
                        </a:solidFill>
                        <a:latin typeface="Raleway" pitchFamily="2" charset="0"/>
                      </a:endParaRPr>
                    </a:p>
                  </a:txBody>
                  <a:tcPr/>
                </a:tc>
                <a:tc>
                  <a:txBody>
                    <a:bodyPr/>
                    <a:lstStyle/>
                    <a:p>
                      <a:r>
                        <a:rPr lang="en-US" sz="600" b="0">
                          <a:solidFill>
                            <a:schemeClr val="accent1">
                              <a:lumMod val="75000"/>
                            </a:schemeClr>
                          </a:solidFill>
                          <a:latin typeface="Raleway" pitchFamily="2" charset="0"/>
                        </a:rPr>
                        <a:t>BioNTech</a:t>
                      </a:r>
                    </a:p>
                    <a:p>
                      <a:endParaRPr lang="en-US" sz="600" b="0">
                        <a:solidFill>
                          <a:schemeClr val="accent1">
                            <a:lumMod val="75000"/>
                          </a:schemeClr>
                        </a:solidFill>
                        <a:latin typeface="Raleway" pitchFamily="2" charset="0"/>
                      </a:endParaRPr>
                    </a:p>
                  </a:txBody>
                  <a:tcPr/>
                </a:tc>
                <a:tc>
                  <a:txBody>
                    <a:bodyPr/>
                    <a:lstStyle/>
                    <a:p>
                      <a:r>
                        <a:rPr lang="en-US" sz="600" b="0">
                          <a:solidFill>
                            <a:schemeClr val="accent1">
                              <a:lumMod val="75000"/>
                            </a:schemeClr>
                          </a:solidFill>
                          <a:latin typeface="Raleway" pitchFamily="2" charset="0"/>
                        </a:rPr>
                        <a:t>End to End</a:t>
                      </a:r>
                    </a:p>
                  </a:txBody>
                  <a:tcPr/>
                </a:tc>
                <a:tc>
                  <a:txBody>
                    <a:bodyPr/>
                    <a:lstStyle/>
                    <a:p>
                      <a:r>
                        <a:rPr lang="en-US" sz="600" dirty="0">
                          <a:solidFill>
                            <a:schemeClr val="accent1">
                              <a:lumMod val="75000"/>
                            </a:schemeClr>
                          </a:solidFill>
                          <a:latin typeface="Raleway" pitchFamily="2" charset="0"/>
                        </a:rPr>
                        <a:t>The </a:t>
                      </a:r>
                      <a:r>
                        <a:rPr lang="en-US" sz="600" dirty="0" err="1">
                          <a:solidFill>
                            <a:schemeClr val="accent1">
                              <a:lumMod val="75000"/>
                            </a:schemeClr>
                          </a:solidFill>
                          <a:latin typeface="Raleway" pitchFamily="2" charset="0"/>
                        </a:rPr>
                        <a:t>BioNTainers</a:t>
                      </a:r>
                      <a:r>
                        <a:rPr lang="en-US" sz="600" dirty="0">
                          <a:solidFill>
                            <a:schemeClr val="accent1">
                              <a:lumMod val="75000"/>
                            </a:schemeClr>
                          </a:solidFill>
                          <a:latin typeface="Raleway" pitchFamily="2" charset="0"/>
                        </a:rPr>
                        <a:t>, scalable mRNA manufacturing facilities-one for manufacturing mRNA and one for producing the formulated bulk drug product. Plan to produce COVID-19 vaccine, malaria and TB. The South Africa site remains a planned node in BioNTech’s African mRNA manufacturing network, but all operational milestones are still focused on Kigali, Rwanda.</a:t>
                      </a:r>
                    </a:p>
                  </a:txBody>
                  <a:tcPr/>
                </a:tc>
                <a:extLst>
                  <a:ext uri="{0D108BD9-81ED-4DB2-BD59-A6C34878D82A}">
                    <a16:rowId xmlns:a16="http://schemas.microsoft.com/office/drawing/2014/main" val="1890216870"/>
                  </a:ext>
                </a:extLst>
              </a:tr>
              <a:tr h="485598">
                <a:tc>
                  <a:txBody>
                    <a:bodyPr/>
                    <a:lstStyle/>
                    <a:p>
                      <a:r>
                        <a:rPr lang="en-US" sz="600" b="1">
                          <a:latin typeface="Raleway" pitchFamily="2" charset="0"/>
                        </a:rPr>
                        <a:t>Zimbabwe</a:t>
                      </a:r>
                      <a:endParaRPr lang="en-US" sz="600" b="1" dirty="0">
                        <a:latin typeface="Raleway" pitchFamily="2" charset="0"/>
                      </a:endParaRPr>
                    </a:p>
                  </a:txBody>
                  <a:tcPr/>
                </a:tc>
                <a:tc>
                  <a:txBody>
                    <a:bodyPr/>
                    <a:lstStyle/>
                    <a:p>
                      <a:r>
                        <a:rPr lang="en-US" sz="600" b="0">
                          <a:latin typeface="Raleway" pitchFamily="2" charset="0"/>
                        </a:rPr>
                        <a:t>Zimbabwe National Biotechnology </a:t>
                      </a:r>
                      <a:endParaRPr lang="en-US" sz="600" b="0" dirty="0">
                        <a:latin typeface="Raleway" pitchFamily="2" charset="0"/>
                      </a:endParaRPr>
                    </a:p>
                  </a:txBody>
                  <a:tcPr/>
                </a:tc>
                <a:tc>
                  <a:txBody>
                    <a:bodyPr/>
                    <a:lstStyle/>
                    <a:p>
                      <a:r>
                        <a:rPr lang="en-US" sz="600" b="0">
                          <a:latin typeface="Raleway" pitchFamily="2" charset="0"/>
                        </a:rPr>
                        <a:t>Recbio</a:t>
                      </a:r>
                      <a:endParaRPr lang="en-US" sz="600" b="0" dirty="0">
                        <a:latin typeface="Raleway" pitchFamily="2" charset="0"/>
                      </a:endParaRPr>
                    </a:p>
                  </a:txBody>
                  <a:tcPr/>
                </a:tc>
                <a:tc>
                  <a:txBody>
                    <a:bodyPr/>
                    <a:lstStyle/>
                    <a:p>
                      <a:r>
                        <a:rPr lang="en-US" sz="600" b="0" dirty="0">
                          <a:latin typeface="Raleway" pitchFamily="2" charset="0"/>
                        </a:rPr>
                        <a:t>End to End</a:t>
                      </a:r>
                    </a:p>
                  </a:txBody>
                  <a:tcPr/>
                </a:tc>
                <a:tc>
                  <a:txBody>
                    <a:bodyPr/>
                    <a:lstStyle/>
                    <a:p>
                      <a:r>
                        <a:rPr lang="en-US" sz="600" dirty="0" err="1">
                          <a:latin typeface="Raleway" pitchFamily="2" charset="0"/>
                        </a:rPr>
                        <a:t>Recbio</a:t>
                      </a:r>
                      <a:r>
                        <a:rPr lang="en-US" sz="600" dirty="0">
                          <a:latin typeface="Raleway" pitchFamily="2" charset="0"/>
                        </a:rPr>
                        <a:t> will provide comprehensive technical support, including personnel training, facility design, and technology transfer, starting with COVID-19 vaccines and potentially expanding to others. This initiative is significant for local vaccine production in Zimbabwe and Africa, reflecting </a:t>
                      </a:r>
                      <a:r>
                        <a:rPr lang="en-US" sz="600" dirty="0" err="1">
                          <a:latin typeface="Raleway" pitchFamily="2" charset="0"/>
                        </a:rPr>
                        <a:t>Recbio's</a:t>
                      </a:r>
                      <a:r>
                        <a:rPr lang="en-US" sz="600" dirty="0">
                          <a:latin typeface="Raleway" pitchFamily="2" charset="0"/>
                        </a:rPr>
                        <a:t> global strategy alignment, especially with the "Belt and Road Initiative."</a:t>
                      </a:r>
                    </a:p>
                  </a:txBody>
                  <a:tcPr/>
                </a:tc>
                <a:extLst>
                  <a:ext uri="{0D108BD9-81ED-4DB2-BD59-A6C34878D82A}">
                    <a16:rowId xmlns:a16="http://schemas.microsoft.com/office/drawing/2014/main" val="1327442874"/>
                  </a:ext>
                </a:extLst>
              </a:tr>
              <a:tr h="176633">
                <a:tc>
                  <a:txBody>
                    <a:bodyPr/>
                    <a:lstStyle/>
                    <a:p>
                      <a:r>
                        <a:rPr lang="en-US" sz="600" b="1">
                          <a:latin typeface="Raleway" pitchFamily="2" charset="0"/>
                        </a:rPr>
                        <a:t>Senegal, South Africa</a:t>
                      </a:r>
                      <a:endParaRPr lang="en-US" sz="600" b="1" dirty="0">
                        <a:latin typeface="Raleway" pitchFamily="2" charset="0"/>
                      </a:endParaRPr>
                    </a:p>
                  </a:txBody>
                  <a:tcPr/>
                </a:tc>
                <a:tc>
                  <a:txBody>
                    <a:bodyPr/>
                    <a:lstStyle/>
                    <a:p>
                      <a:r>
                        <a:rPr lang="en-US" sz="600" b="0">
                          <a:latin typeface="Raleway" pitchFamily="2" charset="0"/>
                        </a:rPr>
                        <a:t>Institut Pasteur de Dakar, Biovac</a:t>
                      </a:r>
                      <a:endParaRPr lang="en-US" sz="600" b="0" dirty="0">
                        <a:latin typeface="Raleway" pitchFamily="2" charset="0"/>
                      </a:endParaRPr>
                    </a:p>
                  </a:txBody>
                  <a:tcPr/>
                </a:tc>
                <a:tc>
                  <a:txBody>
                    <a:bodyPr/>
                    <a:lstStyle/>
                    <a:p>
                      <a:r>
                        <a:rPr lang="en-US" sz="600" b="0">
                          <a:latin typeface="Raleway" pitchFamily="2" charset="0"/>
                        </a:rPr>
                        <a:t>Institut Pasteur de Dakar, Biovac</a:t>
                      </a:r>
                      <a:endParaRPr lang="en-US" sz="600" b="0" dirty="0">
                        <a:latin typeface="Raleway" pitchFamily="2" charset="0"/>
                      </a:endParaRPr>
                    </a:p>
                  </a:txBody>
                  <a:tcPr/>
                </a:tc>
                <a:tc>
                  <a:txBody>
                    <a:bodyPr/>
                    <a:lstStyle/>
                    <a:p>
                      <a:endParaRPr lang="en-US" sz="600" b="0" dirty="0">
                        <a:latin typeface="Raleway" pitchFamily="2" charset="0"/>
                      </a:endParaRPr>
                    </a:p>
                  </a:txBody>
                  <a:tcPr/>
                </a:tc>
                <a:tc>
                  <a:txBody>
                    <a:bodyPr/>
                    <a:lstStyle/>
                    <a:p>
                      <a:r>
                        <a:rPr lang="en-US" sz="600" b="1" dirty="0">
                          <a:latin typeface="Raleway" pitchFamily="2" charset="0"/>
                        </a:rPr>
                        <a:t>Funding</a:t>
                      </a:r>
                      <a:r>
                        <a:rPr lang="en-US" sz="600" dirty="0">
                          <a:latin typeface="Raleway" pitchFamily="2" charset="0"/>
                        </a:rPr>
                        <a:t>: The Bill &amp; Melinda Gates Foundation is advancing mRNA vaccine technology in Africa, focusing on enabling local low-cost manufacturing. This initiative includes a $40 million investment to enhance local capabilities through partnerships with </a:t>
                      </a:r>
                      <a:r>
                        <a:rPr lang="en-US" sz="600" dirty="0" err="1">
                          <a:latin typeface="Raleway" pitchFamily="2" charset="0"/>
                        </a:rPr>
                        <a:t>Quantoom</a:t>
                      </a:r>
                      <a:r>
                        <a:rPr lang="en-US" sz="600" dirty="0">
                          <a:latin typeface="Raleway" pitchFamily="2" charset="0"/>
                        </a:rPr>
                        <a:t> Biosciences, the </a:t>
                      </a:r>
                      <a:r>
                        <a:rPr lang="en-US" sz="600" dirty="0" err="1">
                          <a:latin typeface="Raleway" pitchFamily="2" charset="0"/>
                        </a:rPr>
                        <a:t>Institut</a:t>
                      </a:r>
                      <a:r>
                        <a:rPr lang="en-US" sz="600" dirty="0">
                          <a:latin typeface="Raleway" pitchFamily="2" charset="0"/>
                        </a:rPr>
                        <a:t> Pasteur de Dakar, and </a:t>
                      </a:r>
                      <a:r>
                        <a:rPr lang="en-US" sz="600" dirty="0" err="1">
                          <a:latin typeface="Raleway" pitchFamily="2" charset="0"/>
                        </a:rPr>
                        <a:t>Biovac</a:t>
                      </a:r>
                      <a:r>
                        <a:rPr lang="en-US" sz="600" dirty="0">
                          <a:latin typeface="Raleway" pitchFamily="2" charset="0"/>
                        </a:rPr>
                        <a:t>. </a:t>
                      </a:r>
                    </a:p>
                  </a:txBody>
                  <a:tcPr/>
                </a:tc>
                <a:extLst>
                  <a:ext uri="{0D108BD9-81ED-4DB2-BD59-A6C34878D82A}">
                    <a16:rowId xmlns:a16="http://schemas.microsoft.com/office/drawing/2014/main" val="237158829"/>
                  </a:ext>
                </a:extLst>
              </a:tr>
              <a:tr h="0">
                <a:tc>
                  <a:txBody>
                    <a:bodyPr/>
                    <a:lstStyle/>
                    <a:p>
                      <a:r>
                        <a:rPr lang="en-US" sz="600" b="1">
                          <a:latin typeface="Raleway" pitchFamily="2" charset="0"/>
                        </a:rPr>
                        <a:t>South Africa</a:t>
                      </a:r>
                    </a:p>
                  </a:txBody>
                  <a:tcPr/>
                </a:tc>
                <a:tc>
                  <a:txBody>
                    <a:bodyPr/>
                    <a:lstStyle/>
                    <a:p>
                      <a:r>
                        <a:rPr lang="en-US" sz="600" b="0">
                          <a:latin typeface="Raleway" pitchFamily="2" charset="0"/>
                        </a:rPr>
                        <a:t>Afrigen Biologics </a:t>
                      </a:r>
                      <a:endParaRPr lang="en-US" sz="600" b="0" dirty="0">
                        <a:latin typeface="Raleway" pitchFamily="2" charset="0"/>
                      </a:endParaRPr>
                    </a:p>
                  </a:txBody>
                  <a:tcPr/>
                </a:tc>
                <a:tc>
                  <a:txBody>
                    <a:bodyPr/>
                    <a:lstStyle/>
                    <a:p>
                      <a:r>
                        <a:rPr lang="en-US" sz="600" b="0">
                          <a:latin typeface="Raleway" pitchFamily="2" charset="0"/>
                        </a:rPr>
                        <a:t>Evaxion Biotech</a:t>
                      </a:r>
                      <a:endParaRPr lang="en-US" sz="600" b="0" dirty="0">
                        <a:latin typeface="Raleway" pitchFamily="2" charset="0"/>
                      </a:endParaRPr>
                    </a:p>
                  </a:txBody>
                  <a:tcPr/>
                </a:tc>
                <a:tc>
                  <a:txBody>
                    <a:bodyPr/>
                    <a:lstStyle/>
                    <a:p>
                      <a:r>
                        <a:rPr lang="en-US" sz="600" b="0" dirty="0">
                          <a:latin typeface="Raleway" pitchFamily="2" charset="0"/>
                        </a:rPr>
                        <a:t>End to End</a:t>
                      </a:r>
                    </a:p>
                  </a:txBody>
                  <a:tcPr/>
                </a:tc>
                <a:tc>
                  <a:txBody>
                    <a:bodyPr/>
                    <a:lstStyle/>
                    <a:p>
                      <a:r>
                        <a:rPr lang="en-US" sz="600" dirty="0" err="1">
                          <a:latin typeface="Raleway" pitchFamily="2" charset="0"/>
                        </a:rPr>
                        <a:t>Evaxion</a:t>
                      </a:r>
                      <a:r>
                        <a:rPr lang="en-US" sz="600" dirty="0">
                          <a:latin typeface="Raleway" pitchFamily="2" charset="0"/>
                        </a:rPr>
                        <a:t> and </a:t>
                      </a:r>
                      <a:r>
                        <a:rPr lang="en-US" sz="600" dirty="0" err="1">
                          <a:latin typeface="Raleway" pitchFamily="2" charset="0"/>
                        </a:rPr>
                        <a:t>Afrigen</a:t>
                      </a:r>
                      <a:r>
                        <a:rPr lang="en-US" sz="600" dirty="0">
                          <a:latin typeface="Raleway" pitchFamily="2" charset="0"/>
                        </a:rPr>
                        <a:t> are co-developing an mRNA gonorrhea vaccine (EVX-B2) using </a:t>
                      </a:r>
                      <a:r>
                        <a:rPr lang="en-US" sz="600" dirty="0" err="1">
                          <a:latin typeface="Raleway" pitchFamily="2" charset="0"/>
                        </a:rPr>
                        <a:t>Evaxion’s</a:t>
                      </a:r>
                      <a:r>
                        <a:rPr lang="en-US" sz="600" dirty="0">
                          <a:latin typeface="Raleway" pitchFamily="2" charset="0"/>
                        </a:rPr>
                        <a:t> AI platform. Preclinical proof-of-concept was achieved in March 2025, showing strong immune responses in animals. The project focuses on LMICs, with </a:t>
                      </a:r>
                      <a:r>
                        <a:rPr lang="en-US" sz="600" dirty="0" err="1">
                          <a:latin typeface="Raleway" pitchFamily="2" charset="0"/>
                        </a:rPr>
                        <a:t>Afrigen</a:t>
                      </a:r>
                      <a:r>
                        <a:rPr lang="en-US" sz="600" dirty="0">
                          <a:latin typeface="Raleway" pitchFamily="2" charset="0"/>
                        </a:rPr>
                        <a:t> leading efforts in Africa.</a:t>
                      </a:r>
                    </a:p>
                  </a:txBody>
                  <a:tcPr/>
                </a:tc>
                <a:extLst>
                  <a:ext uri="{0D108BD9-81ED-4DB2-BD59-A6C34878D82A}">
                    <a16:rowId xmlns:a16="http://schemas.microsoft.com/office/drawing/2014/main" val="2511436343"/>
                  </a:ext>
                </a:extLst>
              </a:tr>
              <a:tr h="228600">
                <a:tc>
                  <a:txBody>
                    <a:bodyPr/>
                    <a:lstStyle/>
                    <a:p>
                      <a:r>
                        <a:rPr lang="en-US" sz="600" b="1" dirty="0">
                          <a:latin typeface="Raleway" pitchFamily="2" charset="0"/>
                        </a:rPr>
                        <a:t>South Africa</a:t>
                      </a:r>
                    </a:p>
                  </a:txBody>
                  <a:tcPr/>
                </a:tc>
                <a:tc>
                  <a:txBody>
                    <a:bodyPr/>
                    <a:lstStyle/>
                    <a:p>
                      <a:r>
                        <a:rPr lang="en-US" sz="600" b="0" dirty="0" err="1">
                          <a:latin typeface="Raleway" pitchFamily="2" charset="0"/>
                        </a:rPr>
                        <a:t>Afrigen</a:t>
                      </a:r>
                      <a:r>
                        <a:rPr lang="en-US" sz="600" b="0" dirty="0">
                          <a:latin typeface="Raleway" pitchFamily="2" charset="0"/>
                        </a:rPr>
                        <a:t> Biologics </a:t>
                      </a:r>
                    </a:p>
                  </a:txBody>
                  <a:tcPr/>
                </a:tc>
                <a:tc>
                  <a:txBody>
                    <a:bodyPr/>
                    <a:lstStyle/>
                    <a:p>
                      <a:r>
                        <a:rPr lang="en-US" sz="600" b="0" dirty="0" err="1">
                          <a:latin typeface="Raleway" pitchFamily="2" charset="0"/>
                        </a:rPr>
                        <a:t>Afrigen</a:t>
                      </a:r>
                      <a:r>
                        <a:rPr lang="en-US" sz="600" b="0" dirty="0">
                          <a:latin typeface="Raleway" pitchFamily="2" charset="0"/>
                        </a:rPr>
                        <a:t> Biologics </a:t>
                      </a:r>
                    </a:p>
                  </a:txBody>
                  <a:tcPr/>
                </a:tc>
                <a:tc>
                  <a:txBody>
                    <a:bodyPr/>
                    <a:lstStyle/>
                    <a:p>
                      <a:r>
                        <a:rPr lang="en-US" sz="600" b="0" dirty="0">
                          <a:latin typeface="Raleway" pitchFamily="2" charset="0"/>
                        </a:rPr>
                        <a:t>drug substance</a:t>
                      </a:r>
                    </a:p>
                  </a:txBody>
                  <a:tcPr/>
                </a:tc>
                <a:tc>
                  <a:txBody>
                    <a:bodyPr/>
                    <a:lstStyle/>
                    <a:p>
                      <a:r>
                        <a:rPr lang="en-US" sz="600" dirty="0" err="1">
                          <a:latin typeface="Raleway" pitchFamily="2" charset="0"/>
                        </a:rPr>
                        <a:t>Afrigen</a:t>
                      </a:r>
                      <a:r>
                        <a:rPr lang="en-US" sz="600" dirty="0">
                          <a:latin typeface="Raleway" pitchFamily="2" charset="0"/>
                        </a:rPr>
                        <a:t> and partners from the UK and US are developing a heat-tolerant mRNA vaccine for the </a:t>
                      </a:r>
                      <a:r>
                        <a:rPr lang="en-US" sz="600" dirty="0" err="1">
                          <a:latin typeface="Raleway" pitchFamily="2" charset="0"/>
                        </a:rPr>
                        <a:t>Hantaan</a:t>
                      </a:r>
                      <a:r>
                        <a:rPr lang="en-US" sz="600" dirty="0">
                          <a:latin typeface="Raleway" pitchFamily="2" charset="0"/>
                        </a:rPr>
                        <a:t> virus, aiming to eliminate cold-chain requirements and improve access in vulnerable regions. The initiative focuses on technology development rather than infrastructure.</a:t>
                      </a:r>
                    </a:p>
                  </a:txBody>
                  <a:tcPr/>
                </a:tc>
                <a:extLst>
                  <a:ext uri="{0D108BD9-81ED-4DB2-BD59-A6C34878D82A}">
                    <a16:rowId xmlns:a16="http://schemas.microsoft.com/office/drawing/2014/main" val="4209406925"/>
                  </a:ext>
                </a:extLst>
              </a:tr>
              <a:tr h="228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accent1">
                              <a:lumMod val="75000"/>
                            </a:schemeClr>
                          </a:solidFill>
                          <a:latin typeface="Raleway" pitchFamily="2" charset="0"/>
                        </a:rPr>
                        <a:t>South Afric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dirty="0" err="1">
                          <a:solidFill>
                            <a:schemeClr val="accent1">
                              <a:lumMod val="75000"/>
                            </a:schemeClr>
                          </a:solidFill>
                          <a:latin typeface="Raleway" pitchFamily="2" charset="0"/>
                        </a:rPr>
                        <a:t>Afrigen</a:t>
                      </a:r>
                      <a:r>
                        <a:rPr lang="en-US" sz="600" b="0" dirty="0">
                          <a:solidFill>
                            <a:schemeClr val="accent1">
                              <a:lumMod val="75000"/>
                            </a:schemeClr>
                          </a:solidFill>
                          <a:latin typeface="Raleway" pitchFamily="2" charset="0"/>
                        </a:rPr>
                        <a:t> Biologics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dirty="0" err="1">
                          <a:solidFill>
                            <a:schemeClr val="accent1">
                              <a:lumMod val="75000"/>
                            </a:schemeClr>
                          </a:solidFill>
                          <a:latin typeface="Raleway" pitchFamily="2" charset="0"/>
                        </a:rPr>
                        <a:t>Afrigen</a:t>
                      </a:r>
                      <a:r>
                        <a:rPr lang="en-US" sz="600" b="0" dirty="0">
                          <a:solidFill>
                            <a:schemeClr val="accent1">
                              <a:lumMod val="75000"/>
                            </a:schemeClr>
                          </a:solidFill>
                          <a:latin typeface="Raleway" pitchFamily="2" charset="0"/>
                        </a:rPr>
                        <a:t> Biologics </a:t>
                      </a:r>
                    </a:p>
                    <a:p>
                      <a:endParaRPr lang="en-US" sz="600" b="0" dirty="0">
                        <a:solidFill>
                          <a:schemeClr val="accent1">
                            <a:lumMod val="75000"/>
                          </a:schemeClr>
                        </a:solidFill>
                        <a:latin typeface="Raleway" pitchFamily="2"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dirty="0">
                          <a:solidFill>
                            <a:schemeClr val="accent1">
                              <a:lumMod val="75000"/>
                            </a:schemeClr>
                          </a:solidFill>
                          <a:latin typeface="Raleway" pitchFamily="2" charset="0"/>
                        </a:rPr>
                        <a:t>End to End</a:t>
                      </a:r>
                    </a:p>
                    <a:p>
                      <a:endParaRPr lang="en-US" sz="600" b="0" dirty="0">
                        <a:solidFill>
                          <a:schemeClr val="accent1">
                            <a:lumMod val="75000"/>
                          </a:schemeClr>
                        </a:solidFill>
                        <a:latin typeface="Raleway" pitchFamily="2" charset="0"/>
                      </a:endParaRPr>
                    </a:p>
                  </a:txBody>
                  <a:tcPr/>
                </a:tc>
                <a:tc>
                  <a:txBody>
                    <a:bodyPr/>
                    <a:lstStyle/>
                    <a:p>
                      <a:r>
                        <a:rPr lang="en-US" sz="600" dirty="0" err="1">
                          <a:solidFill>
                            <a:schemeClr val="accent1">
                              <a:lumMod val="75000"/>
                            </a:schemeClr>
                          </a:solidFill>
                          <a:latin typeface="Raleway" pitchFamily="2" charset="0"/>
                        </a:rPr>
                        <a:t>Afrigen</a:t>
                      </a:r>
                      <a:r>
                        <a:rPr lang="en-US" sz="600" dirty="0">
                          <a:solidFill>
                            <a:schemeClr val="accent1">
                              <a:lumMod val="75000"/>
                            </a:schemeClr>
                          </a:solidFill>
                          <a:latin typeface="Raleway" pitchFamily="2" charset="0"/>
                        </a:rPr>
                        <a:t>, the global hub of the WHO/MPP mRNA TT </a:t>
                      </a:r>
                      <a:r>
                        <a:rPr lang="en-US" sz="600" dirty="0" err="1">
                          <a:solidFill>
                            <a:schemeClr val="accent1">
                              <a:lumMod val="75000"/>
                            </a:schemeClr>
                          </a:solidFill>
                          <a:latin typeface="Raleway" pitchFamily="2" charset="0"/>
                        </a:rPr>
                        <a:t>Programme</a:t>
                      </a:r>
                      <a:r>
                        <a:rPr lang="en-US" sz="600" dirty="0">
                          <a:solidFill>
                            <a:schemeClr val="accent1">
                              <a:lumMod val="75000"/>
                            </a:schemeClr>
                          </a:solidFill>
                          <a:latin typeface="Raleway" pitchFamily="2" charset="0"/>
                        </a:rPr>
                        <a:t>, is developing the first mRNA vaccine for Rift Valley fever with a $6.2M CEPI grant. In collaboration with IVI, the candidate will move from preclinical to Phase I trials. The project strengthens Africa’s regional production, outbreak response, and health security.</a:t>
                      </a:r>
                    </a:p>
                  </a:txBody>
                  <a:tcPr/>
                </a:tc>
                <a:extLst>
                  <a:ext uri="{0D108BD9-81ED-4DB2-BD59-A6C34878D82A}">
                    <a16:rowId xmlns:a16="http://schemas.microsoft.com/office/drawing/2014/main" val="4219541351"/>
                  </a:ext>
                </a:extLst>
              </a:tr>
              <a:tr h="228600">
                <a:tc>
                  <a:txBody>
                    <a:bodyPr/>
                    <a:lstStyle/>
                    <a:p>
                      <a:r>
                        <a:rPr lang="en-US" sz="600" b="1" dirty="0" err="1">
                          <a:solidFill>
                            <a:schemeClr val="accent1">
                              <a:lumMod val="75000"/>
                            </a:schemeClr>
                          </a:solidFill>
                          <a:latin typeface="Raleway" pitchFamily="2" charset="0"/>
                        </a:rPr>
                        <a:t>Eygpt</a:t>
                      </a:r>
                      <a:endParaRPr lang="en-US" sz="600" b="1" dirty="0">
                        <a:solidFill>
                          <a:schemeClr val="accent1">
                            <a:lumMod val="75000"/>
                          </a:schemeClr>
                        </a:solidFill>
                        <a:latin typeface="Raleway" pitchFamily="2" charset="0"/>
                      </a:endParaRPr>
                    </a:p>
                  </a:txBody>
                  <a:tcPr/>
                </a:tc>
                <a:tc>
                  <a:txBody>
                    <a:bodyPr/>
                    <a:lstStyle/>
                    <a:p>
                      <a:r>
                        <a:rPr lang="en-US" sz="600" b="0" dirty="0">
                          <a:solidFill>
                            <a:schemeClr val="accent1">
                              <a:lumMod val="75000"/>
                            </a:schemeClr>
                          </a:solidFill>
                          <a:latin typeface="Raleway" pitchFamily="2" charset="0"/>
                        </a:rPr>
                        <a:t>EVA PHARMA</a:t>
                      </a:r>
                    </a:p>
                  </a:txBody>
                  <a:tcPr/>
                </a:tc>
                <a:tc>
                  <a:txBody>
                    <a:bodyPr/>
                    <a:lstStyle/>
                    <a:p>
                      <a:r>
                        <a:rPr lang="en-US" sz="600" b="0" dirty="0">
                          <a:solidFill>
                            <a:schemeClr val="accent1">
                              <a:lumMod val="75000"/>
                            </a:schemeClr>
                          </a:solidFill>
                          <a:latin typeface="Raleway" pitchFamily="2" charset="0"/>
                        </a:rPr>
                        <a:t>EVA Pharma, DNA Script, </a:t>
                      </a:r>
                      <a:r>
                        <a:rPr lang="en-US" sz="600" b="0" dirty="0" err="1">
                          <a:solidFill>
                            <a:schemeClr val="accent1">
                              <a:lumMod val="75000"/>
                            </a:schemeClr>
                          </a:solidFill>
                          <a:latin typeface="Raleway" pitchFamily="2" charset="0"/>
                        </a:rPr>
                        <a:t>Quantoom</a:t>
                      </a:r>
                      <a:r>
                        <a:rPr lang="en-US" sz="600" b="0" dirty="0">
                          <a:solidFill>
                            <a:schemeClr val="accent1">
                              <a:lumMod val="75000"/>
                            </a:schemeClr>
                          </a:solidFill>
                          <a:latin typeface="Raleway" pitchFamily="2" charset="0"/>
                        </a:rPr>
                        <a:t> Bioscienc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0" dirty="0">
                          <a:solidFill>
                            <a:schemeClr val="accent1">
                              <a:lumMod val="75000"/>
                            </a:schemeClr>
                          </a:solidFill>
                          <a:latin typeface="Raleway" pitchFamily="2" charset="0"/>
                        </a:rPr>
                        <a:t>End to End</a:t>
                      </a:r>
                    </a:p>
                    <a:p>
                      <a:endParaRPr lang="en-US" sz="600" b="0" dirty="0">
                        <a:solidFill>
                          <a:schemeClr val="accent1">
                            <a:lumMod val="75000"/>
                          </a:schemeClr>
                        </a:solidFill>
                        <a:latin typeface="Raleway" pitchFamily="2" charset="0"/>
                      </a:endParaRPr>
                    </a:p>
                  </a:txBody>
                  <a:tcPr/>
                </a:tc>
                <a:tc>
                  <a:txBody>
                    <a:bodyPr/>
                    <a:lstStyle/>
                    <a:p>
                      <a:r>
                        <a:rPr lang="en-US" sz="600" dirty="0">
                          <a:solidFill>
                            <a:schemeClr val="accent1">
                              <a:lumMod val="75000"/>
                            </a:schemeClr>
                          </a:solidFill>
                          <a:latin typeface="Raleway" pitchFamily="2" charset="0"/>
                        </a:rPr>
                        <a:t>On February 5, 2025, EVA Pharma, DNA Script, and </a:t>
                      </a:r>
                      <a:r>
                        <a:rPr lang="en-US" sz="600" dirty="0" err="1">
                          <a:solidFill>
                            <a:schemeClr val="accent1">
                              <a:lumMod val="75000"/>
                            </a:schemeClr>
                          </a:solidFill>
                          <a:latin typeface="Raleway" pitchFamily="2" charset="0"/>
                        </a:rPr>
                        <a:t>Quantoom</a:t>
                      </a:r>
                      <a:r>
                        <a:rPr lang="en-US" sz="600" dirty="0">
                          <a:solidFill>
                            <a:schemeClr val="accent1">
                              <a:lumMod val="75000"/>
                            </a:schemeClr>
                          </a:solidFill>
                          <a:latin typeface="Raleway" pitchFamily="2" charset="0"/>
                        </a:rPr>
                        <a:t> signed an MoU to build Africa’s first digital-to-biologics mRNA production platform in Egypt, aiming to produce up to 100 million RNA-based vaccine doses annually. The partnership was announced at the Africa CDC manufacturing forum.</a:t>
                      </a:r>
                    </a:p>
                  </a:txBody>
                  <a:tcPr/>
                </a:tc>
                <a:extLst>
                  <a:ext uri="{0D108BD9-81ED-4DB2-BD59-A6C34878D82A}">
                    <a16:rowId xmlns:a16="http://schemas.microsoft.com/office/drawing/2014/main" val="1019252081"/>
                  </a:ext>
                </a:extLst>
              </a:tr>
            </a:tbl>
          </a:graphicData>
        </a:graphic>
      </p:graphicFrame>
      <p:sp>
        <p:nvSpPr>
          <p:cNvPr id="82" name="Triangle isocèle 203">
            <a:extLst>
              <a:ext uri="{FF2B5EF4-FFF2-40B4-BE49-F238E27FC236}">
                <a16:creationId xmlns:a16="http://schemas.microsoft.com/office/drawing/2014/main" id="{29C56464-7792-E985-DBA8-58FDFE87114F}"/>
              </a:ext>
            </a:extLst>
          </p:cNvPr>
          <p:cNvSpPr/>
          <p:nvPr/>
        </p:nvSpPr>
        <p:spPr>
          <a:xfrm flipH="1">
            <a:off x="7747081" y="6076217"/>
            <a:ext cx="184002" cy="196472"/>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cxnSp>
        <p:nvCxnSpPr>
          <p:cNvPr id="8" name="Straight Connector 7">
            <a:extLst>
              <a:ext uri="{FF2B5EF4-FFF2-40B4-BE49-F238E27FC236}">
                <a16:creationId xmlns:a16="http://schemas.microsoft.com/office/drawing/2014/main" id="{089859D4-D5C7-D81C-4C4C-C6EF0892774D}"/>
              </a:ext>
            </a:extLst>
          </p:cNvPr>
          <p:cNvCxnSpPr>
            <a:stCxn id="120" idx="0"/>
            <a:endCxn id="71" idx="4"/>
          </p:cNvCxnSpPr>
          <p:nvPr/>
        </p:nvCxnSpPr>
        <p:spPr>
          <a:xfrm flipV="1">
            <a:off x="910170" y="3348609"/>
            <a:ext cx="234887" cy="2631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879EEB5-585F-33BE-7FE3-704326FC9568}"/>
              </a:ext>
            </a:extLst>
          </p:cNvPr>
          <p:cNvCxnSpPr/>
          <p:nvPr/>
        </p:nvCxnSpPr>
        <p:spPr>
          <a:xfrm flipV="1">
            <a:off x="371053" y="2473503"/>
            <a:ext cx="234887" cy="35933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41BA28C6-E998-DCBA-1FCB-44D1F9EF7E25}"/>
              </a:ext>
            </a:extLst>
          </p:cNvPr>
          <p:cNvCxnSpPr/>
          <p:nvPr/>
        </p:nvCxnSpPr>
        <p:spPr>
          <a:xfrm flipV="1">
            <a:off x="1498117" y="3168401"/>
            <a:ext cx="234887" cy="35933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98D5966C-C451-638B-6B8B-D57D13453546}"/>
              </a:ext>
            </a:extLst>
          </p:cNvPr>
          <p:cNvCxnSpPr/>
          <p:nvPr/>
        </p:nvCxnSpPr>
        <p:spPr>
          <a:xfrm flipV="1">
            <a:off x="2285816" y="5509848"/>
            <a:ext cx="234887" cy="35933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B549E63B-FF4A-CDAE-36AE-9BAE26938E50}"/>
              </a:ext>
            </a:extLst>
          </p:cNvPr>
          <p:cNvSpPr>
            <a:spLocks noGrp="1"/>
          </p:cNvSpPr>
          <p:nvPr>
            <p:ph type="sldNum" sz="quarter" idx="12"/>
          </p:nvPr>
        </p:nvSpPr>
        <p:spPr/>
        <p:txBody>
          <a:bodyPr/>
          <a:lstStyle/>
          <a:p>
            <a:fld id="{1D1C8182-8BBE-B542-ADE5-8820B104469B}" type="slidenum">
              <a:rPr lang="en-RO" smtClean="0"/>
              <a:pPr/>
              <a:t>2</a:t>
            </a:fld>
            <a:endParaRPr lang="en-RO"/>
          </a:p>
        </p:txBody>
      </p:sp>
      <p:grpSp>
        <p:nvGrpSpPr>
          <p:cNvPr id="6" name="Group 5">
            <a:extLst>
              <a:ext uri="{FF2B5EF4-FFF2-40B4-BE49-F238E27FC236}">
                <a16:creationId xmlns:a16="http://schemas.microsoft.com/office/drawing/2014/main" id="{4B5426EE-DEAC-B509-4B14-D8F50D931F2A}"/>
              </a:ext>
            </a:extLst>
          </p:cNvPr>
          <p:cNvGrpSpPr/>
          <p:nvPr/>
        </p:nvGrpSpPr>
        <p:grpSpPr>
          <a:xfrm>
            <a:off x="8960291" y="6119518"/>
            <a:ext cx="1640641" cy="179501"/>
            <a:chOff x="9823279" y="6105545"/>
            <a:chExt cx="1640641" cy="179501"/>
          </a:xfrm>
        </p:grpSpPr>
        <p:sp>
          <p:nvSpPr>
            <p:cNvPr id="7" name="Ellipse 48">
              <a:extLst>
                <a:ext uri="{FF2B5EF4-FFF2-40B4-BE49-F238E27FC236}">
                  <a16:creationId xmlns:a16="http://schemas.microsoft.com/office/drawing/2014/main" id="{1B46B1EE-A1E4-E32C-629D-69213147C30A}"/>
                </a:ext>
              </a:extLst>
            </p:cNvPr>
            <p:cNvSpPr/>
            <p:nvPr/>
          </p:nvSpPr>
          <p:spPr>
            <a:xfrm>
              <a:off x="9823279" y="6105545"/>
              <a:ext cx="178157" cy="179501"/>
            </a:xfrm>
            <a:prstGeom prst="ellipse">
              <a:avLst/>
            </a:prstGeom>
            <a:solidFill>
              <a:srgbClr val="FFC00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9" name="ZoneTexte 50">
              <a:extLst>
                <a:ext uri="{FF2B5EF4-FFF2-40B4-BE49-F238E27FC236}">
                  <a16:creationId xmlns:a16="http://schemas.microsoft.com/office/drawing/2014/main" id="{872EBC7B-19F4-9EE6-D427-F6BBC5536640}"/>
                </a:ext>
              </a:extLst>
            </p:cNvPr>
            <p:cNvSpPr txBox="1"/>
            <p:nvPr/>
          </p:nvSpPr>
          <p:spPr>
            <a:xfrm>
              <a:off x="10090542" y="6105545"/>
              <a:ext cx="1373378" cy="129743"/>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dirty="0">
                  <a:latin typeface="Raleway" pitchFamily="2" charset="0"/>
                </a:rPr>
                <a:t>Drug substance </a:t>
              </a:r>
            </a:p>
          </p:txBody>
        </p:sp>
      </p:grpSp>
      <p:sp>
        <p:nvSpPr>
          <p:cNvPr id="10" name="Ellipse 48">
            <a:extLst>
              <a:ext uri="{FF2B5EF4-FFF2-40B4-BE49-F238E27FC236}">
                <a16:creationId xmlns:a16="http://schemas.microsoft.com/office/drawing/2014/main" id="{0132AD6E-300A-4878-559F-40BCCBD2137D}"/>
              </a:ext>
            </a:extLst>
          </p:cNvPr>
          <p:cNvSpPr/>
          <p:nvPr/>
        </p:nvSpPr>
        <p:spPr>
          <a:xfrm>
            <a:off x="2600354" y="5472848"/>
            <a:ext cx="132607" cy="125142"/>
          </a:xfrm>
          <a:prstGeom prst="ellipse">
            <a:avLst/>
          </a:prstGeom>
          <a:solidFill>
            <a:srgbClr val="FFC00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11" name="Triangle isocèle 124">
            <a:extLst>
              <a:ext uri="{FF2B5EF4-FFF2-40B4-BE49-F238E27FC236}">
                <a16:creationId xmlns:a16="http://schemas.microsoft.com/office/drawing/2014/main" id="{9C3304EC-BC52-CBFB-9419-0DDB06A38981}"/>
              </a:ext>
            </a:extLst>
          </p:cNvPr>
          <p:cNvSpPr/>
          <p:nvPr/>
        </p:nvSpPr>
        <p:spPr>
          <a:xfrm flipH="1">
            <a:off x="3175432" y="4734020"/>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latin typeface="Raleway" pitchFamily="2" charset="0"/>
            </a:endParaRPr>
          </a:p>
        </p:txBody>
      </p:sp>
      <p:cxnSp>
        <p:nvCxnSpPr>
          <p:cNvPr id="12" name="Straight Connector 11">
            <a:extLst>
              <a:ext uri="{FF2B5EF4-FFF2-40B4-BE49-F238E27FC236}">
                <a16:creationId xmlns:a16="http://schemas.microsoft.com/office/drawing/2014/main" id="{CFADEB1E-2164-F26C-94F3-F078CF6CEB29}"/>
              </a:ext>
            </a:extLst>
          </p:cNvPr>
          <p:cNvCxnSpPr>
            <a:cxnSpLocks/>
          </p:cNvCxnSpPr>
          <p:nvPr/>
        </p:nvCxnSpPr>
        <p:spPr>
          <a:xfrm flipH="1" flipV="1">
            <a:off x="3222418" y="4837588"/>
            <a:ext cx="453023" cy="28454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DEF443D-CEA1-201F-E69B-CF9A05BF6E6E}"/>
              </a:ext>
            </a:extLst>
          </p:cNvPr>
          <p:cNvSpPr txBox="1"/>
          <p:nvPr/>
        </p:nvSpPr>
        <p:spPr>
          <a:xfrm>
            <a:off x="3373972" y="5146459"/>
            <a:ext cx="1614828" cy="430887"/>
          </a:xfrm>
          <a:prstGeom prst="rect">
            <a:avLst/>
          </a:prstGeom>
          <a:noFill/>
        </p:spPr>
        <p:txBody>
          <a:bodyPr wrap="square">
            <a:spAutoFit/>
          </a:bodyPr>
          <a:lstStyle/>
          <a:p>
            <a:r>
              <a:rPr lang="en-US" sz="1100" b="1" dirty="0">
                <a:latin typeface="Raleway" pitchFamily="2" charset="0"/>
              </a:rPr>
              <a:t>Zimbabwe National Biotechnology </a:t>
            </a:r>
          </a:p>
        </p:txBody>
      </p:sp>
      <p:sp>
        <p:nvSpPr>
          <p:cNvPr id="16" name="Rectangle 15">
            <a:extLst>
              <a:ext uri="{FF2B5EF4-FFF2-40B4-BE49-F238E27FC236}">
                <a16:creationId xmlns:a16="http://schemas.microsoft.com/office/drawing/2014/main" id="{50ED1CB6-07F3-A3FD-61B2-35E9605B8E0E}"/>
              </a:ext>
            </a:extLst>
          </p:cNvPr>
          <p:cNvSpPr/>
          <p:nvPr/>
        </p:nvSpPr>
        <p:spPr>
          <a:xfrm>
            <a:off x="2679799" y="3823090"/>
            <a:ext cx="1076001" cy="76944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b="1" dirty="0">
                <a:solidFill>
                  <a:schemeClr val="tx1"/>
                </a:solidFill>
                <a:latin typeface="Raleway" pitchFamily="2" charset="0"/>
              </a:rPr>
              <a:t>Rwanda A biotech start-up ecosystem </a:t>
            </a:r>
          </a:p>
        </p:txBody>
      </p:sp>
      <p:sp>
        <p:nvSpPr>
          <p:cNvPr id="5" name="Triangle isocèle 124">
            <a:extLst>
              <a:ext uri="{FF2B5EF4-FFF2-40B4-BE49-F238E27FC236}">
                <a16:creationId xmlns:a16="http://schemas.microsoft.com/office/drawing/2014/main" id="{74B0EBB2-B7F9-0D06-AA8D-A18AE0E29CAD}"/>
              </a:ext>
            </a:extLst>
          </p:cNvPr>
          <p:cNvSpPr/>
          <p:nvPr/>
        </p:nvSpPr>
        <p:spPr>
          <a:xfrm flipH="1">
            <a:off x="3217799" y="1798812"/>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latin typeface="Raleway" pitchFamily="2" charset="0"/>
            </a:endParaRPr>
          </a:p>
        </p:txBody>
      </p:sp>
      <p:cxnSp>
        <p:nvCxnSpPr>
          <p:cNvPr id="14" name="Straight Connector 13">
            <a:extLst>
              <a:ext uri="{FF2B5EF4-FFF2-40B4-BE49-F238E27FC236}">
                <a16:creationId xmlns:a16="http://schemas.microsoft.com/office/drawing/2014/main" id="{1730602F-2315-9C9D-BC0A-5013C1E42237}"/>
              </a:ext>
            </a:extLst>
          </p:cNvPr>
          <p:cNvCxnSpPr>
            <a:cxnSpLocks/>
          </p:cNvCxnSpPr>
          <p:nvPr/>
        </p:nvCxnSpPr>
        <p:spPr>
          <a:xfrm flipH="1" flipV="1">
            <a:off x="3274642" y="1923173"/>
            <a:ext cx="518541" cy="3324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F282BD0-F701-D40F-D7E5-738B51EC9DF7}"/>
              </a:ext>
            </a:extLst>
          </p:cNvPr>
          <p:cNvSpPr txBox="1"/>
          <p:nvPr/>
        </p:nvSpPr>
        <p:spPr>
          <a:xfrm>
            <a:off x="3675441" y="2190274"/>
            <a:ext cx="1189180" cy="261610"/>
          </a:xfrm>
          <a:prstGeom prst="rect">
            <a:avLst/>
          </a:prstGeom>
          <a:noFill/>
        </p:spPr>
        <p:txBody>
          <a:bodyPr wrap="square">
            <a:spAutoFit/>
          </a:bodyPr>
          <a:lstStyle/>
          <a:p>
            <a:r>
              <a:rPr lang="en-US" sz="1100" b="1" dirty="0">
                <a:latin typeface="Raleway" pitchFamily="2" charset="0"/>
              </a:rPr>
              <a:t>EVA PHARMA</a:t>
            </a:r>
          </a:p>
        </p:txBody>
      </p:sp>
      <p:sp>
        <p:nvSpPr>
          <p:cNvPr id="18" name="TextBox 17">
            <a:extLst>
              <a:ext uri="{FF2B5EF4-FFF2-40B4-BE49-F238E27FC236}">
                <a16:creationId xmlns:a16="http://schemas.microsoft.com/office/drawing/2014/main" id="{2F0F87A0-CDB6-734A-C48A-E0FE3850F133}"/>
              </a:ext>
            </a:extLst>
          </p:cNvPr>
          <p:cNvSpPr txBox="1"/>
          <p:nvPr/>
        </p:nvSpPr>
        <p:spPr>
          <a:xfrm>
            <a:off x="8789093" y="5744585"/>
            <a:ext cx="2965187" cy="338554"/>
          </a:xfrm>
          <a:prstGeom prst="rect">
            <a:avLst/>
          </a:prstGeom>
          <a:noFill/>
        </p:spPr>
        <p:txBody>
          <a:bodyPr wrap="square" rtlCol="0">
            <a:spAutoFit/>
          </a:bodyPr>
          <a:lstStyle/>
          <a:p>
            <a:r>
              <a:rPr lang="en-US" sz="800" b="1" dirty="0">
                <a:solidFill>
                  <a:schemeClr val="accent1">
                    <a:lumMod val="75000"/>
                  </a:schemeClr>
                </a:solidFill>
                <a:latin typeface="Raleway" pitchFamily="2" charset="0"/>
              </a:rPr>
              <a:t>Blue – New or updated entries (added at the bottom)</a:t>
            </a:r>
          </a:p>
          <a:p>
            <a:r>
              <a:rPr lang="en-US" sz="800" b="1" dirty="0">
                <a:latin typeface="Raleway" pitchFamily="2" charset="0"/>
              </a:rPr>
              <a:t>Black – No update (existing entries)</a:t>
            </a:r>
          </a:p>
        </p:txBody>
      </p:sp>
    </p:spTree>
    <p:extLst>
      <p:ext uri="{BB962C8B-B14F-4D97-AF65-F5344CB8AC3E}">
        <p14:creationId xmlns:p14="http://schemas.microsoft.com/office/powerpoint/2010/main" val="17663452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组合 119">
            <a:extLst>
              <a:ext uri="{FF2B5EF4-FFF2-40B4-BE49-F238E27FC236}">
                <a16:creationId xmlns:a16="http://schemas.microsoft.com/office/drawing/2014/main" id="{A645716F-7243-0EF7-3666-8932F9EE723D}"/>
              </a:ext>
            </a:extLst>
          </p:cNvPr>
          <p:cNvGrpSpPr>
            <a:grpSpLocks/>
          </p:cNvGrpSpPr>
          <p:nvPr/>
        </p:nvGrpSpPr>
        <p:grpSpPr bwMode="auto">
          <a:xfrm>
            <a:off x="202370" y="1217766"/>
            <a:ext cx="3389770" cy="4207480"/>
            <a:chOff x="688913" y="1125538"/>
            <a:chExt cx="4341768" cy="5154612"/>
          </a:xfrm>
        </p:grpSpPr>
        <p:sp>
          <p:nvSpPr>
            <p:cNvPr id="65" name="Freeform 162">
              <a:extLst>
                <a:ext uri="{FF2B5EF4-FFF2-40B4-BE49-F238E27FC236}">
                  <a16:creationId xmlns:a16="http://schemas.microsoft.com/office/drawing/2014/main" id="{99FE5B81-62C0-2986-DAB0-495E097F9DD3}"/>
                </a:ext>
              </a:extLst>
            </p:cNvPr>
            <p:cNvSpPr>
              <a:spLocks/>
            </p:cNvSpPr>
            <p:nvPr/>
          </p:nvSpPr>
          <p:spPr bwMode="auto">
            <a:xfrm>
              <a:off x="2830429" y="2805113"/>
              <a:ext cx="2200252" cy="2265363"/>
            </a:xfrm>
            <a:custGeom>
              <a:avLst/>
              <a:gdLst/>
              <a:ahLst/>
              <a:cxnLst>
                <a:cxn ang="0">
                  <a:pos x="6464" y="1855"/>
                </a:cxn>
                <a:cxn ang="0">
                  <a:pos x="5685" y="1514"/>
                </a:cxn>
                <a:cxn ang="0">
                  <a:pos x="5320" y="1538"/>
                </a:cxn>
                <a:cxn ang="0">
                  <a:pos x="5300" y="1321"/>
                </a:cxn>
                <a:cxn ang="0">
                  <a:pos x="5115" y="1221"/>
                </a:cxn>
                <a:cxn ang="0">
                  <a:pos x="4828" y="1081"/>
                </a:cxn>
                <a:cxn ang="0">
                  <a:pos x="4409" y="1235"/>
                </a:cxn>
                <a:cxn ang="0">
                  <a:pos x="4618" y="999"/>
                </a:cxn>
                <a:cxn ang="0">
                  <a:pos x="4360" y="879"/>
                </a:cxn>
                <a:cxn ang="0">
                  <a:pos x="4234" y="605"/>
                </a:cxn>
                <a:cxn ang="0">
                  <a:pos x="4006" y="207"/>
                </a:cxn>
                <a:cxn ang="0">
                  <a:pos x="3698" y="524"/>
                </a:cxn>
                <a:cxn ang="0">
                  <a:pos x="3269" y="481"/>
                </a:cxn>
                <a:cxn ang="0">
                  <a:pos x="3050" y="567"/>
                </a:cxn>
                <a:cxn ang="0">
                  <a:pos x="2631" y="620"/>
                </a:cxn>
                <a:cxn ang="0">
                  <a:pos x="2631" y="211"/>
                </a:cxn>
                <a:cxn ang="0">
                  <a:pos x="2431" y="14"/>
                </a:cxn>
                <a:cxn ang="0">
                  <a:pos x="2173" y="202"/>
                </a:cxn>
                <a:cxn ang="0">
                  <a:pos x="1939" y="245"/>
                </a:cxn>
                <a:cxn ang="0">
                  <a:pos x="1779" y="284"/>
                </a:cxn>
                <a:cxn ang="0">
                  <a:pos x="1905" y="548"/>
                </a:cxn>
                <a:cxn ang="0">
                  <a:pos x="1540" y="793"/>
                </a:cxn>
                <a:cxn ang="0">
                  <a:pos x="1243" y="721"/>
                </a:cxn>
                <a:cxn ang="0">
                  <a:pos x="751" y="639"/>
                </a:cxn>
                <a:cxn ang="0">
                  <a:pos x="819" y="812"/>
                </a:cxn>
                <a:cxn ang="0">
                  <a:pos x="792" y="1109"/>
                </a:cxn>
                <a:cxn ang="0">
                  <a:pos x="508" y="1742"/>
                </a:cxn>
                <a:cxn ang="0">
                  <a:pos x="144" y="2121"/>
                </a:cxn>
                <a:cxn ang="0">
                  <a:pos x="28" y="2385"/>
                </a:cxn>
                <a:cxn ang="0">
                  <a:pos x="265" y="2710"/>
                </a:cxn>
                <a:cxn ang="0">
                  <a:pos x="595" y="2838"/>
                </a:cxn>
                <a:cxn ang="0">
                  <a:pos x="1033" y="2912"/>
                </a:cxn>
                <a:cxn ang="0">
                  <a:pos x="1518" y="2747"/>
                </a:cxn>
                <a:cxn ang="0">
                  <a:pos x="1756" y="3250"/>
                </a:cxn>
                <a:cxn ang="0">
                  <a:pos x="2313" y="3451"/>
                </a:cxn>
                <a:cxn ang="0">
                  <a:pos x="2597" y="3945"/>
                </a:cxn>
                <a:cxn ang="0">
                  <a:pos x="2854" y="4322"/>
                </a:cxn>
                <a:cxn ang="0">
                  <a:pos x="2743" y="4923"/>
                </a:cxn>
                <a:cxn ang="0">
                  <a:pos x="3118" y="5243"/>
                </a:cxn>
                <a:cxn ang="0">
                  <a:pos x="3219" y="5590"/>
                </a:cxn>
                <a:cxn ang="0">
                  <a:pos x="3109" y="6029"/>
                </a:cxn>
                <a:cxn ang="0">
                  <a:pos x="2624" y="6499"/>
                </a:cxn>
                <a:cxn ang="0">
                  <a:pos x="2918" y="6595"/>
                </a:cxn>
                <a:cxn ang="0">
                  <a:pos x="3194" y="7021"/>
                </a:cxn>
                <a:cxn ang="0">
                  <a:pos x="3422" y="6793"/>
                </a:cxn>
                <a:cxn ang="0">
                  <a:pos x="3668" y="6637"/>
                </a:cxn>
                <a:cxn ang="0">
                  <a:pos x="3734" y="6661"/>
                </a:cxn>
                <a:cxn ang="0">
                  <a:pos x="4136" y="6187"/>
                </a:cxn>
                <a:cxn ang="0">
                  <a:pos x="4352" y="5609"/>
                </a:cxn>
                <a:cxn ang="0">
                  <a:pos x="4919" y="5334"/>
                </a:cxn>
                <a:cxn ang="0">
                  <a:pos x="5395" y="5216"/>
                </a:cxn>
                <a:cxn ang="0">
                  <a:pos x="5670" y="4906"/>
                </a:cxn>
                <a:cxn ang="0">
                  <a:pos x="5834" y="4549"/>
                </a:cxn>
                <a:cxn ang="0">
                  <a:pos x="6046" y="4190"/>
                </a:cxn>
                <a:cxn ang="0">
                  <a:pos x="6086" y="3613"/>
                </a:cxn>
                <a:cxn ang="0">
                  <a:pos x="6372" y="3248"/>
                </a:cxn>
                <a:cxn ang="0">
                  <a:pos x="6885" y="2592"/>
                </a:cxn>
              </a:cxnLst>
              <a:rect l="0" t="0" r="r" b="b"/>
              <a:pathLst>
                <a:path w="6931" h="7135">
                  <a:moveTo>
                    <a:pt x="6896" y="2149"/>
                  </a:moveTo>
                  <a:lnTo>
                    <a:pt x="6830" y="1975"/>
                  </a:lnTo>
                  <a:lnTo>
                    <a:pt x="6620" y="1963"/>
                  </a:lnTo>
                  <a:lnTo>
                    <a:pt x="6464" y="1855"/>
                  </a:lnTo>
                  <a:lnTo>
                    <a:pt x="6270" y="1658"/>
                  </a:lnTo>
                  <a:lnTo>
                    <a:pt x="6025" y="1513"/>
                  </a:lnTo>
                  <a:lnTo>
                    <a:pt x="5860" y="1552"/>
                  </a:lnTo>
                  <a:lnTo>
                    <a:pt x="5685" y="1514"/>
                  </a:lnTo>
                  <a:lnTo>
                    <a:pt x="5534" y="1442"/>
                  </a:lnTo>
                  <a:lnTo>
                    <a:pt x="5437" y="1461"/>
                  </a:lnTo>
                  <a:lnTo>
                    <a:pt x="5383" y="1504"/>
                  </a:lnTo>
                  <a:lnTo>
                    <a:pt x="5320" y="1538"/>
                  </a:lnTo>
                  <a:lnTo>
                    <a:pt x="5252" y="1557"/>
                  </a:lnTo>
                  <a:lnTo>
                    <a:pt x="5271" y="1466"/>
                  </a:lnTo>
                  <a:lnTo>
                    <a:pt x="5354" y="1384"/>
                  </a:lnTo>
                  <a:lnTo>
                    <a:pt x="5300" y="1321"/>
                  </a:lnTo>
                  <a:lnTo>
                    <a:pt x="5237" y="1254"/>
                  </a:lnTo>
                  <a:lnTo>
                    <a:pt x="5198" y="1293"/>
                  </a:lnTo>
                  <a:lnTo>
                    <a:pt x="5149" y="1197"/>
                  </a:lnTo>
                  <a:lnTo>
                    <a:pt x="5115" y="1221"/>
                  </a:lnTo>
                  <a:lnTo>
                    <a:pt x="5037" y="1192"/>
                  </a:lnTo>
                  <a:lnTo>
                    <a:pt x="4993" y="1158"/>
                  </a:lnTo>
                  <a:lnTo>
                    <a:pt x="4920" y="1110"/>
                  </a:lnTo>
                  <a:lnTo>
                    <a:pt x="4828" y="1081"/>
                  </a:lnTo>
                  <a:lnTo>
                    <a:pt x="4682" y="1081"/>
                  </a:lnTo>
                  <a:lnTo>
                    <a:pt x="4628" y="1172"/>
                  </a:lnTo>
                  <a:lnTo>
                    <a:pt x="4492" y="1264"/>
                  </a:lnTo>
                  <a:lnTo>
                    <a:pt x="4409" y="1235"/>
                  </a:lnTo>
                  <a:lnTo>
                    <a:pt x="4462" y="1197"/>
                  </a:lnTo>
                  <a:lnTo>
                    <a:pt x="4536" y="1187"/>
                  </a:lnTo>
                  <a:lnTo>
                    <a:pt x="4613" y="1076"/>
                  </a:lnTo>
                  <a:lnTo>
                    <a:pt x="4618" y="999"/>
                  </a:lnTo>
                  <a:lnTo>
                    <a:pt x="4477" y="966"/>
                  </a:lnTo>
                  <a:lnTo>
                    <a:pt x="4414" y="927"/>
                  </a:lnTo>
                  <a:lnTo>
                    <a:pt x="4423" y="884"/>
                  </a:lnTo>
                  <a:lnTo>
                    <a:pt x="4360" y="879"/>
                  </a:lnTo>
                  <a:lnTo>
                    <a:pt x="4321" y="836"/>
                  </a:lnTo>
                  <a:lnTo>
                    <a:pt x="4365" y="754"/>
                  </a:lnTo>
                  <a:lnTo>
                    <a:pt x="4360" y="668"/>
                  </a:lnTo>
                  <a:lnTo>
                    <a:pt x="4234" y="605"/>
                  </a:lnTo>
                  <a:lnTo>
                    <a:pt x="4165" y="399"/>
                  </a:lnTo>
                  <a:lnTo>
                    <a:pt x="4114" y="268"/>
                  </a:lnTo>
                  <a:lnTo>
                    <a:pt x="4057" y="168"/>
                  </a:lnTo>
                  <a:lnTo>
                    <a:pt x="4006" y="207"/>
                  </a:lnTo>
                  <a:lnTo>
                    <a:pt x="3899" y="366"/>
                  </a:lnTo>
                  <a:lnTo>
                    <a:pt x="3869" y="493"/>
                  </a:lnTo>
                  <a:lnTo>
                    <a:pt x="3803" y="556"/>
                  </a:lnTo>
                  <a:lnTo>
                    <a:pt x="3698" y="524"/>
                  </a:lnTo>
                  <a:lnTo>
                    <a:pt x="3586" y="567"/>
                  </a:lnTo>
                  <a:lnTo>
                    <a:pt x="3444" y="481"/>
                  </a:lnTo>
                  <a:lnTo>
                    <a:pt x="3367" y="500"/>
                  </a:lnTo>
                  <a:lnTo>
                    <a:pt x="3269" y="481"/>
                  </a:lnTo>
                  <a:lnTo>
                    <a:pt x="3254" y="519"/>
                  </a:lnTo>
                  <a:lnTo>
                    <a:pt x="3279" y="591"/>
                  </a:lnTo>
                  <a:lnTo>
                    <a:pt x="3138" y="581"/>
                  </a:lnTo>
                  <a:lnTo>
                    <a:pt x="3050" y="567"/>
                  </a:lnTo>
                  <a:lnTo>
                    <a:pt x="2987" y="601"/>
                  </a:lnTo>
                  <a:lnTo>
                    <a:pt x="2875" y="615"/>
                  </a:lnTo>
                  <a:lnTo>
                    <a:pt x="2758" y="697"/>
                  </a:lnTo>
                  <a:lnTo>
                    <a:pt x="2631" y="620"/>
                  </a:lnTo>
                  <a:lnTo>
                    <a:pt x="2553" y="529"/>
                  </a:lnTo>
                  <a:lnTo>
                    <a:pt x="2543" y="399"/>
                  </a:lnTo>
                  <a:lnTo>
                    <a:pt x="2573" y="298"/>
                  </a:lnTo>
                  <a:lnTo>
                    <a:pt x="2631" y="211"/>
                  </a:lnTo>
                  <a:lnTo>
                    <a:pt x="2529" y="120"/>
                  </a:lnTo>
                  <a:lnTo>
                    <a:pt x="2543" y="38"/>
                  </a:lnTo>
                  <a:lnTo>
                    <a:pt x="2509" y="0"/>
                  </a:lnTo>
                  <a:lnTo>
                    <a:pt x="2431" y="14"/>
                  </a:lnTo>
                  <a:lnTo>
                    <a:pt x="2431" y="58"/>
                  </a:lnTo>
                  <a:lnTo>
                    <a:pt x="2363" y="130"/>
                  </a:lnTo>
                  <a:lnTo>
                    <a:pt x="2280" y="159"/>
                  </a:lnTo>
                  <a:lnTo>
                    <a:pt x="2173" y="202"/>
                  </a:lnTo>
                  <a:lnTo>
                    <a:pt x="2095" y="187"/>
                  </a:lnTo>
                  <a:lnTo>
                    <a:pt x="2027" y="221"/>
                  </a:lnTo>
                  <a:lnTo>
                    <a:pt x="2032" y="298"/>
                  </a:lnTo>
                  <a:lnTo>
                    <a:pt x="1939" y="245"/>
                  </a:lnTo>
                  <a:lnTo>
                    <a:pt x="1813" y="211"/>
                  </a:lnTo>
                  <a:lnTo>
                    <a:pt x="1667" y="178"/>
                  </a:lnTo>
                  <a:lnTo>
                    <a:pt x="1696" y="226"/>
                  </a:lnTo>
                  <a:lnTo>
                    <a:pt x="1779" y="284"/>
                  </a:lnTo>
                  <a:lnTo>
                    <a:pt x="1774" y="370"/>
                  </a:lnTo>
                  <a:lnTo>
                    <a:pt x="1832" y="461"/>
                  </a:lnTo>
                  <a:lnTo>
                    <a:pt x="1939" y="476"/>
                  </a:lnTo>
                  <a:lnTo>
                    <a:pt x="1905" y="548"/>
                  </a:lnTo>
                  <a:lnTo>
                    <a:pt x="1798" y="581"/>
                  </a:lnTo>
                  <a:lnTo>
                    <a:pt x="1798" y="634"/>
                  </a:lnTo>
                  <a:lnTo>
                    <a:pt x="1637" y="702"/>
                  </a:lnTo>
                  <a:lnTo>
                    <a:pt x="1540" y="793"/>
                  </a:lnTo>
                  <a:lnTo>
                    <a:pt x="1496" y="740"/>
                  </a:lnTo>
                  <a:lnTo>
                    <a:pt x="1418" y="798"/>
                  </a:lnTo>
                  <a:lnTo>
                    <a:pt x="1330" y="735"/>
                  </a:lnTo>
                  <a:lnTo>
                    <a:pt x="1243" y="721"/>
                  </a:lnTo>
                  <a:lnTo>
                    <a:pt x="1243" y="644"/>
                  </a:lnTo>
                  <a:lnTo>
                    <a:pt x="1189" y="562"/>
                  </a:lnTo>
                  <a:lnTo>
                    <a:pt x="1067" y="649"/>
                  </a:lnTo>
                  <a:lnTo>
                    <a:pt x="751" y="639"/>
                  </a:lnTo>
                  <a:lnTo>
                    <a:pt x="765" y="754"/>
                  </a:lnTo>
                  <a:lnTo>
                    <a:pt x="868" y="745"/>
                  </a:lnTo>
                  <a:lnTo>
                    <a:pt x="897" y="836"/>
                  </a:lnTo>
                  <a:lnTo>
                    <a:pt x="819" y="812"/>
                  </a:lnTo>
                  <a:lnTo>
                    <a:pt x="707" y="841"/>
                  </a:lnTo>
                  <a:lnTo>
                    <a:pt x="717" y="985"/>
                  </a:lnTo>
                  <a:lnTo>
                    <a:pt x="804" y="1028"/>
                  </a:lnTo>
                  <a:lnTo>
                    <a:pt x="792" y="1109"/>
                  </a:lnTo>
                  <a:lnTo>
                    <a:pt x="838" y="1201"/>
                  </a:lnTo>
                  <a:lnTo>
                    <a:pt x="705" y="1747"/>
                  </a:lnTo>
                  <a:lnTo>
                    <a:pt x="604" y="1718"/>
                  </a:lnTo>
                  <a:lnTo>
                    <a:pt x="508" y="1742"/>
                  </a:lnTo>
                  <a:lnTo>
                    <a:pt x="388" y="1766"/>
                  </a:lnTo>
                  <a:lnTo>
                    <a:pt x="244" y="1864"/>
                  </a:lnTo>
                  <a:lnTo>
                    <a:pt x="148" y="2025"/>
                  </a:lnTo>
                  <a:lnTo>
                    <a:pt x="144" y="2121"/>
                  </a:lnTo>
                  <a:lnTo>
                    <a:pt x="98" y="2158"/>
                  </a:lnTo>
                  <a:lnTo>
                    <a:pt x="14" y="2227"/>
                  </a:lnTo>
                  <a:lnTo>
                    <a:pt x="0" y="2313"/>
                  </a:lnTo>
                  <a:lnTo>
                    <a:pt x="28" y="2385"/>
                  </a:lnTo>
                  <a:lnTo>
                    <a:pt x="83" y="2454"/>
                  </a:lnTo>
                  <a:lnTo>
                    <a:pt x="137" y="2564"/>
                  </a:lnTo>
                  <a:lnTo>
                    <a:pt x="165" y="2656"/>
                  </a:lnTo>
                  <a:lnTo>
                    <a:pt x="265" y="2710"/>
                  </a:lnTo>
                  <a:lnTo>
                    <a:pt x="339" y="2802"/>
                  </a:lnTo>
                  <a:lnTo>
                    <a:pt x="460" y="2779"/>
                  </a:lnTo>
                  <a:lnTo>
                    <a:pt x="571" y="2681"/>
                  </a:lnTo>
                  <a:lnTo>
                    <a:pt x="595" y="2838"/>
                  </a:lnTo>
                  <a:lnTo>
                    <a:pt x="595" y="2966"/>
                  </a:lnTo>
                  <a:lnTo>
                    <a:pt x="750" y="2939"/>
                  </a:lnTo>
                  <a:lnTo>
                    <a:pt x="915" y="2966"/>
                  </a:lnTo>
                  <a:lnTo>
                    <a:pt x="1033" y="2912"/>
                  </a:lnTo>
                  <a:lnTo>
                    <a:pt x="1161" y="2848"/>
                  </a:lnTo>
                  <a:lnTo>
                    <a:pt x="1271" y="2784"/>
                  </a:lnTo>
                  <a:lnTo>
                    <a:pt x="1417" y="2756"/>
                  </a:lnTo>
                  <a:lnTo>
                    <a:pt x="1518" y="2747"/>
                  </a:lnTo>
                  <a:lnTo>
                    <a:pt x="1518" y="2893"/>
                  </a:lnTo>
                  <a:lnTo>
                    <a:pt x="1527" y="3049"/>
                  </a:lnTo>
                  <a:lnTo>
                    <a:pt x="1637" y="3168"/>
                  </a:lnTo>
                  <a:lnTo>
                    <a:pt x="1756" y="3250"/>
                  </a:lnTo>
                  <a:lnTo>
                    <a:pt x="1893" y="3268"/>
                  </a:lnTo>
                  <a:lnTo>
                    <a:pt x="2048" y="3350"/>
                  </a:lnTo>
                  <a:lnTo>
                    <a:pt x="2149" y="3424"/>
                  </a:lnTo>
                  <a:lnTo>
                    <a:pt x="2313" y="3451"/>
                  </a:lnTo>
                  <a:lnTo>
                    <a:pt x="2396" y="3570"/>
                  </a:lnTo>
                  <a:lnTo>
                    <a:pt x="2368" y="3734"/>
                  </a:lnTo>
                  <a:lnTo>
                    <a:pt x="2441" y="3926"/>
                  </a:lnTo>
                  <a:lnTo>
                    <a:pt x="2597" y="3945"/>
                  </a:lnTo>
                  <a:lnTo>
                    <a:pt x="2734" y="3963"/>
                  </a:lnTo>
                  <a:lnTo>
                    <a:pt x="2697" y="4082"/>
                  </a:lnTo>
                  <a:lnTo>
                    <a:pt x="2780" y="4173"/>
                  </a:lnTo>
                  <a:lnTo>
                    <a:pt x="2854" y="4322"/>
                  </a:lnTo>
                  <a:lnTo>
                    <a:pt x="2840" y="4432"/>
                  </a:lnTo>
                  <a:lnTo>
                    <a:pt x="2761" y="4576"/>
                  </a:lnTo>
                  <a:lnTo>
                    <a:pt x="2725" y="4758"/>
                  </a:lnTo>
                  <a:lnTo>
                    <a:pt x="2743" y="4923"/>
                  </a:lnTo>
                  <a:lnTo>
                    <a:pt x="2725" y="5024"/>
                  </a:lnTo>
                  <a:lnTo>
                    <a:pt x="2944" y="5042"/>
                  </a:lnTo>
                  <a:lnTo>
                    <a:pt x="3091" y="5097"/>
                  </a:lnTo>
                  <a:lnTo>
                    <a:pt x="3118" y="5243"/>
                  </a:lnTo>
                  <a:lnTo>
                    <a:pt x="3118" y="5380"/>
                  </a:lnTo>
                  <a:lnTo>
                    <a:pt x="3237" y="5344"/>
                  </a:lnTo>
                  <a:lnTo>
                    <a:pt x="3292" y="5435"/>
                  </a:lnTo>
                  <a:lnTo>
                    <a:pt x="3219" y="5590"/>
                  </a:lnTo>
                  <a:lnTo>
                    <a:pt x="3292" y="5682"/>
                  </a:lnTo>
                  <a:lnTo>
                    <a:pt x="3319" y="5837"/>
                  </a:lnTo>
                  <a:lnTo>
                    <a:pt x="3292" y="5965"/>
                  </a:lnTo>
                  <a:lnTo>
                    <a:pt x="3109" y="6029"/>
                  </a:lnTo>
                  <a:lnTo>
                    <a:pt x="2944" y="6121"/>
                  </a:lnTo>
                  <a:lnTo>
                    <a:pt x="2807" y="6267"/>
                  </a:lnTo>
                  <a:lnTo>
                    <a:pt x="2696" y="6391"/>
                  </a:lnTo>
                  <a:lnTo>
                    <a:pt x="2624" y="6499"/>
                  </a:lnTo>
                  <a:lnTo>
                    <a:pt x="2720" y="6463"/>
                  </a:lnTo>
                  <a:lnTo>
                    <a:pt x="2828" y="6577"/>
                  </a:lnTo>
                  <a:lnTo>
                    <a:pt x="2834" y="6643"/>
                  </a:lnTo>
                  <a:lnTo>
                    <a:pt x="2918" y="6595"/>
                  </a:lnTo>
                  <a:lnTo>
                    <a:pt x="2990" y="6709"/>
                  </a:lnTo>
                  <a:lnTo>
                    <a:pt x="3104" y="6799"/>
                  </a:lnTo>
                  <a:lnTo>
                    <a:pt x="3212" y="6901"/>
                  </a:lnTo>
                  <a:lnTo>
                    <a:pt x="3194" y="7021"/>
                  </a:lnTo>
                  <a:lnTo>
                    <a:pt x="3176" y="7135"/>
                  </a:lnTo>
                  <a:lnTo>
                    <a:pt x="3314" y="7033"/>
                  </a:lnTo>
                  <a:lnTo>
                    <a:pt x="3392" y="6895"/>
                  </a:lnTo>
                  <a:lnTo>
                    <a:pt x="3422" y="6793"/>
                  </a:lnTo>
                  <a:lnTo>
                    <a:pt x="3548" y="6691"/>
                  </a:lnTo>
                  <a:lnTo>
                    <a:pt x="3620" y="6547"/>
                  </a:lnTo>
                  <a:lnTo>
                    <a:pt x="3674" y="6571"/>
                  </a:lnTo>
                  <a:lnTo>
                    <a:pt x="3668" y="6637"/>
                  </a:lnTo>
                  <a:lnTo>
                    <a:pt x="3584" y="6733"/>
                  </a:lnTo>
                  <a:lnTo>
                    <a:pt x="3494" y="6853"/>
                  </a:lnTo>
                  <a:lnTo>
                    <a:pt x="3638" y="6757"/>
                  </a:lnTo>
                  <a:lnTo>
                    <a:pt x="3734" y="6661"/>
                  </a:lnTo>
                  <a:lnTo>
                    <a:pt x="3863" y="6425"/>
                  </a:lnTo>
                  <a:lnTo>
                    <a:pt x="3951" y="6362"/>
                  </a:lnTo>
                  <a:lnTo>
                    <a:pt x="4034" y="6295"/>
                  </a:lnTo>
                  <a:lnTo>
                    <a:pt x="4136" y="6187"/>
                  </a:lnTo>
                  <a:lnTo>
                    <a:pt x="4141" y="6031"/>
                  </a:lnTo>
                  <a:lnTo>
                    <a:pt x="4179" y="5810"/>
                  </a:lnTo>
                  <a:lnTo>
                    <a:pt x="4288" y="5673"/>
                  </a:lnTo>
                  <a:lnTo>
                    <a:pt x="4352" y="5609"/>
                  </a:lnTo>
                  <a:lnTo>
                    <a:pt x="4489" y="5536"/>
                  </a:lnTo>
                  <a:lnTo>
                    <a:pt x="4645" y="5462"/>
                  </a:lnTo>
                  <a:lnTo>
                    <a:pt x="4791" y="5426"/>
                  </a:lnTo>
                  <a:lnTo>
                    <a:pt x="4919" y="5334"/>
                  </a:lnTo>
                  <a:lnTo>
                    <a:pt x="5020" y="5344"/>
                  </a:lnTo>
                  <a:lnTo>
                    <a:pt x="5148" y="5280"/>
                  </a:lnTo>
                  <a:lnTo>
                    <a:pt x="5321" y="5298"/>
                  </a:lnTo>
                  <a:lnTo>
                    <a:pt x="5395" y="5216"/>
                  </a:lnTo>
                  <a:lnTo>
                    <a:pt x="5523" y="5152"/>
                  </a:lnTo>
                  <a:lnTo>
                    <a:pt x="5587" y="5051"/>
                  </a:lnTo>
                  <a:lnTo>
                    <a:pt x="5605" y="4960"/>
                  </a:lnTo>
                  <a:lnTo>
                    <a:pt x="5670" y="4906"/>
                  </a:lnTo>
                  <a:lnTo>
                    <a:pt x="5714" y="4825"/>
                  </a:lnTo>
                  <a:lnTo>
                    <a:pt x="5774" y="4735"/>
                  </a:lnTo>
                  <a:lnTo>
                    <a:pt x="5858" y="4675"/>
                  </a:lnTo>
                  <a:lnTo>
                    <a:pt x="5834" y="4549"/>
                  </a:lnTo>
                  <a:lnTo>
                    <a:pt x="5924" y="4423"/>
                  </a:lnTo>
                  <a:lnTo>
                    <a:pt x="5990" y="4339"/>
                  </a:lnTo>
                  <a:lnTo>
                    <a:pt x="5990" y="4219"/>
                  </a:lnTo>
                  <a:lnTo>
                    <a:pt x="6046" y="4190"/>
                  </a:lnTo>
                  <a:lnTo>
                    <a:pt x="6050" y="4060"/>
                  </a:lnTo>
                  <a:lnTo>
                    <a:pt x="6053" y="3844"/>
                  </a:lnTo>
                  <a:lnTo>
                    <a:pt x="6116" y="3685"/>
                  </a:lnTo>
                  <a:lnTo>
                    <a:pt x="6086" y="3613"/>
                  </a:lnTo>
                  <a:lnTo>
                    <a:pt x="6158" y="3493"/>
                  </a:lnTo>
                  <a:lnTo>
                    <a:pt x="6254" y="3463"/>
                  </a:lnTo>
                  <a:lnTo>
                    <a:pt x="6338" y="3367"/>
                  </a:lnTo>
                  <a:lnTo>
                    <a:pt x="6372" y="3248"/>
                  </a:lnTo>
                  <a:lnTo>
                    <a:pt x="6484" y="3071"/>
                  </a:lnTo>
                  <a:lnTo>
                    <a:pt x="6654" y="2950"/>
                  </a:lnTo>
                  <a:lnTo>
                    <a:pt x="6800" y="2809"/>
                  </a:lnTo>
                  <a:lnTo>
                    <a:pt x="6885" y="2592"/>
                  </a:lnTo>
                  <a:lnTo>
                    <a:pt x="6931" y="2372"/>
                  </a:lnTo>
                  <a:lnTo>
                    <a:pt x="6896" y="2149"/>
                  </a:lnTo>
                  <a:close/>
                </a:path>
              </a:pathLst>
            </a:custGeom>
            <a:solidFill>
              <a:schemeClr val="accent2"/>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a:defRPr/>
              </a:pPr>
              <a:endParaRPr lang="zh-CN" altLang="en-US" b="1" kern="0">
                <a:solidFill>
                  <a:srgbClr val="000000"/>
                </a:solidFill>
                <a:latin typeface="Arial" charset="0"/>
                <a:ea typeface="+mn-ea"/>
              </a:endParaRPr>
            </a:p>
          </p:txBody>
        </p:sp>
        <p:sp>
          <p:nvSpPr>
            <p:cNvPr id="66" name="Freeform 163">
              <a:extLst>
                <a:ext uri="{FF2B5EF4-FFF2-40B4-BE49-F238E27FC236}">
                  <a16:creationId xmlns:a16="http://schemas.microsoft.com/office/drawing/2014/main" id="{D3CBA578-C9D2-DB9B-22ED-44BCE1E1C912}"/>
                </a:ext>
              </a:extLst>
            </p:cNvPr>
            <p:cNvSpPr>
              <a:spLocks/>
            </p:cNvSpPr>
            <p:nvPr/>
          </p:nvSpPr>
          <p:spPr bwMode="auto">
            <a:xfrm>
              <a:off x="3438435" y="4232275"/>
              <a:ext cx="434970" cy="474662"/>
            </a:xfrm>
            <a:custGeom>
              <a:avLst/>
              <a:gdLst/>
              <a:ahLst/>
              <a:cxnLst>
                <a:cxn ang="0">
                  <a:pos x="0" y="519"/>
                </a:cxn>
                <a:cxn ang="0">
                  <a:pos x="47" y="598"/>
                </a:cxn>
                <a:cxn ang="0">
                  <a:pos x="102" y="685"/>
                </a:cxn>
                <a:cxn ang="0">
                  <a:pos x="168" y="747"/>
                </a:cxn>
                <a:cxn ang="0">
                  <a:pos x="240" y="814"/>
                </a:cxn>
                <a:cxn ang="0">
                  <a:pos x="350" y="861"/>
                </a:cxn>
                <a:cxn ang="0">
                  <a:pos x="465" y="903"/>
                </a:cxn>
                <a:cxn ang="0">
                  <a:pos x="527" y="973"/>
                </a:cxn>
                <a:cxn ang="0">
                  <a:pos x="641" y="1026"/>
                </a:cxn>
                <a:cxn ang="0">
                  <a:pos x="725" y="1054"/>
                </a:cxn>
                <a:cxn ang="0">
                  <a:pos x="797" y="1086"/>
                </a:cxn>
                <a:cxn ang="0">
                  <a:pos x="732" y="1210"/>
                </a:cxn>
                <a:cxn ang="0">
                  <a:pos x="662" y="1311"/>
                </a:cxn>
                <a:cxn ang="0">
                  <a:pos x="584" y="1414"/>
                </a:cxn>
                <a:cxn ang="0">
                  <a:pos x="678" y="1482"/>
                </a:cxn>
                <a:cxn ang="0">
                  <a:pos x="863" y="1491"/>
                </a:cxn>
                <a:cxn ang="0">
                  <a:pos x="1056" y="1494"/>
                </a:cxn>
                <a:cxn ang="0">
                  <a:pos x="1096" y="1462"/>
                </a:cxn>
                <a:cxn ang="0">
                  <a:pos x="1131" y="1441"/>
                </a:cxn>
                <a:cxn ang="0">
                  <a:pos x="1194" y="1363"/>
                </a:cxn>
                <a:cxn ang="0">
                  <a:pos x="1254" y="1296"/>
                </a:cxn>
                <a:cxn ang="0">
                  <a:pos x="1293" y="1173"/>
                </a:cxn>
                <a:cxn ang="0">
                  <a:pos x="1301" y="1095"/>
                </a:cxn>
                <a:cxn ang="0">
                  <a:pos x="1340" y="1011"/>
                </a:cxn>
                <a:cxn ang="0">
                  <a:pos x="1371" y="942"/>
                </a:cxn>
                <a:cxn ang="0">
                  <a:pos x="1320" y="850"/>
                </a:cxn>
                <a:cxn ang="0">
                  <a:pos x="1200" y="883"/>
                </a:cxn>
                <a:cxn ang="0">
                  <a:pos x="1199" y="747"/>
                </a:cxn>
                <a:cxn ang="0">
                  <a:pos x="1172" y="604"/>
                </a:cxn>
                <a:cxn ang="0">
                  <a:pos x="1092" y="573"/>
                </a:cxn>
                <a:cxn ang="0">
                  <a:pos x="1028" y="549"/>
                </a:cxn>
                <a:cxn ang="0">
                  <a:pos x="807" y="529"/>
                </a:cxn>
                <a:cxn ang="0">
                  <a:pos x="824" y="432"/>
                </a:cxn>
                <a:cxn ang="0">
                  <a:pos x="807" y="261"/>
                </a:cxn>
                <a:cxn ang="0">
                  <a:pos x="842" y="82"/>
                </a:cxn>
                <a:cxn ang="0">
                  <a:pos x="725" y="64"/>
                </a:cxn>
                <a:cxn ang="0">
                  <a:pos x="623" y="36"/>
                </a:cxn>
                <a:cxn ang="0">
                  <a:pos x="470" y="28"/>
                </a:cxn>
                <a:cxn ang="0">
                  <a:pos x="309" y="27"/>
                </a:cxn>
                <a:cxn ang="0">
                  <a:pos x="200" y="0"/>
                </a:cxn>
                <a:cxn ang="0">
                  <a:pos x="138" y="136"/>
                </a:cxn>
                <a:cxn ang="0">
                  <a:pos x="65" y="237"/>
                </a:cxn>
                <a:cxn ang="0">
                  <a:pos x="47" y="363"/>
                </a:cxn>
                <a:cxn ang="0">
                  <a:pos x="0" y="519"/>
                </a:cxn>
              </a:cxnLst>
              <a:rect l="0" t="0" r="r" b="b"/>
              <a:pathLst>
                <a:path w="1371" h="1494">
                  <a:moveTo>
                    <a:pt x="0" y="519"/>
                  </a:moveTo>
                  <a:lnTo>
                    <a:pt x="47" y="598"/>
                  </a:lnTo>
                  <a:lnTo>
                    <a:pt x="102" y="685"/>
                  </a:lnTo>
                  <a:lnTo>
                    <a:pt x="168" y="747"/>
                  </a:lnTo>
                  <a:lnTo>
                    <a:pt x="240" y="814"/>
                  </a:lnTo>
                  <a:lnTo>
                    <a:pt x="350" y="861"/>
                  </a:lnTo>
                  <a:lnTo>
                    <a:pt x="465" y="903"/>
                  </a:lnTo>
                  <a:lnTo>
                    <a:pt x="527" y="973"/>
                  </a:lnTo>
                  <a:lnTo>
                    <a:pt x="641" y="1026"/>
                  </a:lnTo>
                  <a:lnTo>
                    <a:pt x="725" y="1054"/>
                  </a:lnTo>
                  <a:lnTo>
                    <a:pt x="797" y="1086"/>
                  </a:lnTo>
                  <a:lnTo>
                    <a:pt x="732" y="1210"/>
                  </a:lnTo>
                  <a:lnTo>
                    <a:pt x="662" y="1311"/>
                  </a:lnTo>
                  <a:lnTo>
                    <a:pt x="584" y="1414"/>
                  </a:lnTo>
                  <a:lnTo>
                    <a:pt x="678" y="1482"/>
                  </a:lnTo>
                  <a:lnTo>
                    <a:pt x="863" y="1491"/>
                  </a:lnTo>
                  <a:lnTo>
                    <a:pt x="1056" y="1494"/>
                  </a:lnTo>
                  <a:lnTo>
                    <a:pt x="1096" y="1462"/>
                  </a:lnTo>
                  <a:lnTo>
                    <a:pt x="1131" y="1441"/>
                  </a:lnTo>
                  <a:lnTo>
                    <a:pt x="1194" y="1363"/>
                  </a:lnTo>
                  <a:lnTo>
                    <a:pt x="1254" y="1296"/>
                  </a:lnTo>
                  <a:lnTo>
                    <a:pt x="1293" y="1173"/>
                  </a:lnTo>
                  <a:lnTo>
                    <a:pt x="1301" y="1095"/>
                  </a:lnTo>
                  <a:lnTo>
                    <a:pt x="1340" y="1011"/>
                  </a:lnTo>
                  <a:lnTo>
                    <a:pt x="1371" y="942"/>
                  </a:lnTo>
                  <a:lnTo>
                    <a:pt x="1320" y="850"/>
                  </a:lnTo>
                  <a:lnTo>
                    <a:pt x="1200" y="883"/>
                  </a:lnTo>
                  <a:lnTo>
                    <a:pt x="1199" y="747"/>
                  </a:lnTo>
                  <a:lnTo>
                    <a:pt x="1172" y="604"/>
                  </a:lnTo>
                  <a:lnTo>
                    <a:pt x="1092" y="573"/>
                  </a:lnTo>
                  <a:lnTo>
                    <a:pt x="1028" y="549"/>
                  </a:lnTo>
                  <a:lnTo>
                    <a:pt x="807" y="529"/>
                  </a:lnTo>
                  <a:lnTo>
                    <a:pt x="824" y="432"/>
                  </a:lnTo>
                  <a:lnTo>
                    <a:pt x="807" y="261"/>
                  </a:lnTo>
                  <a:lnTo>
                    <a:pt x="842" y="82"/>
                  </a:lnTo>
                  <a:lnTo>
                    <a:pt x="725" y="64"/>
                  </a:lnTo>
                  <a:lnTo>
                    <a:pt x="623" y="36"/>
                  </a:lnTo>
                  <a:lnTo>
                    <a:pt x="470" y="28"/>
                  </a:lnTo>
                  <a:lnTo>
                    <a:pt x="309" y="27"/>
                  </a:lnTo>
                  <a:lnTo>
                    <a:pt x="200" y="0"/>
                  </a:lnTo>
                  <a:lnTo>
                    <a:pt x="138" y="136"/>
                  </a:lnTo>
                  <a:lnTo>
                    <a:pt x="65" y="237"/>
                  </a:lnTo>
                  <a:lnTo>
                    <a:pt x="47" y="363"/>
                  </a:lnTo>
                  <a:lnTo>
                    <a:pt x="0" y="519"/>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67" name="Freeform 164">
              <a:extLst>
                <a:ext uri="{FF2B5EF4-FFF2-40B4-BE49-F238E27FC236}">
                  <a16:creationId xmlns:a16="http://schemas.microsoft.com/office/drawing/2014/main" id="{207271F2-6F4C-C341-8AA7-354CFBC9DBA6}"/>
                </a:ext>
              </a:extLst>
            </p:cNvPr>
            <p:cNvSpPr>
              <a:spLocks/>
            </p:cNvSpPr>
            <p:nvPr/>
          </p:nvSpPr>
          <p:spPr bwMode="auto">
            <a:xfrm>
              <a:off x="2811379" y="4370387"/>
              <a:ext cx="1071551" cy="1671638"/>
            </a:xfrm>
            <a:custGeom>
              <a:avLst/>
              <a:gdLst/>
              <a:ahLst/>
              <a:cxnLst>
                <a:cxn ang="0">
                  <a:pos x="912" y="840"/>
                </a:cxn>
                <a:cxn ang="0">
                  <a:pos x="808" y="1032"/>
                </a:cxn>
                <a:cxn ang="0">
                  <a:pos x="664" y="1336"/>
                </a:cxn>
                <a:cxn ang="0">
                  <a:pos x="600" y="1624"/>
                </a:cxn>
                <a:cxn ang="0">
                  <a:pos x="632" y="2000"/>
                </a:cxn>
                <a:cxn ang="0">
                  <a:pos x="560" y="2304"/>
                </a:cxn>
                <a:cxn ang="0">
                  <a:pos x="424" y="2600"/>
                </a:cxn>
                <a:cxn ang="0">
                  <a:pos x="376" y="3024"/>
                </a:cxn>
                <a:cxn ang="0">
                  <a:pos x="296" y="3392"/>
                </a:cxn>
                <a:cxn ang="0">
                  <a:pos x="240" y="3696"/>
                </a:cxn>
                <a:cxn ang="0">
                  <a:pos x="255" y="3934"/>
                </a:cxn>
                <a:cxn ang="0">
                  <a:pos x="360" y="4112"/>
                </a:cxn>
                <a:cxn ang="0">
                  <a:pos x="280" y="4336"/>
                </a:cxn>
                <a:cxn ang="0">
                  <a:pos x="96" y="4712"/>
                </a:cxn>
                <a:cxn ang="0">
                  <a:pos x="56" y="4992"/>
                </a:cxn>
                <a:cxn ang="0">
                  <a:pos x="184" y="5152"/>
                </a:cxn>
                <a:cxn ang="0">
                  <a:pos x="624" y="5264"/>
                </a:cxn>
                <a:cxn ang="0">
                  <a:pos x="651" y="4922"/>
                </a:cxn>
                <a:cxn ang="0">
                  <a:pos x="888" y="4664"/>
                </a:cxn>
                <a:cxn ang="0">
                  <a:pos x="1056" y="4504"/>
                </a:cxn>
                <a:cxn ang="0">
                  <a:pos x="888" y="4328"/>
                </a:cxn>
                <a:cxn ang="0">
                  <a:pos x="968" y="4112"/>
                </a:cxn>
                <a:cxn ang="0">
                  <a:pos x="1160" y="3992"/>
                </a:cxn>
                <a:cxn ang="0">
                  <a:pos x="1344" y="3744"/>
                </a:cxn>
                <a:cxn ang="0">
                  <a:pos x="1280" y="3544"/>
                </a:cxn>
                <a:cxn ang="0">
                  <a:pos x="1384" y="3368"/>
                </a:cxn>
                <a:cxn ang="0">
                  <a:pos x="1696" y="3392"/>
                </a:cxn>
                <a:cxn ang="0">
                  <a:pos x="1776" y="3048"/>
                </a:cxn>
                <a:cxn ang="0">
                  <a:pos x="2184" y="3040"/>
                </a:cxn>
                <a:cxn ang="0">
                  <a:pos x="2544" y="2848"/>
                </a:cxn>
                <a:cxn ang="0">
                  <a:pos x="2568" y="2608"/>
                </a:cxn>
                <a:cxn ang="0">
                  <a:pos x="2536" y="2400"/>
                </a:cxn>
                <a:cxn ang="0">
                  <a:pos x="2448" y="2144"/>
                </a:cxn>
                <a:cxn ang="0">
                  <a:pos x="2544" y="1816"/>
                </a:cxn>
                <a:cxn ang="0">
                  <a:pos x="2684" y="1566"/>
                </a:cxn>
                <a:cxn ang="0">
                  <a:pos x="3000" y="1192"/>
                </a:cxn>
                <a:cxn ang="0">
                  <a:pos x="3368" y="964"/>
                </a:cxn>
                <a:cxn ang="0">
                  <a:pos x="3280" y="658"/>
                </a:cxn>
                <a:cxn ang="0">
                  <a:pos x="3104" y="1008"/>
                </a:cxn>
                <a:cxn ang="0">
                  <a:pos x="2560" y="976"/>
                </a:cxn>
                <a:cxn ang="0">
                  <a:pos x="2776" y="648"/>
                </a:cxn>
                <a:cxn ang="0">
                  <a:pos x="2440" y="464"/>
                </a:cxn>
                <a:cxn ang="0">
                  <a:pos x="2072" y="240"/>
                </a:cxn>
                <a:cxn ang="0">
                  <a:pos x="1728" y="64"/>
                </a:cxn>
                <a:cxn ang="0">
                  <a:pos x="1552" y="56"/>
                </a:cxn>
                <a:cxn ang="0">
                  <a:pos x="1336" y="56"/>
                </a:cxn>
                <a:cxn ang="0">
                  <a:pos x="1176" y="288"/>
                </a:cxn>
                <a:cxn ang="0">
                  <a:pos x="976" y="480"/>
                </a:cxn>
              </a:cxnLst>
              <a:rect l="0" t="0" r="r" b="b"/>
              <a:pathLst>
                <a:path w="3378" h="5264">
                  <a:moveTo>
                    <a:pt x="952" y="632"/>
                  </a:moveTo>
                  <a:lnTo>
                    <a:pt x="952" y="752"/>
                  </a:lnTo>
                  <a:lnTo>
                    <a:pt x="912" y="840"/>
                  </a:lnTo>
                  <a:lnTo>
                    <a:pt x="976" y="904"/>
                  </a:lnTo>
                  <a:lnTo>
                    <a:pt x="888" y="960"/>
                  </a:lnTo>
                  <a:lnTo>
                    <a:pt x="808" y="1032"/>
                  </a:lnTo>
                  <a:lnTo>
                    <a:pt x="760" y="1160"/>
                  </a:lnTo>
                  <a:lnTo>
                    <a:pt x="712" y="1240"/>
                  </a:lnTo>
                  <a:lnTo>
                    <a:pt x="664" y="1336"/>
                  </a:lnTo>
                  <a:lnTo>
                    <a:pt x="680" y="1440"/>
                  </a:lnTo>
                  <a:lnTo>
                    <a:pt x="656" y="1520"/>
                  </a:lnTo>
                  <a:lnTo>
                    <a:pt x="600" y="1624"/>
                  </a:lnTo>
                  <a:lnTo>
                    <a:pt x="560" y="1728"/>
                  </a:lnTo>
                  <a:lnTo>
                    <a:pt x="600" y="1848"/>
                  </a:lnTo>
                  <a:lnTo>
                    <a:pt x="632" y="2000"/>
                  </a:lnTo>
                  <a:lnTo>
                    <a:pt x="664" y="2104"/>
                  </a:lnTo>
                  <a:lnTo>
                    <a:pt x="656" y="2192"/>
                  </a:lnTo>
                  <a:lnTo>
                    <a:pt x="560" y="2304"/>
                  </a:lnTo>
                  <a:lnTo>
                    <a:pt x="544" y="2384"/>
                  </a:lnTo>
                  <a:lnTo>
                    <a:pt x="560" y="2488"/>
                  </a:lnTo>
                  <a:lnTo>
                    <a:pt x="424" y="2600"/>
                  </a:lnTo>
                  <a:lnTo>
                    <a:pt x="424" y="2768"/>
                  </a:lnTo>
                  <a:lnTo>
                    <a:pt x="464" y="2976"/>
                  </a:lnTo>
                  <a:lnTo>
                    <a:pt x="376" y="3024"/>
                  </a:lnTo>
                  <a:lnTo>
                    <a:pt x="352" y="3136"/>
                  </a:lnTo>
                  <a:lnTo>
                    <a:pt x="312" y="3272"/>
                  </a:lnTo>
                  <a:lnTo>
                    <a:pt x="296" y="3392"/>
                  </a:lnTo>
                  <a:lnTo>
                    <a:pt x="312" y="3520"/>
                  </a:lnTo>
                  <a:lnTo>
                    <a:pt x="256" y="3576"/>
                  </a:lnTo>
                  <a:lnTo>
                    <a:pt x="240" y="3696"/>
                  </a:lnTo>
                  <a:lnTo>
                    <a:pt x="296" y="3760"/>
                  </a:lnTo>
                  <a:lnTo>
                    <a:pt x="304" y="3856"/>
                  </a:lnTo>
                  <a:lnTo>
                    <a:pt x="255" y="3934"/>
                  </a:lnTo>
                  <a:lnTo>
                    <a:pt x="384" y="3936"/>
                  </a:lnTo>
                  <a:lnTo>
                    <a:pt x="296" y="4032"/>
                  </a:lnTo>
                  <a:lnTo>
                    <a:pt x="360" y="4112"/>
                  </a:lnTo>
                  <a:lnTo>
                    <a:pt x="288" y="4152"/>
                  </a:lnTo>
                  <a:lnTo>
                    <a:pt x="280" y="4240"/>
                  </a:lnTo>
                  <a:lnTo>
                    <a:pt x="280" y="4336"/>
                  </a:lnTo>
                  <a:lnTo>
                    <a:pt x="176" y="4512"/>
                  </a:lnTo>
                  <a:lnTo>
                    <a:pt x="176" y="4632"/>
                  </a:lnTo>
                  <a:lnTo>
                    <a:pt x="96" y="4712"/>
                  </a:lnTo>
                  <a:lnTo>
                    <a:pt x="0" y="4808"/>
                  </a:lnTo>
                  <a:lnTo>
                    <a:pt x="32" y="4904"/>
                  </a:lnTo>
                  <a:lnTo>
                    <a:pt x="56" y="4992"/>
                  </a:lnTo>
                  <a:lnTo>
                    <a:pt x="160" y="4992"/>
                  </a:lnTo>
                  <a:lnTo>
                    <a:pt x="176" y="5080"/>
                  </a:lnTo>
                  <a:lnTo>
                    <a:pt x="184" y="5152"/>
                  </a:lnTo>
                  <a:lnTo>
                    <a:pt x="272" y="5208"/>
                  </a:lnTo>
                  <a:lnTo>
                    <a:pt x="416" y="5192"/>
                  </a:lnTo>
                  <a:lnTo>
                    <a:pt x="624" y="5264"/>
                  </a:lnTo>
                  <a:lnTo>
                    <a:pt x="600" y="5128"/>
                  </a:lnTo>
                  <a:lnTo>
                    <a:pt x="560" y="5024"/>
                  </a:lnTo>
                  <a:lnTo>
                    <a:pt x="651" y="4922"/>
                  </a:lnTo>
                  <a:lnTo>
                    <a:pt x="781" y="4878"/>
                  </a:lnTo>
                  <a:lnTo>
                    <a:pt x="784" y="4768"/>
                  </a:lnTo>
                  <a:lnTo>
                    <a:pt x="888" y="4664"/>
                  </a:lnTo>
                  <a:lnTo>
                    <a:pt x="968" y="4632"/>
                  </a:lnTo>
                  <a:lnTo>
                    <a:pt x="1048" y="4584"/>
                  </a:lnTo>
                  <a:lnTo>
                    <a:pt x="1056" y="4504"/>
                  </a:lnTo>
                  <a:lnTo>
                    <a:pt x="1072" y="4440"/>
                  </a:lnTo>
                  <a:lnTo>
                    <a:pt x="968" y="4408"/>
                  </a:lnTo>
                  <a:lnTo>
                    <a:pt x="888" y="4328"/>
                  </a:lnTo>
                  <a:lnTo>
                    <a:pt x="840" y="4248"/>
                  </a:lnTo>
                  <a:lnTo>
                    <a:pt x="904" y="4168"/>
                  </a:lnTo>
                  <a:lnTo>
                    <a:pt x="968" y="4112"/>
                  </a:lnTo>
                  <a:lnTo>
                    <a:pt x="1024" y="4072"/>
                  </a:lnTo>
                  <a:lnTo>
                    <a:pt x="1104" y="4048"/>
                  </a:lnTo>
                  <a:lnTo>
                    <a:pt x="1160" y="3992"/>
                  </a:lnTo>
                  <a:lnTo>
                    <a:pt x="1216" y="3888"/>
                  </a:lnTo>
                  <a:lnTo>
                    <a:pt x="1232" y="3792"/>
                  </a:lnTo>
                  <a:lnTo>
                    <a:pt x="1344" y="3744"/>
                  </a:lnTo>
                  <a:lnTo>
                    <a:pt x="1272" y="3672"/>
                  </a:lnTo>
                  <a:lnTo>
                    <a:pt x="1352" y="3624"/>
                  </a:lnTo>
                  <a:lnTo>
                    <a:pt x="1280" y="3544"/>
                  </a:lnTo>
                  <a:lnTo>
                    <a:pt x="1280" y="3432"/>
                  </a:lnTo>
                  <a:lnTo>
                    <a:pt x="1281" y="3325"/>
                  </a:lnTo>
                  <a:lnTo>
                    <a:pt x="1384" y="3368"/>
                  </a:lnTo>
                  <a:lnTo>
                    <a:pt x="1456" y="3392"/>
                  </a:lnTo>
                  <a:lnTo>
                    <a:pt x="1552" y="3424"/>
                  </a:lnTo>
                  <a:lnTo>
                    <a:pt x="1696" y="3392"/>
                  </a:lnTo>
                  <a:lnTo>
                    <a:pt x="1688" y="3256"/>
                  </a:lnTo>
                  <a:lnTo>
                    <a:pt x="1760" y="3152"/>
                  </a:lnTo>
                  <a:lnTo>
                    <a:pt x="1776" y="3048"/>
                  </a:lnTo>
                  <a:lnTo>
                    <a:pt x="1880" y="3080"/>
                  </a:lnTo>
                  <a:lnTo>
                    <a:pt x="2000" y="3064"/>
                  </a:lnTo>
                  <a:lnTo>
                    <a:pt x="2184" y="3040"/>
                  </a:lnTo>
                  <a:lnTo>
                    <a:pt x="2352" y="2992"/>
                  </a:lnTo>
                  <a:lnTo>
                    <a:pt x="2456" y="2952"/>
                  </a:lnTo>
                  <a:lnTo>
                    <a:pt x="2544" y="2848"/>
                  </a:lnTo>
                  <a:lnTo>
                    <a:pt x="2632" y="2752"/>
                  </a:lnTo>
                  <a:lnTo>
                    <a:pt x="2640" y="2656"/>
                  </a:lnTo>
                  <a:lnTo>
                    <a:pt x="2568" y="2608"/>
                  </a:lnTo>
                  <a:lnTo>
                    <a:pt x="2560" y="2552"/>
                  </a:lnTo>
                  <a:lnTo>
                    <a:pt x="2592" y="2472"/>
                  </a:lnTo>
                  <a:lnTo>
                    <a:pt x="2536" y="2400"/>
                  </a:lnTo>
                  <a:lnTo>
                    <a:pt x="2424" y="2328"/>
                  </a:lnTo>
                  <a:lnTo>
                    <a:pt x="2448" y="2208"/>
                  </a:lnTo>
                  <a:lnTo>
                    <a:pt x="2448" y="2144"/>
                  </a:lnTo>
                  <a:lnTo>
                    <a:pt x="2488" y="2056"/>
                  </a:lnTo>
                  <a:lnTo>
                    <a:pt x="2504" y="1952"/>
                  </a:lnTo>
                  <a:lnTo>
                    <a:pt x="2544" y="1816"/>
                  </a:lnTo>
                  <a:lnTo>
                    <a:pt x="2592" y="1704"/>
                  </a:lnTo>
                  <a:lnTo>
                    <a:pt x="2616" y="1584"/>
                  </a:lnTo>
                  <a:lnTo>
                    <a:pt x="2684" y="1566"/>
                  </a:lnTo>
                  <a:lnTo>
                    <a:pt x="2754" y="1460"/>
                  </a:lnTo>
                  <a:lnTo>
                    <a:pt x="2886" y="1308"/>
                  </a:lnTo>
                  <a:lnTo>
                    <a:pt x="3000" y="1192"/>
                  </a:lnTo>
                  <a:lnTo>
                    <a:pt x="3168" y="1096"/>
                  </a:lnTo>
                  <a:lnTo>
                    <a:pt x="3352" y="1034"/>
                  </a:lnTo>
                  <a:lnTo>
                    <a:pt x="3368" y="964"/>
                  </a:lnTo>
                  <a:lnTo>
                    <a:pt x="3378" y="908"/>
                  </a:lnTo>
                  <a:lnTo>
                    <a:pt x="3354" y="754"/>
                  </a:lnTo>
                  <a:lnTo>
                    <a:pt x="3280" y="658"/>
                  </a:lnTo>
                  <a:lnTo>
                    <a:pt x="3272" y="728"/>
                  </a:lnTo>
                  <a:lnTo>
                    <a:pt x="3232" y="856"/>
                  </a:lnTo>
                  <a:lnTo>
                    <a:pt x="3104" y="1008"/>
                  </a:lnTo>
                  <a:lnTo>
                    <a:pt x="3032" y="1056"/>
                  </a:lnTo>
                  <a:lnTo>
                    <a:pt x="2656" y="1048"/>
                  </a:lnTo>
                  <a:lnTo>
                    <a:pt x="2560" y="976"/>
                  </a:lnTo>
                  <a:lnTo>
                    <a:pt x="2640" y="872"/>
                  </a:lnTo>
                  <a:lnTo>
                    <a:pt x="2712" y="768"/>
                  </a:lnTo>
                  <a:lnTo>
                    <a:pt x="2776" y="648"/>
                  </a:lnTo>
                  <a:lnTo>
                    <a:pt x="2608" y="584"/>
                  </a:lnTo>
                  <a:lnTo>
                    <a:pt x="2504" y="536"/>
                  </a:lnTo>
                  <a:lnTo>
                    <a:pt x="2440" y="464"/>
                  </a:lnTo>
                  <a:lnTo>
                    <a:pt x="2328" y="424"/>
                  </a:lnTo>
                  <a:lnTo>
                    <a:pt x="2216" y="376"/>
                  </a:lnTo>
                  <a:lnTo>
                    <a:pt x="2072" y="240"/>
                  </a:lnTo>
                  <a:lnTo>
                    <a:pt x="1976" y="80"/>
                  </a:lnTo>
                  <a:lnTo>
                    <a:pt x="1864" y="48"/>
                  </a:lnTo>
                  <a:lnTo>
                    <a:pt x="1728" y="64"/>
                  </a:lnTo>
                  <a:lnTo>
                    <a:pt x="1680" y="192"/>
                  </a:lnTo>
                  <a:lnTo>
                    <a:pt x="1640" y="104"/>
                  </a:lnTo>
                  <a:lnTo>
                    <a:pt x="1552" y="56"/>
                  </a:lnTo>
                  <a:lnTo>
                    <a:pt x="1440" y="64"/>
                  </a:lnTo>
                  <a:lnTo>
                    <a:pt x="1376" y="0"/>
                  </a:lnTo>
                  <a:lnTo>
                    <a:pt x="1336" y="56"/>
                  </a:lnTo>
                  <a:lnTo>
                    <a:pt x="1272" y="72"/>
                  </a:lnTo>
                  <a:lnTo>
                    <a:pt x="1208" y="176"/>
                  </a:lnTo>
                  <a:lnTo>
                    <a:pt x="1176" y="288"/>
                  </a:lnTo>
                  <a:lnTo>
                    <a:pt x="1168" y="400"/>
                  </a:lnTo>
                  <a:lnTo>
                    <a:pt x="1048" y="432"/>
                  </a:lnTo>
                  <a:lnTo>
                    <a:pt x="976" y="480"/>
                  </a:lnTo>
                  <a:lnTo>
                    <a:pt x="944" y="552"/>
                  </a:lnTo>
                  <a:lnTo>
                    <a:pt x="952" y="632"/>
                  </a:lnTo>
                  <a:close/>
                </a:path>
              </a:pathLst>
            </a:custGeom>
            <a:solidFill>
              <a:schemeClr val="accent2"/>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68" name="Freeform 165">
              <a:extLst>
                <a:ext uri="{FF2B5EF4-FFF2-40B4-BE49-F238E27FC236}">
                  <a16:creationId xmlns:a16="http://schemas.microsoft.com/office/drawing/2014/main" id="{8D7DE665-F001-B3B7-6BD4-3BC2875C1618}"/>
                </a:ext>
              </a:extLst>
            </p:cNvPr>
            <p:cNvSpPr>
              <a:spLocks/>
            </p:cNvSpPr>
            <p:nvPr/>
          </p:nvSpPr>
          <p:spPr bwMode="auto">
            <a:xfrm>
              <a:off x="2409745" y="3111501"/>
              <a:ext cx="714368" cy="1057275"/>
            </a:xfrm>
            <a:custGeom>
              <a:avLst/>
              <a:gdLst/>
              <a:ahLst/>
              <a:cxnLst>
                <a:cxn ang="0">
                  <a:pos x="1094" y="165"/>
                </a:cxn>
                <a:cxn ang="0">
                  <a:pos x="974" y="352"/>
                </a:cxn>
                <a:cxn ang="0">
                  <a:pos x="651" y="518"/>
                </a:cxn>
                <a:cxn ang="0">
                  <a:pos x="456" y="857"/>
                </a:cxn>
                <a:cxn ang="0">
                  <a:pos x="346" y="876"/>
                </a:cxn>
                <a:cxn ang="0">
                  <a:pos x="229" y="800"/>
                </a:cxn>
                <a:cxn ang="0">
                  <a:pos x="151" y="768"/>
                </a:cxn>
                <a:cxn ang="0">
                  <a:pos x="99" y="664"/>
                </a:cxn>
                <a:cxn ang="0">
                  <a:pos x="3" y="881"/>
                </a:cxn>
                <a:cxn ang="0">
                  <a:pos x="67" y="1048"/>
                </a:cxn>
                <a:cxn ang="0">
                  <a:pos x="40" y="1122"/>
                </a:cxn>
                <a:cxn ang="0">
                  <a:pos x="288" y="1298"/>
                </a:cxn>
                <a:cxn ang="0">
                  <a:pos x="365" y="1466"/>
                </a:cxn>
                <a:cxn ang="0">
                  <a:pos x="489" y="1715"/>
                </a:cxn>
                <a:cxn ang="0">
                  <a:pos x="657" y="2070"/>
                </a:cxn>
                <a:cxn ang="0">
                  <a:pos x="763" y="2234"/>
                </a:cxn>
                <a:cxn ang="0">
                  <a:pos x="878" y="2392"/>
                </a:cxn>
                <a:cxn ang="0">
                  <a:pos x="873" y="2536"/>
                </a:cxn>
                <a:cxn ang="0">
                  <a:pos x="1142" y="2838"/>
                </a:cxn>
                <a:cxn ang="0">
                  <a:pos x="1569" y="3059"/>
                </a:cxn>
                <a:cxn ang="0">
                  <a:pos x="1766" y="3227"/>
                </a:cxn>
                <a:cxn ang="0">
                  <a:pos x="2035" y="3288"/>
                </a:cxn>
                <a:cxn ang="0">
                  <a:pos x="2094" y="3225"/>
                </a:cxn>
                <a:cxn ang="0">
                  <a:pos x="2126" y="3059"/>
                </a:cxn>
                <a:cxn ang="0">
                  <a:pos x="2126" y="2920"/>
                </a:cxn>
                <a:cxn ang="0">
                  <a:pos x="2141" y="2781"/>
                </a:cxn>
                <a:cxn ang="0">
                  <a:pos x="2145" y="2651"/>
                </a:cxn>
                <a:cxn ang="0">
                  <a:pos x="2188" y="2477"/>
                </a:cxn>
                <a:cxn ang="0">
                  <a:pos x="2251" y="2262"/>
                </a:cxn>
                <a:cxn ang="0">
                  <a:pos x="1923" y="2002"/>
                </a:cxn>
                <a:cxn ang="0">
                  <a:pos x="1896" y="1719"/>
                </a:cxn>
                <a:cxn ang="0">
                  <a:pos x="1663" y="1837"/>
                </a:cxn>
                <a:cxn ang="0">
                  <a:pos x="1491" y="1693"/>
                </a:cxn>
                <a:cxn ang="0">
                  <a:pos x="1411" y="1492"/>
                </a:cxn>
                <a:cxn ang="0">
                  <a:pos x="1323" y="1345"/>
                </a:cxn>
                <a:cxn ang="0">
                  <a:pos x="1386" y="1225"/>
                </a:cxn>
                <a:cxn ang="0">
                  <a:pos x="1474" y="1062"/>
                </a:cxn>
                <a:cxn ang="0">
                  <a:pos x="1566" y="903"/>
                </a:cxn>
                <a:cxn ang="0">
                  <a:pos x="1816" y="784"/>
                </a:cxn>
                <a:cxn ang="0">
                  <a:pos x="2031" y="784"/>
                </a:cxn>
                <a:cxn ang="0">
                  <a:pos x="1920" y="693"/>
                </a:cxn>
                <a:cxn ang="0">
                  <a:pos x="1949" y="453"/>
                </a:cxn>
                <a:cxn ang="0">
                  <a:pos x="1800" y="429"/>
                </a:cxn>
                <a:cxn ang="0">
                  <a:pos x="1637" y="429"/>
                </a:cxn>
                <a:cxn ang="0">
                  <a:pos x="1478" y="419"/>
                </a:cxn>
                <a:cxn ang="0">
                  <a:pos x="1387" y="304"/>
                </a:cxn>
                <a:cxn ang="0">
                  <a:pos x="1305" y="194"/>
                </a:cxn>
                <a:cxn ang="0">
                  <a:pos x="1209" y="38"/>
                </a:cxn>
                <a:cxn ang="0">
                  <a:pos x="1032" y="2"/>
                </a:cxn>
              </a:cxnLst>
              <a:rect l="0" t="0" r="r" b="b"/>
              <a:pathLst>
                <a:path w="2251" h="3334">
                  <a:moveTo>
                    <a:pt x="1032" y="2"/>
                  </a:moveTo>
                  <a:lnTo>
                    <a:pt x="1094" y="165"/>
                  </a:lnTo>
                  <a:lnTo>
                    <a:pt x="1037" y="227"/>
                  </a:lnTo>
                  <a:lnTo>
                    <a:pt x="974" y="352"/>
                  </a:lnTo>
                  <a:lnTo>
                    <a:pt x="820" y="441"/>
                  </a:lnTo>
                  <a:lnTo>
                    <a:pt x="651" y="518"/>
                  </a:lnTo>
                  <a:lnTo>
                    <a:pt x="549" y="581"/>
                  </a:lnTo>
                  <a:lnTo>
                    <a:pt x="456" y="857"/>
                  </a:lnTo>
                  <a:lnTo>
                    <a:pt x="398" y="921"/>
                  </a:lnTo>
                  <a:lnTo>
                    <a:pt x="346" y="876"/>
                  </a:lnTo>
                  <a:lnTo>
                    <a:pt x="307" y="819"/>
                  </a:lnTo>
                  <a:lnTo>
                    <a:pt x="229" y="800"/>
                  </a:lnTo>
                  <a:lnTo>
                    <a:pt x="144" y="834"/>
                  </a:lnTo>
                  <a:lnTo>
                    <a:pt x="151" y="768"/>
                  </a:lnTo>
                  <a:lnTo>
                    <a:pt x="171" y="609"/>
                  </a:lnTo>
                  <a:lnTo>
                    <a:pt x="99" y="664"/>
                  </a:lnTo>
                  <a:lnTo>
                    <a:pt x="3" y="792"/>
                  </a:lnTo>
                  <a:lnTo>
                    <a:pt x="3" y="881"/>
                  </a:lnTo>
                  <a:lnTo>
                    <a:pt x="5" y="976"/>
                  </a:lnTo>
                  <a:lnTo>
                    <a:pt x="67" y="1048"/>
                  </a:lnTo>
                  <a:lnTo>
                    <a:pt x="0" y="1067"/>
                  </a:lnTo>
                  <a:lnTo>
                    <a:pt x="40" y="1122"/>
                  </a:lnTo>
                  <a:lnTo>
                    <a:pt x="201" y="1226"/>
                  </a:lnTo>
                  <a:lnTo>
                    <a:pt x="288" y="1298"/>
                  </a:lnTo>
                  <a:lnTo>
                    <a:pt x="312" y="1384"/>
                  </a:lnTo>
                  <a:lnTo>
                    <a:pt x="365" y="1466"/>
                  </a:lnTo>
                  <a:lnTo>
                    <a:pt x="427" y="1547"/>
                  </a:lnTo>
                  <a:lnTo>
                    <a:pt x="489" y="1715"/>
                  </a:lnTo>
                  <a:lnTo>
                    <a:pt x="590" y="1917"/>
                  </a:lnTo>
                  <a:lnTo>
                    <a:pt x="657" y="2070"/>
                  </a:lnTo>
                  <a:lnTo>
                    <a:pt x="729" y="2142"/>
                  </a:lnTo>
                  <a:lnTo>
                    <a:pt x="763" y="2234"/>
                  </a:lnTo>
                  <a:lnTo>
                    <a:pt x="849" y="2339"/>
                  </a:lnTo>
                  <a:lnTo>
                    <a:pt x="878" y="2392"/>
                  </a:lnTo>
                  <a:lnTo>
                    <a:pt x="917" y="2464"/>
                  </a:lnTo>
                  <a:lnTo>
                    <a:pt x="873" y="2536"/>
                  </a:lnTo>
                  <a:lnTo>
                    <a:pt x="969" y="2670"/>
                  </a:lnTo>
                  <a:lnTo>
                    <a:pt x="1142" y="2838"/>
                  </a:lnTo>
                  <a:lnTo>
                    <a:pt x="1445" y="3011"/>
                  </a:lnTo>
                  <a:lnTo>
                    <a:pt x="1569" y="3059"/>
                  </a:lnTo>
                  <a:lnTo>
                    <a:pt x="1737" y="3170"/>
                  </a:lnTo>
                  <a:lnTo>
                    <a:pt x="1766" y="3227"/>
                  </a:lnTo>
                  <a:lnTo>
                    <a:pt x="1921" y="3334"/>
                  </a:lnTo>
                  <a:lnTo>
                    <a:pt x="2035" y="3288"/>
                  </a:lnTo>
                  <a:lnTo>
                    <a:pt x="2020" y="3208"/>
                  </a:lnTo>
                  <a:lnTo>
                    <a:pt x="2094" y="3225"/>
                  </a:lnTo>
                  <a:lnTo>
                    <a:pt x="2071" y="3126"/>
                  </a:lnTo>
                  <a:lnTo>
                    <a:pt x="2126" y="3059"/>
                  </a:lnTo>
                  <a:lnTo>
                    <a:pt x="2193" y="2963"/>
                  </a:lnTo>
                  <a:lnTo>
                    <a:pt x="2126" y="2920"/>
                  </a:lnTo>
                  <a:lnTo>
                    <a:pt x="2117" y="2853"/>
                  </a:lnTo>
                  <a:lnTo>
                    <a:pt x="2141" y="2781"/>
                  </a:lnTo>
                  <a:lnTo>
                    <a:pt x="2107" y="2723"/>
                  </a:lnTo>
                  <a:lnTo>
                    <a:pt x="2145" y="2651"/>
                  </a:lnTo>
                  <a:lnTo>
                    <a:pt x="2209" y="2593"/>
                  </a:lnTo>
                  <a:lnTo>
                    <a:pt x="2188" y="2477"/>
                  </a:lnTo>
                  <a:lnTo>
                    <a:pt x="2189" y="2358"/>
                  </a:lnTo>
                  <a:lnTo>
                    <a:pt x="2251" y="2262"/>
                  </a:lnTo>
                  <a:lnTo>
                    <a:pt x="2079" y="1978"/>
                  </a:lnTo>
                  <a:lnTo>
                    <a:pt x="1923" y="2002"/>
                  </a:lnTo>
                  <a:lnTo>
                    <a:pt x="1918" y="1869"/>
                  </a:lnTo>
                  <a:lnTo>
                    <a:pt x="1896" y="1719"/>
                  </a:lnTo>
                  <a:lnTo>
                    <a:pt x="1786" y="1816"/>
                  </a:lnTo>
                  <a:lnTo>
                    <a:pt x="1663" y="1837"/>
                  </a:lnTo>
                  <a:lnTo>
                    <a:pt x="1594" y="1750"/>
                  </a:lnTo>
                  <a:lnTo>
                    <a:pt x="1491" y="1693"/>
                  </a:lnTo>
                  <a:lnTo>
                    <a:pt x="1459" y="1602"/>
                  </a:lnTo>
                  <a:lnTo>
                    <a:pt x="1411" y="1492"/>
                  </a:lnTo>
                  <a:lnTo>
                    <a:pt x="1353" y="1423"/>
                  </a:lnTo>
                  <a:lnTo>
                    <a:pt x="1323" y="1345"/>
                  </a:lnTo>
                  <a:lnTo>
                    <a:pt x="1341" y="1261"/>
                  </a:lnTo>
                  <a:lnTo>
                    <a:pt x="1386" y="1225"/>
                  </a:lnTo>
                  <a:lnTo>
                    <a:pt x="1468" y="1161"/>
                  </a:lnTo>
                  <a:lnTo>
                    <a:pt x="1474" y="1062"/>
                  </a:lnTo>
                  <a:lnTo>
                    <a:pt x="1513" y="1000"/>
                  </a:lnTo>
                  <a:lnTo>
                    <a:pt x="1566" y="903"/>
                  </a:lnTo>
                  <a:lnTo>
                    <a:pt x="1716" y="802"/>
                  </a:lnTo>
                  <a:lnTo>
                    <a:pt x="1816" y="784"/>
                  </a:lnTo>
                  <a:lnTo>
                    <a:pt x="1927" y="754"/>
                  </a:lnTo>
                  <a:lnTo>
                    <a:pt x="2031" y="784"/>
                  </a:lnTo>
                  <a:lnTo>
                    <a:pt x="1992" y="712"/>
                  </a:lnTo>
                  <a:lnTo>
                    <a:pt x="1920" y="693"/>
                  </a:lnTo>
                  <a:lnTo>
                    <a:pt x="2021" y="486"/>
                  </a:lnTo>
                  <a:lnTo>
                    <a:pt x="1949" y="453"/>
                  </a:lnTo>
                  <a:lnTo>
                    <a:pt x="1857" y="400"/>
                  </a:lnTo>
                  <a:lnTo>
                    <a:pt x="1800" y="429"/>
                  </a:lnTo>
                  <a:lnTo>
                    <a:pt x="1718" y="405"/>
                  </a:lnTo>
                  <a:lnTo>
                    <a:pt x="1637" y="429"/>
                  </a:lnTo>
                  <a:lnTo>
                    <a:pt x="1565" y="424"/>
                  </a:lnTo>
                  <a:lnTo>
                    <a:pt x="1478" y="419"/>
                  </a:lnTo>
                  <a:lnTo>
                    <a:pt x="1442" y="358"/>
                  </a:lnTo>
                  <a:lnTo>
                    <a:pt x="1387" y="304"/>
                  </a:lnTo>
                  <a:lnTo>
                    <a:pt x="1387" y="246"/>
                  </a:lnTo>
                  <a:lnTo>
                    <a:pt x="1305" y="194"/>
                  </a:lnTo>
                  <a:lnTo>
                    <a:pt x="1241" y="128"/>
                  </a:lnTo>
                  <a:lnTo>
                    <a:pt x="1209" y="38"/>
                  </a:lnTo>
                  <a:lnTo>
                    <a:pt x="1100" y="0"/>
                  </a:lnTo>
                  <a:lnTo>
                    <a:pt x="1032" y="2"/>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69" name="Freeform 166">
              <a:extLst>
                <a:ext uri="{FF2B5EF4-FFF2-40B4-BE49-F238E27FC236}">
                  <a16:creationId xmlns:a16="http://schemas.microsoft.com/office/drawing/2014/main" id="{677FEC19-B6CA-4278-875B-08F804BC5A46}"/>
                </a:ext>
              </a:extLst>
            </p:cNvPr>
            <p:cNvSpPr>
              <a:spLocks/>
            </p:cNvSpPr>
            <p:nvPr/>
          </p:nvSpPr>
          <p:spPr bwMode="auto">
            <a:xfrm>
              <a:off x="2528807" y="2398713"/>
              <a:ext cx="677855" cy="962025"/>
            </a:xfrm>
            <a:custGeom>
              <a:avLst/>
              <a:gdLst/>
              <a:ahLst/>
              <a:cxnLst>
                <a:cxn ang="0">
                  <a:pos x="1209" y="111"/>
                </a:cxn>
                <a:cxn ang="0">
                  <a:pos x="1002" y="221"/>
                </a:cxn>
                <a:cxn ang="0">
                  <a:pos x="831" y="309"/>
                </a:cxn>
                <a:cxn ang="0">
                  <a:pos x="705" y="295"/>
                </a:cxn>
                <a:cxn ang="0">
                  <a:pos x="601" y="551"/>
                </a:cxn>
                <a:cxn ang="0">
                  <a:pos x="416" y="712"/>
                </a:cxn>
                <a:cxn ang="0">
                  <a:pos x="430" y="802"/>
                </a:cxn>
                <a:cxn ang="0">
                  <a:pos x="361" y="769"/>
                </a:cxn>
                <a:cxn ang="0">
                  <a:pos x="290" y="838"/>
                </a:cxn>
                <a:cxn ang="0">
                  <a:pos x="259" y="820"/>
                </a:cxn>
                <a:cxn ang="0">
                  <a:pos x="263" y="854"/>
                </a:cxn>
                <a:cxn ang="0">
                  <a:pos x="238" y="880"/>
                </a:cxn>
                <a:cxn ang="0">
                  <a:pos x="289" y="985"/>
                </a:cxn>
                <a:cxn ang="0">
                  <a:pos x="282" y="1137"/>
                </a:cxn>
                <a:cxn ang="0">
                  <a:pos x="319" y="1408"/>
                </a:cxn>
                <a:cxn ang="0">
                  <a:pos x="290" y="1591"/>
                </a:cxn>
                <a:cxn ang="0">
                  <a:pos x="170" y="1760"/>
                </a:cxn>
                <a:cxn ang="0">
                  <a:pos x="82" y="1899"/>
                </a:cxn>
                <a:cxn ang="0">
                  <a:pos x="72" y="1999"/>
                </a:cxn>
                <a:cxn ang="0">
                  <a:pos x="319" y="2148"/>
                </a:cxn>
                <a:cxn ang="0">
                  <a:pos x="534" y="2104"/>
                </a:cxn>
                <a:cxn ang="0">
                  <a:pos x="656" y="2248"/>
                </a:cxn>
                <a:cxn ang="0">
                  <a:pos x="830" y="2282"/>
                </a:cxn>
                <a:cxn ang="0">
                  <a:pos x="932" y="2441"/>
                </a:cxn>
                <a:cxn ang="0">
                  <a:pos x="1010" y="2552"/>
                </a:cxn>
                <a:cxn ang="0">
                  <a:pos x="1100" y="2665"/>
                </a:cxn>
                <a:cxn ang="0">
                  <a:pos x="1342" y="2651"/>
                </a:cxn>
                <a:cxn ang="0">
                  <a:pos x="1481" y="2647"/>
                </a:cxn>
                <a:cxn ang="0">
                  <a:pos x="1645" y="2731"/>
                </a:cxn>
                <a:cxn ang="0">
                  <a:pos x="1616" y="2956"/>
                </a:cxn>
                <a:cxn ang="0">
                  <a:pos x="1786" y="2483"/>
                </a:cxn>
                <a:cxn ang="0">
                  <a:pos x="1753" y="2311"/>
                </a:cxn>
                <a:cxn ang="0">
                  <a:pos x="1657" y="2123"/>
                </a:cxn>
                <a:cxn ang="0">
                  <a:pos x="1843" y="2116"/>
                </a:cxn>
                <a:cxn ang="0">
                  <a:pos x="1715" y="2035"/>
                </a:cxn>
                <a:cxn ang="0">
                  <a:pos x="2014" y="1931"/>
                </a:cxn>
                <a:cxn ang="0">
                  <a:pos x="2089" y="1734"/>
                </a:cxn>
                <a:cxn ang="0">
                  <a:pos x="2115" y="1518"/>
                </a:cxn>
                <a:cxn ang="0">
                  <a:pos x="2011" y="1379"/>
                </a:cxn>
                <a:cxn ang="0">
                  <a:pos x="2011" y="1174"/>
                </a:cxn>
                <a:cxn ang="0">
                  <a:pos x="1803" y="1054"/>
                </a:cxn>
                <a:cxn ang="0">
                  <a:pos x="1596" y="910"/>
                </a:cxn>
                <a:cxn ang="0">
                  <a:pos x="1269" y="917"/>
                </a:cxn>
                <a:cxn ang="0">
                  <a:pos x="1187" y="698"/>
                </a:cxn>
                <a:cxn ang="0">
                  <a:pos x="1046" y="529"/>
                </a:cxn>
                <a:cxn ang="0">
                  <a:pos x="1180" y="244"/>
                </a:cxn>
                <a:cxn ang="0">
                  <a:pos x="1291" y="134"/>
                </a:cxn>
                <a:cxn ang="0">
                  <a:pos x="1434" y="37"/>
                </a:cxn>
              </a:cxnLst>
              <a:rect l="0" t="0" r="r" b="b"/>
              <a:pathLst>
                <a:path w="2135" h="3031">
                  <a:moveTo>
                    <a:pt x="1324" y="0"/>
                  </a:moveTo>
                  <a:lnTo>
                    <a:pt x="1209" y="111"/>
                  </a:lnTo>
                  <a:lnTo>
                    <a:pt x="1113" y="163"/>
                  </a:lnTo>
                  <a:lnTo>
                    <a:pt x="1002" y="221"/>
                  </a:lnTo>
                  <a:lnTo>
                    <a:pt x="876" y="207"/>
                  </a:lnTo>
                  <a:lnTo>
                    <a:pt x="831" y="309"/>
                  </a:lnTo>
                  <a:lnTo>
                    <a:pt x="765" y="251"/>
                  </a:lnTo>
                  <a:lnTo>
                    <a:pt x="705" y="295"/>
                  </a:lnTo>
                  <a:lnTo>
                    <a:pt x="601" y="397"/>
                  </a:lnTo>
                  <a:lnTo>
                    <a:pt x="601" y="551"/>
                  </a:lnTo>
                  <a:lnTo>
                    <a:pt x="519" y="587"/>
                  </a:lnTo>
                  <a:lnTo>
                    <a:pt x="416" y="712"/>
                  </a:lnTo>
                  <a:lnTo>
                    <a:pt x="452" y="772"/>
                  </a:lnTo>
                  <a:lnTo>
                    <a:pt x="430" y="802"/>
                  </a:lnTo>
                  <a:lnTo>
                    <a:pt x="400" y="751"/>
                  </a:lnTo>
                  <a:lnTo>
                    <a:pt x="361" y="769"/>
                  </a:lnTo>
                  <a:lnTo>
                    <a:pt x="331" y="820"/>
                  </a:lnTo>
                  <a:lnTo>
                    <a:pt x="290" y="838"/>
                  </a:lnTo>
                  <a:lnTo>
                    <a:pt x="274" y="820"/>
                  </a:lnTo>
                  <a:lnTo>
                    <a:pt x="259" y="820"/>
                  </a:lnTo>
                  <a:lnTo>
                    <a:pt x="259" y="835"/>
                  </a:lnTo>
                  <a:lnTo>
                    <a:pt x="263" y="854"/>
                  </a:lnTo>
                  <a:lnTo>
                    <a:pt x="249" y="865"/>
                  </a:lnTo>
                  <a:lnTo>
                    <a:pt x="238" y="880"/>
                  </a:lnTo>
                  <a:lnTo>
                    <a:pt x="235" y="907"/>
                  </a:lnTo>
                  <a:lnTo>
                    <a:pt x="289" y="985"/>
                  </a:lnTo>
                  <a:lnTo>
                    <a:pt x="290" y="1049"/>
                  </a:lnTo>
                  <a:lnTo>
                    <a:pt x="282" y="1137"/>
                  </a:lnTo>
                  <a:lnTo>
                    <a:pt x="334" y="1269"/>
                  </a:lnTo>
                  <a:lnTo>
                    <a:pt x="319" y="1408"/>
                  </a:lnTo>
                  <a:lnTo>
                    <a:pt x="356" y="1547"/>
                  </a:lnTo>
                  <a:lnTo>
                    <a:pt x="290" y="1591"/>
                  </a:lnTo>
                  <a:lnTo>
                    <a:pt x="238" y="1724"/>
                  </a:lnTo>
                  <a:lnTo>
                    <a:pt x="170" y="1760"/>
                  </a:lnTo>
                  <a:lnTo>
                    <a:pt x="75" y="1782"/>
                  </a:lnTo>
                  <a:lnTo>
                    <a:pt x="82" y="1899"/>
                  </a:lnTo>
                  <a:lnTo>
                    <a:pt x="0" y="1929"/>
                  </a:lnTo>
                  <a:lnTo>
                    <a:pt x="72" y="1999"/>
                  </a:lnTo>
                  <a:lnTo>
                    <a:pt x="245" y="2075"/>
                  </a:lnTo>
                  <a:lnTo>
                    <a:pt x="319" y="2148"/>
                  </a:lnTo>
                  <a:lnTo>
                    <a:pt x="423" y="2155"/>
                  </a:lnTo>
                  <a:lnTo>
                    <a:pt x="534" y="2104"/>
                  </a:lnTo>
                  <a:lnTo>
                    <a:pt x="624" y="2181"/>
                  </a:lnTo>
                  <a:lnTo>
                    <a:pt x="656" y="2248"/>
                  </a:lnTo>
                  <a:lnTo>
                    <a:pt x="719" y="2246"/>
                  </a:lnTo>
                  <a:lnTo>
                    <a:pt x="830" y="2282"/>
                  </a:lnTo>
                  <a:lnTo>
                    <a:pt x="863" y="2374"/>
                  </a:lnTo>
                  <a:lnTo>
                    <a:pt x="932" y="2441"/>
                  </a:lnTo>
                  <a:lnTo>
                    <a:pt x="1010" y="2494"/>
                  </a:lnTo>
                  <a:lnTo>
                    <a:pt x="1010" y="2552"/>
                  </a:lnTo>
                  <a:lnTo>
                    <a:pt x="1069" y="2606"/>
                  </a:lnTo>
                  <a:lnTo>
                    <a:pt x="1100" y="2665"/>
                  </a:lnTo>
                  <a:lnTo>
                    <a:pt x="1259" y="2672"/>
                  </a:lnTo>
                  <a:lnTo>
                    <a:pt x="1342" y="2651"/>
                  </a:lnTo>
                  <a:lnTo>
                    <a:pt x="1423" y="2674"/>
                  </a:lnTo>
                  <a:lnTo>
                    <a:pt x="1481" y="2647"/>
                  </a:lnTo>
                  <a:lnTo>
                    <a:pt x="1559" y="2690"/>
                  </a:lnTo>
                  <a:lnTo>
                    <a:pt x="1645" y="2731"/>
                  </a:lnTo>
                  <a:lnTo>
                    <a:pt x="1544" y="2939"/>
                  </a:lnTo>
                  <a:lnTo>
                    <a:pt x="1616" y="2956"/>
                  </a:lnTo>
                  <a:lnTo>
                    <a:pt x="1654" y="3031"/>
                  </a:lnTo>
                  <a:lnTo>
                    <a:pt x="1786" y="2483"/>
                  </a:lnTo>
                  <a:lnTo>
                    <a:pt x="1739" y="2389"/>
                  </a:lnTo>
                  <a:lnTo>
                    <a:pt x="1753" y="2311"/>
                  </a:lnTo>
                  <a:lnTo>
                    <a:pt x="1664" y="2267"/>
                  </a:lnTo>
                  <a:lnTo>
                    <a:pt x="1657" y="2123"/>
                  </a:lnTo>
                  <a:lnTo>
                    <a:pt x="1765" y="2095"/>
                  </a:lnTo>
                  <a:lnTo>
                    <a:pt x="1843" y="2116"/>
                  </a:lnTo>
                  <a:lnTo>
                    <a:pt x="1819" y="2029"/>
                  </a:lnTo>
                  <a:lnTo>
                    <a:pt x="1715" y="2035"/>
                  </a:lnTo>
                  <a:lnTo>
                    <a:pt x="1700" y="1922"/>
                  </a:lnTo>
                  <a:lnTo>
                    <a:pt x="2014" y="1931"/>
                  </a:lnTo>
                  <a:lnTo>
                    <a:pt x="2135" y="1844"/>
                  </a:lnTo>
                  <a:lnTo>
                    <a:pt x="2089" y="1734"/>
                  </a:lnTo>
                  <a:lnTo>
                    <a:pt x="2060" y="1599"/>
                  </a:lnTo>
                  <a:lnTo>
                    <a:pt x="2115" y="1518"/>
                  </a:lnTo>
                  <a:lnTo>
                    <a:pt x="2078" y="1459"/>
                  </a:lnTo>
                  <a:lnTo>
                    <a:pt x="2011" y="1379"/>
                  </a:lnTo>
                  <a:lnTo>
                    <a:pt x="1988" y="1276"/>
                  </a:lnTo>
                  <a:lnTo>
                    <a:pt x="2011" y="1174"/>
                  </a:lnTo>
                  <a:lnTo>
                    <a:pt x="2070" y="1013"/>
                  </a:lnTo>
                  <a:lnTo>
                    <a:pt x="1803" y="1054"/>
                  </a:lnTo>
                  <a:lnTo>
                    <a:pt x="1685" y="1034"/>
                  </a:lnTo>
                  <a:lnTo>
                    <a:pt x="1596" y="910"/>
                  </a:lnTo>
                  <a:lnTo>
                    <a:pt x="1388" y="917"/>
                  </a:lnTo>
                  <a:lnTo>
                    <a:pt x="1269" y="917"/>
                  </a:lnTo>
                  <a:lnTo>
                    <a:pt x="1180" y="844"/>
                  </a:lnTo>
                  <a:lnTo>
                    <a:pt x="1187" y="698"/>
                  </a:lnTo>
                  <a:lnTo>
                    <a:pt x="1128" y="587"/>
                  </a:lnTo>
                  <a:lnTo>
                    <a:pt x="1046" y="529"/>
                  </a:lnTo>
                  <a:lnTo>
                    <a:pt x="1105" y="353"/>
                  </a:lnTo>
                  <a:lnTo>
                    <a:pt x="1180" y="244"/>
                  </a:lnTo>
                  <a:lnTo>
                    <a:pt x="1250" y="182"/>
                  </a:lnTo>
                  <a:lnTo>
                    <a:pt x="1291" y="134"/>
                  </a:lnTo>
                  <a:lnTo>
                    <a:pt x="1381" y="119"/>
                  </a:lnTo>
                  <a:lnTo>
                    <a:pt x="1434" y="37"/>
                  </a:lnTo>
                  <a:lnTo>
                    <a:pt x="1324" y="0"/>
                  </a:lnTo>
                  <a:close/>
                </a:path>
              </a:pathLst>
            </a:custGeom>
            <a:solidFill>
              <a:schemeClr val="bg1">
                <a:lumMod val="8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a:defRPr/>
              </a:pPr>
              <a:endParaRPr lang="zh-CN" altLang="en-US" b="1" kern="0">
                <a:solidFill>
                  <a:srgbClr val="000000"/>
                </a:solidFill>
                <a:latin typeface="Arial" charset="0"/>
                <a:ea typeface="+mn-ea"/>
              </a:endParaRPr>
            </a:p>
          </p:txBody>
        </p:sp>
        <p:sp>
          <p:nvSpPr>
            <p:cNvPr id="70" name="Freeform 167">
              <a:extLst>
                <a:ext uri="{FF2B5EF4-FFF2-40B4-BE49-F238E27FC236}">
                  <a16:creationId xmlns:a16="http://schemas.microsoft.com/office/drawing/2014/main" id="{12356118-320A-43FD-30DF-4BFA74B07D5C}"/>
                </a:ext>
              </a:extLst>
            </p:cNvPr>
            <p:cNvSpPr>
              <a:spLocks/>
            </p:cNvSpPr>
            <p:nvPr/>
          </p:nvSpPr>
          <p:spPr bwMode="auto">
            <a:xfrm>
              <a:off x="2860590" y="2444751"/>
              <a:ext cx="788980" cy="614362"/>
            </a:xfrm>
            <a:custGeom>
              <a:avLst/>
              <a:gdLst/>
              <a:ahLst/>
              <a:cxnLst>
                <a:cxn ang="0">
                  <a:pos x="136" y="101"/>
                </a:cxn>
                <a:cxn ang="0">
                  <a:pos x="0" y="387"/>
                </a:cxn>
                <a:cxn ang="0">
                  <a:pos x="141" y="555"/>
                </a:cxn>
                <a:cxn ang="0">
                  <a:pos x="224" y="775"/>
                </a:cxn>
                <a:cxn ang="0">
                  <a:pos x="551" y="766"/>
                </a:cxn>
                <a:cxn ang="0">
                  <a:pos x="761" y="911"/>
                </a:cxn>
                <a:cxn ang="0">
                  <a:pos x="965" y="1035"/>
                </a:cxn>
                <a:cxn ang="0">
                  <a:pos x="967" y="1235"/>
                </a:cxn>
                <a:cxn ang="0">
                  <a:pos x="1070" y="1374"/>
                </a:cxn>
                <a:cxn ang="0">
                  <a:pos x="1046" y="1592"/>
                </a:cxn>
                <a:cxn ang="0">
                  <a:pos x="1148" y="1783"/>
                </a:cxn>
                <a:cxn ang="0">
                  <a:pos x="1237" y="1872"/>
                </a:cxn>
                <a:cxn ang="0">
                  <a:pos x="1399" y="1878"/>
                </a:cxn>
                <a:cxn ang="0">
                  <a:pos x="1541" y="1840"/>
                </a:cxn>
                <a:cxn ang="0">
                  <a:pos x="1703" y="1717"/>
                </a:cxn>
                <a:cxn ang="0">
                  <a:pos x="1840" y="1614"/>
                </a:cxn>
                <a:cxn ang="0">
                  <a:pos x="1679" y="1509"/>
                </a:cxn>
                <a:cxn ang="0">
                  <a:pos x="1600" y="1366"/>
                </a:cxn>
                <a:cxn ang="0">
                  <a:pos x="1711" y="1347"/>
                </a:cxn>
                <a:cxn ang="0">
                  <a:pos x="1939" y="1435"/>
                </a:cxn>
                <a:cxn ang="0">
                  <a:pos x="1996" y="1323"/>
                </a:cxn>
                <a:cxn ang="0">
                  <a:pos x="2176" y="1300"/>
                </a:cxn>
                <a:cxn ang="0">
                  <a:pos x="2333" y="1195"/>
                </a:cxn>
                <a:cxn ang="0">
                  <a:pos x="2273" y="1132"/>
                </a:cxn>
                <a:cxn ang="0">
                  <a:pos x="2206" y="964"/>
                </a:cxn>
                <a:cxn ang="0">
                  <a:pos x="2351" y="829"/>
                </a:cxn>
                <a:cxn ang="0">
                  <a:pos x="2300" y="780"/>
                </a:cxn>
                <a:cxn ang="0">
                  <a:pos x="2329" y="655"/>
                </a:cxn>
                <a:cxn ang="0">
                  <a:pos x="2438" y="585"/>
                </a:cxn>
                <a:cxn ang="0">
                  <a:pos x="2432" y="497"/>
                </a:cxn>
                <a:cxn ang="0">
                  <a:pos x="2304" y="485"/>
                </a:cxn>
                <a:cxn ang="0">
                  <a:pos x="2177" y="466"/>
                </a:cxn>
                <a:cxn ang="0">
                  <a:pos x="2260" y="356"/>
                </a:cxn>
                <a:cxn ang="0">
                  <a:pos x="2177" y="303"/>
                </a:cxn>
                <a:cxn ang="0">
                  <a:pos x="2079" y="298"/>
                </a:cxn>
                <a:cxn ang="0">
                  <a:pos x="2001" y="284"/>
                </a:cxn>
                <a:cxn ang="0">
                  <a:pos x="1928" y="178"/>
                </a:cxn>
                <a:cxn ang="0">
                  <a:pos x="2001" y="139"/>
                </a:cxn>
                <a:cxn ang="0">
                  <a:pos x="1972" y="111"/>
                </a:cxn>
                <a:cxn ang="0">
                  <a:pos x="1821" y="125"/>
                </a:cxn>
                <a:cxn ang="0">
                  <a:pos x="1704" y="139"/>
                </a:cxn>
                <a:cxn ang="0">
                  <a:pos x="1569" y="185"/>
                </a:cxn>
                <a:cxn ang="0">
                  <a:pos x="1421" y="226"/>
                </a:cxn>
                <a:cxn ang="0">
                  <a:pos x="1270" y="130"/>
                </a:cxn>
                <a:cxn ang="0">
                  <a:pos x="1026" y="173"/>
                </a:cxn>
                <a:cxn ang="0">
                  <a:pos x="895" y="130"/>
                </a:cxn>
                <a:cxn ang="0">
                  <a:pos x="802" y="14"/>
                </a:cxn>
                <a:cxn ang="0">
                  <a:pos x="573" y="29"/>
                </a:cxn>
                <a:cxn ang="0">
                  <a:pos x="441" y="62"/>
                </a:cxn>
                <a:cxn ang="0">
                  <a:pos x="319" y="111"/>
                </a:cxn>
                <a:cxn ang="0">
                  <a:pos x="329" y="226"/>
                </a:cxn>
                <a:cxn ang="0">
                  <a:pos x="397" y="312"/>
                </a:cxn>
                <a:cxn ang="0">
                  <a:pos x="344" y="437"/>
                </a:cxn>
                <a:cxn ang="0">
                  <a:pos x="261" y="384"/>
                </a:cxn>
                <a:cxn ang="0">
                  <a:pos x="193" y="288"/>
                </a:cxn>
                <a:cxn ang="0">
                  <a:pos x="280" y="120"/>
                </a:cxn>
              </a:cxnLst>
              <a:rect l="0" t="0" r="r" b="b"/>
              <a:pathLst>
                <a:path w="2485" h="1935">
                  <a:moveTo>
                    <a:pt x="207" y="38"/>
                  </a:moveTo>
                  <a:lnTo>
                    <a:pt x="136" y="101"/>
                  </a:lnTo>
                  <a:lnTo>
                    <a:pt x="63" y="207"/>
                  </a:lnTo>
                  <a:lnTo>
                    <a:pt x="0" y="387"/>
                  </a:lnTo>
                  <a:lnTo>
                    <a:pt x="85" y="447"/>
                  </a:lnTo>
                  <a:lnTo>
                    <a:pt x="141" y="555"/>
                  </a:lnTo>
                  <a:lnTo>
                    <a:pt x="136" y="703"/>
                  </a:lnTo>
                  <a:lnTo>
                    <a:pt x="224" y="775"/>
                  </a:lnTo>
                  <a:lnTo>
                    <a:pt x="332" y="774"/>
                  </a:lnTo>
                  <a:lnTo>
                    <a:pt x="551" y="766"/>
                  </a:lnTo>
                  <a:lnTo>
                    <a:pt x="640" y="888"/>
                  </a:lnTo>
                  <a:lnTo>
                    <a:pt x="761" y="911"/>
                  </a:lnTo>
                  <a:lnTo>
                    <a:pt x="1028" y="869"/>
                  </a:lnTo>
                  <a:lnTo>
                    <a:pt x="965" y="1035"/>
                  </a:lnTo>
                  <a:lnTo>
                    <a:pt x="943" y="1133"/>
                  </a:lnTo>
                  <a:lnTo>
                    <a:pt x="967" y="1235"/>
                  </a:lnTo>
                  <a:lnTo>
                    <a:pt x="1035" y="1316"/>
                  </a:lnTo>
                  <a:lnTo>
                    <a:pt x="1070" y="1374"/>
                  </a:lnTo>
                  <a:lnTo>
                    <a:pt x="1016" y="1455"/>
                  </a:lnTo>
                  <a:lnTo>
                    <a:pt x="1046" y="1592"/>
                  </a:lnTo>
                  <a:lnTo>
                    <a:pt x="1094" y="1702"/>
                  </a:lnTo>
                  <a:lnTo>
                    <a:pt x="1148" y="1783"/>
                  </a:lnTo>
                  <a:lnTo>
                    <a:pt x="1148" y="1857"/>
                  </a:lnTo>
                  <a:lnTo>
                    <a:pt x="1237" y="1872"/>
                  </a:lnTo>
                  <a:lnTo>
                    <a:pt x="1324" y="1935"/>
                  </a:lnTo>
                  <a:lnTo>
                    <a:pt x="1399" y="1878"/>
                  </a:lnTo>
                  <a:lnTo>
                    <a:pt x="1445" y="1929"/>
                  </a:lnTo>
                  <a:lnTo>
                    <a:pt x="1541" y="1840"/>
                  </a:lnTo>
                  <a:lnTo>
                    <a:pt x="1703" y="1771"/>
                  </a:lnTo>
                  <a:lnTo>
                    <a:pt x="1703" y="1717"/>
                  </a:lnTo>
                  <a:lnTo>
                    <a:pt x="1810" y="1684"/>
                  </a:lnTo>
                  <a:lnTo>
                    <a:pt x="1840" y="1614"/>
                  </a:lnTo>
                  <a:lnTo>
                    <a:pt x="1736" y="1597"/>
                  </a:lnTo>
                  <a:lnTo>
                    <a:pt x="1679" y="1509"/>
                  </a:lnTo>
                  <a:lnTo>
                    <a:pt x="1682" y="1420"/>
                  </a:lnTo>
                  <a:lnTo>
                    <a:pt x="1600" y="1366"/>
                  </a:lnTo>
                  <a:lnTo>
                    <a:pt x="1574" y="1318"/>
                  </a:lnTo>
                  <a:lnTo>
                    <a:pt x="1711" y="1347"/>
                  </a:lnTo>
                  <a:lnTo>
                    <a:pt x="1846" y="1384"/>
                  </a:lnTo>
                  <a:lnTo>
                    <a:pt x="1939" y="1435"/>
                  </a:lnTo>
                  <a:lnTo>
                    <a:pt x="1930" y="1357"/>
                  </a:lnTo>
                  <a:lnTo>
                    <a:pt x="1996" y="1323"/>
                  </a:lnTo>
                  <a:lnTo>
                    <a:pt x="2081" y="1338"/>
                  </a:lnTo>
                  <a:lnTo>
                    <a:pt x="2176" y="1300"/>
                  </a:lnTo>
                  <a:lnTo>
                    <a:pt x="2266" y="1267"/>
                  </a:lnTo>
                  <a:lnTo>
                    <a:pt x="2333" y="1195"/>
                  </a:lnTo>
                  <a:lnTo>
                    <a:pt x="2336" y="1152"/>
                  </a:lnTo>
                  <a:lnTo>
                    <a:pt x="2273" y="1132"/>
                  </a:lnTo>
                  <a:lnTo>
                    <a:pt x="2170" y="1009"/>
                  </a:lnTo>
                  <a:lnTo>
                    <a:pt x="2206" y="964"/>
                  </a:lnTo>
                  <a:lnTo>
                    <a:pt x="2194" y="871"/>
                  </a:lnTo>
                  <a:lnTo>
                    <a:pt x="2351" y="829"/>
                  </a:lnTo>
                  <a:lnTo>
                    <a:pt x="2366" y="787"/>
                  </a:lnTo>
                  <a:lnTo>
                    <a:pt x="2300" y="780"/>
                  </a:lnTo>
                  <a:lnTo>
                    <a:pt x="2284" y="706"/>
                  </a:lnTo>
                  <a:lnTo>
                    <a:pt x="2329" y="655"/>
                  </a:lnTo>
                  <a:lnTo>
                    <a:pt x="2368" y="636"/>
                  </a:lnTo>
                  <a:lnTo>
                    <a:pt x="2438" y="585"/>
                  </a:lnTo>
                  <a:lnTo>
                    <a:pt x="2485" y="583"/>
                  </a:lnTo>
                  <a:lnTo>
                    <a:pt x="2432" y="497"/>
                  </a:lnTo>
                  <a:lnTo>
                    <a:pt x="2382" y="461"/>
                  </a:lnTo>
                  <a:lnTo>
                    <a:pt x="2304" y="485"/>
                  </a:lnTo>
                  <a:lnTo>
                    <a:pt x="2232" y="475"/>
                  </a:lnTo>
                  <a:lnTo>
                    <a:pt x="2177" y="466"/>
                  </a:lnTo>
                  <a:lnTo>
                    <a:pt x="2191" y="394"/>
                  </a:lnTo>
                  <a:lnTo>
                    <a:pt x="2260" y="356"/>
                  </a:lnTo>
                  <a:lnTo>
                    <a:pt x="2232" y="294"/>
                  </a:lnTo>
                  <a:lnTo>
                    <a:pt x="2177" y="303"/>
                  </a:lnTo>
                  <a:lnTo>
                    <a:pt x="2113" y="259"/>
                  </a:lnTo>
                  <a:lnTo>
                    <a:pt x="2079" y="298"/>
                  </a:lnTo>
                  <a:lnTo>
                    <a:pt x="2035" y="255"/>
                  </a:lnTo>
                  <a:lnTo>
                    <a:pt x="2001" y="284"/>
                  </a:lnTo>
                  <a:lnTo>
                    <a:pt x="1953" y="226"/>
                  </a:lnTo>
                  <a:lnTo>
                    <a:pt x="1928" y="178"/>
                  </a:lnTo>
                  <a:lnTo>
                    <a:pt x="1884" y="149"/>
                  </a:lnTo>
                  <a:lnTo>
                    <a:pt x="2001" y="139"/>
                  </a:lnTo>
                  <a:lnTo>
                    <a:pt x="2045" y="101"/>
                  </a:lnTo>
                  <a:lnTo>
                    <a:pt x="1972" y="111"/>
                  </a:lnTo>
                  <a:lnTo>
                    <a:pt x="1904" y="101"/>
                  </a:lnTo>
                  <a:lnTo>
                    <a:pt x="1821" y="125"/>
                  </a:lnTo>
                  <a:lnTo>
                    <a:pt x="1777" y="106"/>
                  </a:lnTo>
                  <a:lnTo>
                    <a:pt x="1704" y="139"/>
                  </a:lnTo>
                  <a:lnTo>
                    <a:pt x="1660" y="178"/>
                  </a:lnTo>
                  <a:lnTo>
                    <a:pt x="1569" y="185"/>
                  </a:lnTo>
                  <a:lnTo>
                    <a:pt x="1509" y="231"/>
                  </a:lnTo>
                  <a:lnTo>
                    <a:pt x="1421" y="226"/>
                  </a:lnTo>
                  <a:lnTo>
                    <a:pt x="1329" y="187"/>
                  </a:lnTo>
                  <a:lnTo>
                    <a:pt x="1270" y="130"/>
                  </a:lnTo>
                  <a:lnTo>
                    <a:pt x="1163" y="139"/>
                  </a:lnTo>
                  <a:lnTo>
                    <a:pt x="1026" y="173"/>
                  </a:lnTo>
                  <a:lnTo>
                    <a:pt x="939" y="173"/>
                  </a:lnTo>
                  <a:lnTo>
                    <a:pt x="895" y="130"/>
                  </a:lnTo>
                  <a:lnTo>
                    <a:pt x="865" y="58"/>
                  </a:lnTo>
                  <a:lnTo>
                    <a:pt x="802" y="14"/>
                  </a:lnTo>
                  <a:lnTo>
                    <a:pt x="695" y="0"/>
                  </a:lnTo>
                  <a:lnTo>
                    <a:pt x="573" y="29"/>
                  </a:lnTo>
                  <a:lnTo>
                    <a:pt x="505" y="58"/>
                  </a:lnTo>
                  <a:lnTo>
                    <a:pt x="441" y="62"/>
                  </a:lnTo>
                  <a:lnTo>
                    <a:pt x="397" y="96"/>
                  </a:lnTo>
                  <a:lnTo>
                    <a:pt x="319" y="111"/>
                  </a:lnTo>
                  <a:lnTo>
                    <a:pt x="319" y="178"/>
                  </a:lnTo>
                  <a:lnTo>
                    <a:pt x="329" y="226"/>
                  </a:lnTo>
                  <a:lnTo>
                    <a:pt x="353" y="264"/>
                  </a:lnTo>
                  <a:lnTo>
                    <a:pt x="397" y="312"/>
                  </a:lnTo>
                  <a:lnTo>
                    <a:pt x="388" y="399"/>
                  </a:lnTo>
                  <a:lnTo>
                    <a:pt x="344" y="437"/>
                  </a:lnTo>
                  <a:lnTo>
                    <a:pt x="275" y="447"/>
                  </a:lnTo>
                  <a:lnTo>
                    <a:pt x="261" y="384"/>
                  </a:lnTo>
                  <a:lnTo>
                    <a:pt x="217" y="356"/>
                  </a:lnTo>
                  <a:lnTo>
                    <a:pt x="193" y="288"/>
                  </a:lnTo>
                  <a:lnTo>
                    <a:pt x="246" y="235"/>
                  </a:lnTo>
                  <a:lnTo>
                    <a:pt x="280" y="120"/>
                  </a:lnTo>
                  <a:lnTo>
                    <a:pt x="207" y="38"/>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1" name="Freeform 168">
              <a:extLst>
                <a:ext uri="{FF2B5EF4-FFF2-40B4-BE49-F238E27FC236}">
                  <a16:creationId xmlns:a16="http://schemas.microsoft.com/office/drawing/2014/main" id="{A547BF2B-9345-292C-97A1-9D3E53D99D87}"/>
                </a:ext>
              </a:extLst>
            </p:cNvPr>
            <p:cNvSpPr>
              <a:spLocks/>
            </p:cNvSpPr>
            <p:nvPr/>
          </p:nvSpPr>
          <p:spPr bwMode="auto">
            <a:xfrm>
              <a:off x="2420858" y="3032126"/>
              <a:ext cx="334959" cy="371475"/>
            </a:xfrm>
            <a:custGeom>
              <a:avLst/>
              <a:gdLst/>
              <a:ahLst/>
              <a:cxnLst>
                <a:cxn ang="0">
                  <a:pos x="408" y="0"/>
                </a:cxn>
                <a:cxn ang="0">
                  <a:pos x="367" y="28"/>
                </a:cxn>
                <a:cxn ang="0">
                  <a:pos x="333" y="17"/>
                </a:cxn>
                <a:cxn ang="0">
                  <a:pos x="262" y="51"/>
                </a:cxn>
                <a:cxn ang="0">
                  <a:pos x="177" y="94"/>
                </a:cxn>
                <a:cxn ang="0">
                  <a:pos x="184" y="186"/>
                </a:cxn>
                <a:cxn ang="0">
                  <a:pos x="161" y="251"/>
                </a:cxn>
                <a:cxn ang="0">
                  <a:pos x="110" y="290"/>
                </a:cxn>
                <a:cxn ang="0">
                  <a:pos x="115" y="356"/>
                </a:cxn>
                <a:cxn ang="0">
                  <a:pos x="87" y="403"/>
                </a:cxn>
                <a:cxn ang="0">
                  <a:pos x="41" y="418"/>
                </a:cxn>
                <a:cxn ang="0">
                  <a:pos x="44" y="541"/>
                </a:cxn>
                <a:cxn ang="0">
                  <a:pos x="32" y="627"/>
                </a:cxn>
                <a:cxn ang="0">
                  <a:pos x="0" y="667"/>
                </a:cxn>
                <a:cxn ang="0">
                  <a:pos x="68" y="707"/>
                </a:cxn>
                <a:cxn ang="0">
                  <a:pos x="136" y="783"/>
                </a:cxn>
                <a:cxn ang="0">
                  <a:pos x="164" y="739"/>
                </a:cxn>
                <a:cxn ang="0">
                  <a:pos x="204" y="707"/>
                </a:cxn>
                <a:cxn ang="0">
                  <a:pos x="232" y="768"/>
                </a:cxn>
                <a:cxn ang="0">
                  <a:pos x="181" y="826"/>
                </a:cxn>
                <a:cxn ang="0">
                  <a:pos x="132" y="855"/>
                </a:cxn>
                <a:cxn ang="0">
                  <a:pos x="117" y="955"/>
                </a:cxn>
                <a:cxn ang="0">
                  <a:pos x="112" y="1021"/>
                </a:cxn>
                <a:cxn ang="0">
                  <a:pos x="103" y="1082"/>
                </a:cxn>
                <a:cxn ang="0">
                  <a:pos x="186" y="1046"/>
                </a:cxn>
                <a:cxn ang="0">
                  <a:pos x="270" y="1066"/>
                </a:cxn>
                <a:cxn ang="0">
                  <a:pos x="306" y="1123"/>
                </a:cxn>
                <a:cxn ang="0">
                  <a:pos x="358" y="1168"/>
                </a:cxn>
                <a:cxn ang="0">
                  <a:pos x="418" y="1103"/>
                </a:cxn>
                <a:cxn ang="0">
                  <a:pos x="507" y="832"/>
                </a:cxn>
                <a:cxn ang="0">
                  <a:pos x="609" y="766"/>
                </a:cxn>
                <a:cxn ang="0">
                  <a:pos x="781" y="688"/>
                </a:cxn>
                <a:cxn ang="0">
                  <a:pos x="933" y="601"/>
                </a:cxn>
                <a:cxn ang="0">
                  <a:pos x="996" y="473"/>
                </a:cxn>
                <a:cxn ang="0">
                  <a:pos x="1054" y="413"/>
                </a:cxn>
                <a:cxn ang="0">
                  <a:pos x="1030" y="349"/>
                </a:cxn>
                <a:cxn ang="0">
                  <a:pos x="997" y="251"/>
                </a:cxn>
                <a:cxn ang="0">
                  <a:pos x="961" y="183"/>
                </a:cxn>
                <a:cxn ang="0">
                  <a:pos x="873" y="106"/>
                </a:cxn>
                <a:cxn ang="0">
                  <a:pos x="764" y="157"/>
                </a:cxn>
                <a:cxn ang="0">
                  <a:pos x="658" y="151"/>
                </a:cxn>
                <a:cxn ang="0">
                  <a:pos x="585" y="77"/>
                </a:cxn>
                <a:cxn ang="0">
                  <a:pos x="408" y="0"/>
                </a:cxn>
              </a:cxnLst>
              <a:rect l="0" t="0" r="r" b="b"/>
              <a:pathLst>
                <a:path w="1054" h="1168">
                  <a:moveTo>
                    <a:pt x="408" y="0"/>
                  </a:moveTo>
                  <a:lnTo>
                    <a:pt x="367" y="28"/>
                  </a:lnTo>
                  <a:lnTo>
                    <a:pt x="333" y="17"/>
                  </a:lnTo>
                  <a:lnTo>
                    <a:pt x="262" y="51"/>
                  </a:lnTo>
                  <a:lnTo>
                    <a:pt x="177" y="94"/>
                  </a:lnTo>
                  <a:lnTo>
                    <a:pt x="184" y="186"/>
                  </a:lnTo>
                  <a:lnTo>
                    <a:pt x="161" y="251"/>
                  </a:lnTo>
                  <a:lnTo>
                    <a:pt x="110" y="290"/>
                  </a:lnTo>
                  <a:lnTo>
                    <a:pt x="115" y="356"/>
                  </a:lnTo>
                  <a:lnTo>
                    <a:pt x="87" y="403"/>
                  </a:lnTo>
                  <a:lnTo>
                    <a:pt x="41" y="418"/>
                  </a:lnTo>
                  <a:lnTo>
                    <a:pt x="44" y="541"/>
                  </a:lnTo>
                  <a:lnTo>
                    <a:pt x="32" y="627"/>
                  </a:lnTo>
                  <a:lnTo>
                    <a:pt x="0" y="667"/>
                  </a:lnTo>
                  <a:lnTo>
                    <a:pt x="68" y="707"/>
                  </a:lnTo>
                  <a:lnTo>
                    <a:pt x="136" y="783"/>
                  </a:lnTo>
                  <a:lnTo>
                    <a:pt x="164" y="739"/>
                  </a:lnTo>
                  <a:lnTo>
                    <a:pt x="204" y="707"/>
                  </a:lnTo>
                  <a:lnTo>
                    <a:pt x="232" y="768"/>
                  </a:lnTo>
                  <a:lnTo>
                    <a:pt x="181" y="826"/>
                  </a:lnTo>
                  <a:lnTo>
                    <a:pt x="132" y="855"/>
                  </a:lnTo>
                  <a:lnTo>
                    <a:pt x="117" y="955"/>
                  </a:lnTo>
                  <a:lnTo>
                    <a:pt x="112" y="1021"/>
                  </a:lnTo>
                  <a:lnTo>
                    <a:pt x="103" y="1082"/>
                  </a:lnTo>
                  <a:lnTo>
                    <a:pt x="186" y="1046"/>
                  </a:lnTo>
                  <a:lnTo>
                    <a:pt x="270" y="1066"/>
                  </a:lnTo>
                  <a:lnTo>
                    <a:pt x="306" y="1123"/>
                  </a:lnTo>
                  <a:lnTo>
                    <a:pt x="358" y="1168"/>
                  </a:lnTo>
                  <a:lnTo>
                    <a:pt x="418" y="1103"/>
                  </a:lnTo>
                  <a:lnTo>
                    <a:pt x="507" y="832"/>
                  </a:lnTo>
                  <a:lnTo>
                    <a:pt x="609" y="766"/>
                  </a:lnTo>
                  <a:lnTo>
                    <a:pt x="781" y="688"/>
                  </a:lnTo>
                  <a:lnTo>
                    <a:pt x="933" y="601"/>
                  </a:lnTo>
                  <a:lnTo>
                    <a:pt x="996" y="473"/>
                  </a:lnTo>
                  <a:lnTo>
                    <a:pt x="1054" y="413"/>
                  </a:lnTo>
                  <a:lnTo>
                    <a:pt x="1030" y="349"/>
                  </a:lnTo>
                  <a:lnTo>
                    <a:pt x="997" y="251"/>
                  </a:lnTo>
                  <a:lnTo>
                    <a:pt x="961" y="183"/>
                  </a:lnTo>
                  <a:lnTo>
                    <a:pt x="873" y="106"/>
                  </a:lnTo>
                  <a:lnTo>
                    <a:pt x="764" y="157"/>
                  </a:lnTo>
                  <a:lnTo>
                    <a:pt x="658" y="151"/>
                  </a:lnTo>
                  <a:lnTo>
                    <a:pt x="585" y="77"/>
                  </a:lnTo>
                  <a:lnTo>
                    <a:pt x="408" y="0"/>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2" name="Freeform 169">
              <a:extLst>
                <a:ext uri="{FF2B5EF4-FFF2-40B4-BE49-F238E27FC236}">
                  <a16:creationId xmlns:a16="http://schemas.microsoft.com/office/drawing/2014/main" id="{9429D555-AA60-EDD9-CA4D-7726CC18AACA}"/>
                </a:ext>
              </a:extLst>
            </p:cNvPr>
            <p:cNvSpPr>
              <a:spLocks/>
            </p:cNvSpPr>
            <p:nvPr/>
          </p:nvSpPr>
          <p:spPr bwMode="auto">
            <a:xfrm>
              <a:off x="3547971" y="2628901"/>
              <a:ext cx="271459" cy="398462"/>
            </a:xfrm>
            <a:custGeom>
              <a:avLst/>
              <a:gdLst/>
              <a:ahLst/>
              <a:cxnLst>
                <a:cxn ang="0">
                  <a:pos x="320" y="0"/>
                </a:cxn>
                <a:cxn ang="0">
                  <a:pos x="369" y="29"/>
                </a:cxn>
                <a:cxn ang="0">
                  <a:pos x="423" y="65"/>
                </a:cxn>
                <a:cxn ang="0">
                  <a:pos x="467" y="101"/>
                </a:cxn>
                <a:cxn ang="0">
                  <a:pos x="506" y="154"/>
                </a:cxn>
                <a:cxn ang="0">
                  <a:pos x="533" y="192"/>
                </a:cxn>
                <a:cxn ang="0">
                  <a:pos x="527" y="272"/>
                </a:cxn>
                <a:cxn ang="0">
                  <a:pos x="590" y="272"/>
                </a:cxn>
                <a:cxn ang="0">
                  <a:pos x="657" y="317"/>
                </a:cxn>
                <a:cxn ang="0">
                  <a:pos x="687" y="365"/>
                </a:cxn>
                <a:cxn ang="0">
                  <a:pos x="723" y="366"/>
                </a:cxn>
                <a:cxn ang="0">
                  <a:pos x="765" y="410"/>
                </a:cxn>
                <a:cxn ang="0">
                  <a:pos x="744" y="494"/>
                </a:cxn>
                <a:cxn ang="0">
                  <a:pos x="747" y="563"/>
                </a:cxn>
                <a:cxn ang="0">
                  <a:pos x="729" y="600"/>
                </a:cxn>
                <a:cxn ang="0">
                  <a:pos x="663" y="602"/>
                </a:cxn>
                <a:cxn ang="0">
                  <a:pos x="641" y="648"/>
                </a:cxn>
                <a:cxn ang="0">
                  <a:pos x="623" y="711"/>
                </a:cxn>
                <a:cxn ang="0">
                  <a:pos x="608" y="747"/>
                </a:cxn>
                <a:cxn ang="0">
                  <a:pos x="647" y="813"/>
                </a:cxn>
                <a:cxn ang="0">
                  <a:pos x="692" y="888"/>
                </a:cxn>
                <a:cxn ang="0">
                  <a:pos x="744" y="891"/>
                </a:cxn>
                <a:cxn ang="0">
                  <a:pos x="759" y="977"/>
                </a:cxn>
                <a:cxn ang="0">
                  <a:pos x="801" y="1037"/>
                </a:cxn>
                <a:cxn ang="0">
                  <a:pos x="854" y="1134"/>
                </a:cxn>
                <a:cxn ang="0">
                  <a:pos x="791" y="1118"/>
                </a:cxn>
                <a:cxn ang="0">
                  <a:pos x="723" y="1157"/>
                </a:cxn>
                <a:cxn ang="0">
                  <a:pos x="611" y="1170"/>
                </a:cxn>
                <a:cxn ang="0">
                  <a:pos x="492" y="1251"/>
                </a:cxn>
                <a:cxn ang="0">
                  <a:pos x="368" y="1175"/>
                </a:cxn>
                <a:cxn ang="0">
                  <a:pos x="290" y="1086"/>
                </a:cxn>
                <a:cxn ang="0">
                  <a:pos x="278" y="954"/>
                </a:cxn>
                <a:cxn ang="0">
                  <a:pos x="312" y="848"/>
                </a:cxn>
                <a:cxn ang="0">
                  <a:pos x="369" y="765"/>
                </a:cxn>
                <a:cxn ang="0">
                  <a:pos x="263" y="675"/>
                </a:cxn>
                <a:cxn ang="0">
                  <a:pos x="279" y="593"/>
                </a:cxn>
                <a:cxn ang="0">
                  <a:pos x="245" y="552"/>
                </a:cxn>
                <a:cxn ang="0">
                  <a:pos x="167" y="566"/>
                </a:cxn>
                <a:cxn ang="0">
                  <a:pos x="108" y="551"/>
                </a:cxn>
                <a:cxn ang="0">
                  <a:pos x="54" y="488"/>
                </a:cxn>
                <a:cxn ang="0">
                  <a:pos x="0" y="425"/>
                </a:cxn>
                <a:cxn ang="0">
                  <a:pos x="38" y="380"/>
                </a:cxn>
                <a:cxn ang="0">
                  <a:pos x="28" y="286"/>
                </a:cxn>
                <a:cxn ang="0">
                  <a:pos x="101" y="267"/>
                </a:cxn>
                <a:cxn ang="0">
                  <a:pos x="186" y="245"/>
                </a:cxn>
                <a:cxn ang="0">
                  <a:pos x="200" y="203"/>
                </a:cxn>
                <a:cxn ang="0">
                  <a:pos x="131" y="197"/>
                </a:cxn>
                <a:cxn ang="0">
                  <a:pos x="115" y="124"/>
                </a:cxn>
                <a:cxn ang="0">
                  <a:pos x="159" y="77"/>
                </a:cxn>
                <a:cxn ang="0">
                  <a:pos x="206" y="48"/>
                </a:cxn>
                <a:cxn ang="0">
                  <a:pos x="267" y="2"/>
                </a:cxn>
                <a:cxn ang="0">
                  <a:pos x="320" y="0"/>
                </a:cxn>
              </a:cxnLst>
              <a:rect l="0" t="0" r="r" b="b"/>
              <a:pathLst>
                <a:path w="854" h="1251">
                  <a:moveTo>
                    <a:pt x="320" y="0"/>
                  </a:moveTo>
                  <a:lnTo>
                    <a:pt x="369" y="29"/>
                  </a:lnTo>
                  <a:lnTo>
                    <a:pt x="423" y="65"/>
                  </a:lnTo>
                  <a:lnTo>
                    <a:pt x="467" y="101"/>
                  </a:lnTo>
                  <a:lnTo>
                    <a:pt x="506" y="154"/>
                  </a:lnTo>
                  <a:lnTo>
                    <a:pt x="533" y="192"/>
                  </a:lnTo>
                  <a:lnTo>
                    <a:pt x="527" y="272"/>
                  </a:lnTo>
                  <a:lnTo>
                    <a:pt x="590" y="272"/>
                  </a:lnTo>
                  <a:lnTo>
                    <a:pt x="657" y="317"/>
                  </a:lnTo>
                  <a:lnTo>
                    <a:pt x="687" y="365"/>
                  </a:lnTo>
                  <a:lnTo>
                    <a:pt x="723" y="366"/>
                  </a:lnTo>
                  <a:lnTo>
                    <a:pt x="765" y="410"/>
                  </a:lnTo>
                  <a:lnTo>
                    <a:pt x="744" y="494"/>
                  </a:lnTo>
                  <a:lnTo>
                    <a:pt x="747" y="563"/>
                  </a:lnTo>
                  <a:lnTo>
                    <a:pt x="729" y="600"/>
                  </a:lnTo>
                  <a:lnTo>
                    <a:pt x="663" y="602"/>
                  </a:lnTo>
                  <a:lnTo>
                    <a:pt x="641" y="648"/>
                  </a:lnTo>
                  <a:lnTo>
                    <a:pt x="623" y="711"/>
                  </a:lnTo>
                  <a:lnTo>
                    <a:pt x="608" y="747"/>
                  </a:lnTo>
                  <a:lnTo>
                    <a:pt x="647" y="813"/>
                  </a:lnTo>
                  <a:lnTo>
                    <a:pt x="692" y="888"/>
                  </a:lnTo>
                  <a:lnTo>
                    <a:pt x="744" y="891"/>
                  </a:lnTo>
                  <a:lnTo>
                    <a:pt x="759" y="977"/>
                  </a:lnTo>
                  <a:lnTo>
                    <a:pt x="801" y="1037"/>
                  </a:lnTo>
                  <a:lnTo>
                    <a:pt x="854" y="1134"/>
                  </a:lnTo>
                  <a:lnTo>
                    <a:pt x="791" y="1118"/>
                  </a:lnTo>
                  <a:lnTo>
                    <a:pt x="723" y="1157"/>
                  </a:lnTo>
                  <a:lnTo>
                    <a:pt x="611" y="1170"/>
                  </a:lnTo>
                  <a:lnTo>
                    <a:pt x="492" y="1251"/>
                  </a:lnTo>
                  <a:lnTo>
                    <a:pt x="368" y="1175"/>
                  </a:lnTo>
                  <a:lnTo>
                    <a:pt x="290" y="1086"/>
                  </a:lnTo>
                  <a:lnTo>
                    <a:pt x="278" y="954"/>
                  </a:lnTo>
                  <a:lnTo>
                    <a:pt x="312" y="848"/>
                  </a:lnTo>
                  <a:lnTo>
                    <a:pt x="369" y="765"/>
                  </a:lnTo>
                  <a:lnTo>
                    <a:pt x="263" y="675"/>
                  </a:lnTo>
                  <a:lnTo>
                    <a:pt x="279" y="593"/>
                  </a:lnTo>
                  <a:lnTo>
                    <a:pt x="245" y="552"/>
                  </a:lnTo>
                  <a:lnTo>
                    <a:pt x="167" y="566"/>
                  </a:lnTo>
                  <a:lnTo>
                    <a:pt x="108" y="551"/>
                  </a:lnTo>
                  <a:lnTo>
                    <a:pt x="54" y="488"/>
                  </a:lnTo>
                  <a:lnTo>
                    <a:pt x="0" y="425"/>
                  </a:lnTo>
                  <a:lnTo>
                    <a:pt x="38" y="380"/>
                  </a:lnTo>
                  <a:lnTo>
                    <a:pt x="28" y="286"/>
                  </a:lnTo>
                  <a:lnTo>
                    <a:pt x="101" y="267"/>
                  </a:lnTo>
                  <a:lnTo>
                    <a:pt x="186" y="245"/>
                  </a:lnTo>
                  <a:lnTo>
                    <a:pt x="200" y="203"/>
                  </a:lnTo>
                  <a:lnTo>
                    <a:pt x="131" y="197"/>
                  </a:lnTo>
                  <a:lnTo>
                    <a:pt x="115" y="124"/>
                  </a:lnTo>
                  <a:lnTo>
                    <a:pt x="159" y="77"/>
                  </a:lnTo>
                  <a:lnTo>
                    <a:pt x="206" y="48"/>
                  </a:lnTo>
                  <a:lnTo>
                    <a:pt x="267" y="2"/>
                  </a:lnTo>
                  <a:lnTo>
                    <a:pt x="320" y="0"/>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3" name="Freeform 170">
              <a:extLst>
                <a:ext uri="{FF2B5EF4-FFF2-40B4-BE49-F238E27FC236}">
                  <a16:creationId xmlns:a16="http://schemas.microsoft.com/office/drawing/2014/main" id="{EA70030C-0CFD-239A-502D-369DCDD169F9}"/>
                </a:ext>
              </a:extLst>
            </p:cNvPr>
            <p:cNvSpPr>
              <a:spLocks/>
            </p:cNvSpPr>
            <p:nvPr/>
          </p:nvSpPr>
          <p:spPr bwMode="auto">
            <a:xfrm>
              <a:off x="3741644" y="2755901"/>
              <a:ext cx="231773" cy="236537"/>
            </a:xfrm>
            <a:custGeom>
              <a:avLst/>
              <a:gdLst/>
              <a:ahLst/>
              <a:cxnLst>
                <a:cxn ang="0">
                  <a:pos x="696" y="128"/>
                </a:cxn>
                <a:cxn ang="0">
                  <a:pos x="630" y="167"/>
                </a:cxn>
                <a:cxn ang="0">
                  <a:pos x="634" y="278"/>
                </a:cxn>
                <a:cxn ang="0">
                  <a:pos x="667" y="364"/>
                </a:cxn>
                <a:cxn ang="0">
                  <a:pos x="730" y="461"/>
                </a:cxn>
                <a:cxn ang="0">
                  <a:pos x="702" y="523"/>
                </a:cxn>
                <a:cxn ang="0">
                  <a:pos x="688" y="611"/>
                </a:cxn>
                <a:cxn ang="0">
                  <a:pos x="640" y="679"/>
                </a:cxn>
                <a:cxn ang="0">
                  <a:pos x="571" y="638"/>
                </a:cxn>
                <a:cxn ang="0">
                  <a:pos x="498" y="658"/>
                </a:cxn>
                <a:cxn ang="0">
                  <a:pos x="399" y="640"/>
                </a:cxn>
                <a:cxn ang="0">
                  <a:pos x="384" y="676"/>
                </a:cxn>
                <a:cxn ang="0">
                  <a:pos x="408" y="748"/>
                </a:cxn>
                <a:cxn ang="0">
                  <a:pos x="307" y="742"/>
                </a:cxn>
                <a:cxn ang="0">
                  <a:pos x="247" y="737"/>
                </a:cxn>
                <a:cxn ang="0">
                  <a:pos x="198" y="652"/>
                </a:cxn>
                <a:cxn ang="0">
                  <a:pos x="153" y="583"/>
                </a:cxn>
                <a:cxn ang="0">
                  <a:pos x="136" y="496"/>
                </a:cxn>
                <a:cxn ang="0">
                  <a:pos x="82" y="491"/>
                </a:cxn>
                <a:cxn ang="0">
                  <a:pos x="0" y="349"/>
                </a:cxn>
                <a:cxn ang="0">
                  <a:pos x="13" y="316"/>
                </a:cxn>
                <a:cxn ang="0">
                  <a:pos x="31" y="259"/>
                </a:cxn>
                <a:cxn ang="0">
                  <a:pos x="57" y="206"/>
                </a:cxn>
                <a:cxn ang="0">
                  <a:pos x="123" y="202"/>
                </a:cxn>
                <a:cxn ang="0">
                  <a:pos x="139" y="163"/>
                </a:cxn>
                <a:cxn ang="0">
                  <a:pos x="135" y="95"/>
                </a:cxn>
                <a:cxn ang="0">
                  <a:pos x="156" y="12"/>
                </a:cxn>
                <a:cxn ang="0">
                  <a:pos x="208" y="27"/>
                </a:cxn>
                <a:cxn ang="0">
                  <a:pos x="258" y="23"/>
                </a:cxn>
                <a:cxn ang="0">
                  <a:pos x="320" y="38"/>
                </a:cxn>
                <a:cxn ang="0">
                  <a:pos x="363" y="70"/>
                </a:cxn>
                <a:cxn ang="0">
                  <a:pos x="375" y="38"/>
                </a:cxn>
                <a:cxn ang="0">
                  <a:pos x="413" y="12"/>
                </a:cxn>
                <a:cxn ang="0">
                  <a:pos x="476" y="0"/>
                </a:cxn>
                <a:cxn ang="0">
                  <a:pos x="546" y="4"/>
                </a:cxn>
                <a:cxn ang="0">
                  <a:pos x="624" y="34"/>
                </a:cxn>
                <a:cxn ang="0">
                  <a:pos x="708" y="89"/>
                </a:cxn>
                <a:cxn ang="0">
                  <a:pos x="696" y="128"/>
                </a:cxn>
              </a:cxnLst>
              <a:rect l="0" t="0" r="r" b="b"/>
              <a:pathLst>
                <a:path w="730" h="748">
                  <a:moveTo>
                    <a:pt x="696" y="128"/>
                  </a:moveTo>
                  <a:lnTo>
                    <a:pt x="630" y="167"/>
                  </a:lnTo>
                  <a:lnTo>
                    <a:pt x="634" y="278"/>
                  </a:lnTo>
                  <a:lnTo>
                    <a:pt x="667" y="364"/>
                  </a:lnTo>
                  <a:lnTo>
                    <a:pt x="730" y="461"/>
                  </a:lnTo>
                  <a:lnTo>
                    <a:pt x="702" y="523"/>
                  </a:lnTo>
                  <a:lnTo>
                    <a:pt x="688" y="611"/>
                  </a:lnTo>
                  <a:lnTo>
                    <a:pt x="640" y="679"/>
                  </a:lnTo>
                  <a:lnTo>
                    <a:pt x="571" y="638"/>
                  </a:lnTo>
                  <a:lnTo>
                    <a:pt x="498" y="658"/>
                  </a:lnTo>
                  <a:lnTo>
                    <a:pt x="399" y="640"/>
                  </a:lnTo>
                  <a:lnTo>
                    <a:pt x="384" y="676"/>
                  </a:lnTo>
                  <a:lnTo>
                    <a:pt x="408" y="748"/>
                  </a:lnTo>
                  <a:lnTo>
                    <a:pt x="307" y="742"/>
                  </a:lnTo>
                  <a:lnTo>
                    <a:pt x="247" y="737"/>
                  </a:lnTo>
                  <a:lnTo>
                    <a:pt x="198" y="652"/>
                  </a:lnTo>
                  <a:lnTo>
                    <a:pt x="153" y="583"/>
                  </a:lnTo>
                  <a:lnTo>
                    <a:pt x="136" y="496"/>
                  </a:lnTo>
                  <a:lnTo>
                    <a:pt x="82" y="491"/>
                  </a:lnTo>
                  <a:lnTo>
                    <a:pt x="0" y="349"/>
                  </a:lnTo>
                  <a:lnTo>
                    <a:pt x="13" y="316"/>
                  </a:lnTo>
                  <a:lnTo>
                    <a:pt x="31" y="259"/>
                  </a:lnTo>
                  <a:lnTo>
                    <a:pt x="57" y="206"/>
                  </a:lnTo>
                  <a:lnTo>
                    <a:pt x="123" y="202"/>
                  </a:lnTo>
                  <a:lnTo>
                    <a:pt x="139" y="163"/>
                  </a:lnTo>
                  <a:lnTo>
                    <a:pt x="135" y="95"/>
                  </a:lnTo>
                  <a:lnTo>
                    <a:pt x="156" y="12"/>
                  </a:lnTo>
                  <a:lnTo>
                    <a:pt x="208" y="27"/>
                  </a:lnTo>
                  <a:lnTo>
                    <a:pt x="258" y="23"/>
                  </a:lnTo>
                  <a:lnTo>
                    <a:pt x="320" y="38"/>
                  </a:lnTo>
                  <a:lnTo>
                    <a:pt x="363" y="70"/>
                  </a:lnTo>
                  <a:lnTo>
                    <a:pt x="375" y="38"/>
                  </a:lnTo>
                  <a:lnTo>
                    <a:pt x="413" y="12"/>
                  </a:lnTo>
                  <a:lnTo>
                    <a:pt x="476" y="0"/>
                  </a:lnTo>
                  <a:lnTo>
                    <a:pt x="546" y="4"/>
                  </a:lnTo>
                  <a:lnTo>
                    <a:pt x="624" y="34"/>
                  </a:lnTo>
                  <a:lnTo>
                    <a:pt x="708" y="89"/>
                  </a:lnTo>
                  <a:lnTo>
                    <a:pt x="696" y="128"/>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4" name="Freeform 171">
              <a:extLst>
                <a:ext uri="{FF2B5EF4-FFF2-40B4-BE49-F238E27FC236}">
                  <a16:creationId xmlns:a16="http://schemas.microsoft.com/office/drawing/2014/main" id="{8F0CB943-72BF-25F7-428D-9983486E605B}"/>
                </a:ext>
              </a:extLst>
            </p:cNvPr>
            <p:cNvSpPr>
              <a:spLocks/>
            </p:cNvSpPr>
            <p:nvPr/>
          </p:nvSpPr>
          <p:spPr bwMode="auto">
            <a:xfrm>
              <a:off x="3941667" y="2778126"/>
              <a:ext cx="158748" cy="207962"/>
            </a:xfrm>
            <a:custGeom>
              <a:avLst/>
              <a:gdLst/>
              <a:ahLst/>
              <a:cxnLst>
                <a:cxn ang="0">
                  <a:pos x="76" y="17"/>
                </a:cxn>
                <a:cxn ang="0">
                  <a:pos x="134" y="0"/>
                </a:cxn>
                <a:cxn ang="0">
                  <a:pos x="220" y="30"/>
                </a:cxn>
                <a:cxn ang="0">
                  <a:pos x="294" y="66"/>
                </a:cxn>
                <a:cxn ang="0">
                  <a:pos x="384" y="119"/>
                </a:cxn>
                <a:cxn ang="0">
                  <a:pos x="450" y="181"/>
                </a:cxn>
                <a:cxn ang="0">
                  <a:pos x="446" y="249"/>
                </a:cxn>
                <a:cxn ang="0">
                  <a:pos x="498" y="221"/>
                </a:cxn>
                <a:cxn ang="0">
                  <a:pos x="500" y="301"/>
                </a:cxn>
                <a:cxn ang="0">
                  <a:pos x="397" y="451"/>
                </a:cxn>
                <a:cxn ang="0">
                  <a:pos x="367" y="580"/>
                </a:cxn>
                <a:cxn ang="0">
                  <a:pos x="299" y="643"/>
                </a:cxn>
                <a:cxn ang="0">
                  <a:pos x="196" y="610"/>
                </a:cxn>
                <a:cxn ang="0">
                  <a:pos x="82" y="655"/>
                </a:cxn>
                <a:cxn ang="0">
                  <a:pos x="5" y="610"/>
                </a:cxn>
                <a:cxn ang="0">
                  <a:pos x="56" y="543"/>
                </a:cxn>
                <a:cxn ang="0">
                  <a:pos x="71" y="450"/>
                </a:cxn>
                <a:cxn ang="0">
                  <a:pos x="97" y="390"/>
                </a:cxn>
                <a:cxn ang="0">
                  <a:pos x="33" y="289"/>
                </a:cxn>
                <a:cxn ang="0">
                  <a:pos x="0" y="204"/>
                </a:cxn>
                <a:cxn ang="0">
                  <a:pos x="0" y="98"/>
                </a:cxn>
                <a:cxn ang="0">
                  <a:pos x="62" y="57"/>
                </a:cxn>
                <a:cxn ang="0">
                  <a:pos x="76" y="17"/>
                </a:cxn>
              </a:cxnLst>
              <a:rect l="0" t="0" r="r" b="b"/>
              <a:pathLst>
                <a:path w="500" h="655">
                  <a:moveTo>
                    <a:pt x="76" y="17"/>
                  </a:moveTo>
                  <a:lnTo>
                    <a:pt x="134" y="0"/>
                  </a:lnTo>
                  <a:lnTo>
                    <a:pt x="220" y="30"/>
                  </a:lnTo>
                  <a:lnTo>
                    <a:pt x="294" y="66"/>
                  </a:lnTo>
                  <a:lnTo>
                    <a:pt x="384" y="119"/>
                  </a:lnTo>
                  <a:lnTo>
                    <a:pt x="450" y="181"/>
                  </a:lnTo>
                  <a:lnTo>
                    <a:pt x="446" y="249"/>
                  </a:lnTo>
                  <a:lnTo>
                    <a:pt x="498" y="221"/>
                  </a:lnTo>
                  <a:lnTo>
                    <a:pt x="500" y="301"/>
                  </a:lnTo>
                  <a:lnTo>
                    <a:pt x="397" y="451"/>
                  </a:lnTo>
                  <a:lnTo>
                    <a:pt x="367" y="580"/>
                  </a:lnTo>
                  <a:lnTo>
                    <a:pt x="299" y="643"/>
                  </a:lnTo>
                  <a:lnTo>
                    <a:pt x="196" y="610"/>
                  </a:lnTo>
                  <a:lnTo>
                    <a:pt x="82" y="655"/>
                  </a:lnTo>
                  <a:lnTo>
                    <a:pt x="5" y="610"/>
                  </a:lnTo>
                  <a:lnTo>
                    <a:pt x="56" y="543"/>
                  </a:lnTo>
                  <a:lnTo>
                    <a:pt x="71" y="450"/>
                  </a:lnTo>
                  <a:lnTo>
                    <a:pt x="97" y="390"/>
                  </a:lnTo>
                  <a:lnTo>
                    <a:pt x="33" y="289"/>
                  </a:lnTo>
                  <a:lnTo>
                    <a:pt x="0" y="204"/>
                  </a:lnTo>
                  <a:lnTo>
                    <a:pt x="0" y="98"/>
                  </a:lnTo>
                  <a:lnTo>
                    <a:pt x="62" y="57"/>
                  </a:lnTo>
                  <a:lnTo>
                    <a:pt x="76" y="17"/>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5" name="Freeform 172">
              <a:extLst>
                <a:ext uri="{FF2B5EF4-FFF2-40B4-BE49-F238E27FC236}">
                  <a16:creationId xmlns:a16="http://schemas.microsoft.com/office/drawing/2014/main" id="{FFEBE20E-9522-62C7-581A-6C4D7FA4977E}"/>
                </a:ext>
              </a:extLst>
            </p:cNvPr>
            <p:cNvSpPr>
              <a:spLocks/>
            </p:cNvSpPr>
            <p:nvPr/>
          </p:nvSpPr>
          <p:spPr bwMode="auto">
            <a:xfrm>
              <a:off x="2998702" y="6092825"/>
              <a:ext cx="125411" cy="100012"/>
            </a:xfrm>
            <a:custGeom>
              <a:avLst/>
              <a:gdLst/>
              <a:ahLst/>
              <a:cxnLst>
                <a:cxn ang="0">
                  <a:pos x="396" y="232"/>
                </a:cxn>
                <a:cxn ang="0">
                  <a:pos x="300" y="229"/>
                </a:cxn>
                <a:cxn ang="0">
                  <a:pos x="240" y="181"/>
                </a:cxn>
                <a:cxn ang="0">
                  <a:pos x="183" y="139"/>
                </a:cxn>
                <a:cxn ang="0">
                  <a:pos x="125" y="81"/>
                </a:cxn>
                <a:cxn ang="0">
                  <a:pos x="63" y="14"/>
                </a:cxn>
                <a:cxn ang="0">
                  <a:pos x="14" y="0"/>
                </a:cxn>
                <a:cxn ang="0">
                  <a:pos x="9" y="145"/>
                </a:cxn>
                <a:cxn ang="0">
                  <a:pos x="0" y="265"/>
                </a:cxn>
                <a:cxn ang="0">
                  <a:pos x="151" y="260"/>
                </a:cxn>
                <a:cxn ang="0">
                  <a:pos x="258" y="313"/>
                </a:cxn>
                <a:cxn ang="0">
                  <a:pos x="291" y="276"/>
                </a:cxn>
                <a:cxn ang="0">
                  <a:pos x="339" y="280"/>
                </a:cxn>
                <a:cxn ang="0">
                  <a:pos x="393" y="277"/>
                </a:cxn>
                <a:cxn ang="0">
                  <a:pos x="396" y="232"/>
                </a:cxn>
              </a:cxnLst>
              <a:rect l="0" t="0" r="r" b="b"/>
              <a:pathLst>
                <a:path w="396" h="313">
                  <a:moveTo>
                    <a:pt x="396" y="232"/>
                  </a:moveTo>
                  <a:lnTo>
                    <a:pt x="300" y="229"/>
                  </a:lnTo>
                  <a:lnTo>
                    <a:pt x="240" y="181"/>
                  </a:lnTo>
                  <a:lnTo>
                    <a:pt x="183" y="139"/>
                  </a:lnTo>
                  <a:lnTo>
                    <a:pt x="125" y="81"/>
                  </a:lnTo>
                  <a:lnTo>
                    <a:pt x="63" y="14"/>
                  </a:lnTo>
                  <a:lnTo>
                    <a:pt x="14" y="0"/>
                  </a:lnTo>
                  <a:lnTo>
                    <a:pt x="9" y="145"/>
                  </a:lnTo>
                  <a:lnTo>
                    <a:pt x="0" y="265"/>
                  </a:lnTo>
                  <a:lnTo>
                    <a:pt x="151" y="260"/>
                  </a:lnTo>
                  <a:lnTo>
                    <a:pt x="258" y="313"/>
                  </a:lnTo>
                  <a:lnTo>
                    <a:pt x="291" y="276"/>
                  </a:lnTo>
                  <a:lnTo>
                    <a:pt x="339" y="280"/>
                  </a:lnTo>
                  <a:lnTo>
                    <a:pt x="393" y="277"/>
                  </a:lnTo>
                  <a:lnTo>
                    <a:pt x="396" y="232"/>
                  </a:lnTo>
                  <a:close/>
                </a:path>
              </a:pathLst>
            </a:custGeom>
            <a:solidFill>
              <a:srgbClr val="4BAFC8"/>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6" name="Freeform 173">
              <a:extLst>
                <a:ext uri="{FF2B5EF4-FFF2-40B4-BE49-F238E27FC236}">
                  <a16:creationId xmlns:a16="http://schemas.microsoft.com/office/drawing/2014/main" id="{EE79DB91-46A3-0C61-3349-16BE65729F8C}"/>
                </a:ext>
              </a:extLst>
            </p:cNvPr>
            <p:cNvSpPr>
              <a:spLocks/>
            </p:cNvSpPr>
            <p:nvPr/>
          </p:nvSpPr>
          <p:spPr bwMode="auto">
            <a:xfrm>
              <a:off x="3519397" y="2471738"/>
              <a:ext cx="49211" cy="42863"/>
            </a:xfrm>
            <a:custGeom>
              <a:avLst/>
              <a:gdLst/>
              <a:ahLst/>
              <a:cxnLst>
                <a:cxn ang="0">
                  <a:pos x="192" y="12"/>
                </a:cxn>
                <a:cxn ang="0">
                  <a:pos x="126" y="0"/>
                </a:cxn>
                <a:cxn ang="0">
                  <a:pos x="54" y="12"/>
                </a:cxn>
                <a:cxn ang="0">
                  <a:pos x="60" y="72"/>
                </a:cxn>
                <a:cxn ang="0">
                  <a:pos x="54" y="120"/>
                </a:cxn>
                <a:cxn ang="0">
                  <a:pos x="0" y="168"/>
                </a:cxn>
                <a:cxn ang="0">
                  <a:pos x="144" y="150"/>
                </a:cxn>
                <a:cxn ang="0">
                  <a:pos x="162" y="78"/>
                </a:cxn>
                <a:cxn ang="0">
                  <a:pos x="192" y="12"/>
                </a:cxn>
              </a:cxnLst>
              <a:rect l="0" t="0" r="r" b="b"/>
              <a:pathLst>
                <a:path w="192" h="168">
                  <a:moveTo>
                    <a:pt x="192" y="12"/>
                  </a:moveTo>
                  <a:lnTo>
                    <a:pt x="126" y="0"/>
                  </a:lnTo>
                  <a:lnTo>
                    <a:pt x="54" y="12"/>
                  </a:lnTo>
                  <a:lnTo>
                    <a:pt x="60" y="72"/>
                  </a:lnTo>
                  <a:lnTo>
                    <a:pt x="54" y="120"/>
                  </a:lnTo>
                  <a:lnTo>
                    <a:pt x="0" y="168"/>
                  </a:lnTo>
                  <a:lnTo>
                    <a:pt x="144" y="150"/>
                  </a:lnTo>
                  <a:lnTo>
                    <a:pt x="162" y="78"/>
                  </a:lnTo>
                  <a:lnTo>
                    <a:pt x="192" y="12"/>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7" name="Freeform 174">
              <a:extLst>
                <a:ext uri="{FF2B5EF4-FFF2-40B4-BE49-F238E27FC236}">
                  <a16:creationId xmlns:a16="http://schemas.microsoft.com/office/drawing/2014/main" id="{559C9538-4829-38F2-E6C5-A10EBCBB78ED}"/>
                </a:ext>
              </a:extLst>
            </p:cNvPr>
            <p:cNvSpPr>
              <a:spLocks/>
            </p:cNvSpPr>
            <p:nvPr/>
          </p:nvSpPr>
          <p:spPr bwMode="auto">
            <a:xfrm>
              <a:off x="3028864" y="2409826"/>
              <a:ext cx="30163" cy="30162"/>
            </a:xfrm>
            <a:custGeom>
              <a:avLst/>
              <a:gdLst/>
              <a:ahLst/>
              <a:cxnLst>
                <a:cxn ang="0">
                  <a:pos x="110" y="101"/>
                </a:cxn>
                <a:cxn ang="0">
                  <a:pos x="67" y="129"/>
                </a:cxn>
                <a:cxn ang="0">
                  <a:pos x="19" y="105"/>
                </a:cxn>
                <a:cxn ang="0">
                  <a:pos x="0" y="53"/>
                </a:cxn>
                <a:cxn ang="0">
                  <a:pos x="72" y="0"/>
                </a:cxn>
                <a:cxn ang="0">
                  <a:pos x="120" y="33"/>
                </a:cxn>
                <a:cxn ang="0">
                  <a:pos x="110" y="101"/>
                </a:cxn>
              </a:cxnLst>
              <a:rect l="0" t="0" r="r" b="b"/>
              <a:pathLst>
                <a:path w="120" h="129">
                  <a:moveTo>
                    <a:pt x="110" y="101"/>
                  </a:moveTo>
                  <a:lnTo>
                    <a:pt x="67" y="129"/>
                  </a:lnTo>
                  <a:lnTo>
                    <a:pt x="19" y="105"/>
                  </a:lnTo>
                  <a:lnTo>
                    <a:pt x="0" y="53"/>
                  </a:lnTo>
                  <a:lnTo>
                    <a:pt x="72" y="0"/>
                  </a:lnTo>
                  <a:lnTo>
                    <a:pt x="120" y="33"/>
                  </a:lnTo>
                  <a:lnTo>
                    <a:pt x="110" y="101"/>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8" name="Freeform 175">
              <a:extLst>
                <a:ext uri="{FF2B5EF4-FFF2-40B4-BE49-F238E27FC236}">
                  <a16:creationId xmlns:a16="http://schemas.microsoft.com/office/drawing/2014/main" id="{329E4615-75F1-2F5E-293F-4A7878FAF11D}"/>
                </a:ext>
              </a:extLst>
            </p:cNvPr>
            <p:cNvSpPr>
              <a:spLocks/>
            </p:cNvSpPr>
            <p:nvPr/>
          </p:nvSpPr>
          <p:spPr bwMode="auto">
            <a:xfrm>
              <a:off x="1796977" y="2071688"/>
              <a:ext cx="223836" cy="234950"/>
            </a:xfrm>
            <a:custGeom>
              <a:avLst/>
              <a:gdLst/>
              <a:ahLst/>
              <a:cxnLst>
                <a:cxn ang="0">
                  <a:pos x="0" y="3968"/>
                </a:cxn>
                <a:cxn ang="0">
                  <a:pos x="495" y="4415"/>
                </a:cxn>
                <a:cxn ang="0">
                  <a:pos x="875" y="4655"/>
                </a:cxn>
                <a:cxn ang="0">
                  <a:pos x="1250" y="4780"/>
                </a:cxn>
                <a:cxn ang="0">
                  <a:pos x="1640" y="4780"/>
                </a:cxn>
                <a:cxn ang="0">
                  <a:pos x="2085" y="4835"/>
                </a:cxn>
                <a:cxn ang="0">
                  <a:pos x="2490" y="5000"/>
                </a:cxn>
                <a:cxn ang="0">
                  <a:pos x="2550" y="4840"/>
                </a:cxn>
                <a:cxn ang="0">
                  <a:pos x="2760" y="4660"/>
                </a:cxn>
                <a:cxn ang="0">
                  <a:pos x="2925" y="4610"/>
                </a:cxn>
                <a:cxn ang="0">
                  <a:pos x="3045" y="4475"/>
                </a:cxn>
                <a:cxn ang="0">
                  <a:pos x="3195" y="4450"/>
                </a:cxn>
                <a:cxn ang="0">
                  <a:pos x="3210" y="4405"/>
                </a:cxn>
                <a:cxn ang="0">
                  <a:pos x="3120" y="4330"/>
                </a:cxn>
                <a:cxn ang="0">
                  <a:pos x="3135" y="4220"/>
                </a:cxn>
                <a:cxn ang="0">
                  <a:pos x="3275" y="4180"/>
                </a:cxn>
                <a:cxn ang="0">
                  <a:pos x="3418" y="4181"/>
                </a:cxn>
                <a:cxn ang="0">
                  <a:pos x="3540" y="4010"/>
                </a:cxn>
                <a:cxn ang="0">
                  <a:pos x="3665" y="4025"/>
                </a:cxn>
                <a:cxn ang="0">
                  <a:pos x="3680" y="3820"/>
                </a:cxn>
                <a:cxn ang="0">
                  <a:pos x="3560" y="3680"/>
                </a:cxn>
                <a:cxn ang="0">
                  <a:pos x="3635" y="3445"/>
                </a:cxn>
                <a:cxn ang="0">
                  <a:pos x="3875" y="3340"/>
                </a:cxn>
                <a:cxn ang="0">
                  <a:pos x="4175" y="3130"/>
                </a:cxn>
                <a:cxn ang="0">
                  <a:pos x="4755" y="2635"/>
                </a:cxn>
                <a:cxn ang="0">
                  <a:pos x="4440" y="2380"/>
                </a:cxn>
                <a:cxn ang="0">
                  <a:pos x="4385" y="2405"/>
                </a:cxn>
                <a:cxn ang="0">
                  <a:pos x="4470" y="2480"/>
                </a:cxn>
                <a:cxn ang="0">
                  <a:pos x="4400" y="2530"/>
                </a:cxn>
                <a:cxn ang="0">
                  <a:pos x="4310" y="2660"/>
                </a:cxn>
                <a:cxn ang="0">
                  <a:pos x="4130" y="2465"/>
                </a:cxn>
                <a:cxn ang="0">
                  <a:pos x="3979" y="2439"/>
                </a:cxn>
                <a:cxn ang="0">
                  <a:pos x="3817" y="2391"/>
                </a:cxn>
                <a:cxn ang="0">
                  <a:pos x="3612" y="2420"/>
                </a:cxn>
                <a:cxn ang="0">
                  <a:pos x="3730" y="867"/>
                </a:cxn>
                <a:cxn ang="0">
                  <a:pos x="3730" y="27"/>
                </a:cxn>
                <a:cxn ang="0">
                  <a:pos x="1600" y="0"/>
                </a:cxn>
                <a:cxn ang="0">
                  <a:pos x="1560" y="680"/>
                </a:cxn>
                <a:cxn ang="0">
                  <a:pos x="1060" y="680"/>
                </a:cxn>
                <a:cxn ang="0">
                  <a:pos x="1509" y="1109"/>
                </a:cxn>
                <a:cxn ang="0">
                  <a:pos x="1942" y="1379"/>
                </a:cxn>
                <a:cxn ang="0">
                  <a:pos x="1999" y="1608"/>
                </a:cxn>
                <a:cxn ang="0">
                  <a:pos x="2262" y="1760"/>
                </a:cxn>
                <a:cxn ang="0">
                  <a:pos x="2182" y="1925"/>
                </a:cxn>
                <a:cxn ang="0">
                  <a:pos x="2149" y="2139"/>
                </a:cxn>
                <a:cxn ang="0">
                  <a:pos x="678" y="2120"/>
                </a:cxn>
                <a:cxn ang="0">
                  <a:pos x="80" y="3070"/>
                </a:cxn>
                <a:cxn ang="0">
                  <a:pos x="219" y="3300"/>
                </a:cxn>
                <a:cxn ang="0">
                  <a:pos x="90" y="3450"/>
                </a:cxn>
                <a:cxn ang="0">
                  <a:pos x="130" y="3629"/>
                </a:cxn>
                <a:cxn ang="0">
                  <a:pos x="90" y="3869"/>
                </a:cxn>
                <a:cxn ang="0">
                  <a:pos x="0" y="3968"/>
                </a:cxn>
              </a:cxnLst>
              <a:rect l="0" t="0" r="r" b="b"/>
              <a:pathLst>
                <a:path w="4755" h="5000">
                  <a:moveTo>
                    <a:pt x="0" y="3968"/>
                  </a:moveTo>
                  <a:lnTo>
                    <a:pt x="495" y="4415"/>
                  </a:lnTo>
                  <a:lnTo>
                    <a:pt x="875" y="4655"/>
                  </a:lnTo>
                  <a:lnTo>
                    <a:pt x="1250" y="4780"/>
                  </a:lnTo>
                  <a:lnTo>
                    <a:pt x="1640" y="4780"/>
                  </a:lnTo>
                  <a:lnTo>
                    <a:pt x="2085" y="4835"/>
                  </a:lnTo>
                  <a:lnTo>
                    <a:pt x="2490" y="5000"/>
                  </a:lnTo>
                  <a:lnTo>
                    <a:pt x="2550" y="4840"/>
                  </a:lnTo>
                  <a:lnTo>
                    <a:pt x="2760" y="4660"/>
                  </a:lnTo>
                  <a:lnTo>
                    <a:pt x="2925" y="4610"/>
                  </a:lnTo>
                  <a:lnTo>
                    <a:pt x="3045" y="4475"/>
                  </a:lnTo>
                  <a:lnTo>
                    <a:pt x="3195" y="4450"/>
                  </a:lnTo>
                  <a:lnTo>
                    <a:pt x="3210" y="4405"/>
                  </a:lnTo>
                  <a:lnTo>
                    <a:pt x="3120" y="4330"/>
                  </a:lnTo>
                  <a:lnTo>
                    <a:pt x="3135" y="4220"/>
                  </a:lnTo>
                  <a:lnTo>
                    <a:pt x="3275" y="4180"/>
                  </a:lnTo>
                  <a:lnTo>
                    <a:pt x="3418" y="4181"/>
                  </a:lnTo>
                  <a:lnTo>
                    <a:pt x="3540" y="4010"/>
                  </a:lnTo>
                  <a:lnTo>
                    <a:pt x="3665" y="4025"/>
                  </a:lnTo>
                  <a:lnTo>
                    <a:pt x="3680" y="3820"/>
                  </a:lnTo>
                  <a:lnTo>
                    <a:pt x="3560" y="3680"/>
                  </a:lnTo>
                  <a:lnTo>
                    <a:pt x="3635" y="3445"/>
                  </a:lnTo>
                  <a:lnTo>
                    <a:pt x="3875" y="3340"/>
                  </a:lnTo>
                  <a:lnTo>
                    <a:pt x="4175" y="3130"/>
                  </a:lnTo>
                  <a:lnTo>
                    <a:pt x="4755" y="2635"/>
                  </a:lnTo>
                  <a:lnTo>
                    <a:pt x="4440" y="2380"/>
                  </a:lnTo>
                  <a:lnTo>
                    <a:pt x="4385" y="2405"/>
                  </a:lnTo>
                  <a:lnTo>
                    <a:pt x="4470" y="2480"/>
                  </a:lnTo>
                  <a:lnTo>
                    <a:pt x="4400" y="2530"/>
                  </a:lnTo>
                  <a:lnTo>
                    <a:pt x="4310" y="2660"/>
                  </a:lnTo>
                  <a:lnTo>
                    <a:pt x="4130" y="2465"/>
                  </a:lnTo>
                  <a:lnTo>
                    <a:pt x="3979" y="2439"/>
                  </a:lnTo>
                  <a:lnTo>
                    <a:pt x="3817" y="2391"/>
                  </a:lnTo>
                  <a:lnTo>
                    <a:pt x="3612" y="2420"/>
                  </a:lnTo>
                  <a:lnTo>
                    <a:pt x="3730" y="867"/>
                  </a:lnTo>
                  <a:lnTo>
                    <a:pt x="3730" y="27"/>
                  </a:lnTo>
                  <a:lnTo>
                    <a:pt x="1600" y="0"/>
                  </a:lnTo>
                  <a:lnTo>
                    <a:pt x="1560" y="680"/>
                  </a:lnTo>
                  <a:lnTo>
                    <a:pt x="1060" y="680"/>
                  </a:lnTo>
                  <a:lnTo>
                    <a:pt x="1509" y="1109"/>
                  </a:lnTo>
                  <a:lnTo>
                    <a:pt x="1942" y="1379"/>
                  </a:lnTo>
                  <a:lnTo>
                    <a:pt x="1999" y="1608"/>
                  </a:lnTo>
                  <a:lnTo>
                    <a:pt x="2262" y="1760"/>
                  </a:lnTo>
                  <a:lnTo>
                    <a:pt x="2182" y="1925"/>
                  </a:lnTo>
                  <a:lnTo>
                    <a:pt x="2149" y="2139"/>
                  </a:lnTo>
                  <a:lnTo>
                    <a:pt x="678" y="2120"/>
                  </a:lnTo>
                  <a:lnTo>
                    <a:pt x="80" y="3070"/>
                  </a:lnTo>
                  <a:lnTo>
                    <a:pt x="219" y="3300"/>
                  </a:lnTo>
                  <a:lnTo>
                    <a:pt x="90" y="3450"/>
                  </a:lnTo>
                  <a:lnTo>
                    <a:pt x="130" y="3629"/>
                  </a:lnTo>
                  <a:lnTo>
                    <a:pt x="90" y="3869"/>
                  </a:lnTo>
                  <a:lnTo>
                    <a:pt x="0" y="3968"/>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79" name="Freeform 176">
              <a:extLst>
                <a:ext uri="{FF2B5EF4-FFF2-40B4-BE49-F238E27FC236}">
                  <a16:creationId xmlns:a16="http://schemas.microsoft.com/office/drawing/2014/main" id="{D9AD1500-ED1C-52CC-153B-570D2D876022}"/>
                </a:ext>
              </a:extLst>
            </p:cNvPr>
            <p:cNvSpPr>
              <a:spLocks/>
            </p:cNvSpPr>
            <p:nvPr/>
          </p:nvSpPr>
          <p:spPr bwMode="auto">
            <a:xfrm>
              <a:off x="1966838" y="2012951"/>
              <a:ext cx="100011" cy="174625"/>
            </a:xfrm>
            <a:custGeom>
              <a:avLst/>
              <a:gdLst/>
              <a:ahLst/>
              <a:cxnLst>
                <a:cxn ang="0">
                  <a:pos x="55" y="548"/>
                </a:cxn>
                <a:cxn ang="0">
                  <a:pos x="31" y="541"/>
                </a:cxn>
                <a:cxn ang="0">
                  <a:pos x="0" y="545"/>
                </a:cxn>
                <a:cxn ang="0">
                  <a:pos x="18" y="319"/>
                </a:cxn>
                <a:cxn ang="0">
                  <a:pos x="18" y="191"/>
                </a:cxn>
                <a:cxn ang="0">
                  <a:pos x="22" y="166"/>
                </a:cxn>
                <a:cxn ang="0">
                  <a:pos x="43" y="158"/>
                </a:cxn>
                <a:cxn ang="0">
                  <a:pos x="58" y="139"/>
                </a:cxn>
                <a:cxn ang="0">
                  <a:pos x="113" y="153"/>
                </a:cxn>
                <a:cxn ang="0">
                  <a:pos x="146" y="106"/>
                </a:cxn>
                <a:cxn ang="0">
                  <a:pos x="181" y="63"/>
                </a:cxn>
                <a:cxn ang="0">
                  <a:pos x="229" y="60"/>
                </a:cxn>
                <a:cxn ang="0">
                  <a:pos x="269" y="0"/>
                </a:cxn>
                <a:cxn ang="0">
                  <a:pos x="278" y="82"/>
                </a:cxn>
                <a:cxn ang="0">
                  <a:pos x="313" y="79"/>
                </a:cxn>
                <a:cxn ang="0">
                  <a:pos x="307" y="127"/>
                </a:cxn>
                <a:cxn ang="0">
                  <a:pos x="271" y="180"/>
                </a:cxn>
                <a:cxn ang="0">
                  <a:pos x="224" y="189"/>
                </a:cxn>
                <a:cxn ang="0">
                  <a:pos x="212" y="223"/>
                </a:cxn>
                <a:cxn ang="0">
                  <a:pos x="223" y="256"/>
                </a:cxn>
                <a:cxn ang="0">
                  <a:pos x="215" y="268"/>
                </a:cxn>
                <a:cxn ang="0">
                  <a:pos x="203" y="292"/>
                </a:cxn>
                <a:cxn ang="0">
                  <a:pos x="232" y="321"/>
                </a:cxn>
                <a:cxn ang="0">
                  <a:pos x="227" y="361"/>
                </a:cxn>
                <a:cxn ang="0">
                  <a:pos x="224" y="391"/>
                </a:cxn>
                <a:cxn ang="0">
                  <a:pos x="209" y="426"/>
                </a:cxn>
                <a:cxn ang="0">
                  <a:pos x="187" y="450"/>
                </a:cxn>
                <a:cxn ang="0">
                  <a:pos x="157" y="474"/>
                </a:cxn>
                <a:cxn ang="0">
                  <a:pos x="137" y="490"/>
                </a:cxn>
                <a:cxn ang="0">
                  <a:pos x="118" y="510"/>
                </a:cxn>
                <a:cxn ang="0">
                  <a:pos x="101" y="540"/>
                </a:cxn>
                <a:cxn ang="0">
                  <a:pos x="77" y="552"/>
                </a:cxn>
                <a:cxn ang="0">
                  <a:pos x="55" y="548"/>
                </a:cxn>
              </a:cxnLst>
              <a:rect l="0" t="0" r="r" b="b"/>
              <a:pathLst>
                <a:path w="313" h="552">
                  <a:moveTo>
                    <a:pt x="55" y="548"/>
                  </a:moveTo>
                  <a:lnTo>
                    <a:pt x="31" y="541"/>
                  </a:lnTo>
                  <a:lnTo>
                    <a:pt x="0" y="545"/>
                  </a:lnTo>
                  <a:lnTo>
                    <a:pt x="18" y="319"/>
                  </a:lnTo>
                  <a:lnTo>
                    <a:pt x="18" y="191"/>
                  </a:lnTo>
                  <a:lnTo>
                    <a:pt x="22" y="166"/>
                  </a:lnTo>
                  <a:lnTo>
                    <a:pt x="43" y="158"/>
                  </a:lnTo>
                  <a:lnTo>
                    <a:pt x="58" y="139"/>
                  </a:lnTo>
                  <a:lnTo>
                    <a:pt x="113" y="153"/>
                  </a:lnTo>
                  <a:lnTo>
                    <a:pt x="146" y="106"/>
                  </a:lnTo>
                  <a:lnTo>
                    <a:pt x="181" y="63"/>
                  </a:lnTo>
                  <a:lnTo>
                    <a:pt x="229" y="60"/>
                  </a:lnTo>
                  <a:lnTo>
                    <a:pt x="269" y="0"/>
                  </a:lnTo>
                  <a:lnTo>
                    <a:pt x="278" y="82"/>
                  </a:lnTo>
                  <a:lnTo>
                    <a:pt x="313" y="79"/>
                  </a:lnTo>
                  <a:lnTo>
                    <a:pt x="307" y="127"/>
                  </a:lnTo>
                  <a:lnTo>
                    <a:pt x="271" y="180"/>
                  </a:lnTo>
                  <a:lnTo>
                    <a:pt x="224" y="189"/>
                  </a:lnTo>
                  <a:lnTo>
                    <a:pt x="212" y="223"/>
                  </a:lnTo>
                  <a:lnTo>
                    <a:pt x="223" y="256"/>
                  </a:lnTo>
                  <a:lnTo>
                    <a:pt x="215" y="268"/>
                  </a:lnTo>
                  <a:lnTo>
                    <a:pt x="203" y="292"/>
                  </a:lnTo>
                  <a:lnTo>
                    <a:pt x="232" y="321"/>
                  </a:lnTo>
                  <a:lnTo>
                    <a:pt x="227" y="361"/>
                  </a:lnTo>
                  <a:lnTo>
                    <a:pt x="224" y="391"/>
                  </a:lnTo>
                  <a:lnTo>
                    <a:pt x="209" y="426"/>
                  </a:lnTo>
                  <a:lnTo>
                    <a:pt x="187" y="450"/>
                  </a:lnTo>
                  <a:lnTo>
                    <a:pt x="157" y="474"/>
                  </a:lnTo>
                  <a:lnTo>
                    <a:pt x="137" y="490"/>
                  </a:lnTo>
                  <a:lnTo>
                    <a:pt x="118" y="510"/>
                  </a:lnTo>
                  <a:lnTo>
                    <a:pt x="101" y="540"/>
                  </a:lnTo>
                  <a:lnTo>
                    <a:pt x="77" y="552"/>
                  </a:lnTo>
                  <a:lnTo>
                    <a:pt x="55" y="548"/>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0" name="Freeform 177">
              <a:extLst>
                <a:ext uri="{FF2B5EF4-FFF2-40B4-BE49-F238E27FC236}">
                  <a16:creationId xmlns:a16="http://schemas.microsoft.com/office/drawing/2014/main" id="{BDDBF0DB-4611-4E31-C0FC-4276055D1F29}"/>
                </a:ext>
              </a:extLst>
            </p:cNvPr>
            <p:cNvSpPr>
              <a:spLocks/>
            </p:cNvSpPr>
            <p:nvPr/>
          </p:nvSpPr>
          <p:spPr bwMode="auto">
            <a:xfrm>
              <a:off x="1957313" y="2181226"/>
              <a:ext cx="344483" cy="173037"/>
            </a:xfrm>
            <a:custGeom>
              <a:avLst/>
              <a:gdLst/>
              <a:ahLst/>
              <a:cxnLst>
                <a:cxn ang="0">
                  <a:pos x="2149" y="3361"/>
                </a:cxn>
                <a:cxn ang="0">
                  <a:pos x="2009" y="3221"/>
                </a:cxn>
                <a:cxn ang="0">
                  <a:pos x="1769" y="3159"/>
                </a:cxn>
                <a:cxn ang="0">
                  <a:pos x="1869" y="2971"/>
                </a:cxn>
                <a:cxn ang="0">
                  <a:pos x="1809" y="2591"/>
                </a:cxn>
                <a:cxn ang="0">
                  <a:pos x="1439" y="2451"/>
                </a:cxn>
                <a:cxn ang="0">
                  <a:pos x="1229" y="2591"/>
                </a:cxn>
                <a:cxn ang="0">
                  <a:pos x="869" y="2421"/>
                </a:cxn>
                <a:cxn ang="0">
                  <a:pos x="409" y="2041"/>
                </a:cxn>
                <a:cxn ang="0">
                  <a:pos x="119" y="1700"/>
                </a:cxn>
                <a:cxn ang="0">
                  <a:pos x="258" y="1511"/>
                </a:cxn>
                <a:cxn ang="0">
                  <a:pos x="215" y="1134"/>
                </a:cxn>
                <a:cxn ang="0">
                  <a:pos x="746" y="827"/>
                </a:cxn>
                <a:cxn ang="0">
                  <a:pos x="1489" y="350"/>
                </a:cxn>
                <a:cxn ang="0">
                  <a:pos x="1999" y="110"/>
                </a:cxn>
                <a:cxn ang="0">
                  <a:pos x="2409" y="210"/>
                </a:cxn>
                <a:cxn ang="0">
                  <a:pos x="3559" y="260"/>
                </a:cxn>
                <a:cxn ang="0">
                  <a:pos x="4010" y="150"/>
                </a:cxn>
                <a:cxn ang="0">
                  <a:pos x="4270" y="30"/>
                </a:cxn>
                <a:cxn ang="0">
                  <a:pos x="4730" y="150"/>
                </a:cxn>
                <a:cxn ang="0">
                  <a:pos x="5160" y="0"/>
                </a:cxn>
                <a:cxn ang="0">
                  <a:pos x="5620" y="310"/>
                </a:cxn>
                <a:cxn ang="0">
                  <a:pos x="6080" y="290"/>
                </a:cxn>
                <a:cxn ang="0">
                  <a:pos x="6090" y="590"/>
                </a:cxn>
                <a:cxn ang="0">
                  <a:pos x="6310" y="850"/>
                </a:cxn>
                <a:cxn ang="0">
                  <a:pos x="6550" y="920"/>
                </a:cxn>
                <a:cxn ang="0">
                  <a:pos x="6810" y="1010"/>
                </a:cxn>
                <a:cxn ang="0">
                  <a:pos x="7090" y="960"/>
                </a:cxn>
                <a:cxn ang="0">
                  <a:pos x="7310" y="1290"/>
                </a:cxn>
                <a:cxn ang="0">
                  <a:pos x="6900" y="1250"/>
                </a:cxn>
                <a:cxn ang="0">
                  <a:pos x="6200" y="1580"/>
                </a:cxn>
                <a:cxn ang="0">
                  <a:pos x="5510" y="1660"/>
                </a:cxn>
                <a:cxn ang="0">
                  <a:pos x="5130" y="1620"/>
                </a:cxn>
                <a:cxn ang="0">
                  <a:pos x="4980" y="1850"/>
                </a:cxn>
                <a:cxn ang="0">
                  <a:pos x="4940" y="2101"/>
                </a:cxn>
                <a:cxn ang="0">
                  <a:pos x="4590" y="2371"/>
                </a:cxn>
                <a:cxn ang="0">
                  <a:pos x="4230" y="2721"/>
                </a:cxn>
                <a:cxn ang="0">
                  <a:pos x="3589" y="2771"/>
                </a:cxn>
                <a:cxn ang="0">
                  <a:pos x="3049" y="2971"/>
                </a:cxn>
                <a:cxn ang="0">
                  <a:pos x="2909" y="3361"/>
                </a:cxn>
                <a:cxn ang="0">
                  <a:pos x="2739" y="3711"/>
                </a:cxn>
                <a:cxn ang="0">
                  <a:pos x="2389" y="3551"/>
                </a:cxn>
              </a:cxnLst>
              <a:rect l="0" t="0" r="r" b="b"/>
              <a:pathLst>
                <a:path w="7310" h="3711">
                  <a:moveTo>
                    <a:pt x="2389" y="3551"/>
                  </a:moveTo>
                  <a:lnTo>
                    <a:pt x="2149" y="3361"/>
                  </a:lnTo>
                  <a:lnTo>
                    <a:pt x="2129" y="3251"/>
                  </a:lnTo>
                  <a:lnTo>
                    <a:pt x="2009" y="3221"/>
                  </a:lnTo>
                  <a:lnTo>
                    <a:pt x="1909" y="3281"/>
                  </a:lnTo>
                  <a:lnTo>
                    <a:pt x="1769" y="3159"/>
                  </a:lnTo>
                  <a:lnTo>
                    <a:pt x="1939" y="3146"/>
                  </a:lnTo>
                  <a:lnTo>
                    <a:pt x="1869" y="2971"/>
                  </a:lnTo>
                  <a:lnTo>
                    <a:pt x="1949" y="2691"/>
                  </a:lnTo>
                  <a:lnTo>
                    <a:pt x="1809" y="2591"/>
                  </a:lnTo>
                  <a:lnTo>
                    <a:pt x="1599" y="2601"/>
                  </a:lnTo>
                  <a:lnTo>
                    <a:pt x="1439" y="2451"/>
                  </a:lnTo>
                  <a:lnTo>
                    <a:pt x="1309" y="2481"/>
                  </a:lnTo>
                  <a:lnTo>
                    <a:pt x="1229" y="2591"/>
                  </a:lnTo>
                  <a:lnTo>
                    <a:pt x="1039" y="2601"/>
                  </a:lnTo>
                  <a:lnTo>
                    <a:pt x="869" y="2421"/>
                  </a:lnTo>
                  <a:lnTo>
                    <a:pt x="429" y="2181"/>
                  </a:lnTo>
                  <a:lnTo>
                    <a:pt x="409" y="2041"/>
                  </a:lnTo>
                  <a:lnTo>
                    <a:pt x="0" y="1869"/>
                  </a:lnTo>
                  <a:lnTo>
                    <a:pt x="119" y="1700"/>
                  </a:lnTo>
                  <a:lnTo>
                    <a:pt x="243" y="1713"/>
                  </a:lnTo>
                  <a:lnTo>
                    <a:pt x="258" y="1511"/>
                  </a:lnTo>
                  <a:lnTo>
                    <a:pt x="140" y="1371"/>
                  </a:lnTo>
                  <a:lnTo>
                    <a:pt x="215" y="1134"/>
                  </a:lnTo>
                  <a:lnTo>
                    <a:pt x="456" y="1029"/>
                  </a:lnTo>
                  <a:lnTo>
                    <a:pt x="746" y="827"/>
                  </a:lnTo>
                  <a:lnTo>
                    <a:pt x="1334" y="326"/>
                  </a:lnTo>
                  <a:lnTo>
                    <a:pt x="1489" y="350"/>
                  </a:lnTo>
                  <a:lnTo>
                    <a:pt x="1789" y="120"/>
                  </a:lnTo>
                  <a:lnTo>
                    <a:pt x="1999" y="110"/>
                  </a:lnTo>
                  <a:lnTo>
                    <a:pt x="2229" y="250"/>
                  </a:lnTo>
                  <a:lnTo>
                    <a:pt x="2409" y="210"/>
                  </a:lnTo>
                  <a:lnTo>
                    <a:pt x="2959" y="290"/>
                  </a:lnTo>
                  <a:lnTo>
                    <a:pt x="3559" y="260"/>
                  </a:lnTo>
                  <a:lnTo>
                    <a:pt x="3810" y="150"/>
                  </a:lnTo>
                  <a:lnTo>
                    <a:pt x="4010" y="150"/>
                  </a:lnTo>
                  <a:lnTo>
                    <a:pt x="4080" y="10"/>
                  </a:lnTo>
                  <a:lnTo>
                    <a:pt x="4270" y="30"/>
                  </a:lnTo>
                  <a:lnTo>
                    <a:pt x="4430" y="130"/>
                  </a:lnTo>
                  <a:lnTo>
                    <a:pt x="4730" y="150"/>
                  </a:lnTo>
                  <a:lnTo>
                    <a:pt x="5020" y="110"/>
                  </a:lnTo>
                  <a:lnTo>
                    <a:pt x="5160" y="0"/>
                  </a:lnTo>
                  <a:lnTo>
                    <a:pt x="5540" y="170"/>
                  </a:lnTo>
                  <a:lnTo>
                    <a:pt x="5620" y="310"/>
                  </a:lnTo>
                  <a:lnTo>
                    <a:pt x="5930" y="210"/>
                  </a:lnTo>
                  <a:lnTo>
                    <a:pt x="6080" y="290"/>
                  </a:lnTo>
                  <a:lnTo>
                    <a:pt x="6430" y="610"/>
                  </a:lnTo>
                  <a:lnTo>
                    <a:pt x="6090" y="590"/>
                  </a:lnTo>
                  <a:lnTo>
                    <a:pt x="6200" y="750"/>
                  </a:lnTo>
                  <a:lnTo>
                    <a:pt x="6310" y="850"/>
                  </a:lnTo>
                  <a:lnTo>
                    <a:pt x="6420" y="930"/>
                  </a:lnTo>
                  <a:lnTo>
                    <a:pt x="6550" y="920"/>
                  </a:lnTo>
                  <a:lnTo>
                    <a:pt x="6750" y="880"/>
                  </a:lnTo>
                  <a:lnTo>
                    <a:pt x="6810" y="1010"/>
                  </a:lnTo>
                  <a:lnTo>
                    <a:pt x="6910" y="890"/>
                  </a:lnTo>
                  <a:lnTo>
                    <a:pt x="7090" y="960"/>
                  </a:lnTo>
                  <a:lnTo>
                    <a:pt x="7160" y="1150"/>
                  </a:lnTo>
                  <a:lnTo>
                    <a:pt x="7310" y="1290"/>
                  </a:lnTo>
                  <a:lnTo>
                    <a:pt x="7060" y="1220"/>
                  </a:lnTo>
                  <a:lnTo>
                    <a:pt x="6900" y="1250"/>
                  </a:lnTo>
                  <a:lnTo>
                    <a:pt x="6590" y="1500"/>
                  </a:lnTo>
                  <a:lnTo>
                    <a:pt x="6200" y="1580"/>
                  </a:lnTo>
                  <a:lnTo>
                    <a:pt x="5710" y="1720"/>
                  </a:lnTo>
                  <a:lnTo>
                    <a:pt x="5510" y="1660"/>
                  </a:lnTo>
                  <a:lnTo>
                    <a:pt x="5350" y="1450"/>
                  </a:lnTo>
                  <a:lnTo>
                    <a:pt x="5130" y="1620"/>
                  </a:lnTo>
                  <a:lnTo>
                    <a:pt x="5130" y="1760"/>
                  </a:lnTo>
                  <a:lnTo>
                    <a:pt x="4980" y="1850"/>
                  </a:lnTo>
                  <a:lnTo>
                    <a:pt x="4950" y="2011"/>
                  </a:lnTo>
                  <a:lnTo>
                    <a:pt x="4940" y="2101"/>
                  </a:lnTo>
                  <a:lnTo>
                    <a:pt x="4740" y="2161"/>
                  </a:lnTo>
                  <a:lnTo>
                    <a:pt x="4590" y="2371"/>
                  </a:lnTo>
                  <a:lnTo>
                    <a:pt x="4300" y="2541"/>
                  </a:lnTo>
                  <a:lnTo>
                    <a:pt x="4230" y="2721"/>
                  </a:lnTo>
                  <a:lnTo>
                    <a:pt x="3850" y="2451"/>
                  </a:lnTo>
                  <a:lnTo>
                    <a:pt x="3589" y="2771"/>
                  </a:lnTo>
                  <a:lnTo>
                    <a:pt x="3079" y="2791"/>
                  </a:lnTo>
                  <a:lnTo>
                    <a:pt x="3049" y="2971"/>
                  </a:lnTo>
                  <a:lnTo>
                    <a:pt x="3139" y="3311"/>
                  </a:lnTo>
                  <a:lnTo>
                    <a:pt x="2909" y="3361"/>
                  </a:lnTo>
                  <a:lnTo>
                    <a:pt x="2869" y="3541"/>
                  </a:lnTo>
                  <a:lnTo>
                    <a:pt x="2739" y="3711"/>
                  </a:lnTo>
                  <a:lnTo>
                    <a:pt x="2389" y="3701"/>
                  </a:lnTo>
                  <a:lnTo>
                    <a:pt x="2389" y="3551"/>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1" name="Freeform 178">
              <a:extLst>
                <a:ext uri="{FF2B5EF4-FFF2-40B4-BE49-F238E27FC236}">
                  <a16:creationId xmlns:a16="http://schemas.microsoft.com/office/drawing/2014/main" id="{AA63550C-9423-D160-E821-DDF61AE2287E}"/>
                </a:ext>
              </a:extLst>
            </p:cNvPr>
            <p:cNvSpPr>
              <a:spLocks/>
            </p:cNvSpPr>
            <p:nvPr/>
          </p:nvSpPr>
          <p:spPr bwMode="auto">
            <a:xfrm>
              <a:off x="1914450" y="2268538"/>
              <a:ext cx="134937" cy="76200"/>
            </a:xfrm>
            <a:custGeom>
              <a:avLst/>
              <a:gdLst/>
              <a:ahLst/>
              <a:cxnLst>
                <a:cxn ang="0">
                  <a:pos x="2620" y="1611"/>
                </a:cxn>
                <a:cxn ang="0">
                  <a:pos x="2000" y="1611"/>
                </a:cxn>
                <a:cxn ang="0">
                  <a:pos x="1800" y="1471"/>
                </a:cxn>
                <a:cxn ang="0">
                  <a:pos x="1505" y="1506"/>
                </a:cxn>
                <a:cxn ang="0">
                  <a:pos x="990" y="1191"/>
                </a:cxn>
                <a:cxn ang="0">
                  <a:pos x="400" y="1131"/>
                </a:cxn>
                <a:cxn ang="0">
                  <a:pos x="0" y="821"/>
                </a:cxn>
                <a:cxn ang="0">
                  <a:pos x="60" y="660"/>
                </a:cxn>
                <a:cxn ang="0">
                  <a:pos x="268" y="481"/>
                </a:cxn>
                <a:cxn ang="0">
                  <a:pos x="435" y="430"/>
                </a:cxn>
                <a:cxn ang="0">
                  <a:pos x="556" y="295"/>
                </a:cxn>
                <a:cxn ang="0">
                  <a:pos x="705" y="271"/>
                </a:cxn>
                <a:cxn ang="0">
                  <a:pos x="720" y="225"/>
                </a:cxn>
                <a:cxn ang="0">
                  <a:pos x="630" y="149"/>
                </a:cxn>
                <a:cxn ang="0">
                  <a:pos x="645" y="38"/>
                </a:cxn>
                <a:cxn ang="0">
                  <a:pos x="780" y="0"/>
                </a:cxn>
                <a:cxn ang="0">
                  <a:pos x="930" y="0"/>
                </a:cxn>
                <a:cxn ang="0">
                  <a:pos x="1340" y="170"/>
                </a:cxn>
                <a:cxn ang="0">
                  <a:pos x="1360" y="311"/>
                </a:cxn>
                <a:cxn ang="0">
                  <a:pos x="1804" y="553"/>
                </a:cxn>
                <a:cxn ang="0">
                  <a:pos x="1970" y="730"/>
                </a:cxn>
                <a:cxn ang="0">
                  <a:pos x="2158" y="722"/>
                </a:cxn>
                <a:cxn ang="0">
                  <a:pos x="2238" y="613"/>
                </a:cxn>
                <a:cxn ang="0">
                  <a:pos x="2370" y="581"/>
                </a:cxn>
                <a:cxn ang="0">
                  <a:pos x="2532" y="731"/>
                </a:cxn>
                <a:cxn ang="0">
                  <a:pos x="2742" y="722"/>
                </a:cxn>
                <a:cxn ang="0">
                  <a:pos x="2881" y="820"/>
                </a:cxn>
                <a:cxn ang="0">
                  <a:pos x="2800" y="1100"/>
                </a:cxn>
                <a:cxn ang="0">
                  <a:pos x="2869" y="1276"/>
                </a:cxn>
                <a:cxn ang="0">
                  <a:pos x="2701" y="1289"/>
                </a:cxn>
                <a:cxn ang="0">
                  <a:pos x="2660" y="1361"/>
                </a:cxn>
                <a:cxn ang="0">
                  <a:pos x="2750" y="1501"/>
                </a:cxn>
                <a:cxn ang="0">
                  <a:pos x="2620" y="1611"/>
                </a:cxn>
              </a:cxnLst>
              <a:rect l="0" t="0" r="r" b="b"/>
              <a:pathLst>
                <a:path w="2881" h="1611">
                  <a:moveTo>
                    <a:pt x="2620" y="1611"/>
                  </a:moveTo>
                  <a:lnTo>
                    <a:pt x="2000" y="1611"/>
                  </a:lnTo>
                  <a:lnTo>
                    <a:pt x="1800" y="1471"/>
                  </a:lnTo>
                  <a:lnTo>
                    <a:pt x="1505" y="1506"/>
                  </a:lnTo>
                  <a:lnTo>
                    <a:pt x="990" y="1191"/>
                  </a:lnTo>
                  <a:lnTo>
                    <a:pt x="400" y="1131"/>
                  </a:lnTo>
                  <a:lnTo>
                    <a:pt x="0" y="821"/>
                  </a:lnTo>
                  <a:lnTo>
                    <a:pt x="60" y="660"/>
                  </a:lnTo>
                  <a:lnTo>
                    <a:pt x="268" y="481"/>
                  </a:lnTo>
                  <a:lnTo>
                    <a:pt x="435" y="430"/>
                  </a:lnTo>
                  <a:lnTo>
                    <a:pt x="556" y="295"/>
                  </a:lnTo>
                  <a:lnTo>
                    <a:pt x="705" y="271"/>
                  </a:lnTo>
                  <a:lnTo>
                    <a:pt x="720" y="225"/>
                  </a:lnTo>
                  <a:lnTo>
                    <a:pt x="630" y="149"/>
                  </a:lnTo>
                  <a:lnTo>
                    <a:pt x="645" y="38"/>
                  </a:lnTo>
                  <a:lnTo>
                    <a:pt x="780" y="0"/>
                  </a:lnTo>
                  <a:lnTo>
                    <a:pt x="930" y="0"/>
                  </a:lnTo>
                  <a:lnTo>
                    <a:pt x="1340" y="170"/>
                  </a:lnTo>
                  <a:lnTo>
                    <a:pt x="1360" y="311"/>
                  </a:lnTo>
                  <a:lnTo>
                    <a:pt x="1804" y="553"/>
                  </a:lnTo>
                  <a:lnTo>
                    <a:pt x="1970" y="730"/>
                  </a:lnTo>
                  <a:lnTo>
                    <a:pt x="2158" y="722"/>
                  </a:lnTo>
                  <a:lnTo>
                    <a:pt x="2238" y="613"/>
                  </a:lnTo>
                  <a:lnTo>
                    <a:pt x="2370" y="581"/>
                  </a:lnTo>
                  <a:lnTo>
                    <a:pt x="2532" y="731"/>
                  </a:lnTo>
                  <a:lnTo>
                    <a:pt x="2742" y="722"/>
                  </a:lnTo>
                  <a:lnTo>
                    <a:pt x="2881" y="820"/>
                  </a:lnTo>
                  <a:lnTo>
                    <a:pt x="2800" y="1100"/>
                  </a:lnTo>
                  <a:lnTo>
                    <a:pt x="2869" y="1276"/>
                  </a:lnTo>
                  <a:lnTo>
                    <a:pt x="2701" y="1289"/>
                  </a:lnTo>
                  <a:lnTo>
                    <a:pt x="2660" y="1361"/>
                  </a:lnTo>
                  <a:lnTo>
                    <a:pt x="2750" y="1501"/>
                  </a:lnTo>
                  <a:lnTo>
                    <a:pt x="2620" y="1611"/>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2" name="Freeform 179">
              <a:extLst>
                <a:ext uri="{FF2B5EF4-FFF2-40B4-BE49-F238E27FC236}">
                  <a16:creationId xmlns:a16="http://schemas.microsoft.com/office/drawing/2014/main" id="{4D0A5C22-6923-0001-E09C-B13B3F2B2955}"/>
                </a:ext>
              </a:extLst>
            </p:cNvPr>
            <p:cNvSpPr>
              <a:spLocks/>
            </p:cNvSpPr>
            <p:nvPr/>
          </p:nvSpPr>
          <p:spPr bwMode="auto">
            <a:xfrm>
              <a:off x="2049387" y="2238376"/>
              <a:ext cx="252409" cy="249237"/>
            </a:xfrm>
            <a:custGeom>
              <a:avLst/>
              <a:gdLst/>
              <a:ahLst/>
              <a:cxnLst>
                <a:cxn ang="0">
                  <a:pos x="195" y="2731"/>
                </a:cxn>
                <a:cxn ang="0">
                  <a:pos x="745" y="3256"/>
                </a:cxn>
                <a:cxn ang="0">
                  <a:pos x="1410" y="4026"/>
                </a:cxn>
                <a:cxn ang="0">
                  <a:pos x="1770" y="4311"/>
                </a:cxn>
                <a:cxn ang="0">
                  <a:pos x="2175" y="4671"/>
                </a:cxn>
                <a:cxn ang="0">
                  <a:pos x="2365" y="4866"/>
                </a:cxn>
                <a:cxn ang="0">
                  <a:pos x="2320" y="4531"/>
                </a:cxn>
                <a:cxn ang="0">
                  <a:pos x="2085" y="4071"/>
                </a:cxn>
                <a:cxn ang="0">
                  <a:pos x="2145" y="3616"/>
                </a:cxn>
                <a:cxn ang="0">
                  <a:pos x="2520" y="3666"/>
                </a:cxn>
                <a:cxn ang="0">
                  <a:pos x="3026" y="4066"/>
                </a:cxn>
                <a:cxn ang="0">
                  <a:pos x="3526" y="4851"/>
                </a:cxn>
                <a:cxn ang="0">
                  <a:pos x="3856" y="4986"/>
                </a:cxn>
                <a:cxn ang="0">
                  <a:pos x="4001" y="5091"/>
                </a:cxn>
                <a:cxn ang="0">
                  <a:pos x="4361" y="5251"/>
                </a:cxn>
                <a:cxn ang="0">
                  <a:pos x="4796" y="5221"/>
                </a:cxn>
                <a:cxn ang="0">
                  <a:pos x="4661" y="4941"/>
                </a:cxn>
                <a:cxn ang="0">
                  <a:pos x="4541" y="4506"/>
                </a:cxn>
                <a:cxn ang="0">
                  <a:pos x="4661" y="4261"/>
                </a:cxn>
                <a:cxn ang="0">
                  <a:pos x="4721" y="3931"/>
                </a:cxn>
                <a:cxn ang="0">
                  <a:pos x="4591" y="3861"/>
                </a:cxn>
                <a:cxn ang="0">
                  <a:pos x="4786" y="3441"/>
                </a:cxn>
                <a:cxn ang="0">
                  <a:pos x="4636" y="3061"/>
                </a:cxn>
                <a:cxn ang="0">
                  <a:pos x="4856" y="2851"/>
                </a:cxn>
                <a:cxn ang="0">
                  <a:pos x="4846" y="2706"/>
                </a:cxn>
                <a:cxn ang="0">
                  <a:pos x="4966" y="2585"/>
                </a:cxn>
                <a:cxn ang="0">
                  <a:pos x="4876" y="2015"/>
                </a:cxn>
                <a:cxn ang="0">
                  <a:pos x="4841" y="1730"/>
                </a:cxn>
                <a:cxn ang="0">
                  <a:pos x="4961" y="1610"/>
                </a:cxn>
                <a:cxn ang="0">
                  <a:pos x="5216" y="1110"/>
                </a:cxn>
                <a:cxn ang="0">
                  <a:pos x="5176" y="980"/>
                </a:cxn>
                <a:cxn ang="0">
                  <a:pos x="5216" y="795"/>
                </a:cxn>
                <a:cxn ang="0">
                  <a:pos x="5351" y="845"/>
                </a:cxn>
                <a:cxn ang="0">
                  <a:pos x="5056" y="260"/>
                </a:cxn>
                <a:cxn ang="0">
                  <a:pos x="5369" y="69"/>
                </a:cxn>
                <a:cxn ang="0">
                  <a:pos x="4961" y="30"/>
                </a:cxn>
                <a:cxn ang="0">
                  <a:pos x="4258" y="361"/>
                </a:cxn>
                <a:cxn ang="0">
                  <a:pos x="3572" y="441"/>
                </a:cxn>
                <a:cxn ang="0">
                  <a:pos x="3190" y="399"/>
                </a:cxn>
                <a:cxn ang="0">
                  <a:pos x="3041" y="628"/>
                </a:cxn>
                <a:cxn ang="0">
                  <a:pos x="3002" y="880"/>
                </a:cxn>
                <a:cxn ang="0">
                  <a:pos x="2650" y="1152"/>
                </a:cxn>
                <a:cxn ang="0">
                  <a:pos x="2291" y="1500"/>
                </a:cxn>
                <a:cxn ang="0">
                  <a:pos x="1651" y="1551"/>
                </a:cxn>
                <a:cxn ang="0">
                  <a:pos x="1111" y="1750"/>
                </a:cxn>
                <a:cxn ang="0">
                  <a:pos x="971" y="2140"/>
                </a:cxn>
                <a:cxn ang="0">
                  <a:pos x="799" y="2490"/>
                </a:cxn>
                <a:cxn ang="0">
                  <a:pos x="450" y="2605"/>
                </a:cxn>
                <a:cxn ang="0">
                  <a:pos x="160" y="2400"/>
                </a:cxn>
                <a:cxn ang="0">
                  <a:pos x="0" y="2605"/>
                </a:cxn>
              </a:cxnLst>
              <a:rect l="0" t="0" r="r" b="b"/>
              <a:pathLst>
                <a:path w="5369" h="5311">
                  <a:moveTo>
                    <a:pt x="0" y="2605"/>
                  </a:moveTo>
                  <a:lnTo>
                    <a:pt x="195" y="2731"/>
                  </a:lnTo>
                  <a:lnTo>
                    <a:pt x="520" y="3031"/>
                  </a:lnTo>
                  <a:lnTo>
                    <a:pt x="745" y="3256"/>
                  </a:lnTo>
                  <a:lnTo>
                    <a:pt x="1060" y="3466"/>
                  </a:lnTo>
                  <a:lnTo>
                    <a:pt x="1410" y="4026"/>
                  </a:lnTo>
                  <a:lnTo>
                    <a:pt x="1590" y="4231"/>
                  </a:lnTo>
                  <a:lnTo>
                    <a:pt x="1770" y="4311"/>
                  </a:lnTo>
                  <a:lnTo>
                    <a:pt x="1995" y="4521"/>
                  </a:lnTo>
                  <a:lnTo>
                    <a:pt x="2175" y="4671"/>
                  </a:lnTo>
                  <a:lnTo>
                    <a:pt x="2245" y="4816"/>
                  </a:lnTo>
                  <a:lnTo>
                    <a:pt x="2365" y="4866"/>
                  </a:lnTo>
                  <a:lnTo>
                    <a:pt x="2490" y="4681"/>
                  </a:lnTo>
                  <a:lnTo>
                    <a:pt x="2320" y="4531"/>
                  </a:lnTo>
                  <a:lnTo>
                    <a:pt x="2250" y="4351"/>
                  </a:lnTo>
                  <a:lnTo>
                    <a:pt x="2085" y="4071"/>
                  </a:lnTo>
                  <a:lnTo>
                    <a:pt x="2065" y="3801"/>
                  </a:lnTo>
                  <a:lnTo>
                    <a:pt x="2145" y="3616"/>
                  </a:lnTo>
                  <a:lnTo>
                    <a:pt x="2295" y="3601"/>
                  </a:lnTo>
                  <a:lnTo>
                    <a:pt x="2520" y="3666"/>
                  </a:lnTo>
                  <a:lnTo>
                    <a:pt x="2791" y="3916"/>
                  </a:lnTo>
                  <a:lnTo>
                    <a:pt x="3026" y="4066"/>
                  </a:lnTo>
                  <a:lnTo>
                    <a:pt x="3346" y="4531"/>
                  </a:lnTo>
                  <a:lnTo>
                    <a:pt x="3526" y="4851"/>
                  </a:lnTo>
                  <a:lnTo>
                    <a:pt x="3721" y="4911"/>
                  </a:lnTo>
                  <a:lnTo>
                    <a:pt x="3856" y="4986"/>
                  </a:lnTo>
                  <a:lnTo>
                    <a:pt x="3956" y="4966"/>
                  </a:lnTo>
                  <a:lnTo>
                    <a:pt x="4001" y="5091"/>
                  </a:lnTo>
                  <a:lnTo>
                    <a:pt x="4156" y="5256"/>
                  </a:lnTo>
                  <a:lnTo>
                    <a:pt x="4361" y="5251"/>
                  </a:lnTo>
                  <a:lnTo>
                    <a:pt x="4466" y="5311"/>
                  </a:lnTo>
                  <a:lnTo>
                    <a:pt x="4796" y="5221"/>
                  </a:lnTo>
                  <a:lnTo>
                    <a:pt x="4796" y="5091"/>
                  </a:lnTo>
                  <a:lnTo>
                    <a:pt x="4661" y="4941"/>
                  </a:lnTo>
                  <a:lnTo>
                    <a:pt x="4561" y="4731"/>
                  </a:lnTo>
                  <a:lnTo>
                    <a:pt x="4541" y="4506"/>
                  </a:lnTo>
                  <a:lnTo>
                    <a:pt x="4646" y="4381"/>
                  </a:lnTo>
                  <a:lnTo>
                    <a:pt x="4661" y="4261"/>
                  </a:lnTo>
                  <a:lnTo>
                    <a:pt x="4816" y="4206"/>
                  </a:lnTo>
                  <a:lnTo>
                    <a:pt x="4721" y="3931"/>
                  </a:lnTo>
                  <a:lnTo>
                    <a:pt x="4621" y="3966"/>
                  </a:lnTo>
                  <a:lnTo>
                    <a:pt x="4591" y="3861"/>
                  </a:lnTo>
                  <a:lnTo>
                    <a:pt x="4741" y="3571"/>
                  </a:lnTo>
                  <a:lnTo>
                    <a:pt x="4786" y="3441"/>
                  </a:lnTo>
                  <a:lnTo>
                    <a:pt x="4651" y="3181"/>
                  </a:lnTo>
                  <a:lnTo>
                    <a:pt x="4636" y="3061"/>
                  </a:lnTo>
                  <a:lnTo>
                    <a:pt x="4861" y="2976"/>
                  </a:lnTo>
                  <a:lnTo>
                    <a:pt x="4856" y="2851"/>
                  </a:lnTo>
                  <a:lnTo>
                    <a:pt x="4771" y="2751"/>
                  </a:lnTo>
                  <a:lnTo>
                    <a:pt x="4846" y="2706"/>
                  </a:lnTo>
                  <a:lnTo>
                    <a:pt x="4946" y="2736"/>
                  </a:lnTo>
                  <a:lnTo>
                    <a:pt x="4966" y="2585"/>
                  </a:lnTo>
                  <a:lnTo>
                    <a:pt x="4916" y="2310"/>
                  </a:lnTo>
                  <a:lnTo>
                    <a:pt x="4876" y="2015"/>
                  </a:lnTo>
                  <a:lnTo>
                    <a:pt x="4936" y="1815"/>
                  </a:lnTo>
                  <a:lnTo>
                    <a:pt x="4841" y="1730"/>
                  </a:lnTo>
                  <a:lnTo>
                    <a:pt x="4841" y="1665"/>
                  </a:lnTo>
                  <a:lnTo>
                    <a:pt x="4961" y="1610"/>
                  </a:lnTo>
                  <a:lnTo>
                    <a:pt x="5036" y="1265"/>
                  </a:lnTo>
                  <a:lnTo>
                    <a:pt x="5216" y="1110"/>
                  </a:lnTo>
                  <a:lnTo>
                    <a:pt x="5246" y="1035"/>
                  </a:lnTo>
                  <a:lnTo>
                    <a:pt x="5176" y="980"/>
                  </a:lnTo>
                  <a:lnTo>
                    <a:pt x="5161" y="870"/>
                  </a:lnTo>
                  <a:lnTo>
                    <a:pt x="5216" y="795"/>
                  </a:lnTo>
                  <a:lnTo>
                    <a:pt x="5281" y="945"/>
                  </a:lnTo>
                  <a:lnTo>
                    <a:pt x="5351" y="845"/>
                  </a:lnTo>
                  <a:lnTo>
                    <a:pt x="5186" y="360"/>
                  </a:lnTo>
                  <a:lnTo>
                    <a:pt x="5056" y="260"/>
                  </a:lnTo>
                  <a:lnTo>
                    <a:pt x="5156" y="165"/>
                  </a:lnTo>
                  <a:lnTo>
                    <a:pt x="5369" y="69"/>
                  </a:lnTo>
                  <a:lnTo>
                    <a:pt x="5116" y="0"/>
                  </a:lnTo>
                  <a:lnTo>
                    <a:pt x="4961" y="30"/>
                  </a:lnTo>
                  <a:lnTo>
                    <a:pt x="4654" y="279"/>
                  </a:lnTo>
                  <a:lnTo>
                    <a:pt x="4258" y="361"/>
                  </a:lnTo>
                  <a:lnTo>
                    <a:pt x="3773" y="501"/>
                  </a:lnTo>
                  <a:lnTo>
                    <a:pt x="3572" y="441"/>
                  </a:lnTo>
                  <a:lnTo>
                    <a:pt x="3412" y="232"/>
                  </a:lnTo>
                  <a:lnTo>
                    <a:pt x="3190" y="399"/>
                  </a:lnTo>
                  <a:lnTo>
                    <a:pt x="3190" y="543"/>
                  </a:lnTo>
                  <a:lnTo>
                    <a:pt x="3041" y="628"/>
                  </a:lnTo>
                  <a:lnTo>
                    <a:pt x="3010" y="796"/>
                  </a:lnTo>
                  <a:lnTo>
                    <a:pt x="3002" y="880"/>
                  </a:lnTo>
                  <a:lnTo>
                    <a:pt x="2800" y="942"/>
                  </a:lnTo>
                  <a:lnTo>
                    <a:pt x="2650" y="1152"/>
                  </a:lnTo>
                  <a:lnTo>
                    <a:pt x="2360" y="1320"/>
                  </a:lnTo>
                  <a:lnTo>
                    <a:pt x="2291" y="1500"/>
                  </a:lnTo>
                  <a:lnTo>
                    <a:pt x="1910" y="1230"/>
                  </a:lnTo>
                  <a:lnTo>
                    <a:pt x="1651" y="1551"/>
                  </a:lnTo>
                  <a:lnTo>
                    <a:pt x="1139" y="1570"/>
                  </a:lnTo>
                  <a:lnTo>
                    <a:pt x="1111" y="1750"/>
                  </a:lnTo>
                  <a:lnTo>
                    <a:pt x="1201" y="2091"/>
                  </a:lnTo>
                  <a:lnTo>
                    <a:pt x="971" y="2140"/>
                  </a:lnTo>
                  <a:lnTo>
                    <a:pt x="932" y="2319"/>
                  </a:lnTo>
                  <a:lnTo>
                    <a:pt x="799" y="2490"/>
                  </a:lnTo>
                  <a:lnTo>
                    <a:pt x="451" y="2481"/>
                  </a:lnTo>
                  <a:lnTo>
                    <a:pt x="450" y="2605"/>
                  </a:lnTo>
                  <a:lnTo>
                    <a:pt x="295" y="2550"/>
                  </a:lnTo>
                  <a:lnTo>
                    <a:pt x="160" y="2400"/>
                  </a:lnTo>
                  <a:lnTo>
                    <a:pt x="30" y="2505"/>
                  </a:lnTo>
                  <a:lnTo>
                    <a:pt x="0" y="2605"/>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3" name="Freeform 180">
              <a:extLst>
                <a:ext uri="{FF2B5EF4-FFF2-40B4-BE49-F238E27FC236}">
                  <a16:creationId xmlns:a16="http://schemas.microsoft.com/office/drawing/2014/main" id="{52A23006-8431-9627-D2E2-6ED335180FA7}"/>
                </a:ext>
              </a:extLst>
            </p:cNvPr>
            <p:cNvSpPr>
              <a:spLocks/>
            </p:cNvSpPr>
            <p:nvPr/>
          </p:nvSpPr>
          <p:spPr bwMode="auto">
            <a:xfrm>
              <a:off x="2147811" y="2457451"/>
              <a:ext cx="188910" cy="169862"/>
            </a:xfrm>
            <a:custGeom>
              <a:avLst/>
              <a:gdLst/>
              <a:ahLst/>
              <a:cxnLst>
                <a:cxn ang="0">
                  <a:pos x="780" y="1845"/>
                </a:cxn>
                <a:cxn ang="0">
                  <a:pos x="480" y="1700"/>
                </a:cxn>
                <a:cxn ang="0">
                  <a:pos x="125" y="1430"/>
                </a:cxn>
                <a:cxn ang="0">
                  <a:pos x="60" y="1020"/>
                </a:cxn>
                <a:cxn ang="0">
                  <a:pos x="290" y="785"/>
                </a:cxn>
                <a:cxn ang="0">
                  <a:pos x="260" y="540"/>
                </a:cxn>
                <a:cxn ang="0">
                  <a:pos x="0" y="390"/>
                </a:cxn>
                <a:cxn ang="0">
                  <a:pos x="165" y="375"/>
                </a:cxn>
                <a:cxn ang="0">
                  <a:pos x="255" y="183"/>
                </a:cxn>
                <a:cxn ang="0">
                  <a:pos x="510" y="105"/>
                </a:cxn>
                <a:cxn ang="0">
                  <a:pos x="930" y="255"/>
                </a:cxn>
                <a:cxn ang="0">
                  <a:pos x="1415" y="170"/>
                </a:cxn>
                <a:cxn ang="0">
                  <a:pos x="1746" y="305"/>
                </a:cxn>
                <a:cxn ang="0">
                  <a:pos x="1890" y="411"/>
                </a:cxn>
                <a:cxn ang="0">
                  <a:pos x="2249" y="570"/>
                </a:cxn>
                <a:cxn ang="0">
                  <a:pos x="2684" y="539"/>
                </a:cxn>
                <a:cxn ang="0">
                  <a:pos x="2790" y="645"/>
                </a:cxn>
                <a:cxn ang="0">
                  <a:pos x="3245" y="1370"/>
                </a:cxn>
                <a:cxn ang="0">
                  <a:pos x="3770" y="1935"/>
                </a:cxn>
                <a:cxn ang="0">
                  <a:pos x="3890" y="2145"/>
                </a:cxn>
                <a:cxn ang="0">
                  <a:pos x="3692" y="2009"/>
                </a:cxn>
                <a:cxn ang="0">
                  <a:pos x="3666" y="2147"/>
                </a:cxn>
                <a:cxn ang="0">
                  <a:pos x="3545" y="2630"/>
                </a:cxn>
                <a:cxn ang="0">
                  <a:pos x="3831" y="2796"/>
                </a:cxn>
                <a:cxn ang="0">
                  <a:pos x="3620" y="2945"/>
                </a:cxn>
                <a:cxn ang="0">
                  <a:pos x="3650" y="3242"/>
                </a:cxn>
                <a:cxn ang="0">
                  <a:pos x="3515" y="3470"/>
                </a:cxn>
                <a:cxn ang="0">
                  <a:pos x="3300" y="3515"/>
                </a:cxn>
                <a:cxn ang="0">
                  <a:pos x="3245" y="3230"/>
                </a:cxn>
                <a:cxn ang="0">
                  <a:pos x="3075" y="3090"/>
                </a:cxn>
                <a:cxn ang="0">
                  <a:pos x="2900" y="3120"/>
                </a:cxn>
                <a:cxn ang="0">
                  <a:pos x="3105" y="3300"/>
                </a:cxn>
                <a:cxn ang="0">
                  <a:pos x="3140" y="3545"/>
                </a:cxn>
                <a:cxn ang="0">
                  <a:pos x="2795" y="3450"/>
                </a:cxn>
                <a:cxn ang="0">
                  <a:pos x="2730" y="3020"/>
                </a:cxn>
                <a:cxn ang="0">
                  <a:pos x="2760" y="2810"/>
                </a:cxn>
                <a:cxn ang="0">
                  <a:pos x="2460" y="2450"/>
                </a:cxn>
                <a:cxn ang="0">
                  <a:pos x="2085" y="2280"/>
                </a:cxn>
                <a:cxn ang="0">
                  <a:pos x="1950" y="2175"/>
                </a:cxn>
                <a:cxn ang="0">
                  <a:pos x="1580" y="2120"/>
                </a:cxn>
                <a:cxn ang="0">
                  <a:pos x="1445" y="1880"/>
                </a:cxn>
                <a:cxn ang="0">
                  <a:pos x="1430" y="1650"/>
                </a:cxn>
                <a:cxn ang="0">
                  <a:pos x="960" y="1320"/>
                </a:cxn>
                <a:cxn ang="0">
                  <a:pos x="795" y="1290"/>
                </a:cxn>
                <a:cxn ang="0">
                  <a:pos x="960" y="1520"/>
                </a:cxn>
                <a:cxn ang="0">
                  <a:pos x="1185" y="1755"/>
                </a:cxn>
                <a:cxn ang="0">
                  <a:pos x="1025" y="1865"/>
                </a:cxn>
                <a:cxn ang="0">
                  <a:pos x="875" y="2030"/>
                </a:cxn>
              </a:cxnLst>
              <a:rect l="0" t="0" r="r" b="b"/>
              <a:pathLst>
                <a:path w="4020" h="3620">
                  <a:moveTo>
                    <a:pt x="875" y="2030"/>
                  </a:moveTo>
                  <a:lnTo>
                    <a:pt x="780" y="1845"/>
                  </a:lnTo>
                  <a:lnTo>
                    <a:pt x="635" y="1725"/>
                  </a:lnTo>
                  <a:lnTo>
                    <a:pt x="480" y="1700"/>
                  </a:lnTo>
                  <a:lnTo>
                    <a:pt x="285" y="1640"/>
                  </a:lnTo>
                  <a:lnTo>
                    <a:pt x="125" y="1430"/>
                  </a:lnTo>
                  <a:lnTo>
                    <a:pt x="45" y="1175"/>
                  </a:lnTo>
                  <a:lnTo>
                    <a:pt x="60" y="1020"/>
                  </a:lnTo>
                  <a:lnTo>
                    <a:pt x="180" y="840"/>
                  </a:lnTo>
                  <a:lnTo>
                    <a:pt x="290" y="785"/>
                  </a:lnTo>
                  <a:lnTo>
                    <a:pt x="300" y="660"/>
                  </a:lnTo>
                  <a:lnTo>
                    <a:pt x="260" y="540"/>
                  </a:lnTo>
                  <a:lnTo>
                    <a:pt x="135" y="515"/>
                  </a:lnTo>
                  <a:lnTo>
                    <a:pt x="0" y="390"/>
                  </a:lnTo>
                  <a:lnTo>
                    <a:pt x="75" y="330"/>
                  </a:lnTo>
                  <a:lnTo>
                    <a:pt x="165" y="375"/>
                  </a:lnTo>
                  <a:lnTo>
                    <a:pt x="210" y="335"/>
                  </a:lnTo>
                  <a:lnTo>
                    <a:pt x="255" y="183"/>
                  </a:lnTo>
                  <a:lnTo>
                    <a:pt x="378" y="0"/>
                  </a:lnTo>
                  <a:lnTo>
                    <a:pt x="510" y="105"/>
                  </a:lnTo>
                  <a:lnTo>
                    <a:pt x="705" y="170"/>
                  </a:lnTo>
                  <a:lnTo>
                    <a:pt x="930" y="255"/>
                  </a:lnTo>
                  <a:lnTo>
                    <a:pt x="1175" y="335"/>
                  </a:lnTo>
                  <a:lnTo>
                    <a:pt x="1415" y="170"/>
                  </a:lnTo>
                  <a:lnTo>
                    <a:pt x="1613" y="230"/>
                  </a:lnTo>
                  <a:lnTo>
                    <a:pt x="1746" y="305"/>
                  </a:lnTo>
                  <a:lnTo>
                    <a:pt x="1844" y="285"/>
                  </a:lnTo>
                  <a:lnTo>
                    <a:pt x="1890" y="411"/>
                  </a:lnTo>
                  <a:lnTo>
                    <a:pt x="2046" y="575"/>
                  </a:lnTo>
                  <a:lnTo>
                    <a:pt x="2249" y="570"/>
                  </a:lnTo>
                  <a:lnTo>
                    <a:pt x="2357" y="630"/>
                  </a:lnTo>
                  <a:lnTo>
                    <a:pt x="2684" y="539"/>
                  </a:lnTo>
                  <a:lnTo>
                    <a:pt x="2685" y="413"/>
                  </a:lnTo>
                  <a:lnTo>
                    <a:pt x="2790" y="645"/>
                  </a:lnTo>
                  <a:lnTo>
                    <a:pt x="2945" y="1005"/>
                  </a:lnTo>
                  <a:lnTo>
                    <a:pt x="3245" y="1370"/>
                  </a:lnTo>
                  <a:lnTo>
                    <a:pt x="3435" y="1595"/>
                  </a:lnTo>
                  <a:lnTo>
                    <a:pt x="3770" y="1935"/>
                  </a:lnTo>
                  <a:lnTo>
                    <a:pt x="4020" y="2075"/>
                  </a:lnTo>
                  <a:lnTo>
                    <a:pt x="3890" y="2145"/>
                  </a:lnTo>
                  <a:lnTo>
                    <a:pt x="3780" y="2030"/>
                  </a:lnTo>
                  <a:lnTo>
                    <a:pt x="3692" y="2009"/>
                  </a:lnTo>
                  <a:lnTo>
                    <a:pt x="3645" y="2070"/>
                  </a:lnTo>
                  <a:lnTo>
                    <a:pt x="3666" y="2147"/>
                  </a:lnTo>
                  <a:lnTo>
                    <a:pt x="3555" y="2165"/>
                  </a:lnTo>
                  <a:lnTo>
                    <a:pt x="3545" y="2630"/>
                  </a:lnTo>
                  <a:lnTo>
                    <a:pt x="3665" y="2675"/>
                  </a:lnTo>
                  <a:lnTo>
                    <a:pt x="3831" y="2796"/>
                  </a:lnTo>
                  <a:lnTo>
                    <a:pt x="3732" y="2897"/>
                  </a:lnTo>
                  <a:lnTo>
                    <a:pt x="3620" y="2945"/>
                  </a:lnTo>
                  <a:lnTo>
                    <a:pt x="3590" y="3096"/>
                  </a:lnTo>
                  <a:lnTo>
                    <a:pt x="3650" y="3242"/>
                  </a:lnTo>
                  <a:lnTo>
                    <a:pt x="3675" y="3426"/>
                  </a:lnTo>
                  <a:lnTo>
                    <a:pt x="3515" y="3470"/>
                  </a:lnTo>
                  <a:lnTo>
                    <a:pt x="3435" y="3620"/>
                  </a:lnTo>
                  <a:lnTo>
                    <a:pt x="3300" y="3515"/>
                  </a:lnTo>
                  <a:lnTo>
                    <a:pt x="3320" y="3380"/>
                  </a:lnTo>
                  <a:lnTo>
                    <a:pt x="3245" y="3230"/>
                  </a:lnTo>
                  <a:lnTo>
                    <a:pt x="3110" y="3170"/>
                  </a:lnTo>
                  <a:lnTo>
                    <a:pt x="3075" y="3090"/>
                  </a:lnTo>
                  <a:lnTo>
                    <a:pt x="3000" y="3090"/>
                  </a:lnTo>
                  <a:lnTo>
                    <a:pt x="2900" y="3120"/>
                  </a:lnTo>
                  <a:lnTo>
                    <a:pt x="3000" y="3260"/>
                  </a:lnTo>
                  <a:lnTo>
                    <a:pt x="3105" y="3300"/>
                  </a:lnTo>
                  <a:lnTo>
                    <a:pt x="3135" y="3410"/>
                  </a:lnTo>
                  <a:lnTo>
                    <a:pt x="3140" y="3545"/>
                  </a:lnTo>
                  <a:lnTo>
                    <a:pt x="2975" y="3485"/>
                  </a:lnTo>
                  <a:lnTo>
                    <a:pt x="2795" y="3450"/>
                  </a:lnTo>
                  <a:lnTo>
                    <a:pt x="2580" y="3225"/>
                  </a:lnTo>
                  <a:lnTo>
                    <a:pt x="2730" y="3020"/>
                  </a:lnTo>
                  <a:lnTo>
                    <a:pt x="2780" y="2900"/>
                  </a:lnTo>
                  <a:lnTo>
                    <a:pt x="2760" y="2810"/>
                  </a:lnTo>
                  <a:lnTo>
                    <a:pt x="2685" y="2685"/>
                  </a:lnTo>
                  <a:lnTo>
                    <a:pt x="2460" y="2450"/>
                  </a:lnTo>
                  <a:lnTo>
                    <a:pt x="2250" y="2340"/>
                  </a:lnTo>
                  <a:lnTo>
                    <a:pt x="2085" y="2280"/>
                  </a:lnTo>
                  <a:lnTo>
                    <a:pt x="2040" y="2210"/>
                  </a:lnTo>
                  <a:lnTo>
                    <a:pt x="1950" y="2175"/>
                  </a:lnTo>
                  <a:lnTo>
                    <a:pt x="1745" y="2105"/>
                  </a:lnTo>
                  <a:lnTo>
                    <a:pt x="1580" y="2120"/>
                  </a:lnTo>
                  <a:lnTo>
                    <a:pt x="1485" y="1965"/>
                  </a:lnTo>
                  <a:lnTo>
                    <a:pt x="1445" y="1880"/>
                  </a:lnTo>
                  <a:lnTo>
                    <a:pt x="1515" y="1785"/>
                  </a:lnTo>
                  <a:lnTo>
                    <a:pt x="1430" y="1650"/>
                  </a:lnTo>
                  <a:lnTo>
                    <a:pt x="1290" y="1560"/>
                  </a:lnTo>
                  <a:lnTo>
                    <a:pt x="960" y="1320"/>
                  </a:lnTo>
                  <a:lnTo>
                    <a:pt x="885" y="1325"/>
                  </a:lnTo>
                  <a:lnTo>
                    <a:pt x="795" y="1290"/>
                  </a:lnTo>
                  <a:lnTo>
                    <a:pt x="765" y="1380"/>
                  </a:lnTo>
                  <a:lnTo>
                    <a:pt x="960" y="1520"/>
                  </a:lnTo>
                  <a:lnTo>
                    <a:pt x="1145" y="1650"/>
                  </a:lnTo>
                  <a:lnTo>
                    <a:pt x="1185" y="1755"/>
                  </a:lnTo>
                  <a:lnTo>
                    <a:pt x="1110" y="1815"/>
                  </a:lnTo>
                  <a:lnTo>
                    <a:pt x="1025" y="1865"/>
                  </a:lnTo>
                  <a:lnTo>
                    <a:pt x="950" y="2015"/>
                  </a:lnTo>
                  <a:lnTo>
                    <a:pt x="875" y="2030"/>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4" name="Freeform 181">
              <a:extLst>
                <a:ext uri="{FF2B5EF4-FFF2-40B4-BE49-F238E27FC236}">
                  <a16:creationId xmlns:a16="http://schemas.microsoft.com/office/drawing/2014/main" id="{E2BC2CDB-6944-6F92-435F-A8FA79608E5B}"/>
                </a:ext>
              </a:extLst>
            </p:cNvPr>
            <p:cNvSpPr>
              <a:spLocks/>
            </p:cNvSpPr>
            <p:nvPr/>
          </p:nvSpPr>
          <p:spPr bwMode="auto">
            <a:xfrm>
              <a:off x="2309734" y="2547938"/>
              <a:ext cx="334959" cy="141288"/>
            </a:xfrm>
            <a:custGeom>
              <a:avLst/>
              <a:gdLst/>
              <a:ahLst/>
              <a:cxnLst>
                <a:cxn ang="0">
                  <a:pos x="0" y="1695"/>
                </a:cxn>
                <a:cxn ang="0">
                  <a:pos x="215" y="1315"/>
                </a:cxn>
                <a:cxn ang="0">
                  <a:pos x="300" y="970"/>
                </a:cxn>
                <a:cxn ang="0">
                  <a:pos x="110" y="705"/>
                </a:cxn>
                <a:cxn ang="0">
                  <a:pos x="210" y="145"/>
                </a:cxn>
                <a:cxn ang="0">
                  <a:pos x="455" y="220"/>
                </a:cxn>
                <a:cxn ang="0">
                  <a:pos x="780" y="300"/>
                </a:cxn>
                <a:cxn ang="0">
                  <a:pos x="920" y="790"/>
                </a:cxn>
                <a:cxn ang="0">
                  <a:pos x="1515" y="870"/>
                </a:cxn>
                <a:cxn ang="0">
                  <a:pos x="1385" y="600"/>
                </a:cxn>
                <a:cxn ang="0">
                  <a:pos x="1965" y="1080"/>
                </a:cxn>
                <a:cxn ang="0">
                  <a:pos x="2550" y="960"/>
                </a:cxn>
                <a:cxn ang="0">
                  <a:pos x="3065" y="880"/>
                </a:cxn>
                <a:cxn ang="0">
                  <a:pos x="3435" y="580"/>
                </a:cxn>
                <a:cxn ang="0">
                  <a:pos x="3886" y="330"/>
                </a:cxn>
                <a:cxn ang="0">
                  <a:pos x="4081" y="60"/>
                </a:cxn>
                <a:cxn ang="0">
                  <a:pos x="4651" y="75"/>
                </a:cxn>
                <a:cxn ang="0">
                  <a:pos x="4816" y="255"/>
                </a:cxn>
                <a:cxn ang="0">
                  <a:pos x="5791" y="420"/>
                </a:cxn>
                <a:cxn ang="0">
                  <a:pos x="6331" y="700"/>
                </a:cxn>
                <a:cxn ang="0">
                  <a:pos x="6616" y="1000"/>
                </a:cxn>
                <a:cxn ang="0">
                  <a:pos x="6721" y="1320"/>
                </a:cxn>
                <a:cxn ang="0">
                  <a:pos x="7051" y="1811"/>
                </a:cxn>
                <a:cxn ang="0">
                  <a:pos x="6876" y="2231"/>
                </a:cxn>
                <a:cxn ang="0">
                  <a:pos x="6501" y="2351"/>
                </a:cxn>
                <a:cxn ang="0">
                  <a:pos x="6456" y="2546"/>
                </a:cxn>
                <a:cxn ang="0">
                  <a:pos x="6261" y="2911"/>
                </a:cxn>
                <a:cxn ang="0">
                  <a:pos x="5646" y="2131"/>
                </a:cxn>
                <a:cxn ang="0">
                  <a:pos x="5821" y="1796"/>
                </a:cxn>
                <a:cxn ang="0">
                  <a:pos x="6036" y="1561"/>
                </a:cxn>
                <a:cxn ang="0">
                  <a:pos x="5731" y="1425"/>
                </a:cxn>
                <a:cxn ang="0">
                  <a:pos x="5641" y="1561"/>
                </a:cxn>
                <a:cxn ang="0">
                  <a:pos x="5211" y="1080"/>
                </a:cxn>
                <a:cxn ang="0">
                  <a:pos x="4756" y="780"/>
                </a:cxn>
                <a:cxn ang="0">
                  <a:pos x="4146" y="925"/>
                </a:cxn>
                <a:cxn ang="0">
                  <a:pos x="3931" y="1110"/>
                </a:cxn>
                <a:cxn ang="0">
                  <a:pos x="3796" y="1380"/>
                </a:cxn>
                <a:cxn ang="0">
                  <a:pos x="3080" y="1781"/>
                </a:cxn>
                <a:cxn ang="0">
                  <a:pos x="3345" y="2186"/>
                </a:cxn>
                <a:cxn ang="0">
                  <a:pos x="3540" y="2746"/>
                </a:cxn>
                <a:cxn ang="0">
                  <a:pos x="3245" y="2861"/>
                </a:cxn>
                <a:cxn ang="0">
                  <a:pos x="2565" y="2951"/>
                </a:cxn>
                <a:cxn ang="0">
                  <a:pos x="2385" y="2381"/>
                </a:cxn>
                <a:cxn ang="0">
                  <a:pos x="2240" y="2381"/>
                </a:cxn>
                <a:cxn ang="0">
                  <a:pos x="1580" y="1841"/>
                </a:cxn>
                <a:cxn ang="0">
                  <a:pos x="905" y="1636"/>
                </a:cxn>
                <a:cxn ang="0">
                  <a:pos x="680" y="1726"/>
                </a:cxn>
                <a:cxn ang="0">
                  <a:pos x="200" y="1826"/>
                </a:cxn>
              </a:cxnLst>
              <a:rect l="0" t="0" r="r" b="b"/>
              <a:pathLst>
                <a:path w="7116" h="3001">
                  <a:moveTo>
                    <a:pt x="140" y="1996"/>
                  </a:moveTo>
                  <a:lnTo>
                    <a:pt x="110" y="1826"/>
                  </a:lnTo>
                  <a:lnTo>
                    <a:pt x="0" y="1695"/>
                  </a:lnTo>
                  <a:lnTo>
                    <a:pt x="81" y="1545"/>
                  </a:lnTo>
                  <a:lnTo>
                    <a:pt x="240" y="1501"/>
                  </a:lnTo>
                  <a:lnTo>
                    <a:pt x="215" y="1315"/>
                  </a:lnTo>
                  <a:lnTo>
                    <a:pt x="155" y="1170"/>
                  </a:lnTo>
                  <a:lnTo>
                    <a:pt x="185" y="1020"/>
                  </a:lnTo>
                  <a:lnTo>
                    <a:pt x="300" y="970"/>
                  </a:lnTo>
                  <a:lnTo>
                    <a:pt x="395" y="870"/>
                  </a:lnTo>
                  <a:lnTo>
                    <a:pt x="230" y="750"/>
                  </a:lnTo>
                  <a:lnTo>
                    <a:pt x="110" y="705"/>
                  </a:lnTo>
                  <a:lnTo>
                    <a:pt x="120" y="240"/>
                  </a:lnTo>
                  <a:lnTo>
                    <a:pt x="230" y="220"/>
                  </a:lnTo>
                  <a:lnTo>
                    <a:pt x="210" y="145"/>
                  </a:lnTo>
                  <a:lnTo>
                    <a:pt x="255" y="85"/>
                  </a:lnTo>
                  <a:lnTo>
                    <a:pt x="345" y="105"/>
                  </a:lnTo>
                  <a:lnTo>
                    <a:pt x="455" y="220"/>
                  </a:lnTo>
                  <a:lnTo>
                    <a:pt x="585" y="150"/>
                  </a:lnTo>
                  <a:lnTo>
                    <a:pt x="710" y="240"/>
                  </a:lnTo>
                  <a:lnTo>
                    <a:pt x="780" y="300"/>
                  </a:lnTo>
                  <a:lnTo>
                    <a:pt x="780" y="520"/>
                  </a:lnTo>
                  <a:lnTo>
                    <a:pt x="905" y="670"/>
                  </a:lnTo>
                  <a:lnTo>
                    <a:pt x="920" y="790"/>
                  </a:lnTo>
                  <a:lnTo>
                    <a:pt x="1035" y="835"/>
                  </a:lnTo>
                  <a:lnTo>
                    <a:pt x="1275" y="900"/>
                  </a:lnTo>
                  <a:lnTo>
                    <a:pt x="1515" y="870"/>
                  </a:lnTo>
                  <a:lnTo>
                    <a:pt x="1485" y="775"/>
                  </a:lnTo>
                  <a:lnTo>
                    <a:pt x="1355" y="690"/>
                  </a:lnTo>
                  <a:lnTo>
                    <a:pt x="1385" y="600"/>
                  </a:lnTo>
                  <a:lnTo>
                    <a:pt x="1605" y="835"/>
                  </a:lnTo>
                  <a:lnTo>
                    <a:pt x="1820" y="1060"/>
                  </a:lnTo>
                  <a:lnTo>
                    <a:pt x="1965" y="1080"/>
                  </a:lnTo>
                  <a:lnTo>
                    <a:pt x="2250" y="1075"/>
                  </a:lnTo>
                  <a:lnTo>
                    <a:pt x="2445" y="1045"/>
                  </a:lnTo>
                  <a:lnTo>
                    <a:pt x="2550" y="960"/>
                  </a:lnTo>
                  <a:lnTo>
                    <a:pt x="2685" y="955"/>
                  </a:lnTo>
                  <a:lnTo>
                    <a:pt x="2775" y="855"/>
                  </a:lnTo>
                  <a:lnTo>
                    <a:pt x="3065" y="880"/>
                  </a:lnTo>
                  <a:lnTo>
                    <a:pt x="2970" y="720"/>
                  </a:lnTo>
                  <a:lnTo>
                    <a:pt x="3185" y="625"/>
                  </a:lnTo>
                  <a:lnTo>
                    <a:pt x="3435" y="580"/>
                  </a:lnTo>
                  <a:lnTo>
                    <a:pt x="3561" y="525"/>
                  </a:lnTo>
                  <a:lnTo>
                    <a:pt x="3721" y="370"/>
                  </a:lnTo>
                  <a:lnTo>
                    <a:pt x="3886" y="330"/>
                  </a:lnTo>
                  <a:lnTo>
                    <a:pt x="3991" y="250"/>
                  </a:lnTo>
                  <a:lnTo>
                    <a:pt x="4036" y="150"/>
                  </a:lnTo>
                  <a:lnTo>
                    <a:pt x="4081" y="60"/>
                  </a:lnTo>
                  <a:lnTo>
                    <a:pt x="4216" y="0"/>
                  </a:lnTo>
                  <a:lnTo>
                    <a:pt x="4251" y="100"/>
                  </a:lnTo>
                  <a:lnTo>
                    <a:pt x="4651" y="75"/>
                  </a:lnTo>
                  <a:lnTo>
                    <a:pt x="4876" y="100"/>
                  </a:lnTo>
                  <a:lnTo>
                    <a:pt x="4786" y="180"/>
                  </a:lnTo>
                  <a:lnTo>
                    <a:pt x="4816" y="255"/>
                  </a:lnTo>
                  <a:lnTo>
                    <a:pt x="5176" y="270"/>
                  </a:lnTo>
                  <a:lnTo>
                    <a:pt x="5436" y="265"/>
                  </a:lnTo>
                  <a:lnTo>
                    <a:pt x="5791" y="420"/>
                  </a:lnTo>
                  <a:lnTo>
                    <a:pt x="6076" y="475"/>
                  </a:lnTo>
                  <a:lnTo>
                    <a:pt x="6171" y="615"/>
                  </a:lnTo>
                  <a:lnTo>
                    <a:pt x="6331" y="700"/>
                  </a:lnTo>
                  <a:lnTo>
                    <a:pt x="6411" y="850"/>
                  </a:lnTo>
                  <a:lnTo>
                    <a:pt x="6496" y="945"/>
                  </a:lnTo>
                  <a:lnTo>
                    <a:pt x="6616" y="1000"/>
                  </a:lnTo>
                  <a:lnTo>
                    <a:pt x="6691" y="1140"/>
                  </a:lnTo>
                  <a:lnTo>
                    <a:pt x="6906" y="1180"/>
                  </a:lnTo>
                  <a:lnTo>
                    <a:pt x="6721" y="1320"/>
                  </a:lnTo>
                  <a:lnTo>
                    <a:pt x="6841" y="1435"/>
                  </a:lnTo>
                  <a:lnTo>
                    <a:pt x="6961" y="1676"/>
                  </a:lnTo>
                  <a:lnTo>
                    <a:pt x="7051" y="1811"/>
                  </a:lnTo>
                  <a:lnTo>
                    <a:pt x="7116" y="1991"/>
                  </a:lnTo>
                  <a:lnTo>
                    <a:pt x="6961" y="2081"/>
                  </a:lnTo>
                  <a:lnTo>
                    <a:pt x="6876" y="2231"/>
                  </a:lnTo>
                  <a:lnTo>
                    <a:pt x="6936" y="2321"/>
                  </a:lnTo>
                  <a:lnTo>
                    <a:pt x="6646" y="2491"/>
                  </a:lnTo>
                  <a:lnTo>
                    <a:pt x="6501" y="2351"/>
                  </a:lnTo>
                  <a:lnTo>
                    <a:pt x="6411" y="2336"/>
                  </a:lnTo>
                  <a:lnTo>
                    <a:pt x="6411" y="2441"/>
                  </a:lnTo>
                  <a:lnTo>
                    <a:pt x="6456" y="2546"/>
                  </a:lnTo>
                  <a:lnTo>
                    <a:pt x="6361" y="2621"/>
                  </a:lnTo>
                  <a:lnTo>
                    <a:pt x="6291" y="2771"/>
                  </a:lnTo>
                  <a:lnTo>
                    <a:pt x="6261" y="2911"/>
                  </a:lnTo>
                  <a:lnTo>
                    <a:pt x="6046" y="2726"/>
                  </a:lnTo>
                  <a:lnTo>
                    <a:pt x="5886" y="2476"/>
                  </a:lnTo>
                  <a:lnTo>
                    <a:pt x="5646" y="2131"/>
                  </a:lnTo>
                  <a:lnTo>
                    <a:pt x="5566" y="1901"/>
                  </a:lnTo>
                  <a:lnTo>
                    <a:pt x="5721" y="1906"/>
                  </a:lnTo>
                  <a:lnTo>
                    <a:pt x="5821" y="1796"/>
                  </a:lnTo>
                  <a:lnTo>
                    <a:pt x="5821" y="1636"/>
                  </a:lnTo>
                  <a:lnTo>
                    <a:pt x="5916" y="1495"/>
                  </a:lnTo>
                  <a:lnTo>
                    <a:pt x="6036" y="1561"/>
                  </a:lnTo>
                  <a:lnTo>
                    <a:pt x="6021" y="1455"/>
                  </a:lnTo>
                  <a:lnTo>
                    <a:pt x="5946" y="1390"/>
                  </a:lnTo>
                  <a:lnTo>
                    <a:pt x="5731" y="1425"/>
                  </a:lnTo>
                  <a:lnTo>
                    <a:pt x="5641" y="1390"/>
                  </a:lnTo>
                  <a:lnTo>
                    <a:pt x="5641" y="1485"/>
                  </a:lnTo>
                  <a:lnTo>
                    <a:pt x="5641" y="1561"/>
                  </a:lnTo>
                  <a:lnTo>
                    <a:pt x="5521" y="1450"/>
                  </a:lnTo>
                  <a:lnTo>
                    <a:pt x="5451" y="1225"/>
                  </a:lnTo>
                  <a:lnTo>
                    <a:pt x="5211" y="1080"/>
                  </a:lnTo>
                  <a:lnTo>
                    <a:pt x="5061" y="985"/>
                  </a:lnTo>
                  <a:lnTo>
                    <a:pt x="4996" y="870"/>
                  </a:lnTo>
                  <a:lnTo>
                    <a:pt x="4756" y="780"/>
                  </a:lnTo>
                  <a:lnTo>
                    <a:pt x="4401" y="745"/>
                  </a:lnTo>
                  <a:lnTo>
                    <a:pt x="4266" y="825"/>
                  </a:lnTo>
                  <a:lnTo>
                    <a:pt x="4146" y="925"/>
                  </a:lnTo>
                  <a:lnTo>
                    <a:pt x="4036" y="955"/>
                  </a:lnTo>
                  <a:lnTo>
                    <a:pt x="3961" y="1020"/>
                  </a:lnTo>
                  <a:lnTo>
                    <a:pt x="3931" y="1110"/>
                  </a:lnTo>
                  <a:lnTo>
                    <a:pt x="3936" y="1215"/>
                  </a:lnTo>
                  <a:lnTo>
                    <a:pt x="3976" y="1290"/>
                  </a:lnTo>
                  <a:lnTo>
                    <a:pt x="3796" y="1380"/>
                  </a:lnTo>
                  <a:lnTo>
                    <a:pt x="3425" y="1661"/>
                  </a:lnTo>
                  <a:lnTo>
                    <a:pt x="3210" y="1666"/>
                  </a:lnTo>
                  <a:lnTo>
                    <a:pt x="3080" y="1781"/>
                  </a:lnTo>
                  <a:lnTo>
                    <a:pt x="3105" y="1901"/>
                  </a:lnTo>
                  <a:lnTo>
                    <a:pt x="3275" y="2056"/>
                  </a:lnTo>
                  <a:lnTo>
                    <a:pt x="3345" y="2186"/>
                  </a:lnTo>
                  <a:lnTo>
                    <a:pt x="3636" y="2491"/>
                  </a:lnTo>
                  <a:lnTo>
                    <a:pt x="3691" y="2656"/>
                  </a:lnTo>
                  <a:lnTo>
                    <a:pt x="3540" y="2746"/>
                  </a:lnTo>
                  <a:lnTo>
                    <a:pt x="3360" y="2731"/>
                  </a:lnTo>
                  <a:lnTo>
                    <a:pt x="3240" y="2786"/>
                  </a:lnTo>
                  <a:lnTo>
                    <a:pt x="3245" y="2861"/>
                  </a:lnTo>
                  <a:lnTo>
                    <a:pt x="3195" y="2951"/>
                  </a:lnTo>
                  <a:lnTo>
                    <a:pt x="2705" y="3001"/>
                  </a:lnTo>
                  <a:lnTo>
                    <a:pt x="2565" y="2951"/>
                  </a:lnTo>
                  <a:lnTo>
                    <a:pt x="2630" y="2786"/>
                  </a:lnTo>
                  <a:lnTo>
                    <a:pt x="2510" y="2551"/>
                  </a:lnTo>
                  <a:lnTo>
                    <a:pt x="2385" y="2381"/>
                  </a:lnTo>
                  <a:lnTo>
                    <a:pt x="2400" y="2216"/>
                  </a:lnTo>
                  <a:lnTo>
                    <a:pt x="2250" y="2231"/>
                  </a:lnTo>
                  <a:lnTo>
                    <a:pt x="2240" y="2381"/>
                  </a:lnTo>
                  <a:lnTo>
                    <a:pt x="2210" y="2521"/>
                  </a:lnTo>
                  <a:lnTo>
                    <a:pt x="1790" y="2371"/>
                  </a:lnTo>
                  <a:lnTo>
                    <a:pt x="1580" y="1841"/>
                  </a:lnTo>
                  <a:lnTo>
                    <a:pt x="1290" y="1786"/>
                  </a:lnTo>
                  <a:lnTo>
                    <a:pt x="1010" y="1801"/>
                  </a:lnTo>
                  <a:lnTo>
                    <a:pt x="905" y="1636"/>
                  </a:lnTo>
                  <a:lnTo>
                    <a:pt x="815" y="1681"/>
                  </a:lnTo>
                  <a:lnTo>
                    <a:pt x="725" y="1651"/>
                  </a:lnTo>
                  <a:lnTo>
                    <a:pt x="680" y="1726"/>
                  </a:lnTo>
                  <a:lnTo>
                    <a:pt x="390" y="1646"/>
                  </a:lnTo>
                  <a:lnTo>
                    <a:pt x="200" y="1691"/>
                  </a:lnTo>
                  <a:lnTo>
                    <a:pt x="200" y="1826"/>
                  </a:lnTo>
                  <a:lnTo>
                    <a:pt x="225" y="1981"/>
                  </a:lnTo>
                  <a:lnTo>
                    <a:pt x="140" y="1996"/>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5" name="Freeform 182">
              <a:extLst>
                <a:ext uri="{FF2B5EF4-FFF2-40B4-BE49-F238E27FC236}">
                  <a16:creationId xmlns:a16="http://schemas.microsoft.com/office/drawing/2014/main" id="{E02ECF78-81CD-5D75-4B7A-5B5F1BD97C54}"/>
                </a:ext>
              </a:extLst>
            </p:cNvPr>
            <p:cNvSpPr>
              <a:spLocks/>
            </p:cNvSpPr>
            <p:nvPr/>
          </p:nvSpPr>
          <p:spPr bwMode="auto">
            <a:xfrm>
              <a:off x="688913" y="1125538"/>
              <a:ext cx="1439848" cy="1133475"/>
            </a:xfrm>
            <a:custGeom>
              <a:avLst/>
              <a:gdLst/>
              <a:ahLst/>
              <a:cxnLst>
                <a:cxn ang="0">
                  <a:pos x="69" y="185"/>
                </a:cxn>
                <a:cxn ang="0">
                  <a:pos x="194" y="646"/>
                </a:cxn>
                <a:cxn ang="0">
                  <a:pos x="214" y="944"/>
                </a:cxn>
                <a:cxn ang="0">
                  <a:pos x="276" y="1141"/>
                </a:cxn>
                <a:cxn ang="0">
                  <a:pos x="463" y="1338"/>
                </a:cxn>
                <a:cxn ang="0">
                  <a:pos x="588" y="1669"/>
                </a:cxn>
                <a:cxn ang="0">
                  <a:pos x="780" y="1856"/>
                </a:cxn>
                <a:cxn ang="0">
                  <a:pos x="722" y="1635"/>
                </a:cxn>
                <a:cxn ang="0">
                  <a:pos x="650" y="1501"/>
                </a:cxn>
                <a:cxn ang="0">
                  <a:pos x="612" y="1314"/>
                </a:cxn>
                <a:cxn ang="0">
                  <a:pos x="511" y="1040"/>
                </a:cxn>
                <a:cxn ang="0">
                  <a:pos x="391" y="733"/>
                </a:cxn>
                <a:cxn ang="0">
                  <a:pos x="290" y="382"/>
                </a:cxn>
                <a:cxn ang="0">
                  <a:pos x="406" y="248"/>
                </a:cxn>
                <a:cxn ang="0">
                  <a:pos x="559" y="310"/>
                </a:cxn>
                <a:cxn ang="0">
                  <a:pos x="569" y="680"/>
                </a:cxn>
                <a:cxn ang="0">
                  <a:pos x="804" y="978"/>
                </a:cxn>
                <a:cxn ang="0">
                  <a:pos x="847" y="1126"/>
                </a:cxn>
                <a:cxn ang="0">
                  <a:pos x="943" y="1270"/>
                </a:cxn>
                <a:cxn ang="0">
                  <a:pos x="958" y="1434"/>
                </a:cxn>
                <a:cxn ang="0">
                  <a:pos x="1164" y="1688"/>
                </a:cxn>
                <a:cxn ang="0">
                  <a:pos x="1366" y="2101"/>
                </a:cxn>
                <a:cxn ang="0">
                  <a:pos x="1380" y="2317"/>
                </a:cxn>
                <a:cxn ang="0">
                  <a:pos x="1346" y="2514"/>
                </a:cxn>
                <a:cxn ang="0">
                  <a:pos x="1634" y="2826"/>
                </a:cxn>
                <a:cxn ang="0">
                  <a:pos x="2282" y="3147"/>
                </a:cxn>
                <a:cxn ang="0">
                  <a:pos x="2580" y="3291"/>
                </a:cxn>
                <a:cxn ang="0">
                  <a:pos x="3209" y="3277"/>
                </a:cxn>
                <a:cxn ang="0">
                  <a:pos x="3454" y="3522"/>
                </a:cxn>
                <a:cxn ang="0">
                  <a:pos x="3509" y="3517"/>
                </a:cxn>
                <a:cxn ang="0">
                  <a:pos x="3501" y="3436"/>
                </a:cxn>
                <a:cxn ang="0">
                  <a:pos x="3812" y="3274"/>
                </a:cxn>
                <a:cxn ang="0">
                  <a:pos x="3776" y="3188"/>
                </a:cxn>
                <a:cxn ang="0">
                  <a:pos x="3720" y="3086"/>
                </a:cxn>
                <a:cxn ang="0">
                  <a:pos x="4049" y="2963"/>
                </a:cxn>
                <a:cxn ang="0">
                  <a:pos x="4136" y="2950"/>
                </a:cxn>
                <a:cxn ang="0">
                  <a:pos x="4293" y="2795"/>
                </a:cxn>
                <a:cxn ang="0">
                  <a:pos x="4369" y="2791"/>
                </a:cxn>
                <a:cxn ang="0">
                  <a:pos x="4375" y="2658"/>
                </a:cxn>
                <a:cxn ang="0">
                  <a:pos x="4534" y="2355"/>
                </a:cxn>
                <a:cxn ang="0">
                  <a:pos x="4318" y="2307"/>
                </a:cxn>
                <a:cxn ang="0">
                  <a:pos x="3919" y="2398"/>
                </a:cxn>
                <a:cxn ang="0">
                  <a:pos x="3842" y="2629"/>
                </a:cxn>
                <a:cxn ang="0">
                  <a:pos x="3713" y="2850"/>
                </a:cxn>
                <a:cxn ang="0">
                  <a:pos x="3511" y="2821"/>
                </a:cxn>
                <a:cxn ang="0">
                  <a:pos x="3146" y="2898"/>
                </a:cxn>
                <a:cxn ang="0">
                  <a:pos x="2873" y="2667"/>
                </a:cxn>
                <a:cxn ang="0">
                  <a:pos x="2705" y="2245"/>
                </a:cxn>
                <a:cxn ang="0">
                  <a:pos x="2714" y="1904"/>
                </a:cxn>
                <a:cxn ang="0">
                  <a:pos x="2844" y="1544"/>
                </a:cxn>
                <a:cxn ang="0">
                  <a:pos x="2664" y="1424"/>
                </a:cxn>
                <a:cxn ang="0">
                  <a:pos x="2526" y="1166"/>
                </a:cxn>
                <a:cxn ang="0">
                  <a:pos x="2376" y="836"/>
                </a:cxn>
                <a:cxn ang="0">
                  <a:pos x="2064" y="776"/>
                </a:cxn>
                <a:cxn ang="0">
                  <a:pos x="1800" y="650"/>
                </a:cxn>
                <a:cxn ang="0">
                  <a:pos x="1614" y="392"/>
                </a:cxn>
                <a:cxn ang="0">
                  <a:pos x="1264" y="379"/>
                </a:cxn>
                <a:cxn ang="0">
                  <a:pos x="372" y="74"/>
                </a:cxn>
                <a:cxn ang="0">
                  <a:pos x="0" y="0"/>
                </a:cxn>
              </a:cxnLst>
              <a:rect l="0" t="0" r="r" b="b"/>
              <a:pathLst>
                <a:path w="4534" h="3574">
                  <a:moveTo>
                    <a:pt x="0" y="0"/>
                  </a:moveTo>
                  <a:lnTo>
                    <a:pt x="50" y="94"/>
                  </a:lnTo>
                  <a:lnTo>
                    <a:pt x="69" y="185"/>
                  </a:lnTo>
                  <a:lnTo>
                    <a:pt x="99" y="392"/>
                  </a:lnTo>
                  <a:lnTo>
                    <a:pt x="94" y="550"/>
                  </a:lnTo>
                  <a:lnTo>
                    <a:pt x="194" y="646"/>
                  </a:lnTo>
                  <a:lnTo>
                    <a:pt x="276" y="800"/>
                  </a:lnTo>
                  <a:lnTo>
                    <a:pt x="218" y="886"/>
                  </a:lnTo>
                  <a:lnTo>
                    <a:pt x="214" y="944"/>
                  </a:lnTo>
                  <a:lnTo>
                    <a:pt x="103" y="915"/>
                  </a:lnTo>
                  <a:lnTo>
                    <a:pt x="156" y="1035"/>
                  </a:lnTo>
                  <a:lnTo>
                    <a:pt x="276" y="1141"/>
                  </a:lnTo>
                  <a:lnTo>
                    <a:pt x="338" y="1146"/>
                  </a:lnTo>
                  <a:lnTo>
                    <a:pt x="415" y="1232"/>
                  </a:lnTo>
                  <a:lnTo>
                    <a:pt x="463" y="1338"/>
                  </a:lnTo>
                  <a:lnTo>
                    <a:pt x="406" y="1520"/>
                  </a:lnTo>
                  <a:lnTo>
                    <a:pt x="482" y="1597"/>
                  </a:lnTo>
                  <a:lnTo>
                    <a:pt x="588" y="1669"/>
                  </a:lnTo>
                  <a:lnTo>
                    <a:pt x="646" y="1770"/>
                  </a:lnTo>
                  <a:lnTo>
                    <a:pt x="684" y="1909"/>
                  </a:lnTo>
                  <a:lnTo>
                    <a:pt x="780" y="1856"/>
                  </a:lnTo>
                  <a:lnTo>
                    <a:pt x="794" y="1784"/>
                  </a:lnTo>
                  <a:lnTo>
                    <a:pt x="751" y="1712"/>
                  </a:lnTo>
                  <a:lnTo>
                    <a:pt x="722" y="1635"/>
                  </a:lnTo>
                  <a:lnTo>
                    <a:pt x="655" y="1640"/>
                  </a:lnTo>
                  <a:lnTo>
                    <a:pt x="631" y="1573"/>
                  </a:lnTo>
                  <a:lnTo>
                    <a:pt x="650" y="1501"/>
                  </a:lnTo>
                  <a:lnTo>
                    <a:pt x="622" y="1429"/>
                  </a:lnTo>
                  <a:lnTo>
                    <a:pt x="593" y="1371"/>
                  </a:lnTo>
                  <a:lnTo>
                    <a:pt x="612" y="1314"/>
                  </a:lnTo>
                  <a:lnTo>
                    <a:pt x="593" y="1155"/>
                  </a:lnTo>
                  <a:lnTo>
                    <a:pt x="540" y="1146"/>
                  </a:lnTo>
                  <a:lnTo>
                    <a:pt x="511" y="1040"/>
                  </a:lnTo>
                  <a:lnTo>
                    <a:pt x="458" y="963"/>
                  </a:lnTo>
                  <a:lnTo>
                    <a:pt x="458" y="862"/>
                  </a:lnTo>
                  <a:lnTo>
                    <a:pt x="391" y="733"/>
                  </a:lnTo>
                  <a:lnTo>
                    <a:pt x="362" y="632"/>
                  </a:lnTo>
                  <a:lnTo>
                    <a:pt x="271" y="512"/>
                  </a:lnTo>
                  <a:lnTo>
                    <a:pt x="290" y="382"/>
                  </a:lnTo>
                  <a:lnTo>
                    <a:pt x="295" y="248"/>
                  </a:lnTo>
                  <a:lnTo>
                    <a:pt x="338" y="190"/>
                  </a:lnTo>
                  <a:lnTo>
                    <a:pt x="406" y="248"/>
                  </a:lnTo>
                  <a:lnTo>
                    <a:pt x="463" y="229"/>
                  </a:lnTo>
                  <a:lnTo>
                    <a:pt x="487" y="291"/>
                  </a:lnTo>
                  <a:lnTo>
                    <a:pt x="559" y="310"/>
                  </a:lnTo>
                  <a:lnTo>
                    <a:pt x="526" y="416"/>
                  </a:lnTo>
                  <a:lnTo>
                    <a:pt x="550" y="526"/>
                  </a:lnTo>
                  <a:lnTo>
                    <a:pt x="569" y="680"/>
                  </a:lnTo>
                  <a:lnTo>
                    <a:pt x="631" y="814"/>
                  </a:lnTo>
                  <a:lnTo>
                    <a:pt x="694" y="934"/>
                  </a:lnTo>
                  <a:lnTo>
                    <a:pt x="804" y="978"/>
                  </a:lnTo>
                  <a:lnTo>
                    <a:pt x="751" y="1030"/>
                  </a:lnTo>
                  <a:lnTo>
                    <a:pt x="799" y="1107"/>
                  </a:lnTo>
                  <a:lnTo>
                    <a:pt x="847" y="1126"/>
                  </a:lnTo>
                  <a:lnTo>
                    <a:pt x="876" y="1194"/>
                  </a:lnTo>
                  <a:lnTo>
                    <a:pt x="934" y="1218"/>
                  </a:lnTo>
                  <a:lnTo>
                    <a:pt x="943" y="1270"/>
                  </a:lnTo>
                  <a:lnTo>
                    <a:pt x="895" y="1328"/>
                  </a:lnTo>
                  <a:lnTo>
                    <a:pt x="895" y="1395"/>
                  </a:lnTo>
                  <a:lnTo>
                    <a:pt x="958" y="1434"/>
                  </a:lnTo>
                  <a:lnTo>
                    <a:pt x="1044" y="1486"/>
                  </a:lnTo>
                  <a:lnTo>
                    <a:pt x="1073" y="1573"/>
                  </a:lnTo>
                  <a:lnTo>
                    <a:pt x="1164" y="1688"/>
                  </a:lnTo>
                  <a:lnTo>
                    <a:pt x="1270" y="1856"/>
                  </a:lnTo>
                  <a:lnTo>
                    <a:pt x="1366" y="2005"/>
                  </a:lnTo>
                  <a:lnTo>
                    <a:pt x="1366" y="2101"/>
                  </a:lnTo>
                  <a:lnTo>
                    <a:pt x="1418" y="2211"/>
                  </a:lnTo>
                  <a:lnTo>
                    <a:pt x="1418" y="2274"/>
                  </a:lnTo>
                  <a:lnTo>
                    <a:pt x="1380" y="2317"/>
                  </a:lnTo>
                  <a:lnTo>
                    <a:pt x="1394" y="2379"/>
                  </a:lnTo>
                  <a:lnTo>
                    <a:pt x="1318" y="2403"/>
                  </a:lnTo>
                  <a:lnTo>
                    <a:pt x="1346" y="2514"/>
                  </a:lnTo>
                  <a:lnTo>
                    <a:pt x="1433" y="2643"/>
                  </a:lnTo>
                  <a:lnTo>
                    <a:pt x="1572" y="2710"/>
                  </a:lnTo>
                  <a:lnTo>
                    <a:pt x="1634" y="2826"/>
                  </a:lnTo>
                  <a:lnTo>
                    <a:pt x="1879" y="2907"/>
                  </a:lnTo>
                  <a:lnTo>
                    <a:pt x="2028" y="3027"/>
                  </a:lnTo>
                  <a:lnTo>
                    <a:pt x="2282" y="3147"/>
                  </a:lnTo>
                  <a:lnTo>
                    <a:pt x="2374" y="3171"/>
                  </a:lnTo>
                  <a:lnTo>
                    <a:pt x="2465" y="3234"/>
                  </a:lnTo>
                  <a:lnTo>
                    <a:pt x="2580" y="3291"/>
                  </a:lnTo>
                  <a:lnTo>
                    <a:pt x="2782" y="3344"/>
                  </a:lnTo>
                  <a:lnTo>
                    <a:pt x="3065" y="3234"/>
                  </a:lnTo>
                  <a:lnTo>
                    <a:pt x="3209" y="3277"/>
                  </a:lnTo>
                  <a:lnTo>
                    <a:pt x="3324" y="3363"/>
                  </a:lnTo>
                  <a:lnTo>
                    <a:pt x="3391" y="3450"/>
                  </a:lnTo>
                  <a:lnTo>
                    <a:pt x="3454" y="3522"/>
                  </a:lnTo>
                  <a:lnTo>
                    <a:pt x="3491" y="3574"/>
                  </a:lnTo>
                  <a:lnTo>
                    <a:pt x="3501" y="3557"/>
                  </a:lnTo>
                  <a:lnTo>
                    <a:pt x="3509" y="3517"/>
                  </a:lnTo>
                  <a:lnTo>
                    <a:pt x="3503" y="3493"/>
                  </a:lnTo>
                  <a:lnTo>
                    <a:pt x="3522" y="3472"/>
                  </a:lnTo>
                  <a:lnTo>
                    <a:pt x="3501" y="3436"/>
                  </a:lnTo>
                  <a:lnTo>
                    <a:pt x="3590" y="3299"/>
                  </a:lnTo>
                  <a:lnTo>
                    <a:pt x="3806" y="3299"/>
                  </a:lnTo>
                  <a:lnTo>
                    <a:pt x="3812" y="3274"/>
                  </a:lnTo>
                  <a:lnTo>
                    <a:pt x="3824" y="3247"/>
                  </a:lnTo>
                  <a:lnTo>
                    <a:pt x="3789" y="3224"/>
                  </a:lnTo>
                  <a:lnTo>
                    <a:pt x="3776" y="3188"/>
                  </a:lnTo>
                  <a:lnTo>
                    <a:pt x="3714" y="3148"/>
                  </a:lnTo>
                  <a:lnTo>
                    <a:pt x="3645" y="3085"/>
                  </a:lnTo>
                  <a:lnTo>
                    <a:pt x="3720" y="3086"/>
                  </a:lnTo>
                  <a:lnTo>
                    <a:pt x="3725" y="2986"/>
                  </a:lnTo>
                  <a:lnTo>
                    <a:pt x="4041" y="2986"/>
                  </a:lnTo>
                  <a:lnTo>
                    <a:pt x="4049" y="2963"/>
                  </a:lnTo>
                  <a:lnTo>
                    <a:pt x="4068" y="2956"/>
                  </a:lnTo>
                  <a:lnTo>
                    <a:pt x="4082" y="2933"/>
                  </a:lnTo>
                  <a:lnTo>
                    <a:pt x="4136" y="2950"/>
                  </a:lnTo>
                  <a:lnTo>
                    <a:pt x="4205" y="2857"/>
                  </a:lnTo>
                  <a:lnTo>
                    <a:pt x="4251" y="2861"/>
                  </a:lnTo>
                  <a:lnTo>
                    <a:pt x="4293" y="2795"/>
                  </a:lnTo>
                  <a:lnTo>
                    <a:pt x="4302" y="2882"/>
                  </a:lnTo>
                  <a:lnTo>
                    <a:pt x="4337" y="2874"/>
                  </a:lnTo>
                  <a:lnTo>
                    <a:pt x="4369" y="2791"/>
                  </a:lnTo>
                  <a:lnTo>
                    <a:pt x="4347" y="2741"/>
                  </a:lnTo>
                  <a:lnTo>
                    <a:pt x="4394" y="2725"/>
                  </a:lnTo>
                  <a:lnTo>
                    <a:pt x="4375" y="2658"/>
                  </a:lnTo>
                  <a:lnTo>
                    <a:pt x="4442" y="2504"/>
                  </a:lnTo>
                  <a:lnTo>
                    <a:pt x="4529" y="2442"/>
                  </a:lnTo>
                  <a:lnTo>
                    <a:pt x="4534" y="2355"/>
                  </a:lnTo>
                  <a:lnTo>
                    <a:pt x="4481" y="2302"/>
                  </a:lnTo>
                  <a:lnTo>
                    <a:pt x="4428" y="2341"/>
                  </a:lnTo>
                  <a:lnTo>
                    <a:pt x="4318" y="2307"/>
                  </a:lnTo>
                  <a:lnTo>
                    <a:pt x="4207" y="2322"/>
                  </a:lnTo>
                  <a:lnTo>
                    <a:pt x="4030" y="2355"/>
                  </a:lnTo>
                  <a:lnTo>
                    <a:pt x="3919" y="2398"/>
                  </a:lnTo>
                  <a:lnTo>
                    <a:pt x="3890" y="2504"/>
                  </a:lnTo>
                  <a:lnTo>
                    <a:pt x="3890" y="2590"/>
                  </a:lnTo>
                  <a:lnTo>
                    <a:pt x="3842" y="2629"/>
                  </a:lnTo>
                  <a:lnTo>
                    <a:pt x="3809" y="2725"/>
                  </a:lnTo>
                  <a:lnTo>
                    <a:pt x="3732" y="2768"/>
                  </a:lnTo>
                  <a:lnTo>
                    <a:pt x="3713" y="2850"/>
                  </a:lnTo>
                  <a:lnTo>
                    <a:pt x="3626" y="2878"/>
                  </a:lnTo>
                  <a:lnTo>
                    <a:pt x="3598" y="2816"/>
                  </a:lnTo>
                  <a:lnTo>
                    <a:pt x="3511" y="2821"/>
                  </a:lnTo>
                  <a:lnTo>
                    <a:pt x="3434" y="2864"/>
                  </a:lnTo>
                  <a:lnTo>
                    <a:pt x="3338" y="2859"/>
                  </a:lnTo>
                  <a:lnTo>
                    <a:pt x="3146" y="2898"/>
                  </a:lnTo>
                  <a:lnTo>
                    <a:pt x="3065" y="2802"/>
                  </a:lnTo>
                  <a:lnTo>
                    <a:pt x="2945" y="2787"/>
                  </a:lnTo>
                  <a:lnTo>
                    <a:pt x="2873" y="2667"/>
                  </a:lnTo>
                  <a:lnTo>
                    <a:pt x="2863" y="2586"/>
                  </a:lnTo>
                  <a:lnTo>
                    <a:pt x="2767" y="2432"/>
                  </a:lnTo>
                  <a:lnTo>
                    <a:pt x="2705" y="2245"/>
                  </a:lnTo>
                  <a:lnTo>
                    <a:pt x="2671" y="2101"/>
                  </a:lnTo>
                  <a:lnTo>
                    <a:pt x="2695" y="2019"/>
                  </a:lnTo>
                  <a:lnTo>
                    <a:pt x="2714" y="1904"/>
                  </a:lnTo>
                  <a:lnTo>
                    <a:pt x="2753" y="1698"/>
                  </a:lnTo>
                  <a:lnTo>
                    <a:pt x="2753" y="1578"/>
                  </a:lnTo>
                  <a:lnTo>
                    <a:pt x="2844" y="1544"/>
                  </a:lnTo>
                  <a:lnTo>
                    <a:pt x="2826" y="1472"/>
                  </a:lnTo>
                  <a:lnTo>
                    <a:pt x="2760" y="1454"/>
                  </a:lnTo>
                  <a:lnTo>
                    <a:pt x="2664" y="1424"/>
                  </a:lnTo>
                  <a:lnTo>
                    <a:pt x="2568" y="1364"/>
                  </a:lnTo>
                  <a:lnTo>
                    <a:pt x="2520" y="1274"/>
                  </a:lnTo>
                  <a:lnTo>
                    <a:pt x="2526" y="1166"/>
                  </a:lnTo>
                  <a:lnTo>
                    <a:pt x="2460" y="1088"/>
                  </a:lnTo>
                  <a:lnTo>
                    <a:pt x="2430" y="974"/>
                  </a:lnTo>
                  <a:lnTo>
                    <a:pt x="2376" y="836"/>
                  </a:lnTo>
                  <a:lnTo>
                    <a:pt x="2280" y="746"/>
                  </a:lnTo>
                  <a:lnTo>
                    <a:pt x="2130" y="734"/>
                  </a:lnTo>
                  <a:lnTo>
                    <a:pt x="2064" y="776"/>
                  </a:lnTo>
                  <a:lnTo>
                    <a:pt x="1968" y="860"/>
                  </a:lnTo>
                  <a:lnTo>
                    <a:pt x="1800" y="740"/>
                  </a:lnTo>
                  <a:lnTo>
                    <a:pt x="1800" y="650"/>
                  </a:lnTo>
                  <a:lnTo>
                    <a:pt x="1764" y="536"/>
                  </a:lnTo>
                  <a:lnTo>
                    <a:pt x="1698" y="464"/>
                  </a:lnTo>
                  <a:lnTo>
                    <a:pt x="1614" y="392"/>
                  </a:lnTo>
                  <a:lnTo>
                    <a:pt x="1572" y="308"/>
                  </a:lnTo>
                  <a:lnTo>
                    <a:pt x="1332" y="308"/>
                  </a:lnTo>
                  <a:lnTo>
                    <a:pt x="1264" y="379"/>
                  </a:lnTo>
                  <a:lnTo>
                    <a:pt x="981" y="361"/>
                  </a:lnTo>
                  <a:lnTo>
                    <a:pt x="852" y="326"/>
                  </a:lnTo>
                  <a:lnTo>
                    <a:pt x="372" y="74"/>
                  </a:lnTo>
                  <a:lnTo>
                    <a:pt x="384" y="20"/>
                  </a:lnTo>
                  <a:lnTo>
                    <a:pt x="162" y="14"/>
                  </a:lnTo>
                  <a:lnTo>
                    <a:pt x="0" y="0"/>
                  </a:lnTo>
                  <a:close/>
                </a:path>
              </a:pathLst>
            </a:custGeom>
            <a:solidFill>
              <a:schemeClr val="bg1">
                <a:lumMod val="85000"/>
              </a:schemeClr>
            </a:solidFill>
            <a:ln w="19050" cmpd="sng">
              <a:solidFill>
                <a:srgbClr val="FFFFFF"/>
              </a:solidFill>
              <a:prstDash val="solid"/>
              <a:round/>
              <a:headEnd/>
              <a:tailEnd/>
            </a:ln>
            <a:effectLst>
              <a:outerShdw dist="28398" dir="6993903" algn="ctr" rotWithShape="0">
                <a:srgbClr val="B2B2B2">
                  <a:alpha val="50000"/>
                </a:srgbClr>
              </a:outerShdw>
            </a:effectLst>
          </p:spPr>
          <p:txBody>
            <a:bodyPr/>
            <a:lstStyle/>
            <a:p>
              <a:pPr>
                <a:defRPr/>
              </a:pPr>
              <a:endParaRPr lang="zh-CN" altLang="en-US" b="1" kern="0">
                <a:solidFill>
                  <a:srgbClr val="000000"/>
                </a:solidFill>
                <a:latin typeface="Arial" charset="0"/>
                <a:ea typeface="+mn-ea"/>
              </a:endParaRPr>
            </a:p>
          </p:txBody>
        </p:sp>
        <p:sp>
          <p:nvSpPr>
            <p:cNvPr id="86" name="Freeform 183">
              <a:extLst>
                <a:ext uri="{FF2B5EF4-FFF2-40B4-BE49-F238E27FC236}">
                  <a16:creationId xmlns:a16="http://schemas.microsoft.com/office/drawing/2014/main" id="{6532E7B7-253E-C34C-0F6B-B2652A67EE27}"/>
                </a:ext>
              </a:extLst>
            </p:cNvPr>
            <p:cNvSpPr>
              <a:spLocks/>
            </p:cNvSpPr>
            <p:nvPr/>
          </p:nvSpPr>
          <p:spPr bwMode="auto">
            <a:xfrm rot="987490">
              <a:off x="2236710" y="1804988"/>
              <a:ext cx="598481" cy="130175"/>
            </a:xfrm>
            <a:custGeom>
              <a:avLst/>
              <a:gdLst/>
              <a:ahLst/>
              <a:cxnLst>
                <a:cxn ang="0">
                  <a:pos x="0" y="1152"/>
                </a:cxn>
                <a:cxn ang="0">
                  <a:pos x="288" y="1046"/>
                </a:cxn>
                <a:cxn ang="0">
                  <a:pos x="265" y="777"/>
                </a:cxn>
                <a:cxn ang="0">
                  <a:pos x="493" y="548"/>
                </a:cxn>
                <a:cxn ang="0">
                  <a:pos x="740" y="375"/>
                </a:cxn>
                <a:cxn ang="0">
                  <a:pos x="1161" y="119"/>
                </a:cxn>
                <a:cxn ang="0">
                  <a:pos x="1563" y="91"/>
                </a:cxn>
                <a:cxn ang="0">
                  <a:pos x="1965" y="137"/>
                </a:cxn>
                <a:cxn ang="0">
                  <a:pos x="2249" y="146"/>
                </a:cxn>
                <a:cxn ang="0">
                  <a:pos x="2642" y="210"/>
                </a:cxn>
                <a:cxn ang="0">
                  <a:pos x="2962" y="228"/>
                </a:cxn>
                <a:cxn ang="0">
                  <a:pos x="3319" y="347"/>
                </a:cxn>
                <a:cxn ang="0">
                  <a:pos x="3337" y="274"/>
                </a:cxn>
                <a:cxn ang="0">
                  <a:pos x="3117" y="173"/>
                </a:cxn>
                <a:cxn ang="0">
                  <a:pos x="2861" y="128"/>
                </a:cxn>
                <a:cxn ang="0">
                  <a:pos x="2898" y="18"/>
                </a:cxn>
                <a:cxn ang="0">
                  <a:pos x="3191" y="109"/>
                </a:cxn>
                <a:cxn ang="0">
                  <a:pos x="3465" y="210"/>
                </a:cxn>
                <a:cxn ang="0">
                  <a:pos x="3858" y="347"/>
                </a:cxn>
                <a:cxn ang="0">
                  <a:pos x="4105" y="439"/>
                </a:cxn>
                <a:cxn ang="0">
                  <a:pos x="4260" y="475"/>
                </a:cxn>
                <a:cxn ang="0">
                  <a:pos x="4498" y="512"/>
                </a:cxn>
                <a:cxn ang="0">
                  <a:pos x="4736" y="521"/>
                </a:cxn>
                <a:cxn ang="0">
                  <a:pos x="5037" y="512"/>
                </a:cxn>
                <a:cxn ang="0">
                  <a:pos x="4937" y="704"/>
                </a:cxn>
                <a:cxn ang="0">
                  <a:pos x="4434" y="1005"/>
                </a:cxn>
                <a:cxn ang="0">
                  <a:pos x="3867" y="1207"/>
                </a:cxn>
                <a:cxn ang="0">
                  <a:pos x="3383" y="1261"/>
                </a:cxn>
                <a:cxn ang="0">
                  <a:pos x="3602" y="969"/>
                </a:cxn>
                <a:cxn ang="0">
                  <a:pos x="3483" y="859"/>
                </a:cxn>
                <a:cxn ang="0">
                  <a:pos x="3063" y="877"/>
                </a:cxn>
                <a:cxn ang="0">
                  <a:pos x="2871" y="667"/>
                </a:cxn>
                <a:cxn ang="0">
                  <a:pos x="2496" y="658"/>
                </a:cxn>
                <a:cxn ang="0">
                  <a:pos x="2011" y="592"/>
                </a:cxn>
                <a:cxn ang="0">
                  <a:pos x="1785" y="637"/>
                </a:cxn>
                <a:cxn ang="0">
                  <a:pos x="1618" y="685"/>
                </a:cxn>
                <a:cxn ang="0">
                  <a:pos x="1362" y="676"/>
                </a:cxn>
                <a:cxn ang="0">
                  <a:pos x="1376" y="501"/>
                </a:cxn>
                <a:cxn ang="0">
                  <a:pos x="1069" y="548"/>
                </a:cxn>
                <a:cxn ang="0">
                  <a:pos x="741" y="773"/>
                </a:cxn>
                <a:cxn ang="0">
                  <a:pos x="439" y="969"/>
                </a:cxn>
                <a:cxn ang="0">
                  <a:pos x="228" y="1170"/>
                </a:cxn>
              </a:cxnLst>
              <a:rect l="0" t="0" r="r" b="b"/>
              <a:pathLst>
                <a:path w="5056" h="1325">
                  <a:moveTo>
                    <a:pt x="27" y="1225"/>
                  </a:moveTo>
                  <a:lnTo>
                    <a:pt x="0" y="1152"/>
                  </a:lnTo>
                  <a:lnTo>
                    <a:pt x="91" y="1069"/>
                  </a:lnTo>
                  <a:lnTo>
                    <a:pt x="288" y="1046"/>
                  </a:lnTo>
                  <a:lnTo>
                    <a:pt x="201" y="905"/>
                  </a:lnTo>
                  <a:lnTo>
                    <a:pt x="265" y="777"/>
                  </a:lnTo>
                  <a:lnTo>
                    <a:pt x="375" y="658"/>
                  </a:lnTo>
                  <a:lnTo>
                    <a:pt x="493" y="548"/>
                  </a:lnTo>
                  <a:lnTo>
                    <a:pt x="631" y="475"/>
                  </a:lnTo>
                  <a:lnTo>
                    <a:pt x="740" y="375"/>
                  </a:lnTo>
                  <a:lnTo>
                    <a:pt x="1024" y="265"/>
                  </a:lnTo>
                  <a:lnTo>
                    <a:pt x="1161" y="119"/>
                  </a:lnTo>
                  <a:lnTo>
                    <a:pt x="1435" y="119"/>
                  </a:lnTo>
                  <a:lnTo>
                    <a:pt x="1563" y="91"/>
                  </a:lnTo>
                  <a:lnTo>
                    <a:pt x="1801" y="64"/>
                  </a:lnTo>
                  <a:lnTo>
                    <a:pt x="1965" y="137"/>
                  </a:lnTo>
                  <a:lnTo>
                    <a:pt x="2130" y="27"/>
                  </a:lnTo>
                  <a:lnTo>
                    <a:pt x="2249" y="146"/>
                  </a:lnTo>
                  <a:lnTo>
                    <a:pt x="2395" y="247"/>
                  </a:lnTo>
                  <a:lnTo>
                    <a:pt x="2642" y="210"/>
                  </a:lnTo>
                  <a:lnTo>
                    <a:pt x="2861" y="192"/>
                  </a:lnTo>
                  <a:lnTo>
                    <a:pt x="2962" y="228"/>
                  </a:lnTo>
                  <a:lnTo>
                    <a:pt x="3154" y="265"/>
                  </a:lnTo>
                  <a:lnTo>
                    <a:pt x="3319" y="347"/>
                  </a:lnTo>
                  <a:lnTo>
                    <a:pt x="3410" y="320"/>
                  </a:lnTo>
                  <a:lnTo>
                    <a:pt x="3337" y="274"/>
                  </a:lnTo>
                  <a:lnTo>
                    <a:pt x="3245" y="283"/>
                  </a:lnTo>
                  <a:lnTo>
                    <a:pt x="3117" y="173"/>
                  </a:lnTo>
                  <a:lnTo>
                    <a:pt x="3008" y="119"/>
                  </a:lnTo>
                  <a:lnTo>
                    <a:pt x="2861" y="128"/>
                  </a:lnTo>
                  <a:lnTo>
                    <a:pt x="2779" y="73"/>
                  </a:lnTo>
                  <a:lnTo>
                    <a:pt x="2898" y="18"/>
                  </a:lnTo>
                  <a:lnTo>
                    <a:pt x="2999" y="0"/>
                  </a:lnTo>
                  <a:lnTo>
                    <a:pt x="3191" y="109"/>
                  </a:lnTo>
                  <a:lnTo>
                    <a:pt x="3309" y="219"/>
                  </a:lnTo>
                  <a:lnTo>
                    <a:pt x="3465" y="210"/>
                  </a:lnTo>
                  <a:lnTo>
                    <a:pt x="3593" y="365"/>
                  </a:lnTo>
                  <a:lnTo>
                    <a:pt x="3858" y="347"/>
                  </a:lnTo>
                  <a:lnTo>
                    <a:pt x="4004" y="375"/>
                  </a:lnTo>
                  <a:lnTo>
                    <a:pt x="4105" y="439"/>
                  </a:lnTo>
                  <a:lnTo>
                    <a:pt x="4215" y="384"/>
                  </a:lnTo>
                  <a:lnTo>
                    <a:pt x="4260" y="475"/>
                  </a:lnTo>
                  <a:lnTo>
                    <a:pt x="4260" y="612"/>
                  </a:lnTo>
                  <a:lnTo>
                    <a:pt x="4498" y="512"/>
                  </a:lnTo>
                  <a:lnTo>
                    <a:pt x="4626" y="475"/>
                  </a:lnTo>
                  <a:lnTo>
                    <a:pt x="4736" y="521"/>
                  </a:lnTo>
                  <a:lnTo>
                    <a:pt x="4909" y="503"/>
                  </a:lnTo>
                  <a:lnTo>
                    <a:pt x="5037" y="512"/>
                  </a:lnTo>
                  <a:lnTo>
                    <a:pt x="5056" y="594"/>
                  </a:lnTo>
                  <a:lnTo>
                    <a:pt x="4937" y="704"/>
                  </a:lnTo>
                  <a:lnTo>
                    <a:pt x="4736" y="887"/>
                  </a:lnTo>
                  <a:lnTo>
                    <a:pt x="4434" y="1005"/>
                  </a:lnTo>
                  <a:lnTo>
                    <a:pt x="4050" y="1079"/>
                  </a:lnTo>
                  <a:lnTo>
                    <a:pt x="3867" y="1207"/>
                  </a:lnTo>
                  <a:lnTo>
                    <a:pt x="3437" y="1325"/>
                  </a:lnTo>
                  <a:lnTo>
                    <a:pt x="3383" y="1261"/>
                  </a:lnTo>
                  <a:lnTo>
                    <a:pt x="3511" y="1106"/>
                  </a:lnTo>
                  <a:lnTo>
                    <a:pt x="3602" y="969"/>
                  </a:lnTo>
                  <a:lnTo>
                    <a:pt x="3599" y="864"/>
                  </a:lnTo>
                  <a:lnTo>
                    <a:pt x="3483" y="859"/>
                  </a:lnTo>
                  <a:lnTo>
                    <a:pt x="3273" y="923"/>
                  </a:lnTo>
                  <a:lnTo>
                    <a:pt x="3063" y="877"/>
                  </a:lnTo>
                  <a:lnTo>
                    <a:pt x="2964" y="728"/>
                  </a:lnTo>
                  <a:lnTo>
                    <a:pt x="2871" y="667"/>
                  </a:lnTo>
                  <a:lnTo>
                    <a:pt x="2724" y="640"/>
                  </a:lnTo>
                  <a:lnTo>
                    <a:pt x="2496" y="658"/>
                  </a:lnTo>
                  <a:lnTo>
                    <a:pt x="2212" y="676"/>
                  </a:lnTo>
                  <a:lnTo>
                    <a:pt x="2011" y="592"/>
                  </a:lnTo>
                  <a:lnTo>
                    <a:pt x="1874" y="576"/>
                  </a:lnTo>
                  <a:lnTo>
                    <a:pt x="1785" y="637"/>
                  </a:lnTo>
                  <a:lnTo>
                    <a:pt x="1673" y="567"/>
                  </a:lnTo>
                  <a:lnTo>
                    <a:pt x="1618" y="685"/>
                  </a:lnTo>
                  <a:lnTo>
                    <a:pt x="1472" y="667"/>
                  </a:lnTo>
                  <a:lnTo>
                    <a:pt x="1362" y="676"/>
                  </a:lnTo>
                  <a:lnTo>
                    <a:pt x="1243" y="612"/>
                  </a:lnTo>
                  <a:lnTo>
                    <a:pt x="1376" y="501"/>
                  </a:lnTo>
                  <a:lnTo>
                    <a:pt x="1261" y="484"/>
                  </a:lnTo>
                  <a:lnTo>
                    <a:pt x="1069" y="548"/>
                  </a:lnTo>
                  <a:lnTo>
                    <a:pt x="887" y="603"/>
                  </a:lnTo>
                  <a:lnTo>
                    <a:pt x="741" y="773"/>
                  </a:lnTo>
                  <a:lnTo>
                    <a:pt x="521" y="877"/>
                  </a:lnTo>
                  <a:lnTo>
                    <a:pt x="439" y="969"/>
                  </a:lnTo>
                  <a:lnTo>
                    <a:pt x="420" y="1079"/>
                  </a:lnTo>
                  <a:lnTo>
                    <a:pt x="228" y="1170"/>
                  </a:lnTo>
                  <a:lnTo>
                    <a:pt x="27" y="1225"/>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7" name="Freeform 184">
              <a:extLst>
                <a:ext uri="{FF2B5EF4-FFF2-40B4-BE49-F238E27FC236}">
                  <a16:creationId xmlns:a16="http://schemas.microsoft.com/office/drawing/2014/main" id="{3FA5DDCD-DF38-AEFE-B814-F2ABDD494C5D}"/>
                </a:ext>
              </a:extLst>
            </p:cNvPr>
            <p:cNvSpPr>
              <a:spLocks/>
            </p:cNvSpPr>
            <p:nvPr/>
          </p:nvSpPr>
          <p:spPr bwMode="auto">
            <a:xfrm rot="634052">
              <a:off x="2797091" y="1962151"/>
              <a:ext cx="163511" cy="117475"/>
            </a:xfrm>
            <a:custGeom>
              <a:avLst/>
              <a:gdLst/>
              <a:ahLst/>
              <a:cxnLst>
                <a:cxn ang="0">
                  <a:pos x="219" y="72"/>
                </a:cxn>
                <a:cxn ang="0">
                  <a:pos x="351" y="114"/>
                </a:cxn>
                <a:cxn ang="0">
                  <a:pos x="363" y="185"/>
                </a:cxn>
                <a:cxn ang="0">
                  <a:pos x="441" y="228"/>
                </a:cxn>
                <a:cxn ang="0">
                  <a:pos x="453" y="270"/>
                </a:cxn>
                <a:cxn ang="0">
                  <a:pos x="369" y="306"/>
                </a:cxn>
                <a:cxn ang="0">
                  <a:pos x="243" y="342"/>
                </a:cxn>
                <a:cxn ang="0">
                  <a:pos x="129" y="342"/>
                </a:cxn>
                <a:cxn ang="0">
                  <a:pos x="0" y="367"/>
                </a:cxn>
                <a:cxn ang="0">
                  <a:pos x="75" y="414"/>
                </a:cxn>
                <a:cxn ang="0">
                  <a:pos x="136" y="412"/>
                </a:cxn>
                <a:cxn ang="0">
                  <a:pos x="227" y="457"/>
                </a:cxn>
                <a:cxn ang="0">
                  <a:pos x="285" y="426"/>
                </a:cxn>
                <a:cxn ang="0">
                  <a:pos x="405" y="408"/>
                </a:cxn>
                <a:cxn ang="0">
                  <a:pos x="549" y="360"/>
                </a:cxn>
                <a:cxn ang="0">
                  <a:pos x="635" y="367"/>
                </a:cxn>
                <a:cxn ang="0">
                  <a:pos x="603" y="288"/>
                </a:cxn>
                <a:cxn ang="0">
                  <a:pos x="561" y="174"/>
                </a:cxn>
                <a:cxn ang="0">
                  <a:pos x="597" y="108"/>
                </a:cxn>
                <a:cxn ang="0">
                  <a:pos x="567" y="0"/>
                </a:cxn>
                <a:cxn ang="0">
                  <a:pos x="495" y="6"/>
                </a:cxn>
                <a:cxn ang="0">
                  <a:pos x="429" y="6"/>
                </a:cxn>
                <a:cxn ang="0">
                  <a:pos x="333" y="24"/>
                </a:cxn>
                <a:cxn ang="0">
                  <a:pos x="219" y="72"/>
                </a:cxn>
              </a:cxnLst>
              <a:rect l="0" t="0" r="r" b="b"/>
              <a:pathLst>
                <a:path w="635" h="457">
                  <a:moveTo>
                    <a:pt x="219" y="72"/>
                  </a:moveTo>
                  <a:lnTo>
                    <a:pt x="351" y="114"/>
                  </a:lnTo>
                  <a:lnTo>
                    <a:pt x="363" y="185"/>
                  </a:lnTo>
                  <a:lnTo>
                    <a:pt x="441" y="228"/>
                  </a:lnTo>
                  <a:lnTo>
                    <a:pt x="453" y="270"/>
                  </a:lnTo>
                  <a:lnTo>
                    <a:pt x="369" y="306"/>
                  </a:lnTo>
                  <a:lnTo>
                    <a:pt x="243" y="342"/>
                  </a:lnTo>
                  <a:lnTo>
                    <a:pt x="129" y="342"/>
                  </a:lnTo>
                  <a:lnTo>
                    <a:pt x="0" y="367"/>
                  </a:lnTo>
                  <a:lnTo>
                    <a:pt x="75" y="414"/>
                  </a:lnTo>
                  <a:lnTo>
                    <a:pt x="136" y="412"/>
                  </a:lnTo>
                  <a:lnTo>
                    <a:pt x="227" y="457"/>
                  </a:lnTo>
                  <a:lnTo>
                    <a:pt x="285" y="426"/>
                  </a:lnTo>
                  <a:lnTo>
                    <a:pt x="405" y="408"/>
                  </a:lnTo>
                  <a:lnTo>
                    <a:pt x="549" y="360"/>
                  </a:lnTo>
                  <a:lnTo>
                    <a:pt x="635" y="367"/>
                  </a:lnTo>
                  <a:lnTo>
                    <a:pt x="603" y="288"/>
                  </a:lnTo>
                  <a:lnTo>
                    <a:pt x="561" y="174"/>
                  </a:lnTo>
                  <a:lnTo>
                    <a:pt x="597" y="108"/>
                  </a:lnTo>
                  <a:lnTo>
                    <a:pt x="567" y="0"/>
                  </a:lnTo>
                  <a:lnTo>
                    <a:pt x="495" y="6"/>
                  </a:lnTo>
                  <a:lnTo>
                    <a:pt x="429" y="6"/>
                  </a:lnTo>
                  <a:lnTo>
                    <a:pt x="333" y="24"/>
                  </a:lnTo>
                  <a:lnTo>
                    <a:pt x="219" y="72"/>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8" name="Freeform 185">
              <a:extLst>
                <a:ext uri="{FF2B5EF4-FFF2-40B4-BE49-F238E27FC236}">
                  <a16:creationId xmlns:a16="http://schemas.microsoft.com/office/drawing/2014/main" id="{07AEA328-7029-C5A1-8347-80E062A57482}"/>
                </a:ext>
              </a:extLst>
            </p:cNvPr>
            <p:cNvSpPr>
              <a:spLocks/>
            </p:cNvSpPr>
            <p:nvPr/>
          </p:nvSpPr>
          <p:spPr bwMode="auto">
            <a:xfrm rot="634052">
              <a:off x="2941553" y="1970088"/>
              <a:ext cx="184148" cy="127000"/>
            </a:xfrm>
            <a:custGeom>
              <a:avLst/>
              <a:gdLst/>
              <a:ahLst/>
              <a:cxnLst>
                <a:cxn ang="0">
                  <a:pos x="710" y="127"/>
                </a:cxn>
                <a:cxn ang="0">
                  <a:pos x="631" y="82"/>
                </a:cxn>
                <a:cxn ang="0">
                  <a:pos x="574" y="82"/>
                </a:cxn>
                <a:cxn ang="0">
                  <a:pos x="530" y="101"/>
                </a:cxn>
                <a:cxn ang="0">
                  <a:pos x="477" y="110"/>
                </a:cxn>
                <a:cxn ang="0">
                  <a:pos x="458" y="67"/>
                </a:cxn>
                <a:cxn ang="0">
                  <a:pos x="415" y="53"/>
                </a:cxn>
                <a:cxn ang="0">
                  <a:pos x="367" y="0"/>
                </a:cxn>
                <a:cxn ang="0">
                  <a:pos x="319" y="38"/>
                </a:cxn>
                <a:cxn ang="0">
                  <a:pos x="256" y="36"/>
                </a:cxn>
                <a:cxn ang="0">
                  <a:pos x="137" y="10"/>
                </a:cxn>
                <a:cxn ang="0">
                  <a:pos x="98" y="38"/>
                </a:cxn>
                <a:cxn ang="0">
                  <a:pos x="30" y="36"/>
                </a:cxn>
                <a:cxn ang="0">
                  <a:pos x="7" y="80"/>
                </a:cxn>
                <a:cxn ang="0">
                  <a:pos x="36" y="186"/>
                </a:cxn>
                <a:cxn ang="0">
                  <a:pos x="0" y="254"/>
                </a:cxn>
                <a:cxn ang="0">
                  <a:pos x="42" y="362"/>
                </a:cxn>
                <a:cxn ang="0">
                  <a:pos x="75" y="445"/>
                </a:cxn>
                <a:cxn ang="0">
                  <a:pos x="120" y="490"/>
                </a:cxn>
                <a:cxn ang="0">
                  <a:pos x="161" y="451"/>
                </a:cxn>
                <a:cxn ang="0">
                  <a:pos x="166" y="354"/>
                </a:cxn>
                <a:cxn ang="0">
                  <a:pos x="209" y="341"/>
                </a:cxn>
                <a:cxn ang="0">
                  <a:pos x="256" y="309"/>
                </a:cxn>
                <a:cxn ang="0">
                  <a:pos x="319" y="336"/>
                </a:cxn>
                <a:cxn ang="0">
                  <a:pos x="391" y="298"/>
                </a:cxn>
                <a:cxn ang="0">
                  <a:pos x="425" y="250"/>
                </a:cxn>
                <a:cxn ang="0">
                  <a:pos x="483" y="218"/>
                </a:cxn>
                <a:cxn ang="0">
                  <a:pos x="549" y="211"/>
                </a:cxn>
                <a:cxn ang="0">
                  <a:pos x="665" y="218"/>
                </a:cxn>
                <a:cxn ang="0">
                  <a:pos x="703" y="182"/>
                </a:cxn>
                <a:cxn ang="0">
                  <a:pos x="710" y="127"/>
                </a:cxn>
              </a:cxnLst>
              <a:rect l="0" t="0" r="r" b="b"/>
              <a:pathLst>
                <a:path w="710" h="490">
                  <a:moveTo>
                    <a:pt x="710" y="127"/>
                  </a:moveTo>
                  <a:lnTo>
                    <a:pt x="631" y="82"/>
                  </a:lnTo>
                  <a:lnTo>
                    <a:pt x="574" y="82"/>
                  </a:lnTo>
                  <a:lnTo>
                    <a:pt x="530" y="101"/>
                  </a:lnTo>
                  <a:lnTo>
                    <a:pt x="477" y="110"/>
                  </a:lnTo>
                  <a:lnTo>
                    <a:pt x="458" y="67"/>
                  </a:lnTo>
                  <a:lnTo>
                    <a:pt x="415" y="53"/>
                  </a:lnTo>
                  <a:lnTo>
                    <a:pt x="367" y="0"/>
                  </a:lnTo>
                  <a:lnTo>
                    <a:pt x="319" y="38"/>
                  </a:lnTo>
                  <a:lnTo>
                    <a:pt x="256" y="36"/>
                  </a:lnTo>
                  <a:lnTo>
                    <a:pt x="137" y="10"/>
                  </a:lnTo>
                  <a:lnTo>
                    <a:pt x="98" y="38"/>
                  </a:lnTo>
                  <a:lnTo>
                    <a:pt x="30" y="36"/>
                  </a:lnTo>
                  <a:lnTo>
                    <a:pt x="7" y="80"/>
                  </a:lnTo>
                  <a:lnTo>
                    <a:pt x="36" y="186"/>
                  </a:lnTo>
                  <a:lnTo>
                    <a:pt x="0" y="254"/>
                  </a:lnTo>
                  <a:lnTo>
                    <a:pt x="42" y="362"/>
                  </a:lnTo>
                  <a:lnTo>
                    <a:pt x="75" y="445"/>
                  </a:lnTo>
                  <a:lnTo>
                    <a:pt x="120" y="490"/>
                  </a:lnTo>
                  <a:lnTo>
                    <a:pt x="161" y="451"/>
                  </a:lnTo>
                  <a:lnTo>
                    <a:pt x="166" y="354"/>
                  </a:lnTo>
                  <a:lnTo>
                    <a:pt x="209" y="341"/>
                  </a:lnTo>
                  <a:lnTo>
                    <a:pt x="256" y="309"/>
                  </a:lnTo>
                  <a:lnTo>
                    <a:pt x="319" y="336"/>
                  </a:lnTo>
                  <a:lnTo>
                    <a:pt x="391" y="298"/>
                  </a:lnTo>
                  <a:lnTo>
                    <a:pt x="425" y="250"/>
                  </a:lnTo>
                  <a:lnTo>
                    <a:pt x="483" y="218"/>
                  </a:lnTo>
                  <a:lnTo>
                    <a:pt x="549" y="211"/>
                  </a:lnTo>
                  <a:lnTo>
                    <a:pt x="665" y="218"/>
                  </a:lnTo>
                  <a:lnTo>
                    <a:pt x="703" y="182"/>
                  </a:lnTo>
                  <a:lnTo>
                    <a:pt x="710" y="127"/>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89" name="Freeform 186">
              <a:extLst>
                <a:ext uri="{FF2B5EF4-FFF2-40B4-BE49-F238E27FC236}">
                  <a16:creationId xmlns:a16="http://schemas.microsoft.com/office/drawing/2014/main" id="{41C6E42F-95EC-1636-6F63-7F054D3E1B0A}"/>
                </a:ext>
              </a:extLst>
            </p:cNvPr>
            <p:cNvSpPr>
              <a:spLocks/>
            </p:cNvSpPr>
            <p:nvPr/>
          </p:nvSpPr>
          <p:spPr bwMode="auto">
            <a:xfrm rot="634052">
              <a:off x="2590718" y="2041526"/>
              <a:ext cx="106362" cy="42862"/>
            </a:xfrm>
            <a:custGeom>
              <a:avLst/>
              <a:gdLst/>
              <a:ahLst/>
              <a:cxnLst>
                <a:cxn ang="0">
                  <a:pos x="408" y="26"/>
                </a:cxn>
                <a:cxn ang="0">
                  <a:pos x="349" y="24"/>
                </a:cxn>
                <a:cxn ang="0">
                  <a:pos x="293" y="8"/>
                </a:cxn>
                <a:cxn ang="0">
                  <a:pos x="182" y="26"/>
                </a:cxn>
                <a:cxn ang="0">
                  <a:pos x="125" y="0"/>
                </a:cxn>
                <a:cxn ang="0">
                  <a:pos x="61" y="32"/>
                </a:cxn>
                <a:cxn ang="0">
                  <a:pos x="0" y="72"/>
                </a:cxn>
                <a:cxn ang="0">
                  <a:pos x="93" y="128"/>
                </a:cxn>
                <a:cxn ang="0">
                  <a:pos x="205" y="168"/>
                </a:cxn>
                <a:cxn ang="0">
                  <a:pos x="301" y="120"/>
                </a:cxn>
                <a:cxn ang="0">
                  <a:pos x="413" y="112"/>
                </a:cxn>
                <a:cxn ang="0">
                  <a:pos x="408" y="26"/>
                </a:cxn>
              </a:cxnLst>
              <a:rect l="0" t="0" r="r" b="b"/>
              <a:pathLst>
                <a:path w="413" h="168">
                  <a:moveTo>
                    <a:pt x="408" y="26"/>
                  </a:moveTo>
                  <a:lnTo>
                    <a:pt x="349" y="24"/>
                  </a:lnTo>
                  <a:lnTo>
                    <a:pt x="293" y="8"/>
                  </a:lnTo>
                  <a:lnTo>
                    <a:pt x="182" y="26"/>
                  </a:lnTo>
                  <a:lnTo>
                    <a:pt x="125" y="0"/>
                  </a:lnTo>
                  <a:lnTo>
                    <a:pt x="61" y="32"/>
                  </a:lnTo>
                  <a:lnTo>
                    <a:pt x="0" y="72"/>
                  </a:lnTo>
                  <a:lnTo>
                    <a:pt x="93" y="128"/>
                  </a:lnTo>
                  <a:lnTo>
                    <a:pt x="205" y="168"/>
                  </a:lnTo>
                  <a:lnTo>
                    <a:pt x="301" y="120"/>
                  </a:lnTo>
                  <a:lnTo>
                    <a:pt x="413" y="112"/>
                  </a:lnTo>
                  <a:lnTo>
                    <a:pt x="408" y="26"/>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0" name="Freeform 187">
              <a:extLst>
                <a:ext uri="{FF2B5EF4-FFF2-40B4-BE49-F238E27FC236}">
                  <a16:creationId xmlns:a16="http://schemas.microsoft.com/office/drawing/2014/main" id="{8D7D8278-2BE1-37F8-1C44-A2D3F2CB5E5C}"/>
                </a:ext>
              </a:extLst>
            </p:cNvPr>
            <p:cNvSpPr>
              <a:spLocks/>
            </p:cNvSpPr>
            <p:nvPr/>
          </p:nvSpPr>
          <p:spPr bwMode="auto">
            <a:xfrm rot="634052">
              <a:off x="3203487" y="2033588"/>
              <a:ext cx="82549" cy="49213"/>
            </a:xfrm>
            <a:custGeom>
              <a:avLst/>
              <a:gdLst/>
              <a:ahLst/>
              <a:cxnLst>
                <a:cxn ang="0">
                  <a:pos x="318" y="65"/>
                </a:cxn>
                <a:cxn ang="0">
                  <a:pos x="293" y="0"/>
                </a:cxn>
                <a:cxn ang="0">
                  <a:pos x="182" y="18"/>
                </a:cxn>
                <a:cxn ang="0">
                  <a:pos x="142" y="9"/>
                </a:cxn>
                <a:cxn ang="0">
                  <a:pos x="62" y="49"/>
                </a:cxn>
                <a:cxn ang="0">
                  <a:pos x="0" y="64"/>
                </a:cxn>
                <a:cxn ang="0">
                  <a:pos x="22" y="145"/>
                </a:cxn>
                <a:cxn ang="0">
                  <a:pos x="62" y="193"/>
                </a:cxn>
                <a:cxn ang="0">
                  <a:pos x="158" y="169"/>
                </a:cxn>
                <a:cxn ang="0">
                  <a:pos x="262" y="113"/>
                </a:cxn>
                <a:cxn ang="0">
                  <a:pos x="318" y="65"/>
                </a:cxn>
              </a:cxnLst>
              <a:rect l="0" t="0" r="r" b="b"/>
              <a:pathLst>
                <a:path w="318" h="193">
                  <a:moveTo>
                    <a:pt x="318" y="65"/>
                  </a:moveTo>
                  <a:lnTo>
                    <a:pt x="293" y="0"/>
                  </a:lnTo>
                  <a:lnTo>
                    <a:pt x="182" y="18"/>
                  </a:lnTo>
                  <a:lnTo>
                    <a:pt x="142" y="9"/>
                  </a:lnTo>
                  <a:lnTo>
                    <a:pt x="62" y="49"/>
                  </a:lnTo>
                  <a:lnTo>
                    <a:pt x="0" y="64"/>
                  </a:lnTo>
                  <a:lnTo>
                    <a:pt x="22" y="145"/>
                  </a:lnTo>
                  <a:lnTo>
                    <a:pt x="62" y="193"/>
                  </a:lnTo>
                  <a:lnTo>
                    <a:pt x="158" y="169"/>
                  </a:lnTo>
                  <a:lnTo>
                    <a:pt x="262" y="113"/>
                  </a:lnTo>
                  <a:lnTo>
                    <a:pt x="318" y="65"/>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1" name="Freeform 188">
              <a:extLst>
                <a:ext uri="{FF2B5EF4-FFF2-40B4-BE49-F238E27FC236}">
                  <a16:creationId xmlns:a16="http://schemas.microsoft.com/office/drawing/2014/main" id="{7D639141-DA68-F31B-9089-53C49F857054}"/>
                </a:ext>
              </a:extLst>
            </p:cNvPr>
            <p:cNvSpPr>
              <a:spLocks/>
            </p:cNvSpPr>
            <p:nvPr/>
          </p:nvSpPr>
          <p:spPr bwMode="auto">
            <a:xfrm rot="634052">
              <a:off x="3506697" y="2373313"/>
              <a:ext cx="34925" cy="41275"/>
            </a:xfrm>
            <a:custGeom>
              <a:avLst/>
              <a:gdLst/>
              <a:ahLst/>
              <a:cxnLst>
                <a:cxn ang="0">
                  <a:pos x="0" y="21"/>
                </a:cxn>
                <a:cxn ang="0">
                  <a:pos x="69" y="0"/>
                </a:cxn>
                <a:cxn ang="0">
                  <a:pos x="136" y="21"/>
                </a:cxn>
                <a:cxn ang="0">
                  <a:pos x="136" y="67"/>
                </a:cxn>
                <a:cxn ang="0">
                  <a:pos x="85" y="152"/>
                </a:cxn>
                <a:cxn ang="0">
                  <a:pos x="0" y="157"/>
                </a:cxn>
                <a:cxn ang="0">
                  <a:pos x="21" y="96"/>
                </a:cxn>
                <a:cxn ang="0">
                  <a:pos x="0" y="21"/>
                </a:cxn>
              </a:cxnLst>
              <a:rect l="0" t="0" r="r" b="b"/>
              <a:pathLst>
                <a:path w="136" h="157">
                  <a:moveTo>
                    <a:pt x="0" y="21"/>
                  </a:moveTo>
                  <a:lnTo>
                    <a:pt x="69" y="0"/>
                  </a:lnTo>
                  <a:lnTo>
                    <a:pt x="136" y="21"/>
                  </a:lnTo>
                  <a:lnTo>
                    <a:pt x="136" y="67"/>
                  </a:lnTo>
                  <a:lnTo>
                    <a:pt x="85" y="152"/>
                  </a:lnTo>
                  <a:lnTo>
                    <a:pt x="0" y="157"/>
                  </a:lnTo>
                  <a:lnTo>
                    <a:pt x="21" y="96"/>
                  </a:lnTo>
                  <a:lnTo>
                    <a:pt x="0" y="21"/>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2" name="Freeform 189">
              <a:extLst>
                <a:ext uri="{FF2B5EF4-FFF2-40B4-BE49-F238E27FC236}">
                  <a16:creationId xmlns:a16="http://schemas.microsoft.com/office/drawing/2014/main" id="{64CCFED4-17BC-85EC-8EB3-26F92B81DFC5}"/>
                </a:ext>
              </a:extLst>
            </p:cNvPr>
            <p:cNvSpPr>
              <a:spLocks/>
            </p:cNvSpPr>
            <p:nvPr/>
          </p:nvSpPr>
          <p:spPr bwMode="auto">
            <a:xfrm rot="634052">
              <a:off x="2597068" y="1666876"/>
              <a:ext cx="30163" cy="41275"/>
            </a:xfrm>
            <a:custGeom>
              <a:avLst/>
              <a:gdLst/>
              <a:ahLst/>
              <a:cxnLst>
                <a:cxn ang="0">
                  <a:pos x="14" y="248"/>
                </a:cxn>
                <a:cxn ang="0">
                  <a:pos x="14" y="144"/>
                </a:cxn>
                <a:cxn ang="0">
                  <a:pos x="86" y="0"/>
                </a:cxn>
                <a:cxn ang="0">
                  <a:pos x="198" y="72"/>
                </a:cxn>
                <a:cxn ang="0">
                  <a:pos x="280" y="173"/>
                </a:cxn>
                <a:cxn ang="0">
                  <a:pos x="248" y="277"/>
                </a:cxn>
                <a:cxn ang="0">
                  <a:pos x="222" y="344"/>
                </a:cxn>
                <a:cxn ang="0">
                  <a:pos x="142" y="368"/>
                </a:cxn>
                <a:cxn ang="0">
                  <a:pos x="0" y="333"/>
                </a:cxn>
                <a:cxn ang="0">
                  <a:pos x="14" y="248"/>
                </a:cxn>
              </a:cxnLst>
              <a:rect l="0" t="0" r="r" b="b"/>
              <a:pathLst>
                <a:path w="280" h="368">
                  <a:moveTo>
                    <a:pt x="14" y="248"/>
                  </a:moveTo>
                  <a:lnTo>
                    <a:pt x="14" y="144"/>
                  </a:lnTo>
                  <a:lnTo>
                    <a:pt x="86" y="0"/>
                  </a:lnTo>
                  <a:lnTo>
                    <a:pt x="198" y="72"/>
                  </a:lnTo>
                  <a:lnTo>
                    <a:pt x="280" y="173"/>
                  </a:lnTo>
                  <a:lnTo>
                    <a:pt x="248" y="277"/>
                  </a:lnTo>
                  <a:lnTo>
                    <a:pt x="222" y="344"/>
                  </a:lnTo>
                  <a:lnTo>
                    <a:pt x="142" y="368"/>
                  </a:lnTo>
                  <a:lnTo>
                    <a:pt x="0" y="333"/>
                  </a:lnTo>
                  <a:lnTo>
                    <a:pt x="14" y="248"/>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3" name="Freeform 190">
              <a:extLst>
                <a:ext uri="{FF2B5EF4-FFF2-40B4-BE49-F238E27FC236}">
                  <a16:creationId xmlns:a16="http://schemas.microsoft.com/office/drawing/2014/main" id="{F23D1143-7272-A74E-EA5A-C3016C331135}"/>
                </a:ext>
              </a:extLst>
            </p:cNvPr>
            <p:cNvSpPr>
              <a:spLocks/>
            </p:cNvSpPr>
            <p:nvPr/>
          </p:nvSpPr>
          <p:spPr bwMode="auto">
            <a:xfrm rot="634052">
              <a:off x="2619293" y="1704976"/>
              <a:ext cx="20638" cy="34925"/>
            </a:xfrm>
            <a:custGeom>
              <a:avLst/>
              <a:gdLst/>
              <a:ahLst/>
              <a:cxnLst>
                <a:cxn ang="0">
                  <a:pos x="0" y="192"/>
                </a:cxn>
                <a:cxn ang="0">
                  <a:pos x="33" y="96"/>
                </a:cxn>
                <a:cxn ang="0">
                  <a:pos x="63" y="0"/>
                </a:cxn>
                <a:cxn ang="0">
                  <a:pos x="147" y="54"/>
                </a:cxn>
                <a:cxn ang="0">
                  <a:pos x="183" y="150"/>
                </a:cxn>
                <a:cxn ang="0">
                  <a:pos x="177" y="234"/>
                </a:cxn>
                <a:cxn ang="0">
                  <a:pos x="128" y="312"/>
                </a:cxn>
                <a:cxn ang="0">
                  <a:pos x="33" y="270"/>
                </a:cxn>
                <a:cxn ang="0">
                  <a:pos x="0" y="192"/>
                </a:cxn>
              </a:cxnLst>
              <a:rect l="0" t="0" r="r" b="b"/>
              <a:pathLst>
                <a:path w="183" h="312">
                  <a:moveTo>
                    <a:pt x="0" y="192"/>
                  </a:moveTo>
                  <a:lnTo>
                    <a:pt x="33" y="96"/>
                  </a:lnTo>
                  <a:lnTo>
                    <a:pt x="63" y="0"/>
                  </a:lnTo>
                  <a:lnTo>
                    <a:pt x="147" y="54"/>
                  </a:lnTo>
                  <a:lnTo>
                    <a:pt x="183" y="150"/>
                  </a:lnTo>
                  <a:lnTo>
                    <a:pt x="177" y="234"/>
                  </a:lnTo>
                  <a:lnTo>
                    <a:pt x="128" y="312"/>
                  </a:lnTo>
                  <a:lnTo>
                    <a:pt x="33" y="270"/>
                  </a:lnTo>
                  <a:lnTo>
                    <a:pt x="0" y="192"/>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4" name="Freeform 191">
              <a:extLst>
                <a:ext uri="{FF2B5EF4-FFF2-40B4-BE49-F238E27FC236}">
                  <a16:creationId xmlns:a16="http://schemas.microsoft.com/office/drawing/2014/main" id="{D42BEE2B-D4D3-BA0E-B99A-E104285AB7A0}"/>
                </a:ext>
              </a:extLst>
            </p:cNvPr>
            <p:cNvSpPr>
              <a:spLocks/>
            </p:cNvSpPr>
            <p:nvPr/>
          </p:nvSpPr>
          <p:spPr bwMode="auto">
            <a:xfrm rot="634052">
              <a:off x="2671680" y="1635126"/>
              <a:ext cx="42862" cy="46037"/>
            </a:xfrm>
            <a:custGeom>
              <a:avLst/>
              <a:gdLst/>
              <a:ahLst/>
              <a:cxnLst>
                <a:cxn ang="0">
                  <a:pos x="16" y="88"/>
                </a:cxn>
                <a:cxn ang="0">
                  <a:pos x="0" y="16"/>
                </a:cxn>
                <a:cxn ang="0">
                  <a:pos x="104" y="8"/>
                </a:cxn>
                <a:cxn ang="0">
                  <a:pos x="200" y="0"/>
                </a:cxn>
                <a:cxn ang="0">
                  <a:pos x="304" y="112"/>
                </a:cxn>
                <a:cxn ang="0">
                  <a:pos x="376" y="224"/>
                </a:cxn>
                <a:cxn ang="0">
                  <a:pos x="368" y="312"/>
                </a:cxn>
                <a:cxn ang="0">
                  <a:pos x="368" y="416"/>
                </a:cxn>
                <a:cxn ang="0">
                  <a:pos x="320" y="368"/>
                </a:cxn>
                <a:cxn ang="0">
                  <a:pos x="256" y="360"/>
                </a:cxn>
                <a:cxn ang="0">
                  <a:pos x="288" y="256"/>
                </a:cxn>
                <a:cxn ang="0">
                  <a:pos x="248" y="168"/>
                </a:cxn>
                <a:cxn ang="0">
                  <a:pos x="168" y="112"/>
                </a:cxn>
                <a:cxn ang="0">
                  <a:pos x="96" y="104"/>
                </a:cxn>
                <a:cxn ang="0">
                  <a:pos x="16" y="88"/>
                </a:cxn>
              </a:cxnLst>
              <a:rect l="0" t="0" r="r" b="b"/>
              <a:pathLst>
                <a:path w="376" h="416">
                  <a:moveTo>
                    <a:pt x="16" y="88"/>
                  </a:moveTo>
                  <a:lnTo>
                    <a:pt x="0" y="16"/>
                  </a:lnTo>
                  <a:lnTo>
                    <a:pt x="104" y="8"/>
                  </a:lnTo>
                  <a:lnTo>
                    <a:pt x="200" y="0"/>
                  </a:lnTo>
                  <a:lnTo>
                    <a:pt x="304" y="112"/>
                  </a:lnTo>
                  <a:lnTo>
                    <a:pt x="376" y="224"/>
                  </a:lnTo>
                  <a:lnTo>
                    <a:pt x="368" y="312"/>
                  </a:lnTo>
                  <a:lnTo>
                    <a:pt x="368" y="416"/>
                  </a:lnTo>
                  <a:lnTo>
                    <a:pt x="320" y="368"/>
                  </a:lnTo>
                  <a:lnTo>
                    <a:pt x="256" y="360"/>
                  </a:lnTo>
                  <a:lnTo>
                    <a:pt x="288" y="256"/>
                  </a:lnTo>
                  <a:lnTo>
                    <a:pt x="248" y="168"/>
                  </a:lnTo>
                  <a:lnTo>
                    <a:pt x="168" y="112"/>
                  </a:lnTo>
                  <a:lnTo>
                    <a:pt x="96" y="104"/>
                  </a:lnTo>
                  <a:lnTo>
                    <a:pt x="16" y="88"/>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5" name="Freeform 192">
              <a:extLst>
                <a:ext uri="{FF2B5EF4-FFF2-40B4-BE49-F238E27FC236}">
                  <a16:creationId xmlns:a16="http://schemas.microsoft.com/office/drawing/2014/main" id="{118CA361-226B-756D-FCB5-0B80877FBC5C}"/>
                </a:ext>
              </a:extLst>
            </p:cNvPr>
            <p:cNvSpPr>
              <a:spLocks/>
            </p:cNvSpPr>
            <p:nvPr/>
          </p:nvSpPr>
          <p:spPr bwMode="auto">
            <a:xfrm rot="634052">
              <a:off x="2620881" y="1558926"/>
              <a:ext cx="44450" cy="53975"/>
            </a:xfrm>
            <a:custGeom>
              <a:avLst/>
              <a:gdLst/>
              <a:ahLst/>
              <a:cxnLst>
                <a:cxn ang="0">
                  <a:pos x="16" y="80"/>
                </a:cxn>
                <a:cxn ang="0">
                  <a:pos x="0" y="8"/>
                </a:cxn>
                <a:cxn ang="0">
                  <a:pos x="104" y="0"/>
                </a:cxn>
                <a:cxn ang="0">
                  <a:pos x="240" y="54"/>
                </a:cxn>
                <a:cxn ang="0">
                  <a:pos x="304" y="104"/>
                </a:cxn>
                <a:cxn ang="0">
                  <a:pos x="384" y="166"/>
                </a:cxn>
                <a:cxn ang="0">
                  <a:pos x="368" y="304"/>
                </a:cxn>
                <a:cxn ang="0">
                  <a:pos x="368" y="408"/>
                </a:cxn>
                <a:cxn ang="0">
                  <a:pos x="336" y="486"/>
                </a:cxn>
                <a:cxn ang="0">
                  <a:pos x="280" y="438"/>
                </a:cxn>
                <a:cxn ang="0">
                  <a:pos x="256" y="352"/>
                </a:cxn>
                <a:cxn ang="0">
                  <a:pos x="288" y="248"/>
                </a:cxn>
                <a:cxn ang="0">
                  <a:pos x="248" y="160"/>
                </a:cxn>
                <a:cxn ang="0">
                  <a:pos x="168" y="104"/>
                </a:cxn>
                <a:cxn ang="0">
                  <a:pos x="96" y="96"/>
                </a:cxn>
                <a:cxn ang="0">
                  <a:pos x="16" y="80"/>
                </a:cxn>
              </a:cxnLst>
              <a:rect l="0" t="0" r="r" b="b"/>
              <a:pathLst>
                <a:path w="384" h="486">
                  <a:moveTo>
                    <a:pt x="16" y="80"/>
                  </a:moveTo>
                  <a:lnTo>
                    <a:pt x="0" y="8"/>
                  </a:lnTo>
                  <a:lnTo>
                    <a:pt x="104" y="0"/>
                  </a:lnTo>
                  <a:lnTo>
                    <a:pt x="240" y="54"/>
                  </a:lnTo>
                  <a:lnTo>
                    <a:pt x="304" y="104"/>
                  </a:lnTo>
                  <a:lnTo>
                    <a:pt x="384" y="166"/>
                  </a:lnTo>
                  <a:lnTo>
                    <a:pt x="368" y="304"/>
                  </a:lnTo>
                  <a:lnTo>
                    <a:pt x="368" y="408"/>
                  </a:lnTo>
                  <a:lnTo>
                    <a:pt x="336" y="486"/>
                  </a:lnTo>
                  <a:lnTo>
                    <a:pt x="280" y="438"/>
                  </a:lnTo>
                  <a:lnTo>
                    <a:pt x="256" y="352"/>
                  </a:lnTo>
                  <a:lnTo>
                    <a:pt x="288" y="248"/>
                  </a:lnTo>
                  <a:lnTo>
                    <a:pt x="248" y="160"/>
                  </a:lnTo>
                  <a:lnTo>
                    <a:pt x="168" y="104"/>
                  </a:lnTo>
                  <a:lnTo>
                    <a:pt x="96" y="96"/>
                  </a:lnTo>
                  <a:lnTo>
                    <a:pt x="16" y="80"/>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6" name="Freeform 193">
              <a:extLst>
                <a:ext uri="{FF2B5EF4-FFF2-40B4-BE49-F238E27FC236}">
                  <a16:creationId xmlns:a16="http://schemas.microsoft.com/office/drawing/2014/main" id="{2DC265B5-4759-D6C0-B9D0-32569A3C68D6}"/>
                </a:ext>
              </a:extLst>
            </p:cNvPr>
            <p:cNvSpPr>
              <a:spLocks/>
            </p:cNvSpPr>
            <p:nvPr/>
          </p:nvSpPr>
          <p:spPr bwMode="auto">
            <a:xfrm rot="634052">
              <a:off x="2747880" y="1725613"/>
              <a:ext cx="36512" cy="44450"/>
            </a:xfrm>
            <a:custGeom>
              <a:avLst/>
              <a:gdLst/>
              <a:ahLst/>
              <a:cxnLst>
                <a:cxn ang="0">
                  <a:pos x="0" y="8"/>
                </a:cxn>
                <a:cxn ang="0">
                  <a:pos x="96" y="0"/>
                </a:cxn>
                <a:cxn ang="0">
                  <a:pos x="165" y="123"/>
                </a:cxn>
                <a:cxn ang="0">
                  <a:pos x="245" y="275"/>
                </a:cxn>
                <a:cxn ang="0">
                  <a:pos x="325" y="315"/>
                </a:cxn>
                <a:cxn ang="0">
                  <a:pos x="301" y="403"/>
                </a:cxn>
                <a:cxn ang="0">
                  <a:pos x="216" y="368"/>
                </a:cxn>
                <a:cxn ang="0">
                  <a:pos x="184" y="256"/>
                </a:cxn>
                <a:cxn ang="0">
                  <a:pos x="93" y="219"/>
                </a:cxn>
                <a:cxn ang="0">
                  <a:pos x="64" y="112"/>
                </a:cxn>
                <a:cxn ang="0">
                  <a:pos x="5" y="91"/>
                </a:cxn>
                <a:cxn ang="0">
                  <a:pos x="0" y="8"/>
                </a:cxn>
              </a:cxnLst>
              <a:rect l="0" t="0" r="r" b="b"/>
              <a:pathLst>
                <a:path w="325" h="403">
                  <a:moveTo>
                    <a:pt x="0" y="8"/>
                  </a:moveTo>
                  <a:lnTo>
                    <a:pt x="96" y="0"/>
                  </a:lnTo>
                  <a:lnTo>
                    <a:pt x="165" y="123"/>
                  </a:lnTo>
                  <a:lnTo>
                    <a:pt x="245" y="275"/>
                  </a:lnTo>
                  <a:lnTo>
                    <a:pt x="325" y="315"/>
                  </a:lnTo>
                  <a:lnTo>
                    <a:pt x="301" y="403"/>
                  </a:lnTo>
                  <a:lnTo>
                    <a:pt x="216" y="368"/>
                  </a:lnTo>
                  <a:lnTo>
                    <a:pt x="184" y="256"/>
                  </a:lnTo>
                  <a:lnTo>
                    <a:pt x="93" y="219"/>
                  </a:lnTo>
                  <a:lnTo>
                    <a:pt x="64" y="112"/>
                  </a:lnTo>
                  <a:lnTo>
                    <a:pt x="5" y="91"/>
                  </a:lnTo>
                  <a:lnTo>
                    <a:pt x="0" y="8"/>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7" name="Freeform 194">
              <a:extLst>
                <a:ext uri="{FF2B5EF4-FFF2-40B4-BE49-F238E27FC236}">
                  <a16:creationId xmlns:a16="http://schemas.microsoft.com/office/drawing/2014/main" id="{A7413F22-5418-7A7D-863D-9E51C33AF326}"/>
                </a:ext>
              </a:extLst>
            </p:cNvPr>
            <p:cNvSpPr>
              <a:spLocks/>
            </p:cNvSpPr>
            <p:nvPr/>
          </p:nvSpPr>
          <p:spPr bwMode="auto">
            <a:xfrm rot="634052">
              <a:off x="2568494" y="1565276"/>
              <a:ext cx="52387" cy="31750"/>
            </a:xfrm>
            <a:custGeom>
              <a:avLst/>
              <a:gdLst/>
              <a:ahLst/>
              <a:cxnLst>
                <a:cxn ang="0">
                  <a:pos x="464" y="0"/>
                </a:cxn>
                <a:cxn ang="0">
                  <a:pos x="432" y="72"/>
                </a:cxn>
                <a:cxn ang="0">
                  <a:pos x="376" y="120"/>
                </a:cxn>
                <a:cxn ang="0">
                  <a:pos x="296" y="176"/>
                </a:cxn>
                <a:cxn ang="0">
                  <a:pos x="208" y="232"/>
                </a:cxn>
                <a:cxn ang="0">
                  <a:pos x="120" y="272"/>
                </a:cxn>
                <a:cxn ang="0">
                  <a:pos x="0" y="256"/>
                </a:cxn>
                <a:cxn ang="0">
                  <a:pos x="0" y="208"/>
                </a:cxn>
                <a:cxn ang="0">
                  <a:pos x="72" y="208"/>
                </a:cxn>
                <a:cxn ang="0">
                  <a:pos x="168" y="153"/>
                </a:cxn>
                <a:cxn ang="0">
                  <a:pos x="263" y="134"/>
                </a:cxn>
                <a:cxn ang="0">
                  <a:pos x="272" y="88"/>
                </a:cxn>
                <a:cxn ang="0">
                  <a:pos x="336" y="69"/>
                </a:cxn>
                <a:cxn ang="0">
                  <a:pos x="361" y="1"/>
                </a:cxn>
                <a:cxn ang="0">
                  <a:pos x="464" y="0"/>
                </a:cxn>
              </a:cxnLst>
              <a:rect l="0" t="0" r="r" b="b"/>
              <a:pathLst>
                <a:path w="464" h="272">
                  <a:moveTo>
                    <a:pt x="464" y="0"/>
                  </a:moveTo>
                  <a:lnTo>
                    <a:pt x="432" y="72"/>
                  </a:lnTo>
                  <a:lnTo>
                    <a:pt x="376" y="120"/>
                  </a:lnTo>
                  <a:lnTo>
                    <a:pt x="296" y="176"/>
                  </a:lnTo>
                  <a:lnTo>
                    <a:pt x="208" y="232"/>
                  </a:lnTo>
                  <a:lnTo>
                    <a:pt x="120" y="272"/>
                  </a:lnTo>
                  <a:lnTo>
                    <a:pt x="0" y="256"/>
                  </a:lnTo>
                  <a:lnTo>
                    <a:pt x="0" y="208"/>
                  </a:lnTo>
                  <a:lnTo>
                    <a:pt x="72" y="208"/>
                  </a:lnTo>
                  <a:lnTo>
                    <a:pt x="168" y="153"/>
                  </a:lnTo>
                  <a:lnTo>
                    <a:pt x="263" y="134"/>
                  </a:lnTo>
                  <a:lnTo>
                    <a:pt x="272" y="88"/>
                  </a:lnTo>
                  <a:lnTo>
                    <a:pt x="336" y="69"/>
                  </a:lnTo>
                  <a:lnTo>
                    <a:pt x="361" y="1"/>
                  </a:lnTo>
                  <a:lnTo>
                    <a:pt x="464" y="0"/>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8" name="Freeform 195">
              <a:extLst>
                <a:ext uri="{FF2B5EF4-FFF2-40B4-BE49-F238E27FC236}">
                  <a16:creationId xmlns:a16="http://schemas.microsoft.com/office/drawing/2014/main" id="{501E9672-25BD-5316-1859-CFD0F64C0686}"/>
                </a:ext>
              </a:extLst>
            </p:cNvPr>
            <p:cNvSpPr>
              <a:spLocks/>
            </p:cNvSpPr>
            <p:nvPr/>
          </p:nvSpPr>
          <p:spPr bwMode="auto">
            <a:xfrm rot="634052">
              <a:off x="2812966" y="1773238"/>
              <a:ext cx="19050" cy="41275"/>
            </a:xfrm>
            <a:custGeom>
              <a:avLst/>
              <a:gdLst/>
              <a:ahLst/>
              <a:cxnLst>
                <a:cxn ang="0">
                  <a:pos x="110" y="0"/>
                </a:cxn>
                <a:cxn ang="0">
                  <a:pos x="166" y="59"/>
                </a:cxn>
                <a:cxn ang="0">
                  <a:pos x="146" y="112"/>
                </a:cxn>
                <a:cxn ang="0">
                  <a:pos x="135" y="157"/>
                </a:cxn>
                <a:cxn ang="0">
                  <a:pos x="90" y="264"/>
                </a:cxn>
                <a:cxn ang="0">
                  <a:pos x="66" y="352"/>
                </a:cxn>
                <a:cxn ang="0">
                  <a:pos x="5" y="372"/>
                </a:cxn>
                <a:cxn ang="0">
                  <a:pos x="0" y="267"/>
                </a:cxn>
                <a:cxn ang="0">
                  <a:pos x="42" y="204"/>
                </a:cxn>
                <a:cxn ang="0">
                  <a:pos x="66" y="116"/>
                </a:cxn>
                <a:cxn ang="0">
                  <a:pos x="62" y="29"/>
                </a:cxn>
                <a:cxn ang="0">
                  <a:pos x="110" y="0"/>
                </a:cxn>
              </a:cxnLst>
              <a:rect l="0" t="0" r="r" b="b"/>
              <a:pathLst>
                <a:path w="166" h="372">
                  <a:moveTo>
                    <a:pt x="110" y="0"/>
                  </a:moveTo>
                  <a:lnTo>
                    <a:pt x="166" y="59"/>
                  </a:lnTo>
                  <a:lnTo>
                    <a:pt x="146" y="112"/>
                  </a:lnTo>
                  <a:lnTo>
                    <a:pt x="135" y="157"/>
                  </a:lnTo>
                  <a:lnTo>
                    <a:pt x="90" y="264"/>
                  </a:lnTo>
                  <a:lnTo>
                    <a:pt x="66" y="352"/>
                  </a:lnTo>
                  <a:lnTo>
                    <a:pt x="5" y="372"/>
                  </a:lnTo>
                  <a:lnTo>
                    <a:pt x="0" y="267"/>
                  </a:lnTo>
                  <a:lnTo>
                    <a:pt x="42" y="204"/>
                  </a:lnTo>
                  <a:lnTo>
                    <a:pt x="66" y="116"/>
                  </a:lnTo>
                  <a:lnTo>
                    <a:pt x="62" y="29"/>
                  </a:lnTo>
                  <a:lnTo>
                    <a:pt x="110" y="0"/>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99" name="Freeform 196">
              <a:extLst>
                <a:ext uri="{FF2B5EF4-FFF2-40B4-BE49-F238E27FC236}">
                  <a16:creationId xmlns:a16="http://schemas.microsoft.com/office/drawing/2014/main" id="{C819718A-2407-642D-FDCE-4001806BC985}"/>
                </a:ext>
              </a:extLst>
            </p:cNvPr>
            <p:cNvSpPr>
              <a:spLocks/>
            </p:cNvSpPr>
            <p:nvPr/>
          </p:nvSpPr>
          <p:spPr bwMode="auto">
            <a:xfrm rot="634052">
              <a:off x="2706605" y="1722438"/>
              <a:ext cx="26987" cy="25400"/>
            </a:xfrm>
            <a:custGeom>
              <a:avLst/>
              <a:gdLst/>
              <a:ahLst/>
              <a:cxnLst>
                <a:cxn ang="0">
                  <a:pos x="123" y="168"/>
                </a:cxn>
                <a:cxn ang="0">
                  <a:pos x="31" y="100"/>
                </a:cxn>
                <a:cxn ang="0">
                  <a:pos x="0" y="4"/>
                </a:cxn>
                <a:cxn ang="0">
                  <a:pos x="100" y="0"/>
                </a:cxn>
                <a:cxn ang="0">
                  <a:pos x="185" y="58"/>
                </a:cxn>
                <a:cxn ang="0">
                  <a:pos x="228" y="131"/>
                </a:cxn>
                <a:cxn ang="0">
                  <a:pos x="233" y="223"/>
                </a:cxn>
                <a:cxn ang="0">
                  <a:pos x="123" y="168"/>
                </a:cxn>
              </a:cxnLst>
              <a:rect l="0" t="0" r="r" b="b"/>
              <a:pathLst>
                <a:path w="233" h="223">
                  <a:moveTo>
                    <a:pt x="123" y="168"/>
                  </a:moveTo>
                  <a:lnTo>
                    <a:pt x="31" y="100"/>
                  </a:lnTo>
                  <a:lnTo>
                    <a:pt x="0" y="4"/>
                  </a:lnTo>
                  <a:lnTo>
                    <a:pt x="100" y="0"/>
                  </a:lnTo>
                  <a:lnTo>
                    <a:pt x="185" y="58"/>
                  </a:lnTo>
                  <a:lnTo>
                    <a:pt x="228" y="131"/>
                  </a:lnTo>
                  <a:lnTo>
                    <a:pt x="233" y="223"/>
                  </a:lnTo>
                  <a:lnTo>
                    <a:pt x="123" y="168"/>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0" name="Freeform 197">
              <a:extLst>
                <a:ext uri="{FF2B5EF4-FFF2-40B4-BE49-F238E27FC236}">
                  <a16:creationId xmlns:a16="http://schemas.microsoft.com/office/drawing/2014/main" id="{FAFBF00E-F0FA-599B-C073-028B0C02EDB5}"/>
                </a:ext>
              </a:extLst>
            </p:cNvPr>
            <p:cNvSpPr>
              <a:spLocks/>
            </p:cNvSpPr>
            <p:nvPr/>
          </p:nvSpPr>
          <p:spPr bwMode="auto">
            <a:xfrm rot="634052">
              <a:off x="2859004" y="1778001"/>
              <a:ext cx="30162" cy="19050"/>
            </a:xfrm>
            <a:custGeom>
              <a:avLst/>
              <a:gdLst/>
              <a:ahLst/>
              <a:cxnLst>
                <a:cxn ang="0">
                  <a:pos x="161" y="140"/>
                </a:cxn>
                <a:cxn ang="0">
                  <a:pos x="48" y="121"/>
                </a:cxn>
                <a:cxn ang="0">
                  <a:pos x="0" y="51"/>
                </a:cxn>
                <a:cxn ang="0">
                  <a:pos x="65" y="0"/>
                </a:cxn>
                <a:cxn ang="0">
                  <a:pos x="167" y="14"/>
                </a:cxn>
                <a:cxn ang="0">
                  <a:pos x="238" y="59"/>
                </a:cxn>
                <a:cxn ang="0">
                  <a:pos x="272" y="163"/>
                </a:cxn>
                <a:cxn ang="0">
                  <a:pos x="161" y="140"/>
                </a:cxn>
              </a:cxnLst>
              <a:rect l="0" t="0" r="r" b="b"/>
              <a:pathLst>
                <a:path w="272" h="163">
                  <a:moveTo>
                    <a:pt x="161" y="140"/>
                  </a:moveTo>
                  <a:lnTo>
                    <a:pt x="48" y="121"/>
                  </a:lnTo>
                  <a:lnTo>
                    <a:pt x="0" y="51"/>
                  </a:lnTo>
                  <a:lnTo>
                    <a:pt x="65" y="0"/>
                  </a:lnTo>
                  <a:lnTo>
                    <a:pt x="167" y="14"/>
                  </a:lnTo>
                  <a:lnTo>
                    <a:pt x="238" y="59"/>
                  </a:lnTo>
                  <a:lnTo>
                    <a:pt x="272" y="163"/>
                  </a:lnTo>
                  <a:lnTo>
                    <a:pt x="161" y="140"/>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1" name="Freeform 198">
              <a:extLst>
                <a:ext uri="{FF2B5EF4-FFF2-40B4-BE49-F238E27FC236}">
                  <a16:creationId xmlns:a16="http://schemas.microsoft.com/office/drawing/2014/main" id="{73CC8236-F4A2-0918-67D2-E1900C69788D}"/>
                </a:ext>
              </a:extLst>
            </p:cNvPr>
            <p:cNvSpPr>
              <a:spLocks/>
            </p:cNvSpPr>
            <p:nvPr/>
          </p:nvSpPr>
          <p:spPr bwMode="auto">
            <a:xfrm>
              <a:off x="2732005" y="4129087"/>
              <a:ext cx="463545" cy="2082800"/>
            </a:xfrm>
            <a:custGeom>
              <a:avLst/>
              <a:gdLst/>
              <a:ahLst/>
              <a:cxnLst>
                <a:cxn ang="0">
                  <a:pos x="1160" y="1600"/>
                </a:cxn>
                <a:cxn ang="0">
                  <a:pos x="1056" y="1792"/>
                </a:cxn>
                <a:cxn ang="0">
                  <a:pos x="912" y="2096"/>
                </a:cxn>
                <a:cxn ang="0">
                  <a:pos x="848" y="2384"/>
                </a:cxn>
                <a:cxn ang="0">
                  <a:pos x="880" y="2760"/>
                </a:cxn>
                <a:cxn ang="0">
                  <a:pos x="808" y="3064"/>
                </a:cxn>
                <a:cxn ang="0">
                  <a:pos x="672" y="3360"/>
                </a:cxn>
                <a:cxn ang="0">
                  <a:pos x="624" y="3784"/>
                </a:cxn>
                <a:cxn ang="0">
                  <a:pos x="544" y="4152"/>
                </a:cxn>
                <a:cxn ang="0">
                  <a:pos x="488" y="4456"/>
                </a:cxn>
                <a:cxn ang="0">
                  <a:pos x="503" y="4694"/>
                </a:cxn>
                <a:cxn ang="0">
                  <a:pos x="608" y="4872"/>
                </a:cxn>
                <a:cxn ang="0">
                  <a:pos x="528" y="5096"/>
                </a:cxn>
                <a:cxn ang="0">
                  <a:pos x="344" y="5472"/>
                </a:cxn>
                <a:cxn ang="0">
                  <a:pos x="304" y="5752"/>
                </a:cxn>
                <a:cxn ang="0">
                  <a:pos x="432" y="5912"/>
                </a:cxn>
                <a:cxn ang="0">
                  <a:pos x="872" y="6024"/>
                </a:cxn>
                <a:cxn ang="0">
                  <a:pos x="680" y="6488"/>
                </a:cxn>
                <a:cxn ang="0">
                  <a:pos x="296" y="6272"/>
                </a:cxn>
                <a:cxn ang="0">
                  <a:pos x="80" y="5848"/>
                </a:cxn>
                <a:cxn ang="0">
                  <a:pos x="32" y="5504"/>
                </a:cxn>
                <a:cxn ang="0">
                  <a:pos x="224" y="5136"/>
                </a:cxn>
                <a:cxn ang="0">
                  <a:pos x="88" y="4992"/>
                </a:cxn>
                <a:cxn ang="0">
                  <a:pos x="224" y="4936"/>
                </a:cxn>
                <a:cxn ang="0">
                  <a:pos x="328" y="4688"/>
                </a:cxn>
                <a:cxn ang="0">
                  <a:pos x="408" y="4368"/>
                </a:cxn>
                <a:cxn ang="0">
                  <a:pos x="296" y="4376"/>
                </a:cxn>
                <a:cxn ang="0">
                  <a:pos x="184" y="4376"/>
                </a:cxn>
                <a:cxn ang="0">
                  <a:pos x="280" y="3936"/>
                </a:cxn>
                <a:cxn ang="0">
                  <a:pos x="288" y="3480"/>
                </a:cxn>
                <a:cxn ang="0">
                  <a:pos x="448" y="3232"/>
                </a:cxn>
                <a:cxn ang="0">
                  <a:pos x="616" y="2808"/>
                </a:cxn>
                <a:cxn ang="0">
                  <a:pos x="632" y="2304"/>
                </a:cxn>
                <a:cxn ang="0">
                  <a:pos x="704" y="2008"/>
                </a:cxn>
                <a:cxn ang="0">
                  <a:pos x="832" y="1592"/>
                </a:cxn>
                <a:cxn ang="0">
                  <a:pos x="848" y="1264"/>
                </a:cxn>
                <a:cxn ang="0">
                  <a:pos x="920" y="872"/>
                </a:cxn>
                <a:cxn ang="0">
                  <a:pos x="920" y="376"/>
                </a:cxn>
                <a:cxn ang="0">
                  <a:pos x="1016" y="80"/>
                </a:cxn>
                <a:cxn ang="0">
                  <a:pos x="1128" y="112"/>
                </a:cxn>
                <a:cxn ang="0">
                  <a:pos x="1224" y="328"/>
                </a:cxn>
                <a:cxn ang="0">
                  <a:pos x="1208" y="568"/>
                </a:cxn>
                <a:cxn ang="0">
                  <a:pos x="1320" y="872"/>
                </a:cxn>
                <a:cxn ang="0">
                  <a:pos x="1424" y="1048"/>
                </a:cxn>
                <a:cxn ang="0">
                  <a:pos x="1224" y="1240"/>
                </a:cxn>
              </a:cxnLst>
              <a:rect l="0" t="0" r="r" b="b"/>
              <a:pathLst>
                <a:path w="1456" h="6560">
                  <a:moveTo>
                    <a:pt x="1200" y="1392"/>
                  </a:moveTo>
                  <a:lnTo>
                    <a:pt x="1200" y="1512"/>
                  </a:lnTo>
                  <a:lnTo>
                    <a:pt x="1160" y="1600"/>
                  </a:lnTo>
                  <a:lnTo>
                    <a:pt x="1224" y="1664"/>
                  </a:lnTo>
                  <a:lnTo>
                    <a:pt x="1136" y="1720"/>
                  </a:lnTo>
                  <a:lnTo>
                    <a:pt x="1056" y="1792"/>
                  </a:lnTo>
                  <a:lnTo>
                    <a:pt x="1008" y="1920"/>
                  </a:lnTo>
                  <a:lnTo>
                    <a:pt x="960" y="2000"/>
                  </a:lnTo>
                  <a:lnTo>
                    <a:pt x="912" y="2096"/>
                  </a:lnTo>
                  <a:lnTo>
                    <a:pt x="928" y="2200"/>
                  </a:lnTo>
                  <a:lnTo>
                    <a:pt x="904" y="2280"/>
                  </a:lnTo>
                  <a:lnTo>
                    <a:pt x="848" y="2384"/>
                  </a:lnTo>
                  <a:lnTo>
                    <a:pt x="808" y="2488"/>
                  </a:lnTo>
                  <a:lnTo>
                    <a:pt x="848" y="2608"/>
                  </a:lnTo>
                  <a:lnTo>
                    <a:pt x="880" y="2760"/>
                  </a:lnTo>
                  <a:lnTo>
                    <a:pt x="912" y="2864"/>
                  </a:lnTo>
                  <a:lnTo>
                    <a:pt x="904" y="2952"/>
                  </a:lnTo>
                  <a:lnTo>
                    <a:pt x="808" y="3064"/>
                  </a:lnTo>
                  <a:lnTo>
                    <a:pt x="792" y="3144"/>
                  </a:lnTo>
                  <a:lnTo>
                    <a:pt x="808" y="3248"/>
                  </a:lnTo>
                  <a:lnTo>
                    <a:pt x="672" y="3360"/>
                  </a:lnTo>
                  <a:lnTo>
                    <a:pt x="672" y="3528"/>
                  </a:lnTo>
                  <a:lnTo>
                    <a:pt x="712" y="3736"/>
                  </a:lnTo>
                  <a:lnTo>
                    <a:pt x="624" y="3784"/>
                  </a:lnTo>
                  <a:lnTo>
                    <a:pt x="600" y="3896"/>
                  </a:lnTo>
                  <a:lnTo>
                    <a:pt x="560" y="4032"/>
                  </a:lnTo>
                  <a:lnTo>
                    <a:pt x="544" y="4152"/>
                  </a:lnTo>
                  <a:lnTo>
                    <a:pt x="560" y="4280"/>
                  </a:lnTo>
                  <a:lnTo>
                    <a:pt x="504" y="4336"/>
                  </a:lnTo>
                  <a:lnTo>
                    <a:pt x="488" y="4456"/>
                  </a:lnTo>
                  <a:lnTo>
                    <a:pt x="544" y="4520"/>
                  </a:lnTo>
                  <a:lnTo>
                    <a:pt x="552" y="4616"/>
                  </a:lnTo>
                  <a:lnTo>
                    <a:pt x="503" y="4694"/>
                  </a:lnTo>
                  <a:lnTo>
                    <a:pt x="632" y="4696"/>
                  </a:lnTo>
                  <a:lnTo>
                    <a:pt x="544" y="4792"/>
                  </a:lnTo>
                  <a:lnTo>
                    <a:pt x="608" y="4872"/>
                  </a:lnTo>
                  <a:lnTo>
                    <a:pt x="536" y="4912"/>
                  </a:lnTo>
                  <a:lnTo>
                    <a:pt x="528" y="5000"/>
                  </a:lnTo>
                  <a:lnTo>
                    <a:pt x="528" y="5096"/>
                  </a:lnTo>
                  <a:lnTo>
                    <a:pt x="424" y="5272"/>
                  </a:lnTo>
                  <a:lnTo>
                    <a:pt x="424" y="5392"/>
                  </a:lnTo>
                  <a:lnTo>
                    <a:pt x="344" y="5472"/>
                  </a:lnTo>
                  <a:lnTo>
                    <a:pt x="248" y="5568"/>
                  </a:lnTo>
                  <a:lnTo>
                    <a:pt x="280" y="5664"/>
                  </a:lnTo>
                  <a:lnTo>
                    <a:pt x="304" y="5752"/>
                  </a:lnTo>
                  <a:lnTo>
                    <a:pt x="408" y="5752"/>
                  </a:lnTo>
                  <a:lnTo>
                    <a:pt x="424" y="5840"/>
                  </a:lnTo>
                  <a:lnTo>
                    <a:pt x="432" y="5912"/>
                  </a:lnTo>
                  <a:lnTo>
                    <a:pt x="520" y="5968"/>
                  </a:lnTo>
                  <a:lnTo>
                    <a:pt x="664" y="5952"/>
                  </a:lnTo>
                  <a:lnTo>
                    <a:pt x="872" y="6024"/>
                  </a:lnTo>
                  <a:lnTo>
                    <a:pt x="848" y="6256"/>
                  </a:lnTo>
                  <a:lnTo>
                    <a:pt x="816" y="6560"/>
                  </a:lnTo>
                  <a:lnTo>
                    <a:pt x="680" y="6488"/>
                  </a:lnTo>
                  <a:lnTo>
                    <a:pt x="544" y="6400"/>
                  </a:lnTo>
                  <a:lnTo>
                    <a:pt x="472" y="6320"/>
                  </a:lnTo>
                  <a:lnTo>
                    <a:pt x="296" y="6272"/>
                  </a:lnTo>
                  <a:lnTo>
                    <a:pt x="224" y="6128"/>
                  </a:lnTo>
                  <a:lnTo>
                    <a:pt x="120" y="5968"/>
                  </a:lnTo>
                  <a:lnTo>
                    <a:pt x="80" y="5848"/>
                  </a:lnTo>
                  <a:lnTo>
                    <a:pt x="80" y="5752"/>
                  </a:lnTo>
                  <a:lnTo>
                    <a:pt x="32" y="5656"/>
                  </a:lnTo>
                  <a:lnTo>
                    <a:pt x="32" y="5504"/>
                  </a:lnTo>
                  <a:lnTo>
                    <a:pt x="56" y="5336"/>
                  </a:lnTo>
                  <a:lnTo>
                    <a:pt x="136" y="5248"/>
                  </a:lnTo>
                  <a:lnTo>
                    <a:pt x="224" y="5136"/>
                  </a:lnTo>
                  <a:lnTo>
                    <a:pt x="120" y="5120"/>
                  </a:lnTo>
                  <a:lnTo>
                    <a:pt x="0" y="5136"/>
                  </a:lnTo>
                  <a:lnTo>
                    <a:pt x="88" y="4992"/>
                  </a:lnTo>
                  <a:lnTo>
                    <a:pt x="112" y="4872"/>
                  </a:lnTo>
                  <a:lnTo>
                    <a:pt x="232" y="4848"/>
                  </a:lnTo>
                  <a:lnTo>
                    <a:pt x="224" y="4936"/>
                  </a:lnTo>
                  <a:lnTo>
                    <a:pt x="272" y="5008"/>
                  </a:lnTo>
                  <a:lnTo>
                    <a:pt x="296" y="4864"/>
                  </a:lnTo>
                  <a:lnTo>
                    <a:pt x="328" y="4688"/>
                  </a:lnTo>
                  <a:lnTo>
                    <a:pt x="368" y="4568"/>
                  </a:lnTo>
                  <a:lnTo>
                    <a:pt x="384" y="4472"/>
                  </a:lnTo>
                  <a:lnTo>
                    <a:pt x="408" y="4368"/>
                  </a:lnTo>
                  <a:lnTo>
                    <a:pt x="424" y="4272"/>
                  </a:lnTo>
                  <a:lnTo>
                    <a:pt x="328" y="4288"/>
                  </a:lnTo>
                  <a:lnTo>
                    <a:pt x="296" y="4376"/>
                  </a:lnTo>
                  <a:lnTo>
                    <a:pt x="320" y="4472"/>
                  </a:lnTo>
                  <a:lnTo>
                    <a:pt x="192" y="4528"/>
                  </a:lnTo>
                  <a:lnTo>
                    <a:pt x="184" y="4376"/>
                  </a:lnTo>
                  <a:lnTo>
                    <a:pt x="264" y="4232"/>
                  </a:lnTo>
                  <a:lnTo>
                    <a:pt x="240" y="4088"/>
                  </a:lnTo>
                  <a:lnTo>
                    <a:pt x="280" y="3936"/>
                  </a:lnTo>
                  <a:lnTo>
                    <a:pt x="336" y="3816"/>
                  </a:lnTo>
                  <a:lnTo>
                    <a:pt x="312" y="3624"/>
                  </a:lnTo>
                  <a:lnTo>
                    <a:pt x="288" y="3480"/>
                  </a:lnTo>
                  <a:lnTo>
                    <a:pt x="368" y="3464"/>
                  </a:lnTo>
                  <a:lnTo>
                    <a:pt x="400" y="3360"/>
                  </a:lnTo>
                  <a:lnTo>
                    <a:pt x="448" y="3232"/>
                  </a:lnTo>
                  <a:lnTo>
                    <a:pt x="528" y="3112"/>
                  </a:lnTo>
                  <a:lnTo>
                    <a:pt x="600" y="2944"/>
                  </a:lnTo>
                  <a:lnTo>
                    <a:pt x="616" y="2808"/>
                  </a:lnTo>
                  <a:lnTo>
                    <a:pt x="640" y="2648"/>
                  </a:lnTo>
                  <a:lnTo>
                    <a:pt x="632" y="2496"/>
                  </a:lnTo>
                  <a:lnTo>
                    <a:pt x="632" y="2304"/>
                  </a:lnTo>
                  <a:lnTo>
                    <a:pt x="688" y="2192"/>
                  </a:lnTo>
                  <a:lnTo>
                    <a:pt x="672" y="2120"/>
                  </a:lnTo>
                  <a:lnTo>
                    <a:pt x="704" y="2008"/>
                  </a:lnTo>
                  <a:lnTo>
                    <a:pt x="728" y="1856"/>
                  </a:lnTo>
                  <a:lnTo>
                    <a:pt x="784" y="1712"/>
                  </a:lnTo>
                  <a:lnTo>
                    <a:pt x="832" y="1592"/>
                  </a:lnTo>
                  <a:lnTo>
                    <a:pt x="824" y="1472"/>
                  </a:lnTo>
                  <a:lnTo>
                    <a:pt x="856" y="1376"/>
                  </a:lnTo>
                  <a:lnTo>
                    <a:pt x="848" y="1264"/>
                  </a:lnTo>
                  <a:lnTo>
                    <a:pt x="856" y="1120"/>
                  </a:lnTo>
                  <a:lnTo>
                    <a:pt x="880" y="984"/>
                  </a:lnTo>
                  <a:lnTo>
                    <a:pt x="920" y="872"/>
                  </a:lnTo>
                  <a:lnTo>
                    <a:pt x="952" y="720"/>
                  </a:lnTo>
                  <a:lnTo>
                    <a:pt x="928" y="544"/>
                  </a:lnTo>
                  <a:lnTo>
                    <a:pt x="920" y="376"/>
                  </a:lnTo>
                  <a:lnTo>
                    <a:pt x="928" y="256"/>
                  </a:lnTo>
                  <a:lnTo>
                    <a:pt x="904" y="128"/>
                  </a:lnTo>
                  <a:lnTo>
                    <a:pt x="1016" y="80"/>
                  </a:lnTo>
                  <a:lnTo>
                    <a:pt x="1000" y="0"/>
                  </a:lnTo>
                  <a:lnTo>
                    <a:pt x="1072" y="16"/>
                  </a:lnTo>
                  <a:lnTo>
                    <a:pt x="1128" y="112"/>
                  </a:lnTo>
                  <a:lnTo>
                    <a:pt x="1136" y="168"/>
                  </a:lnTo>
                  <a:lnTo>
                    <a:pt x="1184" y="272"/>
                  </a:lnTo>
                  <a:lnTo>
                    <a:pt x="1224" y="328"/>
                  </a:lnTo>
                  <a:lnTo>
                    <a:pt x="1184" y="408"/>
                  </a:lnTo>
                  <a:lnTo>
                    <a:pt x="1168" y="472"/>
                  </a:lnTo>
                  <a:lnTo>
                    <a:pt x="1208" y="568"/>
                  </a:lnTo>
                  <a:lnTo>
                    <a:pt x="1264" y="640"/>
                  </a:lnTo>
                  <a:lnTo>
                    <a:pt x="1296" y="784"/>
                  </a:lnTo>
                  <a:lnTo>
                    <a:pt x="1320" y="872"/>
                  </a:lnTo>
                  <a:lnTo>
                    <a:pt x="1360" y="960"/>
                  </a:lnTo>
                  <a:lnTo>
                    <a:pt x="1456" y="936"/>
                  </a:lnTo>
                  <a:lnTo>
                    <a:pt x="1424" y="1048"/>
                  </a:lnTo>
                  <a:lnTo>
                    <a:pt x="1416" y="1160"/>
                  </a:lnTo>
                  <a:lnTo>
                    <a:pt x="1296" y="1192"/>
                  </a:lnTo>
                  <a:lnTo>
                    <a:pt x="1224" y="1240"/>
                  </a:lnTo>
                  <a:lnTo>
                    <a:pt x="1192" y="1312"/>
                  </a:lnTo>
                  <a:lnTo>
                    <a:pt x="1200" y="1392"/>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2" name="Freeform 199">
              <a:extLst>
                <a:ext uri="{FF2B5EF4-FFF2-40B4-BE49-F238E27FC236}">
                  <a16:creationId xmlns:a16="http://schemas.microsoft.com/office/drawing/2014/main" id="{441E28F4-EA89-3C68-8428-ACC99E02555F}"/>
                </a:ext>
              </a:extLst>
            </p:cNvPr>
            <p:cNvSpPr>
              <a:spLocks/>
            </p:cNvSpPr>
            <p:nvPr/>
          </p:nvSpPr>
          <p:spPr bwMode="auto">
            <a:xfrm>
              <a:off x="3066963" y="3678238"/>
              <a:ext cx="668331" cy="755650"/>
            </a:xfrm>
            <a:custGeom>
              <a:avLst/>
              <a:gdLst/>
              <a:ahLst/>
              <a:cxnLst>
                <a:cxn ang="0">
                  <a:pos x="7" y="191"/>
                </a:cxn>
                <a:cxn ang="0">
                  <a:pos x="120" y="572"/>
                </a:cxn>
                <a:cxn ang="0">
                  <a:pos x="139" y="809"/>
                </a:cxn>
                <a:cxn ang="0">
                  <a:pos x="37" y="936"/>
                </a:cxn>
                <a:cxn ang="0">
                  <a:pos x="46" y="1070"/>
                </a:cxn>
                <a:cxn ang="0">
                  <a:pos x="123" y="1175"/>
                </a:cxn>
                <a:cxn ang="0">
                  <a:pos x="0" y="1341"/>
                </a:cxn>
                <a:cxn ang="0">
                  <a:pos x="76" y="1530"/>
                </a:cxn>
                <a:cxn ang="0">
                  <a:pos x="133" y="1692"/>
                </a:cxn>
                <a:cxn ang="0">
                  <a:pos x="133" y="1829"/>
                </a:cxn>
                <a:cxn ang="0">
                  <a:pos x="156" y="1988"/>
                </a:cxn>
                <a:cxn ang="0">
                  <a:pos x="238" y="2174"/>
                </a:cxn>
                <a:cxn ang="0">
                  <a:pos x="310" y="2381"/>
                </a:cxn>
                <a:cxn ang="0">
                  <a:pos x="465" y="2256"/>
                </a:cxn>
                <a:cxn ang="0">
                  <a:pos x="574" y="2183"/>
                </a:cxn>
                <a:cxn ang="0">
                  <a:pos x="750" y="2238"/>
                </a:cxn>
                <a:cxn ang="0">
                  <a:pos x="876" y="2370"/>
                </a:cxn>
                <a:cxn ang="0">
                  <a:pos x="1060" y="2231"/>
                </a:cxn>
                <a:cxn ang="0">
                  <a:pos x="1221" y="2101"/>
                </a:cxn>
                <a:cxn ang="0">
                  <a:pos x="1314" y="1878"/>
                </a:cxn>
                <a:cxn ang="0">
                  <a:pos x="1486" y="1772"/>
                </a:cxn>
                <a:cxn ang="0">
                  <a:pos x="1797" y="1781"/>
                </a:cxn>
                <a:cxn ang="0">
                  <a:pos x="2015" y="1828"/>
                </a:cxn>
                <a:cxn ang="0">
                  <a:pos x="2109" y="1578"/>
                </a:cxn>
                <a:cxn ang="0">
                  <a:pos x="1951" y="1331"/>
                </a:cxn>
                <a:cxn ang="0">
                  <a:pos x="1699" y="1176"/>
                </a:cxn>
                <a:cxn ang="0">
                  <a:pos x="1651" y="822"/>
                </a:cxn>
                <a:cxn ang="0">
                  <a:pos x="1405" y="677"/>
                </a:cxn>
                <a:cxn ang="0">
                  <a:pos x="1150" y="519"/>
                </a:cxn>
                <a:cxn ang="0">
                  <a:pos x="889" y="414"/>
                </a:cxn>
                <a:cxn ang="0">
                  <a:pos x="774" y="149"/>
                </a:cxn>
                <a:cxn ang="0">
                  <a:pos x="684" y="6"/>
                </a:cxn>
                <a:cxn ang="0">
                  <a:pos x="525" y="36"/>
                </a:cxn>
                <a:cxn ang="0">
                  <a:pos x="295" y="158"/>
                </a:cxn>
              </a:cxnLst>
              <a:rect l="0" t="0" r="r" b="b"/>
              <a:pathLst>
                <a:path w="2109" h="2381">
                  <a:moveTo>
                    <a:pt x="172" y="219"/>
                  </a:moveTo>
                  <a:lnTo>
                    <a:pt x="7" y="191"/>
                  </a:lnTo>
                  <a:lnTo>
                    <a:pt x="183" y="476"/>
                  </a:lnTo>
                  <a:lnTo>
                    <a:pt x="120" y="572"/>
                  </a:lnTo>
                  <a:lnTo>
                    <a:pt x="117" y="692"/>
                  </a:lnTo>
                  <a:lnTo>
                    <a:pt x="139" y="809"/>
                  </a:lnTo>
                  <a:lnTo>
                    <a:pt x="75" y="863"/>
                  </a:lnTo>
                  <a:lnTo>
                    <a:pt x="37" y="936"/>
                  </a:lnTo>
                  <a:lnTo>
                    <a:pt x="70" y="993"/>
                  </a:lnTo>
                  <a:lnTo>
                    <a:pt x="46" y="1070"/>
                  </a:lnTo>
                  <a:lnTo>
                    <a:pt x="55" y="1133"/>
                  </a:lnTo>
                  <a:lnTo>
                    <a:pt x="123" y="1175"/>
                  </a:lnTo>
                  <a:lnTo>
                    <a:pt x="51" y="1277"/>
                  </a:lnTo>
                  <a:lnTo>
                    <a:pt x="0" y="1341"/>
                  </a:lnTo>
                  <a:lnTo>
                    <a:pt x="24" y="1442"/>
                  </a:lnTo>
                  <a:lnTo>
                    <a:pt x="76" y="1530"/>
                  </a:lnTo>
                  <a:lnTo>
                    <a:pt x="85" y="1587"/>
                  </a:lnTo>
                  <a:lnTo>
                    <a:pt x="133" y="1692"/>
                  </a:lnTo>
                  <a:lnTo>
                    <a:pt x="174" y="1749"/>
                  </a:lnTo>
                  <a:lnTo>
                    <a:pt x="133" y="1829"/>
                  </a:lnTo>
                  <a:lnTo>
                    <a:pt x="117" y="1896"/>
                  </a:lnTo>
                  <a:lnTo>
                    <a:pt x="156" y="1988"/>
                  </a:lnTo>
                  <a:lnTo>
                    <a:pt x="216" y="2064"/>
                  </a:lnTo>
                  <a:lnTo>
                    <a:pt x="238" y="2174"/>
                  </a:lnTo>
                  <a:lnTo>
                    <a:pt x="268" y="2291"/>
                  </a:lnTo>
                  <a:lnTo>
                    <a:pt x="310" y="2381"/>
                  </a:lnTo>
                  <a:lnTo>
                    <a:pt x="406" y="2358"/>
                  </a:lnTo>
                  <a:lnTo>
                    <a:pt x="465" y="2256"/>
                  </a:lnTo>
                  <a:lnTo>
                    <a:pt x="529" y="2240"/>
                  </a:lnTo>
                  <a:lnTo>
                    <a:pt x="574" y="2183"/>
                  </a:lnTo>
                  <a:lnTo>
                    <a:pt x="634" y="2244"/>
                  </a:lnTo>
                  <a:lnTo>
                    <a:pt x="750" y="2238"/>
                  </a:lnTo>
                  <a:lnTo>
                    <a:pt x="835" y="2282"/>
                  </a:lnTo>
                  <a:lnTo>
                    <a:pt x="876" y="2370"/>
                  </a:lnTo>
                  <a:lnTo>
                    <a:pt x="922" y="2246"/>
                  </a:lnTo>
                  <a:lnTo>
                    <a:pt x="1060" y="2231"/>
                  </a:lnTo>
                  <a:lnTo>
                    <a:pt x="1176" y="2261"/>
                  </a:lnTo>
                  <a:lnTo>
                    <a:pt x="1221" y="2101"/>
                  </a:lnTo>
                  <a:lnTo>
                    <a:pt x="1239" y="1982"/>
                  </a:lnTo>
                  <a:lnTo>
                    <a:pt x="1314" y="1878"/>
                  </a:lnTo>
                  <a:lnTo>
                    <a:pt x="1373" y="1743"/>
                  </a:lnTo>
                  <a:lnTo>
                    <a:pt x="1486" y="1772"/>
                  </a:lnTo>
                  <a:lnTo>
                    <a:pt x="1642" y="1772"/>
                  </a:lnTo>
                  <a:lnTo>
                    <a:pt x="1797" y="1781"/>
                  </a:lnTo>
                  <a:lnTo>
                    <a:pt x="1898" y="1808"/>
                  </a:lnTo>
                  <a:lnTo>
                    <a:pt x="2015" y="1828"/>
                  </a:lnTo>
                  <a:lnTo>
                    <a:pt x="2095" y="1684"/>
                  </a:lnTo>
                  <a:lnTo>
                    <a:pt x="2109" y="1578"/>
                  </a:lnTo>
                  <a:lnTo>
                    <a:pt x="2038" y="1425"/>
                  </a:lnTo>
                  <a:lnTo>
                    <a:pt x="1951" y="1331"/>
                  </a:lnTo>
                  <a:lnTo>
                    <a:pt x="1986" y="1215"/>
                  </a:lnTo>
                  <a:lnTo>
                    <a:pt x="1699" y="1176"/>
                  </a:lnTo>
                  <a:lnTo>
                    <a:pt x="1623" y="989"/>
                  </a:lnTo>
                  <a:lnTo>
                    <a:pt x="1651" y="822"/>
                  </a:lnTo>
                  <a:lnTo>
                    <a:pt x="1569" y="702"/>
                  </a:lnTo>
                  <a:lnTo>
                    <a:pt x="1405" y="677"/>
                  </a:lnTo>
                  <a:lnTo>
                    <a:pt x="1308" y="605"/>
                  </a:lnTo>
                  <a:lnTo>
                    <a:pt x="1150" y="519"/>
                  </a:lnTo>
                  <a:lnTo>
                    <a:pt x="1015" y="503"/>
                  </a:lnTo>
                  <a:lnTo>
                    <a:pt x="889" y="414"/>
                  </a:lnTo>
                  <a:lnTo>
                    <a:pt x="781" y="299"/>
                  </a:lnTo>
                  <a:lnTo>
                    <a:pt x="774" y="149"/>
                  </a:lnTo>
                  <a:lnTo>
                    <a:pt x="772" y="0"/>
                  </a:lnTo>
                  <a:lnTo>
                    <a:pt x="684" y="6"/>
                  </a:lnTo>
                  <a:lnTo>
                    <a:pt x="618" y="18"/>
                  </a:lnTo>
                  <a:lnTo>
                    <a:pt x="525" y="36"/>
                  </a:lnTo>
                  <a:lnTo>
                    <a:pt x="412" y="99"/>
                  </a:lnTo>
                  <a:lnTo>
                    <a:pt x="295" y="158"/>
                  </a:lnTo>
                  <a:lnTo>
                    <a:pt x="172" y="219"/>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3" name="Freeform 200">
              <a:extLst>
                <a:ext uri="{FF2B5EF4-FFF2-40B4-BE49-F238E27FC236}">
                  <a16:creationId xmlns:a16="http://schemas.microsoft.com/office/drawing/2014/main" id="{5AC0C550-3784-1724-A935-DD325270FA71}"/>
                </a:ext>
              </a:extLst>
            </p:cNvPr>
            <p:cNvSpPr>
              <a:spLocks/>
            </p:cNvSpPr>
            <p:nvPr/>
          </p:nvSpPr>
          <p:spPr bwMode="auto">
            <a:xfrm>
              <a:off x="3587658" y="4857750"/>
              <a:ext cx="261935" cy="280987"/>
            </a:xfrm>
            <a:custGeom>
              <a:avLst/>
              <a:gdLst/>
              <a:ahLst/>
              <a:cxnLst>
                <a:cxn ang="0">
                  <a:pos x="761" y="801"/>
                </a:cxn>
                <a:cxn ang="0">
                  <a:pos x="654" y="863"/>
                </a:cxn>
                <a:cxn ang="0">
                  <a:pos x="576" y="882"/>
                </a:cxn>
                <a:cxn ang="0">
                  <a:pos x="488" y="853"/>
                </a:cxn>
                <a:cxn ang="0">
                  <a:pos x="424" y="877"/>
                </a:cxn>
                <a:cxn ang="0">
                  <a:pos x="331" y="887"/>
                </a:cxn>
                <a:cxn ang="0">
                  <a:pos x="267" y="820"/>
                </a:cxn>
                <a:cxn ang="0">
                  <a:pos x="204" y="801"/>
                </a:cxn>
                <a:cxn ang="0">
                  <a:pos x="140" y="820"/>
                </a:cxn>
                <a:cxn ang="0">
                  <a:pos x="75" y="780"/>
                </a:cxn>
                <a:cxn ang="0">
                  <a:pos x="6" y="681"/>
                </a:cxn>
                <a:cxn ang="0">
                  <a:pos x="0" y="612"/>
                </a:cxn>
                <a:cxn ang="0">
                  <a:pos x="45" y="524"/>
                </a:cxn>
                <a:cxn ang="0">
                  <a:pos x="59" y="426"/>
                </a:cxn>
                <a:cxn ang="0">
                  <a:pos x="99" y="282"/>
                </a:cxn>
                <a:cxn ang="0">
                  <a:pos x="147" y="171"/>
                </a:cxn>
                <a:cxn ang="0">
                  <a:pos x="168" y="56"/>
                </a:cxn>
                <a:cxn ang="0">
                  <a:pos x="240" y="35"/>
                </a:cxn>
                <a:cxn ang="0">
                  <a:pos x="333" y="0"/>
                </a:cxn>
                <a:cxn ang="0">
                  <a:pos x="444" y="117"/>
                </a:cxn>
                <a:cxn ang="0">
                  <a:pos x="447" y="180"/>
                </a:cxn>
                <a:cxn ang="0">
                  <a:pos x="531" y="134"/>
                </a:cxn>
                <a:cxn ang="0">
                  <a:pos x="605" y="248"/>
                </a:cxn>
                <a:cxn ang="0">
                  <a:pos x="731" y="347"/>
                </a:cxn>
                <a:cxn ang="0">
                  <a:pos x="827" y="440"/>
                </a:cxn>
                <a:cxn ang="0">
                  <a:pos x="804" y="585"/>
                </a:cxn>
                <a:cxn ang="0">
                  <a:pos x="791" y="669"/>
                </a:cxn>
                <a:cxn ang="0">
                  <a:pos x="801" y="709"/>
                </a:cxn>
                <a:cxn ang="0">
                  <a:pos x="761" y="801"/>
                </a:cxn>
              </a:cxnLst>
              <a:rect l="0" t="0" r="r" b="b"/>
              <a:pathLst>
                <a:path w="827" h="887">
                  <a:moveTo>
                    <a:pt x="761" y="801"/>
                  </a:moveTo>
                  <a:lnTo>
                    <a:pt x="654" y="863"/>
                  </a:lnTo>
                  <a:lnTo>
                    <a:pt x="576" y="882"/>
                  </a:lnTo>
                  <a:lnTo>
                    <a:pt x="488" y="853"/>
                  </a:lnTo>
                  <a:lnTo>
                    <a:pt x="424" y="877"/>
                  </a:lnTo>
                  <a:lnTo>
                    <a:pt x="331" y="887"/>
                  </a:lnTo>
                  <a:lnTo>
                    <a:pt x="267" y="820"/>
                  </a:lnTo>
                  <a:lnTo>
                    <a:pt x="204" y="801"/>
                  </a:lnTo>
                  <a:lnTo>
                    <a:pt x="140" y="820"/>
                  </a:lnTo>
                  <a:lnTo>
                    <a:pt x="75" y="780"/>
                  </a:lnTo>
                  <a:lnTo>
                    <a:pt x="6" y="681"/>
                  </a:lnTo>
                  <a:lnTo>
                    <a:pt x="0" y="612"/>
                  </a:lnTo>
                  <a:lnTo>
                    <a:pt x="45" y="524"/>
                  </a:lnTo>
                  <a:lnTo>
                    <a:pt x="59" y="426"/>
                  </a:lnTo>
                  <a:lnTo>
                    <a:pt x="99" y="282"/>
                  </a:lnTo>
                  <a:lnTo>
                    <a:pt x="147" y="171"/>
                  </a:lnTo>
                  <a:lnTo>
                    <a:pt x="168" y="56"/>
                  </a:lnTo>
                  <a:lnTo>
                    <a:pt x="240" y="35"/>
                  </a:lnTo>
                  <a:lnTo>
                    <a:pt x="333" y="0"/>
                  </a:lnTo>
                  <a:lnTo>
                    <a:pt x="444" y="117"/>
                  </a:lnTo>
                  <a:lnTo>
                    <a:pt x="447" y="180"/>
                  </a:lnTo>
                  <a:lnTo>
                    <a:pt x="531" y="134"/>
                  </a:lnTo>
                  <a:lnTo>
                    <a:pt x="605" y="248"/>
                  </a:lnTo>
                  <a:lnTo>
                    <a:pt x="731" y="347"/>
                  </a:lnTo>
                  <a:lnTo>
                    <a:pt x="827" y="440"/>
                  </a:lnTo>
                  <a:lnTo>
                    <a:pt x="804" y="585"/>
                  </a:lnTo>
                  <a:lnTo>
                    <a:pt x="791" y="669"/>
                  </a:lnTo>
                  <a:lnTo>
                    <a:pt x="801" y="709"/>
                  </a:lnTo>
                  <a:lnTo>
                    <a:pt x="761" y="801"/>
                  </a:lnTo>
                  <a:close/>
                </a:path>
              </a:pathLst>
            </a:custGeom>
            <a:solidFill>
              <a:schemeClr val="bg1">
                <a:lumMod val="85000"/>
              </a:schemeClr>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4" name="Freeform 201">
              <a:extLst>
                <a:ext uri="{FF2B5EF4-FFF2-40B4-BE49-F238E27FC236}">
                  <a16:creationId xmlns:a16="http://schemas.microsoft.com/office/drawing/2014/main" id="{9C142507-DD21-4183-972B-88E62E775DF6}"/>
                </a:ext>
              </a:extLst>
            </p:cNvPr>
            <p:cNvSpPr>
              <a:spLocks/>
            </p:cNvSpPr>
            <p:nvPr/>
          </p:nvSpPr>
          <p:spPr bwMode="auto">
            <a:xfrm>
              <a:off x="3352710" y="6002337"/>
              <a:ext cx="76199" cy="57150"/>
            </a:xfrm>
            <a:custGeom>
              <a:avLst/>
              <a:gdLst/>
              <a:ahLst/>
              <a:cxnLst>
                <a:cxn ang="0">
                  <a:pos x="294" y="90"/>
                </a:cxn>
                <a:cxn ang="0">
                  <a:pos x="246" y="24"/>
                </a:cxn>
                <a:cxn ang="0">
                  <a:pos x="186" y="54"/>
                </a:cxn>
                <a:cxn ang="0">
                  <a:pos x="158" y="0"/>
                </a:cxn>
                <a:cxn ang="0">
                  <a:pos x="114" y="48"/>
                </a:cxn>
                <a:cxn ang="0">
                  <a:pos x="102" y="108"/>
                </a:cxn>
                <a:cxn ang="0">
                  <a:pos x="22" y="136"/>
                </a:cxn>
                <a:cxn ang="0">
                  <a:pos x="0" y="210"/>
                </a:cxn>
                <a:cxn ang="0">
                  <a:pos x="68" y="226"/>
                </a:cxn>
                <a:cxn ang="0">
                  <a:pos x="96" y="162"/>
                </a:cxn>
                <a:cxn ang="0">
                  <a:pos x="158" y="136"/>
                </a:cxn>
                <a:cxn ang="0">
                  <a:pos x="216" y="102"/>
                </a:cxn>
                <a:cxn ang="0">
                  <a:pos x="294" y="90"/>
                </a:cxn>
              </a:cxnLst>
              <a:rect l="0" t="0" r="r" b="b"/>
              <a:pathLst>
                <a:path w="294" h="226">
                  <a:moveTo>
                    <a:pt x="294" y="90"/>
                  </a:moveTo>
                  <a:lnTo>
                    <a:pt x="246" y="24"/>
                  </a:lnTo>
                  <a:lnTo>
                    <a:pt x="186" y="54"/>
                  </a:lnTo>
                  <a:lnTo>
                    <a:pt x="158" y="0"/>
                  </a:lnTo>
                  <a:lnTo>
                    <a:pt x="114" y="48"/>
                  </a:lnTo>
                  <a:lnTo>
                    <a:pt x="102" y="108"/>
                  </a:lnTo>
                  <a:lnTo>
                    <a:pt x="22" y="136"/>
                  </a:lnTo>
                  <a:lnTo>
                    <a:pt x="0" y="210"/>
                  </a:lnTo>
                  <a:lnTo>
                    <a:pt x="68" y="226"/>
                  </a:lnTo>
                  <a:lnTo>
                    <a:pt x="96" y="162"/>
                  </a:lnTo>
                  <a:lnTo>
                    <a:pt x="158" y="136"/>
                  </a:lnTo>
                  <a:lnTo>
                    <a:pt x="216" y="102"/>
                  </a:lnTo>
                  <a:lnTo>
                    <a:pt x="294" y="90"/>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5" name="Freeform 202">
              <a:extLst>
                <a:ext uri="{FF2B5EF4-FFF2-40B4-BE49-F238E27FC236}">
                  <a16:creationId xmlns:a16="http://schemas.microsoft.com/office/drawing/2014/main" id="{EF41C0D1-531C-EB07-B7D8-BA24CB89684E}"/>
                </a:ext>
              </a:extLst>
            </p:cNvPr>
            <p:cNvSpPr>
              <a:spLocks/>
            </p:cNvSpPr>
            <p:nvPr/>
          </p:nvSpPr>
          <p:spPr bwMode="auto">
            <a:xfrm>
              <a:off x="3308261" y="6011862"/>
              <a:ext cx="61912" cy="41275"/>
            </a:xfrm>
            <a:custGeom>
              <a:avLst/>
              <a:gdLst/>
              <a:ahLst/>
              <a:cxnLst>
                <a:cxn ang="0">
                  <a:pos x="0" y="128"/>
                </a:cxn>
                <a:cxn ang="0">
                  <a:pos x="12" y="156"/>
                </a:cxn>
                <a:cxn ang="0">
                  <a:pos x="101" y="141"/>
                </a:cxn>
                <a:cxn ang="0">
                  <a:pos x="140" y="80"/>
                </a:cxn>
                <a:cxn ang="0">
                  <a:pos x="238" y="5"/>
                </a:cxn>
                <a:cxn ang="0">
                  <a:pos x="184" y="0"/>
                </a:cxn>
                <a:cxn ang="0">
                  <a:pos x="144" y="20"/>
                </a:cxn>
                <a:cxn ang="0">
                  <a:pos x="100" y="28"/>
                </a:cxn>
                <a:cxn ang="0">
                  <a:pos x="116" y="56"/>
                </a:cxn>
                <a:cxn ang="0">
                  <a:pos x="60" y="108"/>
                </a:cxn>
                <a:cxn ang="0">
                  <a:pos x="0" y="128"/>
                </a:cxn>
              </a:cxnLst>
              <a:rect l="0" t="0" r="r" b="b"/>
              <a:pathLst>
                <a:path w="238" h="156">
                  <a:moveTo>
                    <a:pt x="0" y="128"/>
                  </a:moveTo>
                  <a:lnTo>
                    <a:pt x="12" y="156"/>
                  </a:lnTo>
                  <a:lnTo>
                    <a:pt x="101" y="141"/>
                  </a:lnTo>
                  <a:lnTo>
                    <a:pt x="140" y="80"/>
                  </a:lnTo>
                  <a:lnTo>
                    <a:pt x="238" y="5"/>
                  </a:lnTo>
                  <a:lnTo>
                    <a:pt x="184" y="0"/>
                  </a:lnTo>
                  <a:lnTo>
                    <a:pt x="144" y="20"/>
                  </a:lnTo>
                  <a:lnTo>
                    <a:pt x="100" y="28"/>
                  </a:lnTo>
                  <a:lnTo>
                    <a:pt x="116" y="56"/>
                  </a:lnTo>
                  <a:lnTo>
                    <a:pt x="60" y="108"/>
                  </a:lnTo>
                  <a:lnTo>
                    <a:pt x="0" y="128"/>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6" name="Freeform 203">
              <a:extLst>
                <a:ext uri="{FF2B5EF4-FFF2-40B4-BE49-F238E27FC236}">
                  <a16:creationId xmlns:a16="http://schemas.microsoft.com/office/drawing/2014/main" id="{84DAB28A-D2B6-1953-DB4F-F4EAA1083625}"/>
                </a:ext>
              </a:extLst>
            </p:cNvPr>
            <p:cNvSpPr>
              <a:spLocks/>
            </p:cNvSpPr>
            <p:nvPr/>
          </p:nvSpPr>
          <p:spPr bwMode="auto">
            <a:xfrm>
              <a:off x="4092478" y="6221412"/>
              <a:ext cx="60324" cy="58738"/>
            </a:xfrm>
            <a:custGeom>
              <a:avLst/>
              <a:gdLst/>
              <a:ahLst/>
              <a:cxnLst>
                <a:cxn ang="0">
                  <a:pos x="0" y="0"/>
                </a:cxn>
                <a:cxn ang="0">
                  <a:pos x="63" y="33"/>
                </a:cxn>
                <a:cxn ang="0">
                  <a:pos x="115" y="67"/>
                </a:cxn>
                <a:cxn ang="0">
                  <a:pos x="168" y="134"/>
                </a:cxn>
                <a:cxn ang="0">
                  <a:pos x="197" y="225"/>
                </a:cxn>
                <a:cxn ang="0">
                  <a:pos x="235" y="220"/>
                </a:cxn>
                <a:cxn ang="0">
                  <a:pos x="235" y="144"/>
                </a:cxn>
                <a:cxn ang="0">
                  <a:pos x="216" y="91"/>
                </a:cxn>
                <a:cxn ang="0">
                  <a:pos x="173" y="48"/>
                </a:cxn>
                <a:cxn ang="0">
                  <a:pos x="120" y="24"/>
                </a:cxn>
                <a:cxn ang="0">
                  <a:pos x="58" y="0"/>
                </a:cxn>
                <a:cxn ang="0">
                  <a:pos x="0" y="0"/>
                </a:cxn>
              </a:cxnLst>
              <a:rect l="0" t="0" r="r" b="b"/>
              <a:pathLst>
                <a:path w="235" h="225">
                  <a:moveTo>
                    <a:pt x="0" y="0"/>
                  </a:moveTo>
                  <a:lnTo>
                    <a:pt x="63" y="33"/>
                  </a:lnTo>
                  <a:lnTo>
                    <a:pt x="115" y="67"/>
                  </a:lnTo>
                  <a:lnTo>
                    <a:pt x="168" y="134"/>
                  </a:lnTo>
                  <a:lnTo>
                    <a:pt x="197" y="225"/>
                  </a:lnTo>
                  <a:lnTo>
                    <a:pt x="235" y="220"/>
                  </a:lnTo>
                  <a:lnTo>
                    <a:pt x="235" y="144"/>
                  </a:lnTo>
                  <a:lnTo>
                    <a:pt x="216" y="91"/>
                  </a:lnTo>
                  <a:lnTo>
                    <a:pt x="173" y="48"/>
                  </a:lnTo>
                  <a:lnTo>
                    <a:pt x="120" y="24"/>
                  </a:lnTo>
                  <a:lnTo>
                    <a:pt x="58" y="0"/>
                  </a:lnTo>
                  <a:lnTo>
                    <a:pt x="0" y="0"/>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7" name="Freeform 204">
              <a:extLst>
                <a:ext uri="{FF2B5EF4-FFF2-40B4-BE49-F238E27FC236}">
                  <a16:creationId xmlns:a16="http://schemas.microsoft.com/office/drawing/2014/main" id="{C388783D-89EA-169C-11D9-511EB3B3E0EF}"/>
                </a:ext>
              </a:extLst>
            </p:cNvPr>
            <p:cNvSpPr>
              <a:spLocks/>
            </p:cNvSpPr>
            <p:nvPr/>
          </p:nvSpPr>
          <p:spPr bwMode="auto">
            <a:xfrm>
              <a:off x="3246349" y="5502275"/>
              <a:ext cx="34925" cy="46037"/>
            </a:xfrm>
            <a:custGeom>
              <a:avLst/>
              <a:gdLst/>
              <a:ahLst/>
              <a:cxnLst>
                <a:cxn ang="0">
                  <a:pos x="48" y="142"/>
                </a:cxn>
                <a:cxn ang="0">
                  <a:pos x="96" y="136"/>
                </a:cxn>
                <a:cxn ang="0">
                  <a:pos x="114" y="88"/>
                </a:cxn>
                <a:cxn ang="0">
                  <a:pos x="111" y="43"/>
                </a:cxn>
                <a:cxn ang="0">
                  <a:pos x="96" y="0"/>
                </a:cxn>
                <a:cxn ang="0">
                  <a:pos x="27" y="28"/>
                </a:cxn>
                <a:cxn ang="0">
                  <a:pos x="15" y="73"/>
                </a:cxn>
                <a:cxn ang="0">
                  <a:pos x="0" y="121"/>
                </a:cxn>
                <a:cxn ang="0">
                  <a:pos x="5" y="136"/>
                </a:cxn>
                <a:cxn ang="0">
                  <a:pos x="48" y="142"/>
                </a:cxn>
              </a:cxnLst>
              <a:rect l="0" t="0" r="r" b="b"/>
              <a:pathLst>
                <a:path w="114" h="142">
                  <a:moveTo>
                    <a:pt x="48" y="142"/>
                  </a:moveTo>
                  <a:lnTo>
                    <a:pt x="96" y="136"/>
                  </a:lnTo>
                  <a:lnTo>
                    <a:pt x="114" y="88"/>
                  </a:lnTo>
                  <a:lnTo>
                    <a:pt x="111" y="43"/>
                  </a:lnTo>
                  <a:lnTo>
                    <a:pt x="96" y="0"/>
                  </a:lnTo>
                  <a:lnTo>
                    <a:pt x="27" y="28"/>
                  </a:lnTo>
                  <a:lnTo>
                    <a:pt x="15" y="73"/>
                  </a:lnTo>
                  <a:lnTo>
                    <a:pt x="0" y="121"/>
                  </a:lnTo>
                  <a:lnTo>
                    <a:pt x="5" y="136"/>
                  </a:lnTo>
                  <a:lnTo>
                    <a:pt x="48" y="142"/>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sp>
          <p:nvSpPr>
            <p:cNvPr id="108" name="Freeform 205">
              <a:extLst>
                <a:ext uri="{FF2B5EF4-FFF2-40B4-BE49-F238E27FC236}">
                  <a16:creationId xmlns:a16="http://schemas.microsoft.com/office/drawing/2014/main" id="{9D246EF1-CC83-7721-F539-0CE1A235383D}"/>
                </a:ext>
              </a:extLst>
            </p:cNvPr>
            <p:cNvSpPr>
              <a:spLocks noChangeAspect="1"/>
            </p:cNvSpPr>
            <p:nvPr/>
          </p:nvSpPr>
          <p:spPr bwMode="auto">
            <a:xfrm>
              <a:off x="2636756" y="1654176"/>
              <a:ext cx="31750" cy="19050"/>
            </a:xfrm>
            <a:custGeom>
              <a:avLst/>
              <a:gdLst/>
              <a:ahLst/>
              <a:cxnLst>
                <a:cxn ang="0">
                  <a:pos x="34" y="38"/>
                </a:cxn>
                <a:cxn ang="0">
                  <a:pos x="3" y="33"/>
                </a:cxn>
                <a:cxn ang="0">
                  <a:pos x="0" y="26"/>
                </a:cxn>
                <a:cxn ang="0">
                  <a:pos x="1" y="11"/>
                </a:cxn>
                <a:cxn ang="0">
                  <a:pos x="13" y="0"/>
                </a:cxn>
                <a:cxn ang="0">
                  <a:pos x="33" y="8"/>
                </a:cxn>
                <a:cxn ang="0">
                  <a:pos x="49" y="20"/>
                </a:cxn>
                <a:cxn ang="0">
                  <a:pos x="66" y="36"/>
                </a:cxn>
                <a:cxn ang="0">
                  <a:pos x="34" y="38"/>
                </a:cxn>
              </a:cxnLst>
              <a:rect l="0" t="0" r="r" b="b"/>
              <a:pathLst>
                <a:path w="66" h="38">
                  <a:moveTo>
                    <a:pt x="34" y="38"/>
                  </a:moveTo>
                  <a:lnTo>
                    <a:pt x="3" y="33"/>
                  </a:lnTo>
                  <a:lnTo>
                    <a:pt x="0" y="26"/>
                  </a:lnTo>
                  <a:lnTo>
                    <a:pt x="1" y="11"/>
                  </a:lnTo>
                  <a:lnTo>
                    <a:pt x="13" y="0"/>
                  </a:lnTo>
                  <a:lnTo>
                    <a:pt x="33" y="8"/>
                  </a:lnTo>
                  <a:lnTo>
                    <a:pt x="49" y="20"/>
                  </a:lnTo>
                  <a:lnTo>
                    <a:pt x="66" y="36"/>
                  </a:lnTo>
                  <a:lnTo>
                    <a:pt x="34" y="38"/>
                  </a:lnTo>
                  <a:close/>
                </a:path>
              </a:pathLst>
            </a:custGeom>
            <a:solidFill>
              <a:srgbClr val="C3B996"/>
            </a:solidFill>
            <a:ln w="9525" cmpd="sng">
              <a:solidFill>
                <a:srgbClr val="FFFFFF"/>
              </a:solidFill>
              <a:prstDash val="solid"/>
              <a:round/>
              <a:headEnd/>
              <a:tailEnd/>
            </a:ln>
            <a:effectLst>
              <a:outerShdw dist="28398" dir="6993903" algn="ctr" rotWithShape="0">
                <a:srgbClr val="B2B2B2">
                  <a:alpha val="50000"/>
                </a:srgbClr>
              </a:outerShdw>
            </a:effectLst>
          </p:spPr>
          <p:txBody>
            <a:bodyPr/>
            <a:lstStyle/>
            <a:p>
              <a:pPr fontAlgn="auto">
                <a:spcBef>
                  <a:spcPts val="0"/>
                </a:spcBef>
                <a:spcAft>
                  <a:spcPts val="0"/>
                </a:spcAft>
                <a:defRPr/>
              </a:pPr>
              <a:endParaRPr lang="zh-CN" altLang="en-US" kern="0">
                <a:solidFill>
                  <a:sysClr val="windowText" lastClr="000000"/>
                </a:solidFill>
                <a:latin typeface="+mn-lt"/>
                <a:ea typeface="+mn-ea"/>
              </a:endParaRPr>
            </a:p>
          </p:txBody>
        </p:sp>
      </p:grpSp>
      <p:sp>
        <p:nvSpPr>
          <p:cNvPr id="52" name="ZoneTexte 51">
            <a:extLst>
              <a:ext uri="{FF2B5EF4-FFF2-40B4-BE49-F238E27FC236}">
                <a16:creationId xmlns:a16="http://schemas.microsoft.com/office/drawing/2014/main" id="{5E154C34-67F5-E8F6-42B7-43D11CFFA2D9}"/>
              </a:ext>
            </a:extLst>
          </p:cNvPr>
          <p:cNvSpPr txBox="1"/>
          <p:nvPr/>
        </p:nvSpPr>
        <p:spPr>
          <a:xfrm>
            <a:off x="2265978" y="4713050"/>
            <a:ext cx="1958248" cy="430887"/>
          </a:xfrm>
          <a:prstGeom prst="rect">
            <a:avLst/>
          </a:prstGeom>
          <a:noFill/>
        </p:spPr>
        <p:txBody>
          <a:bodyPr wrap="square" rtlCol="0">
            <a:spAutoFit/>
          </a:bodyPr>
          <a:lstStyle/>
          <a:p>
            <a:r>
              <a:rPr lang="en-GB" sz="1100" b="1" i="1" dirty="0" err="1">
                <a:solidFill>
                  <a:schemeClr val="accent2"/>
                </a:solidFill>
                <a:latin typeface="Raleway" pitchFamily="2" charset="0"/>
              </a:rPr>
              <a:t>Sinergium</a:t>
            </a:r>
            <a:r>
              <a:rPr lang="en-GB" sz="1100" b="1" i="1" dirty="0">
                <a:solidFill>
                  <a:schemeClr val="accent2"/>
                </a:solidFill>
                <a:latin typeface="Raleway" pitchFamily="2" charset="0"/>
              </a:rPr>
              <a:t> Biotech </a:t>
            </a:r>
          </a:p>
          <a:p>
            <a:r>
              <a:rPr lang="en-GB" sz="1100" b="1" dirty="0">
                <a:latin typeface="Raleway" pitchFamily="2" charset="0"/>
              </a:rPr>
              <a:t>Argentina</a:t>
            </a:r>
          </a:p>
        </p:txBody>
      </p:sp>
      <p:sp>
        <p:nvSpPr>
          <p:cNvPr id="56" name="ZoneTexte 55">
            <a:extLst>
              <a:ext uri="{FF2B5EF4-FFF2-40B4-BE49-F238E27FC236}">
                <a16:creationId xmlns:a16="http://schemas.microsoft.com/office/drawing/2014/main" id="{298C4AC2-7727-79D8-DECD-8FCEE816E781}"/>
              </a:ext>
            </a:extLst>
          </p:cNvPr>
          <p:cNvSpPr txBox="1"/>
          <p:nvPr/>
        </p:nvSpPr>
        <p:spPr>
          <a:xfrm>
            <a:off x="956165" y="3194824"/>
            <a:ext cx="1355669" cy="600164"/>
          </a:xfrm>
          <a:prstGeom prst="rect">
            <a:avLst/>
          </a:prstGeom>
          <a:noFill/>
        </p:spPr>
        <p:txBody>
          <a:bodyPr wrap="square" rtlCol="0">
            <a:spAutoFit/>
          </a:bodyPr>
          <a:lstStyle/>
          <a:p>
            <a:r>
              <a:rPr lang="en-GB" sz="1100" b="1" i="1">
                <a:solidFill>
                  <a:schemeClr val="accent2"/>
                </a:solidFill>
                <a:latin typeface="Raleway" pitchFamily="2" charset="0"/>
              </a:rPr>
              <a:t>Bio-</a:t>
            </a:r>
            <a:r>
              <a:rPr lang="en-GB" sz="1100" b="1" i="1" err="1">
                <a:solidFill>
                  <a:schemeClr val="accent2"/>
                </a:solidFill>
                <a:latin typeface="Raleway" pitchFamily="2" charset="0"/>
              </a:rPr>
              <a:t>Manguinhos</a:t>
            </a:r>
            <a:endParaRPr lang="en-GB" sz="1100" b="1" i="1">
              <a:solidFill>
                <a:schemeClr val="accent2"/>
              </a:solidFill>
              <a:latin typeface="Raleway" pitchFamily="2" charset="0"/>
            </a:endParaRPr>
          </a:p>
          <a:p>
            <a:r>
              <a:rPr lang="en-GB" sz="1100" b="1">
                <a:latin typeface="Raleway" pitchFamily="2" charset="0"/>
              </a:rPr>
              <a:t>Brazil</a:t>
            </a:r>
            <a:r>
              <a:rPr lang="en-GB" sz="1100" b="1">
                <a:solidFill>
                  <a:schemeClr val="accent2"/>
                </a:solidFill>
                <a:latin typeface="Raleway" pitchFamily="2" charset="0"/>
              </a:rPr>
              <a:t> </a:t>
            </a:r>
          </a:p>
          <a:p>
            <a:endParaRPr lang="en-GB" sz="1100" b="1" i="1">
              <a:solidFill>
                <a:schemeClr val="accent2"/>
              </a:solidFill>
              <a:latin typeface="Raleway" pitchFamily="2" charset="0"/>
            </a:endParaRPr>
          </a:p>
        </p:txBody>
      </p:sp>
      <p:sp>
        <p:nvSpPr>
          <p:cNvPr id="110" name="ZoneTexte 109">
            <a:extLst>
              <a:ext uri="{FF2B5EF4-FFF2-40B4-BE49-F238E27FC236}">
                <a16:creationId xmlns:a16="http://schemas.microsoft.com/office/drawing/2014/main" id="{9AD07312-DE4E-E953-1D86-9B3580AEA0DB}"/>
              </a:ext>
            </a:extLst>
          </p:cNvPr>
          <p:cNvSpPr txBox="1"/>
          <p:nvPr/>
        </p:nvSpPr>
        <p:spPr>
          <a:xfrm>
            <a:off x="2984310" y="2485876"/>
            <a:ext cx="1213851" cy="430887"/>
          </a:xfrm>
          <a:prstGeom prst="rect">
            <a:avLst/>
          </a:prstGeom>
          <a:noFill/>
        </p:spPr>
        <p:txBody>
          <a:bodyPr wrap="square" rtlCol="0">
            <a:spAutoFit/>
          </a:bodyPr>
          <a:lstStyle/>
          <a:p>
            <a:r>
              <a:rPr lang="en-GB" sz="1100" b="1" err="1">
                <a:latin typeface="Raleway" pitchFamily="2" charset="0"/>
              </a:rPr>
              <a:t>Senai</a:t>
            </a:r>
            <a:r>
              <a:rPr lang="en-GB" sz="1100" b="1">
                <a:latin typeface="Raleway" pitchFamily="2" charset="0"/>
              </a:rPr>
              <a:t> </a:t>
            </a:r>
            <a:r>
              <a:rPr lang="en-GB" sz="1100" b="1" err="1">
                <a:latin typeface="Raleway" pitchFamily="2" charset="0"/>
              </a:rPr>
              <a:t>Cimatec</a:t>
            </a:r>
            <a:endParaRPr lang="en-GB" sz="1100" b="1">
              <a:latin typeface="Raleway" pitchFamily="2" charset="0"/>
            </a:endParaRPr>
          </a:p>
          <a:p>
            <a:r>
              <a:rPr lang="en-GB" sz="1100" b="1">
                <a:latin typeface="Raleway" pitchFamily="2" charset="0"/>
              </a:rPr>
              <a:t>Brazil</a:t>
            </a:r>
          </a:p>
        </p:txBody>
      </p:sp>
      <p:sp>
        <p:nvSpPr>
          <p:cNvPr id="134" name="Triangle isocèle 133">
            <a:extLst>
              <a:ext uri="{FF2B5EF4-FFF2-40B4-BE49-F238E27FC236}">
                <a16:creationId xmlns:a16="http://schemas.microsoft.com/office/drawing/2014/main" id="{61FFCF50-834E-C182-FBE8-6C5647F0E1B5}"/>
              </a:ext>
            </a:extLst>
          </p:cNvPr>
          <p:cNvSpPr/>
          <p:nvPr/>
        </p:nvSpPr>
        <p:spPr>
          <a:xfrm flipH="1">
            <a:off x="2859463" y="2748218"/>
            <a:ext cx="108000" cy="144000"/>
          </a:xfrm>
          <a:prstGeom prst="triangle">
            <a:avLst/>
          </a:prstGeom>
          <a:solidFill>
            <a:schemeClr val="accent5">
              <a:lumMod val="20000"/>
              <a:lumOff val="8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5" name="Table 5">
            <a:extLst>
              <a:ext uri="{FF2B5EF4-FFF2-40B4-BE49-F238E27FC236}">
                <a16:creationId xmlns:a16="http://schemas.microsoft.com/office/drawing/2014/main" id="{F8B489D7-09AA-F8FC-B8E0-8BFB3EA41BE5}"/>
              </a:ext>
            </a:extLst>
          </p:cNvPr>
          <p:cNvGraphicFramePr>
            <a:graphicFrameLocks noGrp="1"/>
          </p:cNvGraphicFramePr>
          <p:nvPr>
            <p:extLst>
              <p:ext uri="{D42A27DB-BD31-4B8C-83A1-F6EECF244321}">
                <p14:modId xmlns:p14="http://schemas.microsoft.com/office/powerpoint/2010/main" val="1541932118"/>
              </p:ext>
            </p:extLst>
          </p:nvPr>
        </p:nvGraphicFramePr>
        <p:xfrm>
          <a:off x="4575944" y="267046"/>
          <a:ext cx="7082856" cy="5299434"/>
        </p:xfrm>
        <a:graphic>
          <a:graphicData uri="http://schemas.openxmlformats.org/drawingml/2006/table">
            <a:tbl>
              <a:tblPr firstRow="1" bandRow="1">
                <a:tableStyleId>{9D7B26C5-4107-4FEC-AEDC-1716B250A1EF}</a:tableStyleId>
              </a:tblPr>
              <a:tblGrid>
                <a:gridCol w="887089">
                  <a:extLst>
                    <a:ext uri="{9D8B030D-6E8A-4147-A177-3AD203B41FA5}">
                      <a16:colId xmlns:a16="http://schemas.microsoft.com/office/drawing/2014/main" val="1971178031"/>
                    </a:ext>
                  </a:extLst>
                </a:gridCol>
                <a:gridCol w="1213696">
                  <a:extLst>
                    <a:ext uri="{9D8B030D-6E8A-4147-A177-3AD203B41FA5}">
                      <a16:colId xmlns:a16="http://schemas.microsoft.com/office/drawing/2014/main" val="4106639385"/>
                    </a:ext>
                  </a:extLst>
                </a:gridCol>
                <a:gridCol w="1024735">
                  <a:extLst>
                    <a:ext uri="{9D8B030D-6E8A-4147-A177-3AD203B41FA5}">
                      <a16:colId xmlns:a16="http://schemas.microsoft.com/office/drawing/2014/main" val="1505498681"/>
                    </a:ext>
                  </a:extLst>
                </a:gridCol>
                <a:gridCol w="1271131">
                  <a:extLst>
                    <a:ext uri="{9D8B030D-6E8A-4147-A177-3AD203B41FA5}">
                      <a16:colId xmlns:a16="http://schemas.microsoft.com/office/drawing/2014/main" val="845154092"/>
                    </a:ext>
                  </a:extLst>
                </a:gridCol>
                <a:gridCol w="2686205">
                  <a:extLst>
                    <a:ext uri="{9D8B030D-6E8A-4147-A177-3AD203B41FA5}">
                      <a16:colId xmlns:a16="http://schemas.microsoft.com/office/drawing/2014/main" val="4158918225"/>
                    </a:ext>
                  </a:extLst>
                </a:gridCol>
              </a:tblGrid>
              <a:tr h="683693">
                <a:tc>
                  <a:txBody>
                    <a:bodyPr/>
                    <a:lstStyle/>
                    <a:p>
                      <a:r>
                        <a:rPr lang="en-US" sz="1000" dirty="0">
                          <a:solidFill>
                            <a:schemeClr val="bg1"/>
                          </a:solidFill>
                          <a:latin typeface="Raleway" pitchFamily="2" charset="0"/>
                        </a:rPr>
                        <a:t>Country</a:t>
                      </a:r>
                    </a:p>
                  </a:txBody>
                  <a:tcPr>
                    <a:solidFill>
                      <a:schemeClr val="tx1"/>
                    </a:solidFill>
                  </a:tcPr>
                </a:tc>
                <a:tc>
                  <a:txBody>
                    <a:bodyPr/>
                    <a:lstStyle/>
                    <a:p>
                      <a:r>
                        <a:rPr lang="en-US" sz="1000" dirty="0">
                          <a:solidFill>
                            <a:schemeClr val="bg1"/>
                          </a:solidFill>
                          <a:latin typeface="Raleway" pitchFamily="2" charset="0"/>
                        </a:rPr>
                        <a:t>Recipient company</a:t>
                      </a:r>
                    </a:p>
                  </a:txBody>
                  <a:tcPr>
                    <a:solidFill>
                      <a:schemeClr val="tx1"/>
                    </a:solidFill>
                  </a:tcPr>
                </a:tc>
                <a:tc>
                  <a:txBody>
                    <a:bodyPr/>
                    <a:lstStyle/>
                    <a:p>
                      <a:r>
                        <a:rPr lang="en-US" sz="1000" dirty="0">
                          <a:solidFill>
                            <a:schemeClr val="bg1"/>
                          </a:solidFill>
                          <a:latin typeface="Raleway" pitchFamily="2" charset="0"/>
                        </a:rPr>
                        <a:t>Developer</a:t>
                      </a:r>
                    </a:p>
                  </a:txBody>
                  <a:tcPr>
                    <a:solidFill>
                      <a:schemeClr val="tx1"/>
                    </a:solidFill>
                  </a:tcPr>
                </a:tc>
                <a:tc>
                  <a:txBody>
                    <a:bodyPr/>
                    <a:lstStyle/>
                    <a:p>
                      <a:r>
                        <a:rPr lang="en-US" sz="1000">
                          <a:solidFill>
                            <a:schemeClr val="bg1"/>
                          </a:solidFill>
                          <a:latin typeface="Raleway" pitchFamily="2" charset="0"/>
                        </a:rPr>
                        <a:t>Production type</a:t>
                      </a:r>
                    </a:p>
                  </a:txBody>
                  <a:tcPr>
                    <a:solidFill>
                      <a:schemeClr val="tx1"/>
                    </a:solidFill>
                  </a:tcPr>
                </a:tc>
                <a:tc>
                  <a:txBody>
                    <a:bodyPr/>
                    <a:lstStyle/>
                    <a:p>
                      <a:r>
                        <a:rPr lang="en-US" sz="1000" dirty="0">
                          <a:solidFill>
                            <a:schemeClr val="bg1"/>
                          </a:solidFill>
                          <a:latin typeface="Raleway" pitchFamily="2" charset="0"/>
                        </a:rPr>
                        <a:t>Status</a:t>
                      </a:r>
                    </a:p>
                  </a:txBody>
                  <a:tcPr>
                    <a:solidFill>
                      <a:schemeClr val="tx1"/>
                    </a:solidFill>
                  </a:tcPr>
                </a:tc>
                <a:extLst>
                  <a:ext uri="{0D108BD9-81ED-4DB2-BD59-A6C34878D82A}">
                    <a16:rowId xmlns:a16="http://schemas.microsoft.com/office/drawing/2014/main" val="3036631337"/>
                  </a:ext>
                </a:extLst>
              </a:tr>
              <a:tr h="793686">
                <a:tc>
                  <a:txBody>
                    <a:bodyPr/>
                    <a:lstStyle/>
                    <a:p>
                      <a:r>
                        <a:rPr lang="en-US" sz="1000" b="1">
                          <a:latin typeface="Raleway" pitchFamily="2" charset="0"/>
                        </a:rPr>
                        <a:t>Brazil</a:t>
                      </a:r>
                    </a:p>
                  </a:txBody>
                  <a:tcPr/>
                </a:tc>
                <a:tc>
                  <a:txBody>
                    <a:bodyPr/>
                    <a:lstStyle/>
                    <a:p>
                      <a:r>
                        <a:rPr lang="en-US" sz="1000" err="1">
                          <a:latin typeface="Raleway" pitchFamily="2" charset="0"/>
                        </a:rPr>
                        <a:t>Senai</a:t>
                      </a:r>
                      <a:r>
                        <a:rPr lang="en-US" sz="1000">
                          <a:latin typeface="Raleway" pitchFamily="2" charset="0"/>
                        </a:rPr>
                        <a:t> </a:t>
                      </a:r>
                      <a:r>
                        <a:rPr lang="en-US" sz="1000" err="1">
                          <a:latin typeface="Raleway" pitchFamily="2" charset="0"/>
                        </a:rPr>
                        <a:t>Cimatec</a:t>
                      </a:r>
                      <a:endParaRPr lang="en-US" sz="1000">
                        <a:latin typeface="Raleway" pitchFamily="2" charset="0"/>
                      </a:endParaRPr>
                    </a:p>
                  </a:txBody>
                  <a:tcPr/>
                </a:tc>
                <a:tc>
                  <a:txBody>
                    <a:bodyPr/>
                    <a:lstStyle/>
                    <a:p>
                      <a:r>
                        <a:rPr lang="en-US" sz="1000">
                          <a:latin typeface="Raleway" pitchFamily="2" charset="0"/>
                        </a:rPr>
                        <a:t>HDT Bio</a:t>
                      </a:r>
                    </a:p>
                  </a:txBody>
                  <a:tcPr/>
                </a:tc>
                <a:tc>
                  <a:txBody>
                    <a:bodyPr/>
                    <a:lstStyle/>
                    <a:p>
                      <a:r>
                        <a:rPr lang="en-US" sz="1000" dirty="0">
                          <a:latin typeface="Raleway" pitchFamily="2" charset="0"/>
                        </a:rPr>
                        <a:t>End-to-End</a:t>
                      </a:r>
                    </a:p>
                  </a:txBody>
                  <a:tcPr/>
                </a:tc>
                <a:tc>
                  <a:txBody>
                    <a:bodyPr/>
                    <a:lstStyle/>
                    <a:p>
                      <a:r>
                        <a:rPr lang="en-US" sz="800" dirty="0">
                          <a:latin typeface="Raleway" pitchFamily="2" charset="0"/>
                        </a:rPr>
                        <a:t>HDT Bio granted SENAI CIMATEC a non-exclusive license to its technology for the research, manufacture and sale of HDT-301 in Brazil. </a:t>
                      </a:r>
                    </a:p>
                  </a:txBody>
                  <a:tcPr/>
                </a:tc>
                <a:extLst>
                  <a:ext uri="{0D108BD9-81ED-4DB2-BD59-A6C34878D82A}">
                    <a16:rowId xmlns:a16="http://schemas.microsoft.com/office/drawing/2014/main" val="2859557857"/>
                  </a:ext>
                </a:extLst>
              </a:tr>
              <a:tr h="760916">
                <a:tc>
                  <a:txBody>
                    <a:bodyPr/>
                    <a:lstStyle/>
                    <a:p>
                      <a:r>
                        <a:rPr lang="en-US" sz="1000" b="1">
                          <a:latin typeface="Raleway" pitchFamily="2" charset="0"/>
                        </a:rPr>
                        <a:t>Brazil</a:t>
                      </a:r>
                    </a:p>
                  </a:txBody>
                  <a:tcPr/>
                </a:tc>
                <a:tc>
                  <a:txBody>
                    <a:bodyPr/>
                    <a:lstStyle/>
                    <a:p>
                      <a:r>
                        <a:rPr lang="en-US" sz="1000" dirty="0" err="1">
                          <a:latin typeface="Raleway" pitchFamily="2" charset="0"/>
                        </a:rPr>
                        <a:t>Eurofarma</a:t>
                      </a:r>
                      <a:r>
                        <a:rPr lang="en-US" sz="1000" dirty="0">
                          <a:latin typeface="Raleway" pitchFamily="2" charset="0"/>
                        </a:rPr>
                        <a:t> laboratories</a:t>
                      </a:r>
                    </a:p>
                  </a:txBody>
                  <a:tcPr/>
                </a:tc>
                <a:tc>
                  <a:txBody>
                    <a:bodyPr/>
                    <a:lstStyle/>
                    <a:p>
                      <a:r>
                        <a:rPr lang="en-US" sz="1000" dirty="0">
                          <a:latin typeface="Raleway" pitchFamily="2" charset="0"/>
                        </a:rPr>
                        <a:t>BioNTech</a:t>
                      </a:r>
                    </a:p>
                  </a:txBody>
                  <a:tcPr/>
                </a:tc>
                <a:tc>
                  <a:txBody>
                    <a:bodyPr/>
                    <a:lstStyle/>
                    <a:p>
                      <a:r>
                        <a:rPr lang="en-US" sz="1000">
                          <a:latin typeface="Raleway" pitchFamily="2" charset="0"/>
                        </a:rPr>
                        <a:t>Fill &amp; Finish</a:t>
                      </a:r>
                    </a:p>
                  </a:txBody>
                  <a:tcPr/>
                </a:tc>
                <a:tc>
                  <a:txBody>
                    <a:bodyPr/>
                    <a:lstStyle/>
                    <a:p>
                      <a:r>
                        <a:rPr lang="en-US" sz="800" dirty="0">
                          <a:latin typeface="Raleway" pitchFamily="2" charset="0"/>
                        </a:rPr>
                        <a:t>To facilitate </a:t>
                      </a:r>
                      <a:r>
                        <a:rPr lang="en-US" sz="800" dirty="0" err="1">
                          <a:latin typeface="Raleway" pitchFamily="2" charset="0"/>
                        </a:rPr>
                        <a:t>Eurofarma’s</a:t>
                      </a:r>
                      <a:r>
                        <a:rPr lang="en-US" sz="800" dirty="0">
                          <a:latin typeface="Raleway" pitchFamily="2" charset="0"/>
                        </a:rPr>
                        <a:t> involvement in the process, technical transfer, on-site development, and equipment installation activities. </a:t>
                      </a:r>
                    </a:p>
                  </a:txBody>
                  <a:tcPr/>
                </a:tc>
                <a:extLst>
                  <a:ext uri="{0D108BD9-81ED-4DB2-BD59-A6C34878D82A}">
                    <a16:rowId xmlns:a16="http://schemas.microsoft.com/office/drawing/2014/main" val="3801935204"/>
                  </a:ext>
                </a:extLst>
              </a:tr>
              <a:tr h="1142525">
                <a:tc>
                  <a:txBody>
                    <a:bodyPr/>
                    <a:lstStyle/>
                    <a:p>
                      <a:r>
                        <a:rPr lang="en-US" altLang="zh-CN" sz="900" b="1" dirty="0">
                          <a:latin typeface="Raleway" pitchFamily="2" charset="0"/>
                          <a:ea typeface="+mn-ea"/>
                        </a:rPr>
                        <a:t>Argentina</a:t>
                      </a:r>
                      <a:endParaRPr lang="zh-CN" altLang="en-US" sz="900" b="1" dirty="0">
                        <a:latin typeface="Raleway" pitchFamily="2" charset="0"/>
                        <a:ea typeface="+mn-ea"/>
                      </a:endParaRPr>
                    </a:p>
                  </a:txBody>
                  <a:tcPr/>
                </a:tc>
                <a:tc>
                  <a:txBody>
                    <a:bodyPr/>
                    <a:lstStyle/>
                    <a:p>
                      <a:r>
                        <a:rPr lang="en-GB" altLang="zh-CN" sz="900" b="0" dirty="0">
                          <a:latin typeface="Raleway" pitchFamily="2" charset="0"/>
                          <a:ea typeface="+mn-ea"/>
                        </a:rPr>
                        <a:t>National </a:t>
                      </a:r>
                      <a:r>
                        <a:rPr lang="en-GB" altLang="zh-CN" sz="900" b="0" kern="1200" dirty="0">
                          <a:solidFill>
                            <a:schemeClr val="dk1"/>
                          </a:solidFill>
                          <a:latin typeface="Raleway" pitchFamily="2" charset="0"/>
                          <a:ea typeface="+mn-ea"/>
                          <a:cs typeface="+mn-cs"/>
                        </a:rPr>
                        <a:t>Administration</a:t>
                      </a:r>
                      <a:r>
                        <a:rPr lang="en-GB" altLang="zh-CN" sz="900" b="0" dirty="0">
                          <a:latin typeface="Raleway" pitchFamily="2" charset="0"/>
                          <a:ea typeface="+mn-ea"/>
                        </a:rPr>
                        <a:t> of Laboratories and Health Institutes (ANLIS-</a:t>
                      </a:r>
                      <a:r>
                        <a:rPr lang="en-GB" altLang="zh-CN" sz="900" b="0" dirty="0" err="1">
                          <a:latin typeface="Raleway" pitchFamily="2" charset="0"/>
                          <a:ea typeface="+mn-ea"/>
                        </a:rPr>
                        <a:t>Malbrán</a:t>
                      </a:r>
                      <a:r>
                        <a:rPr lang="en-GB" altLang="zh-CN" sz="900" b="0" dirty="0">
                          <a:latin typeface="Raleway" pitchFamily="2" charset="0"/>
                          <a:ea typeface="+mn-ea"/>
                        </a:rPr>
                        <a:t>)</a:t>
                      </a:r>
                      <a:endParaRPr lang="zh-CN" altLang="en-US" sz="900" b="0" dirty="0">
                        <a:latin typeface="Raleway" pitchFamily="2" charset="0"/>
                        <a:ea typeface="+mn-ea"/>
                      </a:endParaRPr>
                    </a:p>
                  </a:txBody>
                  <a:tcPr/>
                </a:tc>
                <a:tc>
                  <a:txBody>
                    <a:bodyPr/>
                    <a:lstStyle/>
                    <a:p>
                      <a:r>
                        <a:rPr lang="en-US" altLang="zh-CN" sz="900" b="0" dirty="0">
                          <a:latin typeface="Raleway" pitchFamily="2" charset="0"/>
                          <a:ea typeface="+mn-ea"/>
                        </a:rPr>
                        <a:t>ANLIS-</a:t>
                      </a:r>
                      <a:r>
                        <a:rPr lang="en-US" altLang="zh-CN" sz="900" b="0" dirty="0" err="1">
                          <a:latin typeface="Raleway" pitchFamily="2" charset="0"/>
                          <a:ea typeface="+mn-ea"/>
                        </a:rPr>
                        <a:t>Malbrán</a:t>
                      </a:r>
                      <a:endParaRPr lang="zh-CN" altLang="en-US" sz="900" b="0" dirty="0">
                        <a:latin typeface="Raleway" pitchFamily="2" charset="0"/>
                        <a:ea typeface="+mn-ea"/>
                      </a:endParaRPr>
                    </a:p>
                  </a:txBody>
                  <a:tcPr/>
                </a:tc>
                <a:tc>
                  <a:txBody>
                    <a:bodyPr/>
                    <a:lstStyle/>
                    <a:p>
                      <a:r>
                        <a:rPr lang="en-US" sz="1000" dirty="0">
                          <a:latin typeface="Raleway" pitchFamily="2" charset="0"/>
                        </a:rPr>
                        <a:t>End-to-End</a:t>
                      </a:r>
                    </a:p>
                  </a:txBody>
                  <a:tcPr/>
                </a:tc>
                <a:tc>
                  <a:txBody>
                    <a:bodyPr/>
                    <a:lstStyle/>
                    <a:p>
                      <a:r>
                        <a:rPr lang="en-GB" altLang="zh-CN" sz="900" b="0" dirty="0">
                          <a:latin typeface="Raleway" pitchFamily="2" charset="0"/>
                          <a:ea typeface="+mn-ea"/>
                        </a:rPr>
                        <a:t>The agreement aims to enhance Argentina's role in mRNA vaccine production, making them a part of the regional supply chain. This initiative involves technology transfer to develop local capacities for producing essential components like lipid nanoparticles. </a:t>
                      </a:r>
                      <a:endParaRPr lang="zh-CN" altLang="en-US" sz="900" b="0" dirty="0">
                        <a:latin typeface="Raleway" pitchFamily="2" charset="0"/>
                        <a:ea typeface="+mn-ea"/>
                      </a:endParaRPr>
                    </a:p>
                  </a:txBody>
                  <a:tcPr/>
                </a:tc>
                <a:extLst>
                  <a:ext uri="{0D108BD9-81ED-4DB2-BD59-A6C34878D82A}">
                    <a16:rowId xmlns:a16="http://schemas.microsoft.com/office/drawing/2014/main" val="1703498407"/>
                  </a:ext>
                </a:extLst>
              </a:tr>
              <a:tr h="1141374">
                <a:tc>
                  <a:txBody>
                    <a:bodyPr/>
                    <a:lstStyle/>
                    <a:p>
                      <a:pPr marL="0" algn="l" defTabSz="914400" rtl="0" eaLnBrk="1" latinLnBrk="0" hangingPunct="1"/>
                      <a:r>
                        <a:rPr lang="en-US" sz="900" b="1" kern="1200" dirty="0">
                          <a:solidFill>
                            <a:schemeClr val="accent1">
                              <a:lumMod val="75000"/>
                            </a:schemeClr>
                          </a:solidFill>
                          <a:latin typeface="Raleway" pitchFamily="2" charset="0"/>
                          <a:ea typeface="+mn-ea"/>
                          <a:cs typeface="+mn-cs"/>
                        </a:rPr>
                        <a:t>Brazil</a:t>
                      </a:r>
                    </a:p>
                  </a:txBody>
                  <a:tcPr anchor="ctr"/>
                </a:tc>
                <a:tc>
                  <a:txBody>
                    <a:bodyPr/>
                    <a:lstStyle/>
                    <a:p>
                      <a:pPr marL="0" algn="l" defTabSz="914400" rtl="0" eaLnBrk="1" latinLnBrk="0" hangingPunct="1"/>
                      <a:r>
                        <a:rPr lang="en-US" sz="900" b="0" kern="1200" dirty="0">
                          <a:solidFill>
                            <a:schemeClr val="accent1">
                              <a:lumMod val="75000"/>
                            </a:schemeClr>
                          </a:solidFill>
                          <a:latin typeface="Raleway" pitchFamily="2" charset="0"/>
                          <a:ea typeface="+mn-ea"/>
                          <a:cs typeface="+mn-cs"/>
                        </a:rPr>
                        <a:t>Bio-</a:t>
                      </a:r>
                      <a:r>
                        <a:rPr lang="en-US" sz="900" b="0" kern="1200" dirty="0" err="1">
                          <a:solidFill>
                            <a:schemeClr val="accent1">
                              <a:lumMod val="75000"/>
                            </a:schemeClr>
                          </a:solidFill>
                          <a:latin typeface="Raleway" pitchFamily="2" charset="0"/>
                          <a:ea typeface="+mn-ea"/>
                          <a:cs typeface="+mn-cs"/>
                        </a:rPr>
                        <a:t>Manguinhos</a:t>
                      </a:r>
                      <a:r>
                        <a:rPr lang="en-US" sz="900" b="0" kern="1200" dirty="0">
                          <a:solidFill>
                            <a:schemeClr val="accent1">
                              <a:lumMod val="75000"/>
                            </a:schemeClr>
                          </a:solidFill>
                          <a:latin typeface="Raleway" pitchFamily="2" charset="0"/>
                          <a:ea typeface="+mn-ea"/>
                          <a:cs typeface="+mn-cs"/>
                        </a:rPr>
                        <a:t>/</a:t>
                      </a:r>
                      <a:r>
                        <a:rPr lang="en-US" sz="900" b="0" kern="1200" dirty="0" err="1">
                          <a:solidFill>
                            <a:schemeClr val="accent1">
                              <a:lumMod val="75000"/>
                            </a:schemeClr>
                          </a:solidFill>
                          <a:latin typeface="Raleway" pitchFamily="2" charset="0"/>
                          <a:ea typeface="+mn-ea"/>
                          <a:cs typeface="+mn-cs"/>
                        </a:rPr>
                        <a:t>Fiocruz</a:t>
                      </a:r>
                      <a:endParaRPr lang="en-US" sz="900" b="0" kern="1200" dirty="0">
                        <a:solidFill>
                          <a:schemeClr val="accent1">
                            <a:lumMod val="75000"/>
                          </a:schemeClr>
                        </a:solidFill>
                        <a:latin typeface="Raleway" pitchFamily="2" charset="0"/>
                        <a:ea typeface="+mn-ea"/>
                        <a:cs typeface="+mn-cs"/>
                      </a:endParaRPr>
                    </a:p>
                  </a:txBody>
                  <a:tcPr anchor="ctr"/>
                </a:tc>
                <a:tc>
                  <a:txBody>
                    <a:bodyPr/>
                    <a:lstStyle/>
                    <a:p>
                      <a:pPr marL="0" algn="l" defTabSz="914400" rtl="0" eaLnBrk="1" latinLnBrk="0" hangingPunct="1"/>
                      <a:r>
                        <a:rPr lang="en-US" sz="900" b="0" kern="1200" dirty="0" err="1">
                          <a:solidFill>
                            <a:schemeClr val="accent1">
                              <a:lumMod val="75000"/>
                            </a:schemeClr>
                          </a:solidFill>
                          <a:latin typeface="Raleway" pitchFamily="2" charset="0"/>
                          <a:ea typeface="+mn-ea"/>
                          <a:cs typeface="+mn-cs"/>
                        </a:rPr>
                        <a:t>Fiocruz</a:t>
                      </a:r>
                      <a:r>
                        <a:rPr lang="en-US" sz="900" b="0" kern="1200" dirty="0">
                          <a:solidFill>
                            <a:schemeClr val="accent1">
                              <a:lumMod val="75000"/>
                            </a:schemeClr>
                          </a:solidFill>
                          <a:latin typeface="Raleway" pitchFamily="2" charset="0"/>
                          <a:ea typeface="+mn-ea"/>
                          <a:cs typeface="+mn-cs"/>
                        </a:rPr>
                        <a:t> + CEPI</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accent1">
                              <a:lumMod val="75000"/>
                            </a:schemeClr>
                          </a:solidFill>
                          <a:latin typeface="Raleway" pitchFamily="2" charset="0"/>
                          <a:ea typeface="+mn-ea"/>
                          <a:cs typeface="+mn-cs"/>
                        </a:rPr>
                        <a:t>End-to-End</a:t>
                      </a:r>
                    </a:p>
                  </a:txBody>
                  <a:tcPr anchor="ctr"/>
                </a:tc>
                <a:tc>
                  <a:txBody>
                    <a:bodyPr/>
                    <a:lstStyle/>
                    <a:p>
                      <a:pPr marL="0" algn="l" defTabSz="914400" rtl="0" eaLnBrk="1" latinLnBrk="0" hangingPunct="1"/>
                      <a:r>
                        <a:rPr lang="en-US" sz="900" b="0" kern="1200" dirty="0">
                          <a:solidFill>
                            <a:schemeClr val="accent1">
                              <a:lumMod val="75000"/>
                            </a:schemeClr>
                          </a:solidFill>
                          <a:latin typeface="Raleway" pitchFamily="2" charset="0"/>
                          <a:ea typeface="+mn-ea"/>
                          <a:cs typeface="+mn-cs"/>
                        </a:rPr>
                        <a:t>Bio-</a:t>
                      </a:r>
                      <a:r>
                        <a:rPr lang="en-US" sz="900" b="0" kern="1200" dirty="0" err="1">
                          <a:solidFill>
                            <a:schemeClr val="accent1">
                              <a:lumMod val="75000"/>
                            </a:schemeClr>
                          </a:solidFill>
                          <a:latin typeface="Raleway" pitchFamily="2" charset="0"/>
                          <a:ea typeface="+mn-ea"/>
                          <a:cs typeface="+mn-cs"/>
                        </a:rPr>
                        <a:t>Manguinhos</a:t>
                      </a:r>
                      <a:r>
                        <a:rPr lang="en-US" sz="900" b="0" kern="1200" dirty="0">
                          <a:solidFill>
                            <a:schemeClr val="accent1">
                              <a:lumMod val="75000"/>
                            </a:schemeClr>
                          </a:solidFill>
                          <a:latin typeface="Raleway" pitchFamily="2" charset="0"/>
                          <a:ea typeface="+mn-ea"/>
                          <a:cs typeface="+mn-cs"/>
                        </a:rPr>
                        <a:t>/</a:t>
                      </a:r>
                      <a:r>
                        <a:rPr lang="en-US" sz="900" b="0" kern="1200" dirty="0" err="1">
                          <a:solidFill>
                            <a:schemeClr val="accent1">
                              <a:lumMod val="75000"/>
                            </a:schemeClr>
                          </a:solidFill>
                          <a:latin typeface="Raleway" pitchFamily="2" charset="0"/>
                          <a:ea typeface="+mn-ea"/>
                          <a:cs typeface="+mn-cs"/>
                        </a:rPr>
                        <a:t>Fiocruz</a:t>
                      </a:r>
                      <a:r>
                        <a:rPr lang="en-US" sz="900" b="0" kern="1200" dirty="0">
                          <a:solidFill>
                            <a:schemeClr val="accent1">
                              <a:lumMod val="75000"/>
                            </a:schemeClr>
                          </a:solidFill>
                          <a:latin typeface="Raleway" pitchFamily="2" charset="0"/>
                          <a:ea typeface="+mn-ea"/>
                          <a:cs typeface="+mn-cs"/>
                        </a:rPr>
                        <a:t> joined CEPI’s Global South network in July 2024 with US$17.9 million to expand mRNA and viral vector platforms and build CIBS, boosting vaccine production and pandemic preparedness in LMICs.</a:t>
                      </a:r>
                    </a:p>
                  </a:txBody>
                  <a:tcPr anchor="ctr"/>
                </a:tc>
                <a:extLst>
                  <a:ext uri="{0D108BD9-81ED-4DB2-BD59-A6C34878D82A}">
                    <a16:rowId xmlns:a16="http://schemas.microsoft.com/office/drawing/2014/main" val="1355253370"/>
                  </a:ext>
                </a:extLst>
              </a:tr>
              <a:tr h="459309">
                <a:tc>
                  <a:txBody>
                    <a:bodyPr/>
                    <a:lstStyle/>
                    <a:p>
                      <a:pPr marL="0" algn="l" defTabSz="914400" rtl="0" eaLnBrk="1" latinLnBrk="0" hangingPunct="1"/>
                      <a:r>
                        <a:rPr lang="en-US" sz="900" b="1" kern="1200" dirty="0">
                          <a:solidFill>
                            <a:schemeClr val="accent1">
                              <a:lumMod val="75000"/>
                            </a:schemeClr>
                          </a:solidFill>
                          <a:latin typeface="Raleway" pitchFamily="2" charset="0"/>
                          <a:ea typeface="+mn-ea"/>
                          <a:cs typeface="+mn-cs"/>
                        </a:rPr>
                        <a:t>Argentina</a:t>
                      </a:r>
                    </a:p>
                  </a:txBody>
                  <a:tcPr anchor="ctr"/>
                </a:tc>
                <a:tc>
                  <a:txBody>
                    <a:bodyPr/>
                    <a:lstStyle/>
                    <a:p>
                      <a:pPr marL="0" algn="l" defTabSz="914400" rtl="0" eaLnBrk="1" latinLnBrk="0" hangingPunct="1"/>
                      <a:r>
                        <a:rPr lang="en-US" sz="900" b="0" kern="1200" dirty="0" err="1">
                          <a:solidFill>
                            <a:schemeClr val="accent1">
                              <a:lumMod val="75000"/>
                            </a:schemeClr>
                          </a:solidFill>
                          <a:latin typeface="Raleway" pitchFamily="2" charset="0"/>
                          <a:ea typeface="+mn-ea"/>
                          <a:cs typeface="+mn-cs"/>
                        </a:rPr>
                        <a:t>Sinergium</a:t>
                      </a:r>
                      <a:r>
                        <a:rPr lang="en-US" sz="900" b="0" kern="1200" dirty="0">
                          <a:solidFill>
                            <a:schemeClr val="accent1">
                              <a:lumMod val="75000"/>
                            </a:schemeClr>
                          </a:solidFill>
                          <a:latin typeface="Raleway" pitchFamily="2" charset="0"/>
                          <a:ea typeface="+mn-ea"/>
                          <a:cs typeface="+mn-cs"/>
                        </a:rPr>
                        <a:t> Biotech</a:t>
                      </a:r>
                    </a:p>
                  </a:txBody>
                  <a:tcPr anchor="ctr"/>
                </a:tc>
                <a:tc>
                  <a:txBody>
                    <a:bodyPr/>
                    <a:lstStyle/>
                    <a:p>
                      <a:pPr marL="0" algn="l" defTabSz="914400" rtl="0" eaLnBrk="1" latinLnBrk="0" hangingPunct="1"/>
                      <a:r>
                        <a:rPr lang="en-US" sz="900" b="0" kern="1200" dirty="0" err="1">
                          <a:solidFill>
                            <a:schemeClr val="accent1">
                              <a:lumMod val="75000"/>
                            </a:schemeClr>
                          </a:solidFill>
                          <a:latin typeface="Raleway" pitchFamily="2" charset="0"/>
                          <a:ea typeface="+mn-ea"/>
                          <a:cs typeface="+mn-cs"/>
                        </a:rPr>
                        <a:t>Sinergium</a:t>
                      </a:r>
                      <a:r>
                        <a:rPr lang="en-US" sz="900" b="0" kern="1200" dirty="0">
                          <a:solidFill>
                            <a:schemeClr val="accent1">
                              <a:lumMod val="75000"/>
                            </a:schemeClr>
                          </a:solidFill>
                          <a:latin typeface="Raleway" pitchFamily="2" charset="0"/>
                          <a:ea typeface="+mn-ea"/>
                          <a:cs typeface="+mn-cs"/>
                        </a:rPr>
                        <a:t> Biotech</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kern="1200" dirty="0">
                          <a:solidFill>
                            <a:schemeClr val="accent1">
                              <a:lumMod val="75000"/>
                            </a:schemeClr>
                          </a:solidFill>
                          <a:latin typeface="Raleway" pitchFamily="2" charset="0"/>
                          <a:ea typeface="+mn-ea"/>
                          <a:cs typeface="+mn-cs"/>
                        </a:rPr>
                        <a:t>End-to-End</a:t>
                      </a:r>
                    </a:p>
                  </a:txBody>
                  <a:tcPr anchor="ctr"/>
                </a:tc>
                <a:tc>
                  <a:txBody>
                    <a:bodyPr/>
                    <a:lstStyle/>
                    <a:p>
                      <a:pPr marL="0" algn="l" defTabSz="914400" rtl="0" eaLnBrk="1" latinLnBrk="0" hangingPunct="1"/>
                      <a:r>
                        <a:rPr lang="en-US" sz="900" b="0" kern="1200" dirty="0" err="1">
                          <a:solidFill>
                            <a:schemeClr val="accent1">
                              <a:lumMod val="75000"/>
                            </a:schemeClr>
                          </a:solidFill>
                          <a:latin typeface="Raleway" pitchFamily="2" charset="0"/>
                          <a:ea typeface="+mn-ea"/>
                          <a:cs typeface="+mn-cs"/>
                        </a:rPr>
                        <a:t>Sinergium</a:t>
                      </a:r>
                      <a:r>
                        <a:rPr lang="en-US" sz="900" b="0" kern="1200" dirty="0">
                          <a:solidFill>
                            <a:schemeClr val="accent1">
                              <a:lumMod val="75000"/>
                            </a:schemeClr>
                          </a:solidFill>
                          <a:latin typeface="Raleway" pitchFamily="2" charset="0"/>
                          <a:ea typeface="+mn-ea"/>
                          <a:cs typeface="+mn-cs"/>
                        </a:rPr>
                        <a:t> is developing H5N1 avian influenza mRNA vaccine candidates for LMICs under the WHO/MPP mRNA TT. The project aims to generate and share validated candidates and strengthen regional pandemic preparedness.</a:t>
                      </a:r>
                    </a:p>
                  </a:txBody>
                  <a:tcPr anchor="ctr"/>
                </a:tc>
                <a:extLst>
                  <a:ext uri="{0D108BD9-81ED-4DB2-BD59-A6C34878D82A}">
                    <a16:rowId xmlns:a16="http://schemas.microsoft.com/office/drawing/2014/main" val="3038257561"/>
                  </a:ext>
                </a:extLst>
              </a:tr>
            </a:tbl>
          </a:graphicData>
        </a:graphic>
      </p:graphicFrame>
      <p:sp>
        <p:nvSpPr>
          <p:cNvPr id="6" name="Triangle isocèle 133">
            <a:extLst>
              <a:ext uri="{FF2B5EF4-FFF2-40B4-BE49-F238E27FC236}">
                <a16:creationId xmlns:a16="http://schemas.microsoft.com/office/drawing/2014/main" id="{0C32AB93-EF19-ACBB-37EA-CEF53371CE72}"/>
              </a:ext>
            </a:extLst>
          </p:cNvPr>
          <p:cNvSpPr/>
          <p:nvPr/>
        </p:nvSpPr>
        <p:spPr>
          <a:xfrm flipH="1">
            <a:off x="3273121" y="3357815"/>
            <a:ext cx="108000" cy="144000"/>
          </a:xfrm>
          <a:prstGeom prst="triangle">
            <a:avLst/>
          </a:prstGeom>
          <a:solidFill>
            <a:schemeClr val="accent6"/>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7" name="ZoneTexte 109">
            <a:extLst>
              <a:ext uri="{FF2B5EF4-FFF2-40B4-BE49-F238E27FC236}">
                <a16:creationId xmlns:a16="http://schemas.microsoft.com/office/drawing/2014/main" id="{8096C325-2602-BF5E-5548-E3AAA7DDBB27}"/>
              </a:ext>
            </a:extLst>
          </p:cNvPr>
          <p:cNvSpPr txBox="1"/>
          <p:nvPr/>
        </p:nvSpPr>
        <p:spPr>
          <a:xfrm>
            <a:off x="2725798" y="3533459"/>
            <a:ext cx="1810496" cy="430887"/>
          </a:xfrm>
          <a:prstGeom prst="rect">
            <a:avLst/>
          </a:prstGeom>
          <a:noFill/>
        </p:spPr>
        <p:txBody>
          <a:bodyPr wrap="square" rtlCol="0">
            <a:spAutoFit/>
          </a:bodyPr>
          <a:lstStyle/>
          <a:p>
            <a:r>
              <a:rPr lang="en-GB" sz="1100" b="1" err="1">
                <a:latin typeface="Raleway" pitchFamily="2" charset="0"/>
              </a:rPr>
              <a:t>Eurofarma</a:t>
            </a:r>
            <a:r>
              <a:rPr lang="en-GB" sz="1100" b="1">
                <a:latin typeface="Raleway" pitchFamily="2" charset="0"/>
              </a:rPr>
              <a:t> laboratories</a:t>
            </a:r>
          </a:p>
          <a:p>
            <a:r>
              <a:rPr lang="en-GB" sz="1100" b="1">
                <a:latin typeface="Raleway" pitchFamily="2" charset="0"/>
              </a:rPr>
              <a:t>Brazil</a:t>
            </a:r>
          </a:p>
        </p:txBody>
      </p:sp>
      <p:sp>
        <p:nvSpPr>
          <p:cNvPr id="10" name="Title 1">
            <a:extLst>
              <a:ext uri="{FF2B5EF4-FFF2-40B4-BE49-F238E27FC236}">
                <a16:creationId xmlns:a16="http://schemas.microsoft.com/office/drawing/2014/main" id="{256E90E6-1ECD-4958-D07B-3B6A7120CA1D}"/>
              </a:ext>
            </a:extLst>
          </p:cNvPr>
          <p:cNvSpPr>
            <a:spLocks noGrp="1"/>
          </p:cNvSpPr>
          <p:nvPr>
            <p:ph type="title"/>
          </p:nvPr>
        </p:nvSpPr>
        <p:spPr/>
        <p:txBody>
          <a:bodyPr>
            <a:noAutofit/>
          </a:bodyPr>
          <a:lstStyle/>
          <a:p>
            <a:pPr>
              <a:lnSpc>
                <a:spcPct val="100000"/>
              </a:lnSpc>
            </a:pPr>
            <a:r>
              <a:rPr lang="en-US" sz="3600">
                <a:solidFill>
                  <a:srgbClr val="0070C0"/>
                </a:solidFill>
              </a:rPr>
              <a:t>Latin America</a:t>
            </a:r>
          </a:p>
        </p:txBody>
      </p:sp>
      <p:sp>
        <p:nvSpPr>
          <p:cNvPr id="14" name="ZoneTexte 161">
            <a:extLst>
              <a:ext uri="{FF2B5EF4-FFF2-40B4-BE49-F238E27FC236}">
                <a16:creationId xmlns:a16="http://schemas.microsoft.com/office/drawing/2014/main" id="{1E93C5BD-B6D0-4A36-95C5-957EBC0A75B9}"/>
              </a:ext>
            </a:extLst>
          </p:cNvPr>
          <p:cNvSpPr txBox="1"/>
          <p:nvPr/>
        </p:nvSpPr>
        <p:spPr>
          <a:xfrm>
            <a:off x="8015766" y="6129159"/>
            <a:ext cx="1373378" cy="18096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End-to-End</a:t>
            </a:r>
          </a:p>
        </p:txBody>
      </p:sp>
      <p:sp>
        <p:nvSpPr>
          <p:cNvPr id="15" name="Triangle isocèle 164">
            <a:extLst>
              <a:ext uri="{FF2B5EF4-FFF2-40B4-BE49-F238E27FC236}">
                <a16:creationId xmlns:a16="http://schemas.microsoft.com/office/drawing/2014/main" id="{EC7284BA-3A09-55B9-71A2-ECE41D483F54}"/>
              </a:ext>
            </a:extLst>
          </p:cNvPr>
          <p:cNvSpPr/>
          <p:nvPr/>
        </p:nvSpPr>
        <p:spPr>
          <a:xfrm flipH="1">
            <a:off x="6698346" y="6067678"/>
            <a:ext cx="243448" cy="205479"/>
          </a:xfrm>
          <a:prstGeom prst="triangle">
            <a:avLst/>
          </a:prstGeom>
          <a:solidFill>
            <a:srgbClr val="00B050"/>
          </a:solid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
        <p:nvSpPr>
          <p:cNvPr id="16" name="ZoneTexte 200">
            <a:extLst>
              <a:ext uri="{FF2B5EF4-FFF2-40B4-BE49-F238E27FC236}">
                <a16:creationId xmlns:a16="http://schemas.microsoft.com/office/drawing/2014/main" id="{61B4A1FA-0C92-1593-ECB5-67145236BD00}"/>
              </a:ext>
            </a:extLst>
          </p:cNvPr>
          <p:cNvSpPr txBox="1"/>
          <p:nvPr/>
        </p:nvSpPr>
        <p:spPr>
          <a:xfrm>
            <a:off x="6997772" y="6133458"/>
            <a:ext cx="743009" cy="18096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Fill &amp; Finish</a:t>
            </a:r>
          </a:p>
        </p:txBody>
      </p:sp>
      <p:sp>
        <p:nvSpPr>
          <p:cNvPr id="17" name="Rectangle 16">
            <a:extLst>
              <a:ext uri="{FF2B5EF4-FFF2-40B4-BE49-F238E27FC236}">
                <a16:creationId xmlns:a16="http://schemas.microsoft.com/office/drawing/2014/main" id="{74D786A2-45A8-C4D3-760D-6B6A50DA5982}"/>
              </a:ext>
            </a:extLst>
          </p:cNvPr>
          <p:cNvSpPr/>
          <p:nvPr/>
        </p:nvSpPr>
        <p:spPr>
          <a:xfrm>
            <a:off x="4565400" y="6143343"/>
            <a:ext cx="299221" cy="131853"/>
          </a:xfrm>
          <a:prstGeom prst="rect">
            <a:avLst/>
          </a:prstGeom>
          <a:solidFill>
            <a:schemeClr val="accent2"/>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err="1">
              <a:solidFill>
                <a:schemeClr val="bg1"/>
              </a:solidFill>
              <a:latin typeface="Raleway" pitchFamily="2" charset="0"/>
            </a:endParaRPr>
          </a:p>
        </p:txBody>
      </p:sp>
      <p:sp>
        <p:nvSpPr>
          <p:cNvPr id="18" name="ZoneTexte 2">
            <a:extLst>
              <a:ext uri="{FF2B5EF4-FFF2-40B4-BE49-F238E27FC236}">
                <a16:creationId xmlns:a16="http://schemas.microsoft.com/office/drawing/2014/main" id="{C878638C-B736-836D-2113-62F58AF364D2}"/>
              </a:ext>
            </a:extLst>
          </p:cNvPr>
          <p:cNvSpPr txBox="1"/>
          <p:nvPr/>
        </p:nvSpPr>
        <p:spPr>
          <a:xfrm>
            <a:off x="4948256" y="6129159"/>
            <a:ext cx="2110733" cy="18526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i="1">
                <a:solidFill>
                  <a:srgbClr val="E86A28"/>
                </a:solidFill>
                <a:latin typeface="Raleway" pitchFamily="2" charset="0"/>
              </a:rPr>
              <a:t>mRNA </a:t>
            </a:r>
            <a:r>
              <a:rPr lang="en-US" sz="1050" b="1" i="1" err="1">
                <a:solidFill>
                  <a:srgbClr val="E86A28"/>
                </a:solidFill>
                <a:latin typeface="Raleway" pitchFamily="2" charset="0"/>
              </a:rPr>
              <a:t>programme</a:t>
            </a:r>
            <a:r>
              <a:rPr lang="en-US" sz="1050" b="1" i="1">
                <a:solidFill>
                  <a:srgbClr val="E86A28"/>
                </a:solidFill>
                <a:latin typeface="Raleway" pitchFamily="2" charset="0"/>
              </a:rPr>
              <a:t> partner</a:t>
            </a:r>
          </a:p>
        </p:txBody>
      </p:sp>
      <p:sp>
        <p:nvSpPr>
          <p:cNvPr id="19" name="Triangle isocèle 203">
            <a:extLst>
              <a:ext uri="{FF2B5EF4-FFF2-40B4-BE49-F238E27FC236}">
                <a16:creationId xmlns:a16="http://schemas.microsoft.com/office/drawing/2014/main" id="{C301C8A9-99B2-104A-9695-B6A920536B95}"/>
              </a:ext>
            </a:extLst>
          </p:cNvPr>
          <p:cNvSpPr/>
          <p:nvPr/>
        </p:nvSpPr>
        <p:spPr>
          <a:xfrm flipH="1">
            <a:off x="7747081" y="6076217"/>
            <a:ext cx="184002" cy="196472"/>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
        <p:nvSpPr>
          <p:cNvPr id="2" name="Slide Number Placeholder 1">
            <a:extLst>
              <a:ext uri="{FF2B5EF4-FFF2-40B4-BE49-F238E27FC236}">
                <a16:creationId xmlns:a16="http://schemas.microsoft.com/office/drawing/2014/main" id="{AA44A204-FDC2-259C-3544-BA146DA0BC3F}"/>
              </a:ext>
            </a:extLst>
          </p:cNvPr>
          <p:cNvSpPr>
            <a:spLocks noGrp="1"/>
          </p:cNvSpPr>
          <p:nvPr>
            <p:ph type="sldNum" sz="quarter" idx="12"/>
          </p:nvPr>
        </p:nvSpPr>
        <p:spPr/>
        <p:txBody>
          <a:bodyPr/>
          <a:lstStyle/>
          <a:p>
            <a:fld id="{1D1C8182-8BBE-B542-ADE5-8820B104469B}" type="slidenum">
              <a:rPr lang="en-RO" smtClean="0"/>
              <a:pPr/>
              <a:t>3</a:t>
            </a:fld>
            <a:endParaRPr lang="en-RO"/>
          </a:p>
        </p:txBody>
      </p:sp>
      <p:sp>
        <p:nvSpPr>
          <p:cNvPr id="3" name="Triangle isocèle 133">
            <a:extLst>
              <a:ext uri="{FF2B5EF4-FFF2-40B4-BE49-F238E27FC236}">
                <a16:creationId xmlns:a16="http://schemas.microsoft.com/office/drawing/2014/main" id="{3209EA44-6C99-6AA0-F973-17EED40A4EE2}"/>
              </a:ext>
            </a:extLst>
          </p:cNvPr>
          <p:cNvSpPr/>
          <p:nvPr/>
        </p:nvSpPr>
        <p:spPr>
          <a:xfrm flipH="1">
            <a:off x="2396649" y="4264204"/>
            <a:ext cx="108000" cy="144000"/>
          </a:xfrm>
          <a:prstGeom prst="triangle">
            <a:avLst/>
          </a:prstGeom>
          <a:solidFill>
            <a:schemeClr val="accent5">
              <a:lumMod val="20000"/>
              <a:lumOff val="8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4" name="文本框 10">
            <a:extLst>
              <a:ext uri="{FF2B5EF4-FFF2-40B4-BE49-F238E27FC236}">
                <a16:creationId xmlns:a16="http://schemas.microsoft.com/office/drawing/2014/main" id="{E738C246-ABA8-167F-32AC-736618F7CD14}"/>
              </a:ext>
            </a:extLst>
          </p:cNvPr>
          <p:cNvSpPr txBox="1"/>
          <p:nvPr/>
        </p:nvSpPr>
        <p:spPr>
          <a:xfrm>
            <a:off x="2331385" y="4427151"/>
            <a:ext cx="1386213" cy="430887"/>
          </a:xfrm>
          <a:prstGeom prst="rect">
            <a:avLst/>
          </a:prstGeom>
          <a:noFill/>
        </p:spPr>
        <p:txBody>
          <a:bodyPr wrap="square" rtlCol="0">
            <a:spAutoFit/>
          </a:bodyPr>
          <a:lstStyle>
            <a:defPPr>
              <a:defRPr lang="zh-CN"/>
            </a:defPPr>
            <a:lvl1pPr>
              <a:defRPr sz="1100" b="1">
                <a:latin typeface="Raleway" pitchFamily="2" charset="0"/>
              </a:defRPr>
            </a:lvl1pPr>
          </a:lstStyle>
          <a:p>
            <a:r>
              <a:rPr lang="en-US" altLang="zh-CN" sz="1100" b="1" dirty="0">
                <a:latin typeface="Raleway" pitchFamily="2" charset="0"/>
                <a:ea typeface="+mn-ea"/>
              </a:rPr>
              <a:t>Argentina</a:t>
            </a:r>
            <a:endParaRPr lang="en-US" altLang="zh-CN" dirty="0"/>
          </a:p>
          <a:p>
            <a:r>
              <a:rPr lang="en-US" altLang="zh-CN" dirty="0"/>
              <a:t>ANLIS-</a:t>
            </a:r>
            <a:r>
              <a:rPr lang="en-US" altLang="zh-CN" dirty="0" err="1"/>
              <a:t>Malbrán</a:t>
            </a:r>
            <a:endParaRPr lang="zh-CN" altLang="en-US" dirty="0"/>
          </a:p>
        </p:txBody>
      </p:sp>
      <p:sp>
        <p:nvSpPr>
          <p:cNvPr id="8" name="Triangle isocèle 133">
            <a:extLst>
              <a:ext uri="{FF2B5EF4-FFF2-40B4-BE49-F238E27FC236}">
                <a16:creationId xmlns:a16="http://schemas.microsoft.com/office/drawing/2014/main" id="{05409CE8-03DD-2489-5D4F-C26E54675D52}"/>
              </a:ext>
            </a:extLst>
          </p:cNvPr>
          <p:cNvSpPr/>
          <p:nvPr/>
        </p:nvSpPr>
        <p:spPr>
          <a:xfrm flipH="1">
            <a:off x="1689483" y="3439481"/>
            <a:ext cx="108000" cy="144000"/>
          </a:xfrm>
          <a:prstGeom prst="triangle">
            <a:avLst/>
          </a:prstGeom>
          <a:solidFill>
            <a:schemeClr val="accent5">
              <a:lumMod val="20000"/>
              <a:lumOff val="8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1" name="TextBox 10">
            <a:extLst>
              <a:ext uri="{FF2B5EF4-FFF2-40B4-BE49-F238E27FC236}">
                <a16:creationId xmlns:a16="http://schemas.microsoft.com/office/drawing/2014/main" id="{9A12D344-1212-1308-93B0-7C7D4E5F3E55}"/>
              </a:ext>
            </a:extLst>
          </p:cNvPr>
          <p:cNvSpPr txBox="1"/>
          <p:nvPr/>
        </p:nvSpPr>
        <p:spPr>
          <a:xfrm>
            <a:off x="8797243" y="5736727"/>
            <a:ext cx="2965187" cy="338554"/>
          </a:xfrm>
          <a:prstGeom prst="rect">
            <a:avLst/>
          </a:prstGeom>
          <a:noFill/>
        </p:spPr>
        <p:txBody>
          <a:bodyPr wrap="square" rtlCol="0">
            <a:spAutoFit/>
          </a:bodyPr>
          <a:lstStyle/>
          <a:p>
            <a:r>
              <a:rPr lang="en-US" sz="800" b="1" dirty="0">
                <a:solidFill>
                  <a:schemeClr val="accent1">
                    <a:lumMod val="75000"/>
                  </a:schemeClr>
                </a:solidFill>
                <a:latin typeface="Raleway" pitchFamily="2" charset="0"/>
              </a:rPr>
              <a:t>Blue – New or updated entries (added at the bottom)</a:t>
            </a:r>
          </a:p>
          <a:p>
            <a:r>
              <a:rPr lang="en-US" sz="800" b="1" dirty="0">
                <a:latin typeface="Raleway" pitchFamily="2" charset="0"/>
              </a:rPr>
              <a:t>Black – No update (existing entries)</a:t>
            </a:r>
          </a:p>
        </p:txBody>
      </p:sp>
    </p:spTree>
    <p:extLst>
      <p:ext uri="{BB962C8B-B14F-4D97-AF65-F5344CB8AC3E}">
        <p14:creationId xmlns:p14="http://schemas.microsoft.com/office/powerpoint/2010/main" val="19033220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EC4817-EC37-15D4-D200-85AE28CACA14}"/>
              </a:ext>
            </a:extLst>
          </p:cNvPr>
          <p:cNvSpPr>
            <a:spLocks noGrp="1"/>
          </p:cNvSpPr>
          <p:nvPr>
            <p:ph type="title"/>
          </p:nvPr>
        </p:nvSpPr>
        <p:spPr>
          <a:xfrm>
            <a:off x="838200" y="365126"/>
            <a:ext cx="10515600" cy="630298"/>
          </a:xfrm>
        </p:spPr>
        <p:txBody>
          <a:bodyPr/>
          <a:lstStyle/>
          <a:p>
            <a:r>
              <a:rPr lang="en-US" sz="3600" dirty="0">
                <a:solidFill>
                  <a:srgbClr val="0070C0"/>
                </a:solidFill>
              </a:rPr>
              <a:t>South-East Asia, Western Pacific and West Asia</a:t>
            </a:r>
            <a:endParaRPr lang="en-US" dirty="0"/>
          </a:p>
        </p:txBody>
      </p:sp>
      <mc:AlternateContent xmlns:mc="http://schemas.openxmlformats.org/markup-compatibility/2006">
        <mc:Choice xmlns:cx4="http://schemas.microsoft.com/office/drawing/2016/5/10/chartex" Requires="cx4">
          <p:graphicFrame>
            <p:nvGraphicFramePr>
              <p:cNvPr id="7" name="Content Placeholder 6">
                <a:extLst>
                  <a:ext uri="{FF2B5EF4-FFF2-40B4-BE49-F238E27FC236}">
                    <a16:creationId xmlns:a16="http://schemas.microsoft.com/office/drawing/2014/main" id="{47E76A5F-85BB-A117-15D9-E482E1ACCDB5}"/>
                  </a:ext>
                </a:extLst>
              </p:cNvPr>
              <p:cNvGraphicFramePr>
                <a:graphicFrameLocks noGrp="1"/>
              </p:cNvGraphicFramePr>
              <p:nvPr>
                <p:ph idx="1"/>
                <p:extLst>
                  <p:ext uri="{D42A27DB-BD31-4B8C-83A1-F6EECF244321}">
                    <p14:modId xmlns:p14="http://schemas.microsoft.com/office/powerpoint/2010/main" val="3022372883"/>
                  </p:ext>
                </p:extLst>
              </p:nvPr>
            </p:nvGraphicFramePr>
            <p:xfrm>
              <a:off x="0" y="1182456"/>
              <a:ext cx="5879471" cy="4667249"/>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7" name="Content Placeholder 6">
                <a:extLst>
                  <a:ext uri="{FF2B5EF4-FFF2-40B4-BE49-F238E27FC236}">
                    <a16:creationId xmlns:a16="http://schemas.microsoft.com/office/drawing/2014/main" id="{47E76A5F-85BB-A117-15D9-E482E1ACCDB5}"/>
                  </a:ext>
                </a:extLst>
              </p:cNvPr>
              <p:cNvPicPr>
                <a:picLocks noGrp="1" noRot="1" noChangeAspect="1" noMove="1" noResize="1" noEditPoints="1" noAdjustHandles="1" noChangeArrowheads="1" noChangeShapeType="1"/>
              </p:cNvPicPr>
              <p:nvPr/>
            </p:nvPicPr>
            <p:blipFill>
              <a:blip r:embed="rId3"/>
              <a:stretch>
                <a:fillRect/>
              </a:stretch>
            </p:blipFill>
            <p:spPr>
              <a:xfrm>
                <a:off x="0" y="1182456"/>
                <a:ext cx="5879471" cy="4667249"/>
              </a:xfrm>
              <a:prstGeom prst="rect">
                <a:avLst/>
              </a:prstGeom>
            </p:spPr>
          </p:pic>
        </mc:Fallback>
      </mc:AlternateContent>
      <p:sp>
        <p:nvSpPr>
          <p:cNvPr id="4" name="Slide Number Placeholder 3">
            <a:extLst>
              <a:ext uri="{FF2B5EF4-FFF2-40B4-BE49-F238E27FC236}">
                <a16:creationId xmlns:a16="http://schemas.microsoft.com/office/drawing/2014/main" id="{BB3F8EDB-36FC-27D0-04AA-6807681998B8}"/>
              </a:ext>
            </a:extLst>
          </p:cNvPr>
          <p:cNvSpPr>
            <a:spLocks noGrp="1"/>
          </p:cNvSpPr>
          <p:nvPr>
            <p:ph type="sldNum" sz="quarter" idx="12"/>
          </p:nvPr>
        </p:nvSpPr>
        <p:spPr>
          <a:xfrm>
            <a:off x="9455048" y="6127749"/>
            <a:ext cx="403413" cy="365125"/>
          </a:xfrm>
        </p:spPr>
        <p:txBody>
          <a:bodyPr/>
          <a:lstStyle/>
          <a:p>
            <a:fld id="{1D1C8182-8BBE-B542-ADE5-8820B104469B}" type="slidenum">
              <a:rPr lang="en-RO" smtClean="0"/>
              <a:pPr/>
              <a:t>4</a:t>
            </a:fld>
            <a:endParaRPr lang="en-RO"/>
          </a:p>
        </p:txBody>
      </p:sp>
      <p:sp>
        <p:nvSpPr>
          <p:cNvPr id="8" name="ZoneTexte 114">
            <a:extLst>
              <a:ext uri="{FF2B5EF4-FFF2-40B4-BE49-F238E27FC236}">
                <a16:creationId xmlns:a16="http://schemas.microsoft.com/office/drawing/2014/main" id="{00670D4F-ACB7-7D40-475D-8C82E4126DE4}"/>
              </a:ext>
            </a:extLst>
          </p:cNvPr>
          <p:cNvSpPr txBox="1"/>
          <p:nvPr/>
        </p:nvSpPr>
        <p:spPr>
          <a:xfrm>
            <a:off x="915568" y="2237833"/>
            <a:ext cx="1717308" cy="600164"/>
          </a:xfrm>
          <a:prstGeom prst="rect">
            <a:avLst/>
          </a:prstGeom>
          <a:noFill/>
        </p:spPr>
        <p:txBody>
          <a:bodyPr wrap="square" rtlCol="0">
            <a:spAutoFit/>
          </a:bodyPr>
          <a:lstStyle/>
          <a:p>
            <a:r>
              <a:rPr lang="en-GB" sz="1100" b="1" i="1" dirty="0">
                <a:solidFill>
                  <a:schemeClr val="accent2"/>
                </a:solidFill>
                <a:latin typeface="Raleway" pitchFamily="2" charset="0"/>
              </a:rPr>
              <a:t>National Institute of Health</a:t>
            </a:r>
          </a:p>
          <a:p>
            <a:r>
              <a:rPr lang="en-GB" sz="1100" b="1" dirty="0">
                <a:latin typeface="Raleway" pitchFamily="2" charset="0"/>
              </a:rPr>
              <a:t>Pakistan</a:t>
            </a:r>
            <a:endParaRPr lang="en-GB" sz="1100" b="1" dirty="0">
              <a:solidFill>
                <a:schemeClr val="accent2"/>
              </a:solidFill>
              <a:latin typeface="Raleway" pitchFamily="2" charset="0"/>
            </a:endParaRPr>
          </a:p>
        </p:txBody>
      </p:sp>
      <p:sp>
        <p:nvSpPr>
          <p:cNvPr id="9" name="Triangle isocèle 182">
            <a:extLst>
              <a:ext uri="{FF2B5EF4-FFF2-40B4-BE49-F238E27FC236}">
                <a16:creationId xmlns:a16="http://schemas.microsoft.com/office/drawing/2014/main" id="{0BA094A2-F98C-2DCE-CB11-F237413EB31A}"/>
              </a:ext>
            </a:extLst>
          </p:cNvPr>
          <p:cNvSpPr/>
          <p:nvPr/>
        </p:nvSpPr>
        <p:spPr>
          <a:xfrm flipH="1">
            <a:off x="2581615" y="3495985"/>
            <a:ext cx="108000" cy="144000"/>
          </a:xfrm>
          <a:prstGeom prst="triangle">
            <a:avLst/>
          </a:prstGeom>
          <a:solidFill>
            <a:schemeClr val="accent5">
              <a:lumMod val="20000"/>
              <a:lumOff val="8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a:solidFill>
                <a:schemeClr val="bg1"/>
              </a:solidFill>
              <a:latin typeface="Raleway" pitchFamily="2" charset="0"/>
            </a:endParaRPr>
          </a:p>
        </p:txBody>
      </p:sp>
      <p:sp>
        <p:nvSpPr>
          <p:cNvPr id="10" name="ZoneTexte 117">
            <a:extLst>
              <a:ext uri="{FF2B5EF4-FFF2-40B4-BE49-F238E27FC236}">
                <a16:creationId xmlns:a16="http://schemas.microsoft.com/office/drawing/2014/main" id="{DDC5F32E-1AE9-ABFD-BAE5-970B663ED074}"/>
              </a:ext>
            </a:extLst>
          </p:cNvPr>
          <p:cNvSpPr txBox="1"/>
          <p:nvPr/>
        </p:nvSpPr>
        <p:spPr>
          <a:xfrm>
            <a:off x="2021310" y="3962987"/>
            <a:ext cx="1119900" cy="430887"/>
          </a:xfrm>
          <a:prstGeom prst="rect">
            <a:avLst/>
          </a:prstGeom>
          <a:noFill/>
        </p:spPr>
        <p:txBody>
          <a:bodyPr wrap="square" rtlCol="0">
            <a:spAutoFit/>
          </a:bodyPr>
          <a:lstStyle/>
          <a:p>
            <a:r>
              <a:rPr lang="en-GB" sz="1100" b="1" i="1" dirty="0" err="1">
                <a:solidFill>
                  <a:schemeClr val="accent2"/>
                </a:solidFill>
                <a:latin typeface="Raleway" pitchFamily="2" charset="0"/>
              </a:rPr>
              <a:t>Incepta</a:t>
            </a:r>
            <a:endParaRPr lang="en-GB" sz="1100" b="1" i="1" dirty="0">
              <a:solidFill>
                <a:schemeClr val="accent2"/>
              </a:solidFill>
              <a:latin typeface="Raleway" pitchFamily="2" charset="0"/>
            </a:endParaRPr>
          </a:p>
          <a:p>
            <a:r>
              <a:rPr lang="en-GB" sz="1100" b="1" dirty="0">
                <a:latin typeface="Raleway" pitchFamily="2" charset="0"/>
              </a:rPr>
              <a:t>Bangladesh</a:t>
            </a:r>
          </a:p>
        </p:txBody>
      </p:sp>
      <p:cxnSp>
        <p:nvCxnSpPr>
          <p:cNvPr id="11" name="Connecteur droit 25">
            <a:extLst>
              <a:ext uri="{FF2B5EF4-FFF2-40B4-BE49-F238E27FC236}">
                <a16:creationId xmlns:a16="http://schemas.microsoft.com/office/drawing/2014/main" id="{39D199C1-E601-F627-B93B-1C42A69ACBF7}"/>
              </a:ext>
            </a:extLst>
          </p:cNvPr>
          <p:cNvCxnSpPr>
            <a:cxnSpLocks/>
          </p:cNvCxnSpPr>
          <p:nvPr/>
        </p:nvCxnSpPr>
        <p:spPr>
          <a:xfrm flipV="1">
            <a:off x="2485636" y="3639012"/>
            <a:ext cx="99239" cy="36732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ZoneTexte 116">
            <a:extLst>
              <a:ext uri="{FF2B5EF4-FFF2-40B4-BE49-F238E27FC236}">
                <a16:creationId xmlns:a16="http://schemas.microsoft.com/office/drawing/2014/main" id="{88C939CF-270A-5AA7-ACDC-220E3CBDC92F}"/>
              </a:ext>
            </a:extLst>
          </p:cNvPr>
          <p:cNvSpPr txBox="1"/>
          <p:nvPr/>
        </p:nvSpPr>
        <p:spPr>
          <a:xfrm>
            <a:off x="3502545" y="3832909"/>
            <a:ext cx="1717308" cy="430887"/>
          </a:xfrm>
          <a:prstGeom prst="rect">
            <a:avLst/>
          </a:prstGeom>
          <a:noFill/>
        </p:spPr>
        <p:txBody>
          <a:bodyPr wrap="square" rtlCol="0">
            <a:spAutoFit/>
          </a:bodyPr>
          <a:lstStyle/>
          <a:p>
            <a:r>
              <a:rPr lang="en-GB" sz="1100" b="1" i="1" dirty="0" err="1">
                <a:solidFill>
                  <a:schemeClr val="accent2"/>
                </a:solidFill>
                <a:latin typeface="Raleway" pitchFamily="2" charset="0"/>
              </a:rPr>
              <a:t>Polyvac</a:t>
            </a:r>
            <a:endParaRPr lang="en-GB" sz="1100" b="1" i="1" dirty="0">
              <a:solidFill>
                <a:schemeClr val="accent2"/>
              </a:solidFill>
              <a:latin typeface="Raleway" pitchFamily="2" charset="0"/>
            </a:endParaRPr>
          </a:p>
          <a:p>
            <a:r>
              <a:rPr lang="en-GB" sz="1100" b="1" dirty="0">
                <a:latin typeface="Raleway" pitchFamily="2" charset="0"/>
              </a:rPr>
              <a:t>Vietnam</a:t>
            </a:r>
            <a:endParaRPr lang="en-GB" sz="1100" b="1" dirty="0">
              <a:solidFill>
                <a:schemeClr val="accent2"/>
              </a:solidFill>
              <a:latin typeface="Raleway" pitchFamily="2" charset="0"/>
            </a:endParaRPr>
          </a:p>
        </p:txBody>
      </p:sp>
      <p:cxnSp>
        <p:nvCxnSpPr>
          <p:cNvPr id="16" name="Connecteur droit 25">
            <a:extLst>
              <a:ext uri="{FF2B5EF4-FFF2-40B4-BE49-F238E27FC236}">
                <a16:creationId xmlns:a16="http://schemas.microsoft.com/office/drawing/2014/main" id="{7B91CC00-6DB3-E269-A3BA-46AECD6B9FC7}"/>
              </a:ext>
            </a:extLst>
          </p:cNvPr>
          <p:cNvCxnSpPr>
            <a:cxnSpLocks/>
          </p:cNvCxnSpPr>
          <p:nvPr/>
        </p:nvCxnSpPr>
        <p:spPr>
          <a:xfrm flipV="1">
            <a:off x="3598377" y="3499149"/>
            <a:ext cx="694109" cy="27161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riangle isocèle 189">
            <a:extLst>
              <a:ext uri="{FF2B5EF4-FFF2-40B4-BE49-F238E27FC236}">
                <a16:creationId xmlns:a16="http://schemas.microsoft.com/office/drawing/2014/main" id="{5937A80A-67D0-2EF2-0C35-187824E29FC3}"/>
              </a:ext>
            </a:extLst>
          </p:cNvPr>
          <p:cNvSpPr/>
          <p:nvPr/>
        </p:nvSpPr>
        <p:spPr>
          <a:xfrm flipH="1">
            <a:off x="3388068" y="3698978"/>
            <a:ext cx="108000" cy="144000"/>
          </a:xfrm>
          <a:prstGeom prst="triangle">
            <a:avLst/>
          </a:prstGeom>
          <a:solidFill>
            <a:schemeClr val="accent5">
              <a:lumMod val="20000"/>
              <a:lumOff val="8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a:solidFill>
                <a:schemeClr val="bg1"/>
              </a:solidFill>
              <a:latin typeface="Raleway" pitchFamily="2" charset="0"/>
            </a:endParaRPr>
          </a:p>
        </p:txBody>
      </p:sp>
      <p:sp>
        <p:nvSpPr>
          <p:cNvPr id="18" name="ZoneTexte 116">
            <a:extLst>
              <a:ext uri="{FF2B5EF4-FFF2-40B4-BE49-F238E27FC236}">
                <a16:creationId xmlns:a16="http://schemas.microsoft.com/office/drawing/2014/main" id="{78CC4309-0878-EC6F-CC44-6143F6ABA469}"/>
              </a:ext>
            </a:extLst>
          </p:cNvPr>
          <p:cNvSpPr txBox="1"/>
          <p:nvPr/>
        </p:nvSpPr>
        <p:spPr>
          <a:xfrm>
            <a:off x="4273009" y="3365508"/>
            <a:ext cx="1131218" cy="430887"/>
          </a:xfrm>
          <a:prstGeom prst="rect">
            <a:avLst/>
          </a:prstGeom>
          <a:noFill/>
        </p:spPr>
        <p:txBody>
          <a:bodyPr wrap="square" rtlCol="0">
            <a:spAutoFit/>
          </a:bodyPr>
          <a:lstStyle/>
          <a:p>
            <a:r>
              <a:rPr lang="en-GB" sz="1100" b="1" dirty="0" err="1">
                <a:latin typeface="Raleway" pitchFamily="2" charset="0"/>
              </a:rPr>
              <a:t>Vinbiocare</a:t>
            </a:r>
            <a:endParaRPr lang="en-GB" sz="1100" b="1" dirty="0">
              <a:latin typeface="Raleway" pitchFamily="2" charset="0"/>
            </a:endParaRPr>
          </a:p>
          <a:p>
            <a:r>
              <a:rPr lang="en-GB" sz="1100" b="1" dirty="0">
                <a:latin typeface="Raleway" pitchFamily="2" charset="0"/>
              </a:rPr>
              <a:t>Vietnam</a:t>
            </a:r>
          </a:p>
        </p:txBody>
      </p:sp>
      <p:sp>
        <p:nvSpPr>
          <p:cNvPr id="19" name="ZoneTexte 118">
            <a:extLst>
              <a:ext uri="{FF2B5EF4-FFF2-40B4-BE49-F238E27FC236}">
                <a16:creationId xmlns:a16="http://schemas.microsoft.com/office/drawing/2014/main" id="{F28EC6EE-4B14-4AD4-2B19-7D1D4106C1F9}"/>
              </a:ext>
            </a:extLst>
          </p:cNvPr>
          <p:cNvSpPr txBox="1"/>
          <p:nvPr/>
        </p:nvSpPr>
        <p:spPr>
          <a:xfrm>
            <a:off x="2739723" y="5696862"/>
            <a:ext cx="1717308" cy="430887"/>
          </a:xfrm>
          <a:prstGeom prst="rect">
            <a:avLst/>
          </a:prstGeom>
          <a:noFill/>
        </p:spPr>
        <p:txBody>
          <a:bodyPr wrap="square" rtlCol="0">
            <a:spAutoFit/>
          </a:bodyPr>
          <a:lstStyle/>
          <a:p>
            <a:r>
              <a:rPr lang="en-GB" sz="1100" b="1" i="1" dirty="0" err="1">
                <a:solidFill>
                  <a:schemeClr val="accent2"/>
                </a:solidFill>
                <a:latin typeface="Raleway" pitchFamily="2" charset="0"/>
              </a:rPr>
              <a:t>Biofarma</a:t>
            </a:r>
            <a:endParaRPr lang="en-GB" sz="1100" b="1" i="1" dirty="0">
              <a:solidFill>
                <a:schemeClr val="accent2"/>
              </a:solidFill>
              <a:latin typeface="Raleway" pitchFamily="2" charset="0"/>
            </a:endParaRPr>
          </a:p>
          <a:p>
            <a:r>
              <a:rPr lang="en-GB" sz="1100" b="1" dirty="0">
                <a:latin typeface="Raleway" pitchFamily="2" charset="0"/>
              </a:rPr>
              <a:t>Indonesia</a:t>
            </a:r>
            <a:endParaRPr lang="en-GB" sz="1100" b="1" dirty="0">
              <a:solidFill>
                <a:schemeClr val="accent2"/>
              </a:solidFill>
              <a:latin typeface="Raleway" pitchFamily="2" charset="0"/>
            </a:endParaRPr>
          </a:p>
        </p:txBody>
      </p:sp>
      <p:cxnSp>
        <p:nvCxnSpPr>
          <p:cNvPr id="20" name="Connecteur droit 25">
            <a:extLst>
              <a:ext uri="{FF2B5EF4-FFF2-40B4-BE49-F238E27FC236}">
                <a16:creationId xmlns:a16="http://schemas.microsoft.com/office/drawing/2014/main" id="{4E8981C6-EDE3-7AB3-4284-E29142D05EA7}"/>
              </a:ext>
            </a:extLst>
          </p:cNvPr>
          <p:cNvCxnSpPr>
            <a:cxnSpLocks/>
          </p:cNvCxnSpPr>
          <p:nvPr/>
        </p:nvCxnSpPr>
        <p:spPr>
          <a:xfrm flipV="1">
            <a:off x="3118978" y="5603702"/>
            <a:ext cx="424593" cy="13806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ZoneTexte 122">
            <a:extLst>
              <a:ext uri="{FF2B5EF4-FFF2-40B4-BE49-F238E27FC236}">
                <a16:creationId xmlns:a16="http://schemas.microsoft.com/office/drawing/2014/main" id="{5C996D27-728F-3DDD-1D51-318882B5BED6}"/>
              </a:ext>
            </a:extLst>
          </p:cNvPr>
          <p:cNvSpPr txBox="1"/>
          <p:nvPr/>
        </p:nvSpPr>
        <p:spPr>
          <a:xfrm>
            <a:off x="2131381" y="5075422"/>
            <a:ext cx="1717308" cy="430887"/>
          </a:xfrm>
          <a:prstGeom prst="rect">
            <a:avLst/>
          </a:prstGeom>
          <a:noFill/>
        </p:spPr>
        <p:txBody>
          <a:bodyPr wrap="square" rtlCol="0">
            <a:spAutoFit/>
          </a:bodyPr>
          <a:lstStyle/>
          <a:p>
            <a:r>
              <a:rPr lang="en-GB" sz="1100" b="1" dirty="0" err="1">
                <a:latin typeface="Raleway" pitchFamily="2" charset="0"/>
              </a:rPr>
              <a:t>BioNet</a:t>
            </a:r>
            <a:endParaRPr lang="en-GB" sz="1100" b="1" dirty="0">
              <a:latin typeface="Raleway" pitchFamily="2" charset="0"/>
            </a:endParaRPr>
          </a:p>
          <a:p>
            <a:r>
              <a:rPr lang="en-GB" sz="1100" b="1" dirty="0">
                <a:latin typeface="Raleway" pitchFamily="2" charset="0"/>
              </a:rPr>
              <a:t>Thailand</a:t>
            </a:r>
          </a:p>
        </p:txBody>
      </p:sp>
      <p:cxnSp>
        <p:nvCxnSpPr>
          <p:cNvPr id="22" name="Connecteur droit 14">
            <a:extLst>
              <a:ext uri="{FF2B5EF4-FFF2-40B4-BE49-F238E27FC236}">
                <a16:creationId xmlns:a16="http://schemas.microsoft.com/office/drawing/2014/main" id="{291233EF-15C8-4523-F2E8-82CE8E9050B6}"/>
              </a:ext>
            </a:extLst>
          </p:cNvPr>
          <p:cNvCxnSpPr>
            <a:cxnSpLocks/>
          </p:cNvCxnSpPr>
          <p:nvPr/>
        </p:nvCxnSpPr>
        <p:spPr>
          <a:xfrm flipV="1">
            <a:off x="2600279" y="4531012"/>
            <a:ext cx="527909" cy="62475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riangle isocèle 195">
            <a:extLst>
              <a:ext uri="{FF2B5EF4-FFF2-40B4-BE49-F238E27FC236}">
                <a16:creationId xmlns:a16="http://schemas.microsoft.com/office/drawing/2014/main" id="{06978EA8-FF6D-3E80-496C-4D5043C4FAF0}"/>
              </a:ext>
            </a:extLst>
          </p:cNvPr>
          <p:cNvSpPr/>
          <p:nvPr/>
        </p:nvSpPr>
        <p:spPr>
          <a:xfrm flipH="1">
            <a:off x="3118978" y="4383869"/>
            <a:ext cx="108000" cy="144000"/>
          </a:xfrm>
          <a:prstGeom prst="triangle">
            <a:avLst/>
          </a:prstGeom>
          <a:solidFill>
            <a:schemeClr val="accent5">
              <a:lumMod val="20000"/>
              <a:lumOff val="8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a:solidFill>
                <a:schemeClr val="bg1"/>
              </a:solidFill>
              <a:latin typeface="Raleway" pitchFamily="2" charset="0"/>
            </a:endParaRPr>
          </a:p>
        </p:txBody>
      </p:sp>
      <p:sp>
        <p:nvSpPr>
          <p:cNvPr id="30" name="ZoneTexte 161">
            <a:extLst>
              <a:ext uri="{FF2B5EF4-FFF2-40B4-BE49-F238E27FC236}">
                <a16:creationId xmlns:a16="http://schemas.microsoft.com/office/drawing/2014/main" id="{228FA832-995B-7FFB-05FF-D169B5598B41}"/>
              </a:ext>
            </a:extLst>
          </p:cNvPr>
          <p:cNvSpPr txBox="1"/>
          <p:nvPr/>
        </p:nvSpPr>
        <p:spPr>
          <a:xfrm>
            <a:off x="6965900" y="6133458"/>
            <a:ext cx="1373378" cy="18096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dirty="0">
                <a:latin typeface="Raleway" pitchFamily="2" charset="0"/>
              </a:rPr>
              <a:t>End-to-End</a:t>
            </a:r>
          </a:p>
        </p:txBody>
      </p:sp>
      <p:sp>
        <p:nvSpPr>
          <p:cNvPr id="31" name="Rectangle 30">
            <a:extLst>
              <a:ext uri="{FF2B5EF4-FFF2-40B4-BE49-F238E27FC236}">
                <a16:creationId xmlns:a16="http://schemas.microsoft.com/office/drawing/2014/main" id="{BF04C266-8E25-0E56-4396-956257633DA5}"/>
              </a:ext>
            </a:extLst>
          </p:cNvPr>
          <p:cNvSpPr/>
          <p:nvPr/>
        </p:nvSpPr>
        <p:spPr>
          <a:xfrm>
            <a:off x="4565400" y="6143343"/>
            <a:ext cx="299221" cy="131853"/>
          </a:xfrm>
          <a:prstGeom prst="rect">
            <a:avLst/>
          </a:prstGeom>
          <a:solidFill>
            <a:schemeClr val="accent2"/>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err="1">
              <a:solidFill>
                <a:schemeClr val="bg1"/>
              </a:solidFill>
              <a:latin typeface="Raleway" pitchFamily="2" charset="0"/>
            </a:endParaRPr>
          </a:p>
        </p:txBody>
      </p:sp>
      <p:sp>
        <p:nvSpPr>
          <p:cNvPr id="32" name="ZoneTexte 2">
            <a:extLst>
              <a:ext uri="{FF2B5EF4-FFF2-40B4-BE49-F238E27FC236}">
                <a16:creationId xmlns:a16="http://schemas.microsoft.com/office/drawing/2014/main" id="{3B48F4F4-1C9A-F4E0-2694-96AF351D41BB}"/>
              </a:ext>
            </a:extLst>
          </p:cNvPr>
          <p:cNvSpPr txBox="1"/>
          <p:nvPr/>
        </p:nvSpPr>
        <p:spPr>
          <a:xfrm>
            <a:off x="4948256" y="6129159"/>
            <a:ext cx="2110733" cy="18526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i="1">
                <a:solidFill>
                  <a:srgbClr val="E86A28"/>
                </a:solidFill>
                <a:latin typeface="Raleway" pitchFamily="2" charset="0"/>
              </a:rPr>
              <a:t>mRNA </a:t>
            </a:r>
            <a:r>
              <a:rPr lang="en-US" sz="1050" b="1" i="1" err="1">
                <a:solidFill>
                  <a:srgbClr val="E86A28"/>
                </a:solidFill>
                <a:latin typeface="Raleway" pitchFamily="2" charset="0"/>
              </a:rPr>
              <a:t>programme</a:t>
            </a:r>
            <a:r>
              <a:rPr lang="en-US" sz="1050" b="1" i="1">
                <a:solidFill>
                  <a:srgbClr val="E86A28"/>
                </a:solidFill>
                <a:latin typeface="Raleway" pitchFamily="2" charset="0"/>
              </a:rPr>
              <a:t> partner</a:t>
            </a:r>
          </a:p>
        </p:txBody>
      </p:sp>
      <p:sp>
        <p:nvSpPr>
          <p:cNvPr id="33" name="Triangle isocèle 203">
            <a:extLst>
              <a:ext uri="{FF2B5EF4-FFF2-40B4-BE49-F238E27FC236}">
                <a16:creationId xmlns:a16="http://schemas.microsoft.com/office/drawing/2014/main" id="{38FA3586-997E-F0F2-F0C4-856563C32399}"/>
              </a:ext>
            </a:extLst>
          </p:cNvPr>
          <p:cNvSpPr/>
          <p:nvPr/>
        </p:nvSpPr>
        <p:spPr>
          <a:xfrm flipH="1">
            <a:off x="6697215" y="6080516"/>
            <a:ext cx="184002" cy="196472"/>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cxnSp>
        <p:nvCxnSpPr>
          <p:cNvPr id="38" name="Connecteur droit 25">
            <a:extLst>
              <a:ext uri="{FF2B5EF4-FFF2-40B4-BE49-F238E27FC236}">
                <a16:creationId xmlns:a16="http://schemas.microsoft.com/office/drawing/2014/main" id="{36E39167-7D1E-4E44-6017-E8E2F13B6CB6}"/>
              </a:ext>
            </a:extLst>
          </p:cNvPr>
          <p:cNvCxnSpPr>
            <a:cxnSpLocks/>
          </p:cNvCxnSpPr>
          <p:nvPr/>
        </p:nvCxnSpPr>
        <p:spPr>
          <a:xfrm flipH="1" flipV="1">
            <a:off x="690342" y="1715873"/>
            <a:ext cx="545769" cy="5430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Connecteur droit 25">
            <a:extLst>
              <a:ext uri="{FF2B5EF4-FFF2-40B4-BE49-F238E27FC236}">
                <a16:creationId xmlns:a16="http://schemas.microsoft.com/office/drawing/2014/main" id="{7B002434-7EBD-AD14-0196-266A7EB75ED0}"/>
              </a:ext>
            </a:extLst>
          </p:cNvPr>
          <p:cNvCxnSpPr>
            <a:cxnSpLocks/>
          </p:cNvCxnSpPr>
          <p:nvPr/>
        </p:nvCxnSpPr>
        <p:spPr>
          <a:xfrm flipH="1" flipV="1">
            <a:off x="1197745" y="1658750"/>
            <a:ext cx="311250" cy="618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ZoneTexte 122">
            <a:extLst>
              <a:ext uri="{FF2B5EF4-FFF2-40B4-BE49-F238E27FC236}">
                <a16:creationId xmlns:a16="http://schemas.microsoft.com/office/drawing/2014/main" id="{92B91022-E353-1096-F2AE-8D4EBE19F503}"/>
              </a:ext>
            </a:extLst>
          </p:cNvPr>
          <p:cNvSpPr txBox="1"/>
          <p:nvPr/>
        </p:nvSpPr>
        <p:spPr>
          <a:xfrm>
            <a:off x="104572" y="1313397"/>
            <a:ext cx="1228929" cy="430887"/>
          </a:xfrm>
          <a:prstGeom prst="rect">
            <a:avLst/>
          </a:prstGeom>
          <a:noFill/>
        </p:spPr>
        <p:txBody>
          <a:bodyPr wrap="square" rtlCol="0">
            <a:spAutoFit/>
          </a:bodyPr>
          <a:lstStyle/>
          <a:p>
            <a:r>
              <a:rPr lang="en-GB" sz="1100" b="1" dirty="0" err="1">
                <a:latin typeface="Raleway" pitchFamily="2" charset="0"/>
              </a:rPr>
              <a:t>ReNAP</a:t>
            </a:r>
            <a:endParaRPr lang="en-GB" sz="1100" b="1" dirty="0">
              <a:latin typeface="Raleway" pitchFamily="2" charset="0"/>
            </a:endParaRPr>
          </a:p>
          <a:p>
            <a:r>
              <a:rPr lang="en-GB" sz="1100" b="1" dirty="0">
                <a:latin typeface="Raleway" pitchFamily="2" charset="0"/>
              </a:rPr>
              <a:t>Therapeutics</a:t>
            </a:r>
          </a:p>
        </p:txBody>
      </p:sp>
      <p:sp>
        <p:nvSpPr>
          <p:cNvPr id="43" name="ZoneTexte 122">
            <a:extLst>
              <a:ext uri="{FF2B5EF4-FFF2-40B4-BE49-F238E27FC236}">
                <a16:creationId xmlns:a16="http://schemas.microsoft.com/office/drawing/2014/main" id="{CEB6B044-4458-BC52-26FD-4091736D7494}"/>
              </a:ext>
            </a:extLst>
          </p:cNvPr>
          <p:cNvSpPr txBox="1"/>
          <p:nvPr/>
        </p:nvSpPr>
        <p:spPr>
          <a:xfrm>
            <a:off x="863952" y="1185690"/>
            <a:ext cx="1717308" cy="430887"/>
          </a:xfrm>
          <a:prstGeom prst="rect">
            <a:avLst/>
          </a:prstGeom>
          <a:noFill/>
        </p:spPr>
        <p:txBody>
          <a:bodyPr wrap="square" rtlCol="0">
            <a:spAutoFit/>
          </a:bodyPr>
          <a:lstStyle/>
          <a:p>
            <a:r>
              <a:rPr lang="en-US" sz="1100" b="1">
                <a:latin typeface="Raleway" pitchFamily="2" charset="0"/>
              </a:rPr>
              <a:t>Mashhad University of Medical Sciences</a:t>
            </a:r>
            <a:endParaRPr lang="en-GB" sz="1100" b="1" dirty="0">
              <a:latin typeface="Raleway" pitchFamily="2" charset="0"/>
            </a:endParaRPr>
          </a:p>
        </p:txBody>
      </p:sp>
      <p:grpSp>
        <p:nvGrpSpPr>
          <p:cNvPr id="44" name="Group 43">
            <a:extLst>
              <a:ext uri="{FF2B5EF4-FFF2-40B4-BE49-F238E27FC236}">
                <a16:creationId xmlns:a16="http://schemas.microsoft.com/office/drawing/2014/main" id="{5E74F2E0-470A-A8E0-94CB-442B7A1EF82C}"/>
              </a:ext>
            </a:extLst>
          </p:cNvPr>
          <p:cNvGrpSpPr/>
          <p:nvPr/>
        </p:nvGrpSpPr>
        <p:grpSpPr>
          <a:xfrm>
            <a:off x="7971147" y="6107242"/>
            <a:ext cx="1640641" cy="179501"/>
            <a:chOff x="9823279" y="6105545"/>
            <a:chExt cx="1640641" cy="179501"/>
          </a:xfrm>
        </p:grpSpPr>
        <p:sp>
          <p:nvSpPr>
            <p:cNvPr id="45" name="Ellipse 48">
              <a:extLst>
                <a:ext uri="{FF2B5EF4-FFF2-40B4-BE49-F238E27FC236}">
                  <a16:creationId xmlns:a16="http://schemas.microsoft.com/office/drawing/2014/main" id="{779E89BC-188B-07A2-752E-41A73B3FB22D}"/>
                </a:ext>
              </a:extLst>
            </p:cNvPr>
            <p:cNvSpPr/>
            <p:nvPr/>
          </p:nvSpPr>
          <p:spPr>
            <a:xfrm>
              <a:off x="9823279" y="6105545"/>
              <a:ext cx="178157" cy="179501"/>
            </a:xfrm>
            <a:prstGeom prst="ellipse">
              <a:avLst/>
            </a:prstGeom>
            <a:solidFill>
              <a:srgbClr val="FFC00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46" name="ZoneTexte 50">
              <a:extLst>
                <a:ext uri="{FF2B5EF4-FFF2-40B4-BE49-F238E27FC236}">
                  <a16:creationId xmlns:a16="http://schemas.microsoft.com/office/drawing/2014/main" id="{E1568C6D-DCC4-1234-B607-B77F6F108650}"/>
                </a:ext>
              </a:extLst>
            </p:cNvPr>
            <p:cNvSpPr txBox="1"/>
            <p:nvPr/>
          </p:nvSpPr>
          <p:spPr>
            <a:xfrm>
              <a:off x="10090542" y="6105545"/>
              <a:ext cx="1373378" cy="129743"/>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Drug substance </a:t>
              </a:r>
            </a:p>
          </p:txBody>
        </p:sp>
      </p:grpSp>
      <p:sp>
        <p:nvSpPr>
          <p:cNvPr id="47" name="Ellipse 48">
            <a:extLst>
              <a:ext uri="{FF2B5EF4-FFF2-40B4-BE49-F238E27FC236}">
                <a16:creationId xmlns:a16="http://schemas.microsoft.com/office/drawing/2014/main" id="{10DBE929-E7F6-7F75-E773-BE7A473473C6}"/>
              </a:ext>
            </a:extLst>
          </p:cNvPr>
          <p:cNvSpPr/>
          <p:nvPr/>
        </p:nvSpPr>
        <p:spPr>
          <a:xfrm>
            <a:off x="1197745" y="2177229"/>
            <a:ext cx="137630" cy="129743"/>
          </a:xfrm>
          <a:prstGeom prst="ellipse">
            <a:avLst/>
          </a:prstGeom>
          <a:solidFill>
            <a:srgbClr val="FFC00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graphicFrame>
        <p:nvGraphicFramePr>
          <p:cNvPr id="48" name="Table 47">
            <a:extLst>
              <a:ext uri="{FF2B5EF4-FFF2-40B4-BE49-F238E27FC236}">
                <a16:creationId xmlns:a16="http://schemas.microsoft.com/office/drawing/2014/main" id="{385ABC62-C3E6-EE33-FDFA-F4E8E02036F4}"/>
              </a:ext>
            </a:extLst>
          </p:cNvPr>
          <p:cNvGraphicFramePr>
            <a:graphicFrameLocks noGrp="1"/>
          </p:cNvGraphicFramePr>
          <p:nvPr>
            <p:extLst>
              <p:ext uri="{D42A27DB-BD31-4B8C-83A1-F6EECF244321}">
                <p14:modId xmlns:p14="http://schemas.microsoft.com/office/powerpoint/2010/main" val="3531572163"/>
              </p:ext>
            </p:extLst>
          </p:nvPr>
        </p:nvGraphicFramePr>
        <p:xfrm>
          <a:off x="5942460" y="1074320"/>
          <a:ext cx="6008115" cy="4785360"/>
        </p:xfrm>
        <a:graphic>
          <a:graphicData uri="http://schemas.openxmlformats.org/drawingml/2006/table">
            <a:tbl>
              <a:tblPr firstRow="1" bandRow="1">
                <a:tableStyleId>{9D7B26C5-4107-4FEC-AEDC-1716B250A1EF}</a:tableStyleId>
              </a:tblPr>
              <a:tblGrid>
                <a:gridCol w="833235">
                  <a:extLst>
                    <a:ext uri="{9D8B030D-6E8A-4147-A177-3AD203B41FA5}">
                      <a16:colId xmlns:a16="http://schemas.microsoft.com/office/drawing/2014/main" val="1971178031"/>
                    </a:ext>
                  </a:extLst>
                </a:gridCol>
                <a:gridCol w="872163">
                  <a:extLst>
                    <a:ext uri="{9D8B030D-6E8A-4147-A177-3AD203B41FA5}">
                      <a16:colId xmlns:a16="http://schemas.microsoft.com/office/drawing/2014/main" val="4106639385"/>
                    </a:ext>
                  </a:extLst>
                </a:gridCol>
                <a:gridCol w="712550">
                  <a:extLst>
                    <a:ext uri="{9D8B030D-6E8A-4147-A177-3AD203B41FA5}">
                      <a16:colId xmlns:a16="http://schemas.microsoft.com/office/drawing/2014/main" val="1505498681"/>
                    </a:ext>
                  </a:extLst>
                </a:gridCol>
                <a:gridCol w="758940">
                  <a:extLst>
                    <a:ext uri="{9D8B030D-6E8A-4147-A177-3AD203B41FA5}">
                      <a16:colId xmlns:a16="http://schemas.microsoft.com/office/drawing/2014/main" val="845154092"/>
                    </a:ext>
                  </a:extLst>
                </a:gridCol>
                <a:gridCol w="2831227">
                  <a:extLst>
                    <a:ext uri="{9D8B030D-6E8A-4147-A177-3AD203B41FA5}">
                      <a16:colId xmlns:a16="http://schemas.microsoft.com/office/drawing/2014/main" val="4158918225"/>
                    </a:ext>
                  </a:extLst>
                </a:gridCol>
              </a:tblGrid>
              <a:tr h="363081">
                <a:tc>
                  <a:txBody>
                    <a:bodyPr/>
                    <a:lstStyle/>
                    <a:p>
                      <a:pPr algn="l"/>
                      <a:r>
                        <a:rPr lang="en-US" sz="900" dirty="0">
                          <a:solidFill>
                            <a:schemeClr val="bg1"/>
                          </a:solidFill>
                          <a:latin typeface="Raleway" pitchFamily="2" charset="0"/>
                        </a:rPr>
                        <a:t>Country</a:t>
                      </a:r>
                    </a:p>
                  </a:txBody>
                  <a:tcPr>
                    <a:solidFill>
                      <a:schemeClr val="tx1"/>
                    </a:solidFill>
                  </a:tcPr>
                </a:tc>
                <a:tc>
                  <a:txBody>
                    <a:bodyPr/>
                    <a:lstStyle/>
                    <a:p>
                      <a:pPr algn="l"/>
                      <a:r>
                        <a:rPr lang="en-US" sz="900">
                          <a:solidFill>
                            <a:schemeClr val="bg1"/>
                          </a:solidFill>
                          <a:latin typeface="Raleway" pitchFamily="2" charset="0"/>
                        </a:rPr>
                        <a:t>Recipient company</a:t>
                      </a:r>
                    </a:p>
                  </a:txBody>
                  <a:tcPr>
                    <a:solidFill>
                      <a:schemeClr val="tx1"/>
                    </a:solidFill>
                  </a:tcPr>
                </a:tc>
                <a:tc>
                  <a:txBody>
                    <a:bodyPr/>
                    <a:lstStyle/>
                    <a:p>
                      <a:pPr algn="l"/>
                      <a:r>
                        <a:rPr lang="en-US" sz="900">
                          <a:solidFill>
                            <a:schemeClr val="bg1"/>
                          </a:solidFill>
                          <a:latin typeface="Raleway" pitchFamily="2" charset="0"/>
                        </a:rPr>
                        <a:t>Developer</a:t>
                      </a:r>
                    </a:p>
                  </a:txBody>
                  <a:tcPr>
                    <a:solidFill>
                      <a:schemeClr val="tx1"/>
                    </a:solidFill>
                  </a:tcPr>
                </a:tc>
                <a:tc>
                  <a:txBody>
                    <a:bodyPr/>
                    <a:lstStyle/>
                    <a:p>
                      <a:pPr algn="l"/>
                      <a:r>
                        <a:rPr lang="en-US" sz="900" dirty="0">
                          <a:solidFill>
                            <a:schemeClr val="bg1"/>
                          </a:solidFill>
                          <a:latin typeface="Raleway" pitchFamily="2" charset="0"/>
                        </a:rPr>
                        <a:t>Production type</a:t>
                      </a:r>
                    </a:p>
                  </a:txBody>
                  <a:tcPr>
                    <a:solidFill>
                      <a:schemeClr val="tx1"/>
                    </a:solidFill>
                  </a:tcPr>
                </a:tc>
                <a:tc>
                  <a:txBody>
                    <a:bodyPr/>
                    <a:lstStyle/>
                    <a:p>
                      <a:pPr algn="l"/>
                      <a:r>
                        <a:rPr lang="en-US" sz="900" dirty="0">
                          <a:solidFill>
                            <a:schemeClr val="bg1"/>
                          </a:solidFill>
                          <a:latin typeface="Raleway" pitchFamily="2" charset="0"/>
                        </a:rPr>
                        <a:t>Status</a:t>
                      </a:r>
                    </a:p>
                  </a:txBody>
                  <a:tcPr>
                    <a:solidFill>
                      <a:schemeClr val="tx1"/>
                    </a:solidFill>
                  </a:tcPr>
                </a:tc>
                <a:extLst>
                  <a:ext uri="{0D108BD9-81ED-4DB2-BD59-A6C34878D82A}">
                    <a16:rowId xmlns:a16="http://schemas.microsoft.com/office/drawing/2014/main" val="3036631337"/>
                  </a:ext>
                </a:extLst>
              </a:tr>
              <a:tr h="363081">
                <a:tc>
                  <a:txBody>
                    <a:bodyPr/>
                    <a:lstStyle/>
                    <a:p>
                      <a:pPr algn="l"/>
                      <a:r>
                        <a:rPr lang="en-US" sz="800" b="1">
                          <a:latin typeface="Raleway" pitchFamily="2" charset="0"/>
                        </a:rPr>
                        <a:t>Bangladesh</a:t>
                      </a:r>
                    </a:p>
                  </a:txBody>
                  <a:tcPr/>
                </a:tc>
                <a:tc>
                  <a:txBody>
                    <a:bodyPr/>
                    <a:lstStyle/>
                    <a:p>
                      <a:pPr algn="l"/>
                      <a:r>
                        <a:rPr lang="en-US" sz="800">
                          <a:latin typeface="Raleway" pitchFamily="2" charset="0"/>
                        </a:rPr>
                        <a:t>Globe Biotech</a:t>
                      </a:r>
                    </a:p>
                  </a:txBody>
                  <a:tcPr/>
                </a:tc>
                <a:tc>
                  <a:txBody>
                    <a:bodyPr/>
                    <a:lstStyle/>
                    <a:p>
                      <a:pPr algn="l"/>
                      <a:endParaRPr lang="en-US" sz="800" dirty="0">
                        <a:latin typeface="Raleway" pitchFamily="2" charset="0"/>
                      </a:endParaRPr>
                    </a:p>
                  </a:txBody>
                  <a:tcPr/>
                </a:tc>
                <a:tc>
                  <a:txBody>
                    <a:bodyPr/>
                    <a:lstStyle/>
                    <a:p>
                      <a:pPr algn="l"/>
                      <a:r>
                        <a:rPr lang="en-US" sz="800">
                          <a:latin typeface="Raleway" pitchFamily="2" charset="0"/>
                        </a:rPr>
                        <a:t>End-to-End</a:t>
                      </a:r>
                    </a:p>
                  </a:txBody>
                  <a:tcPr/>
                </a:tc>
                <a:tc>
                  <a:txBody>
                    <a:bodyPr/>
                    <a:lstStyle/>
                    <a:p>
                      <a:pPr algn="l" fontAlgn="ctr"/>
                      <a:r>
                        <a:rPr lang="en-US" sz="800" u="none" strike="noStrike" err="1">
                          <a:effectLst/>
                          <a:latin typeface="Raleway" pitchFamily="2" charset="0"/>
                        </a:rPr>
                        <a:t>Bangavax</a:t>
                      </a:r>
                      <a:r>
                        <a:rPr lang="en-US" sz="800" u="none" strike="noStrike">
                          <a:effectLst/>
                          <a:latin typeface="Raleway" pitchFamily="2" charset="0"/>
                        </a:rPr>
                        <a:t>, a single-dose Covid-19 vaccine approved by Bangladesh Medical Research Council (BMRC) for human trials</a:t>
                      </a:r>
                      <a:endParaRPr lang="en-US" sz="800" b="0" i="0" u="none" strike="noStrike">
                        <a:solidFill>
                          <a:srgbClr val="000000"/>
                        </a:solidFill>
                        <a:effectLst/>
                        <a:latin typeface="Raleway" pitchFamily="2" charset="0"/>
                      </a:endParaRPr>
                    </a:p>
                  </a:txBody>
                  <a:tcPr marL="0" marR="0" marT="0" marB="0" anchor="ctr"/>
                </a:tc>
                <a:extLst>
                  <a:ext uri="{0D108BD9-81ED-4DB2-BD59-A6C34878D82A}">
                    <a16:rowId xmlns:a16="http://schemas.microsoft.com/office/drawing/2014/main" val="2859557857"/>
                  </a:ext>
                </a:extLst>
              </a:tr>
              <a:tr h="605135">
                <a:tc>
                  <a:txBody>
                    <a:bodyPr/>
                    <a:lstStyle/>
                    <a:p>
                      <a:pPr algn="l"/>
                      <a:r>
                        <a:rPr lang="en-US" sz="800" b="1">
                          <a:latin typeface="Raleway" pitchFamily="2" charset="0"/>
                        </a:rPr>
                        <a:t>Vietnam</a:t>
                      </a:r>
                    </a:p>
                  </a:txBody>
                  <a:tcPr/>
                </a:tc>
                <a:tc>
                  <a:txBody>
                    <a:bodyPr/>
                    <a:lstStyle/>
                    <a:p>
                      <a:pPr algn="l"/>
                      <a:r>
                        <a:rPr lang="en-US" sz="800" dirty="0" err="1">
                          <a:latin typeface="Raleway" pitchFamily="2" charset="0"/>
                        </a:rPr>
                        <a:t>Vinbiocare</a:t>
                      </a:r>
                      <a:endParaRPr lang="en-US" sz="800" dirty="0">
                        <a:latin typeface="Raleway" pitchFamily="2" charset="0"/>
                      </a:endParaRPr>
                    </a:p>
                  </a:txBody>
                  <a:tcPr/>
                </a:tc>
                <a:tc>
                  <a:txBody>
                    <a:bodyPr/>
                    <a:lstStyle/>
                    <a:p>
                      <a:pPr algn="l"/>
                      <a:r>
                        <a:rPr lang="en-US" sz="800" dirty="0">
                          <a:latin typeface="Raleway" pitchFamily="2" charset="0"/>
                        </a:rPr>
                        <a:t>Arcturus</a:t>
                      </a:r>
                    </a:p>
                  </a:txBody>
                  <a:tcPr/>
                </a:tc>
                <a:tc>
                  <a:txBody>
                    <a:bodyPr/>
                    <a:lstStyle/>
                    <a:p>
                      <a:pPr algn="l"/>
                      <a:r>
                        <a:rPr lang="en-US" sz="800" dirty="0">
                          <a:latin typeface="Raleway" pitchFamily="2" charset="0"/>
                        </a:rPr>
                        <a:t>End-to-End</a:t>
                      </a:r>
                    </a:p>
                  </a:txBody>
                  <a:tcPr/>
                </a:tc>
                <a:tc>
                  <a:txBody>
                    <a:bodyPr/>
                    <a:lstStyle/>
                    <a:p>
                      <a:pPr algn="l" fontAlgn="ctr"/>
                      <a:r>
                        <a:rPr lang="en-US" sz="800" u="none" strike="noStrike" dirty="0">
                          <a:effectLst/>
                          <a:latin typeface="Raleway" pitchFamily="2" charset="0"/>
                        </a:rPr>
                        <a:t>An exclusive license to manufacture the vaccines in Vietnam at the facility solely for distribution in Vietnam. The license and technology transfer applies to drug product manufacturing but not for mRNA drug substance manufacturing.</a:t>
                      </a:r>
                      <a:endParaRPr lang="en-US" sz="800" b="0" i="0" u="none" strike="noStrike" dirty="0">
                        <a:solidFill>
                          <a:srgbClr val="000000"/>
                        </a:solidFill>
                        <a:effectLst/>
                        <a:latin typeface="Raleway" pitchFamily="2" charset="0"/>
                      </a:endParaRPr>
                    </a:p>
                  </a:txBody>
                  <a:tcPr marL="0" marR="0" marT="0" marB="0" anchor="ctr"/>
                </a:tc>
                <a:extLst>
                  <a:ext uri="{0D108BD9-81ED-4DB2-BD59-A6C34878D82A}">
                    <a16:rowId xmlns:a16="http://schemas.microsoft.com/office/drawing/2014/main" val="3801935204"/>
                  </a:ext>
                </a:extLst>
              </a:tr>
              <a:tr h="937959">
                <a:tc>
                  <a:txBody>
                    <a:bodyPr/>
                    <a:lstStyle/>
                    <a:p>
                      <a:pPr algn="l"/>
                      <a:r>
                        <a:rPr lang="en-US" sz="800" b="1">
                          <a:latin typeface="Raleway" pitchFamily="2" charset="0"/>
                        </a:rPr>
                        <a:t>Thailand</a:t>
                      </a:r>
                    </a:p>
                  </a:txBody>
                  <a:tcPr/>
                </a:tc>
                <a:tc>
                  <a:txBody>
                    <a:bodyPr/>
                    <a:lstStyle/>
                    <a:p>
                      <a:pPr algn="l"/>
                      <a:r>
                        <a:rPr lang="en-US" sz="800" dirty="0" err="1">
                          <a:latin typeface="Raleway" pitchFamily="2" charset="0"/>
                        </a:rPr>
                        <a:t>BioNet</a:t>
                      </a:r>
                      <a:endParaRPr lang="en-US" sz="800" dirty="0">
                        <a:latin typeface="Raleway" pitchFamily="2" charset="0"/>
                      </a:endParaRPr>
                    </a:p>
                  </a:txBody>
                  <a:tcPr/>
                </a:tc>
                <a:tc>
                  <a:txBody>
                    <a:bodyPr/>
                    <a:lstStyle/>
                    <a:p>
                      <a:pPr algn="l" fontAlgn="ctr"/>
                      <a:r>
                        <a:rPr lang="en-US" sz="800" u="none" strike="noStrike" dirty="0">
                          <a:effectLst/>
                          <a:latin typeface="Raleway" pitchFamily="2" charset="0"/>
                        </a:rPr>
                        <a:t>California-Davis, Chulalongkorn, and IVI</a:t>
                      </a:r>
                      <a:endParaRPr lang="en-US" sz="800" b="0" i="0" u="none" strike="noStrike" dirty="0">
                        <a:solidFill>
                          <a:srgbClr val="000000"/>
                        </a:solidFill>
                        <a:effectLst/>
                        <a:latin typeface="Raleway" pitchFamily="2" charset="0"/>
                      </a:endParaRPr>
                    </a:p>
                  </a:txBody>
                  <a:tcPr marL="0" marR="0" marT="0" marB="0" anchor="ctr"/>
                </a:tc>
                <a:tc>
                  <a:txBody>
                    <a:bodyPr/>
                    <a:lstStyle/>
                    <a:p>
                      <a:pPr algn="l"/>
                      <a:r>
                        <a:rPr lang="en-US" sz="800" dirty="0">
                          <a:latin typeface="Raleway" pitchFamily="2" charset="0"/>
                        </a:rPr>
                        <a:t>End-to-End</a:t>
                      </a:r>
                    </a:p>
                  </a:txBody>
                  <a:tcPr/>
                </a:tc>
                <a:tc>
                  <a:txBody>
                    <a:bodyPr/>
                    <a:lstStyle/>
                    <a:p>
                      <a:pPr algn="l"/>
                      <a:r>
                        <a:rPr lang="en-US" sz="800" dirty="0">
                          <a:latin typeface="Raleway" pitchFamily="2" charset="0"/>
                        </a:rPr>
                        <a:t>During the initial stage, the candidate vaccine was sent to a pharmaceutical plant in the US for production. </a:t>
                      </a:r>
                    </a:p>
                    <a:p>
                      <a:pPr algn="l"/>
                      <a:r>
                        <a:rPr lang="en-US" sz="800" dirty="0">
                          <a:latin typeface="Raleway" pitchFamily="2" charset="0"/>
                        </a:rPr>
                        <a:t>In the second stage, it will be locally produced by </a:t>
                      </a:r>
                      <a:r>
                        <a:rPr lang="en-US" sz="800" dirty="0" err="1">
                          <a:latin typeface="Raleway" pitchFamily="2" charset="0"/>
                        </a:rPr>
                        <a:t>BioNet</a:t>
                      </a:r>
                      <a:r>
                        <a:rPr lang="en-US" sz="800" dirty="0">
                          <a:latin typeface="Raleway" pitchFamily="2" charset="0"/>
                        </a:rPr>
                        <a:t>-Asia. Won a BARDA Patch Forward Prize Concept Stage award for its mRNA influenza vaccine microneedle patch. The project, part of BARDA’s Project NextGen, received $2 million to advance development.</a:t>
                      </a:r>
                    </a:p>
                  </a:txBody>
                  <a:tcPr/>
                </a:tc>
                <a:extLst>
                  <a:ext uri="{0D108BD9-81ED-4DB2-BD59-A6C34878D82A}">
                    <a16:rowId xmlns:a16="http://schemas.microsoft.com/office/drawing/2014/main" val="423017230"/>
                  </a:ext>
                </a:extLst>
              </a:tr>
              <a:tr h="445161">
                <a:tc>
                  <a:txBody>
                    <a:bodyPr/>
                    <a:lstStyle/>
                    <a:p>
                      <a:pPr algn="l"/>
                      <a:r>
                        <a:rPr lang="en-US" sz="800" b="1" dirty="0">
                          <a:latin typeface="Raleway" pitchFamily="2" charset="0"/>
                        </a:rPr>
                        <a:t>Thailand</a:t>
                      </a:r>
                    </a:p>
                  </a:txBody>
                  <a:tcPr/>
                </a:tc>
                <a:tc>
                  <a:txBody>
                    <a:bodyPr/>
                    <a:lstStyle/>
                    <a:p>
                      <a:pPr algn="l"/>
                      <a:r>
                        <a:rPr lang="en-US" sz="800" err="1">
                          <a:latin typeface="Raleway" pitchFamily="2" charset="0"/>
                        </a:rPr>
                        <a:t>BioNet</a:t>
                      </a:r>
                      <a:endParaRPr lang="en-US" sz="800">
                        <a:latin typeface="Raleway" pitchFamily="2" charset="0"/>
                      </a:endParaRPr>
                    </a:p>
                  </a:txBody>
                  <a:tcPr/>
                </a:tc>
                <a:tc>
                  <a:txBody>
                    <a:bodyPr/>
                    <a:lstStyle/>
                    <a:p>
                      <a:pPr algn="l" fontAlgn="ctr"/>
                      <a:r>
                        <a:rPr lang="en-US" sz="800" b="0" u="none" strike="noStrike" dirty="0">
                          <a:effectLst/>
                          <a:latin typeface="Raleway" pitchFamily="2" charset="0"/>
                        </a:rPr>
                        <a:t>California-Davis, Chulalongkorn, and IVI  (CEPI)</a:t>
                      </a:r>
                    </a:p>
                    <a:p>
                      <a:pPr algn="l" fontAlgn="ctr"/>
                      <a:endParaRPr lang="en-US" sz="800" b="0" i="0" u="none" strike="noStrike" dirty="0">
                        <a:solidFill>
                          <a:srgbClr val="000000"/>
                        </a:solidFill>
                        <a:effectLst/>
                        <a:latin typeface="Raleway" pitchFamily="2" charset="0"/>
                      </a:endParaRPr>
                    </a:p>
                  </a:txBody>
                  <a:tcPr marL="0" marR="0" marT="0" marB="0" anchor="ctr"/>
                </a:tc>
                <a:tc>
                  <a:txBody>
                    <a:bodyPr/>
                    <a:lstStyle/>
                    <a:p>
                      <a:pPr algn="l"/>
                      <a:endParaRPr lang="en-US" sz="800" dirty="0">
                        <a:latin typeface="Raleway" pitchFamily="2" charset="0"/>
                      </a:endParaRPr>
                    </a:p>
                  </a:txBody>
                  <a:tcPr/>
                </a:tc>
                <a:tc>
                  <a:txBody>
                    <a:bodyPr/>
                    <a:lstStyle/>
                    <a:p>
                      <a:pPr algn="l"/>
                      <a:r>
                        <a:rPr lang="en-US" sz="800" dirty="0">
                          <a:latin typeface="Raleway" pitchFamily="2" charset="0"/>
                        </a:rPr>
                        <a:t>CEPI will partner with </a:t>
                      </a:r>
                      <a:r>
                        <a:rPr lang="en-US" sz="800" dirty="0" err="1">
                          <a:latin typeface="Raleway" pitchFamily="2" charset="0"/>
                        </a:rPr>
                        <a:t>BioNet</a:t>
                      </a:r>
                      <a:r>
                        <a:rPr lang="en-US" sz="800" dirty="0">
                          <a:latin typeface="Raleway" pitchFamily="2" charset="0"/>
                        </a:rPr>
                        <a:t> providing up to $16.9 million to support preclinical studies, Phase I and Phase II CTs, production of necessary clinical trial material, process and analytical development. To develop vaccines that broadly protect against SARS-CoV-2 variants and other Beta coronaviruses.</a:t>
                      </a:r>
                    </a:p>
                  </a:txBody>
                  <a:tcPr/>
                </a:tc>
                <a:extLst>
                  <a:ext uri="{0D108BD9-81ED-4DB2-BD59-A6C34878D82A}">
                    <a16:rowId xmlns:a16="http://schemas.microsoft.com/office/drawing/2014/main" val="4114079512"/>
                  </a:ext>
                </a:extLst>
              </a:tr>
              <a:tr h="968215">
                <a:tc>
                  <a:txBody>
                    <a:bodyPr/>
                    <a:lstStyle/>
                    <a:p>
                      <a:pPr marL="0" algn="l" defTabSz="914400" rtl="0" eaLnBrk="1" latinLnBrk="0" hangingPunct="1"/>
                      <a:r>
                        <a:rPr lang="en-US" sz="800" b="1" kern="1200" dirty="0">
                          <a:solidFill>
                            <a:schemeClr val="accent1">
                              <a:lumMod val="75000"/>
                            </a:schemeClr>
                          </a:solidFill>
                          <a:latin typeface="Raleway" pitchFamily="2" charset="0"/>
                          <a:ea typeface="+mn-ea"/>
                          <a:cs typeface="+mn-cs"/>
                        </a:rPr>
                        <a:t>Iran</a:t>
                      </a:r>
                    </a:p>
                  </a:txBody>
                  <a:tcPr/>
                </a:tc>
                <a:tc>
                  <a:txBody>
                    <a:bodyPr/>
                    <a:lstStyle/>
                    <a:p>
                      <a:pPr marL="0" algn="l" defTabSz="914400" rtl="0" eaLnBrk="1" latinLnBrk="0" hangingPunct="1"/>
                      <a:r>
                        <a:rPr lang="en-US" sz="800" b="0" kern="1200" dirty="0" err="1">
                          <a:solidFill>
                            <a:schemeClr val="accent1">
                              <a:lumMod val="75000"/>
                            </a:schemeClr>
                          </a:solidFill>
                          <a:latin typeface="Raleway" pitchFamily="2" charset="0"/>
                          <a:ea typeface="+mn-ea"/>
                          <a:cs typeface="+mn-cs"/>
                        </a:rPr>
                        <a:t>ReNAP</a:t>
                      </a:r>
                      <a:r>
                        <a:rPr lang="en-US" sz="800" b="0" kern="1200" dirty="0">
                          <a:solidFill>
                            <a:schemeClr val="accent1">
                              <a:lumMod val="75000"/>
                            </a:schemeClr>
                          </a:solidFill>
                          <a:latin typeface="Raleway" pitchFamily="2" charset="0"/>
                          <a:ea typeface="+mn-ea"/>
                          <a:cs typeface="+mn-cs"/>
                        </a:rPr>
                        <a:t> Therapeutics</a:t>
                      </a:r>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800" b="0" kern="1200" dirty="0">
                          <a:solidFill>
                            <a:schemeClr val="accent1">
                              <a:lumMod val="75000"/>
                            </a:schemeClr>
                          </a:solidFill>
                          <a:latin typeface="Raleway" pitchFamily="2" charset="0"/>
                          <a:ea typeface="+mn-ea"/>
                          <a:cs typeface="+mn-cs"/>
                        </a:rPr>
                        <a:t>Drug Substance &amp;Mashhad University of Medical Sciences</a:t>
                      </a:r>
                    </a:p>
                    <a:p>
                      <a:pPr marL="0" marR="0" lvl="0" indent="0" algn="l" defTabSz="914400" rtl="0" eaLnBrk="1" fontAlgn="ctr" latinLnBrk="0" hangingPunct="1">
                        <a:lnSpc>
                          <a:spcPct val="100000"/>
                        </a:lnSpc>
                        <a:spcBef>
                          <a:spcPts val="0"/>
                        </a:spcBef>
                        <a:spcAft>
                          <a:spcPts val="0"/>
                        </a:spcAft>
                        <a:buClrTx/>
                        <a:buSzTx/>
                        <a:buFontTx/>
                        <a:buNone/>
                        <a:tabLst/>
                        <a:defRPr/>
                      </a:pPr>
                      <a:endParaRPr lang="en-US" sz="800" b="0" kern="1200" dirty="0">
                        <a:solidFill>
                          <a:schemeClr val="accent1">
                            <a:lumMod val="75000"/>
                          </a:schemeClr>
                        </a:solidFill>
                        <a:latin typeface="Raleway" pitchFamily="2" charset="0"/>
                        <a:ea typeface="+mn-ea"/>
                        <a:cs typeface="+mn-cs"/>
                      </a:endParaRPr>
                    </a:p>
                    <a:p>
                      <a:pPr marL="0" algn="l" defTabSz="914400" rtl="0" eaLnBrk="1" fontAlgn="ctr" latinLnBrk="0" hangingPunct="1"/>
                      <a:endParaRPr lang="en-US" sz="800" b="0" kern="1200" dirty="0">
                        <a:solidFill>
                          <a:schemeClr val="accent1">
                            <a:lumMod val="75000"/>
                          </a:schemeClr>
                        </a:solidFill>
                        <a:latin typeface="Raleway" pitchFamily="2" charset="0"/>
                        <a:ea typeface="+mn-ea"/>
                        <a:cs typeface="+mn-cs"/>
                      </a:endParaRPr>
                    </a:p>
                  </a:txBody>
                  <a:tcPr marL="0" marR="0" marT="0" marB="0" anchor="ctr"/>
                </a:tc>
                <a:tc>
                  <a:txBody>
                    <a:bodyPr/>
                    <a:lstStyle/>
                    <a:p>
                      <a:pPr marL="0" algn="l" defTabSz="914400" rtl="0" eaLnBrk="1" latinLnBrk="0" hangingPunct="1"/>
                      <a:r>
                        <a:rPr lang="en-US" sz="800" b="0" kern="1200" dirty="0">
                          <a:solidFill>
                            <a:schemeClr val="accent1">
                              <a:lumMod val="75000"/>
                            </a:schemeClr>
                          </a:solidFill>
                          <a:latin typeface="Raleway" pitchFamily="2" charset="0"/>
                          <a:ea typeface="+mn-ea"/>
                          <a:cs typeface="+mn-cs"/>
                        </a:rPr>
                        <a:t>Drug Substanc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kern="1200" dirty="0" err="1">
                          <a:solidFill>
                            <a:schemeClr val="accent1">
                              <a:lumMod val="75000"/>
                            </a:schemeClr>
                          </a:solidFill>
                          <a:latin typeface="Raleway" pitchFamily="2" charset="0"/>
                          <a:ea typeface="+mn-ea"/>
                          <a:cs typeface="+mn-cs"/>
                        </a:rPr>
                        <a:t>OReNAPCIN</a:t>
                      </a:r>
                      <a:r>
                        <a:rPr lang="en-US" sz="800" b="0" kern="1200" dirty="0">
                          <a:solidFill>
                            <a:schemeClr val="accent1">
                              <a:lumMod val="75000"/>
                            </a:schemeClr>
                          </a:solidFill>
                          <a:latin typeface="Raleway" pitchFamily="2" charset="0"/>
                          <a:ea typeface="+mn-ea"/>
                          <a:cs typeface="+mn-cs"/>
                        </a:rPr>
                        <a:t>® is a nucleoside-modified mRNA-LNP COVID-19 vaccine developed by </a:t>
                      </a:r>
                      <a:r>
                        <a:rPr lang="en-US" sz="800" b="0" kern="1200" dirty="0" err="1">
                          <a:solidFill>
                            <a:schemeClr val="accent1">
                              <a:lumMod val="75000"/>
                            </a:schemeClr>
                          </a:solidFill>
                          <a:latin typeface="Raleway" pitchFamily="2" charset="0"/>
                          <a:ea typeface="+mn-ea"/>
                          <a:cs typeface="+mn-cs"/>
                        </a:rPr>
                        <a:t>ReNAP</a:t>
                      </a:r>
                      <a:r>
                        <a:rPr lang="en-US" sz="800" b="0" kern="1200" dirty="0">
                          <a:solidFill>
                            <a:schemeClr val="accent1">
                              <a:lumMod val="75000"/>
                            </a:schemeClr>
                          </a:solidFill>
                          <a:latin typeface="Raleway" pitchFamily="2" charset="0"/>
                          <a:ea typeface="+mn-ea"/>
                          <a:cs typeface="+mn-cs"/>
                        </a:rPr>
                        <a:t> Therapeutics. Phase 1 trial in Iran (2024) showed safety and immunogenicity as a heterologous booster after inactivated vaccines. Preclinical data in mice and macaques showed strong immune response.</a:t>
                      </a:r>
                    </a:p>
                    <a:p>
                      <a:pPr marL="0" algn="l" defTabSz="914400" rtl="0" eaLnBrk="1" latinLnBrk="0" hangingPunct="1"/>
                      <a:endParaRPr lang="en-US" sz="800" b="0" kern="1200" dirty="0">
                        <a:solidFill>
                          <a:schemeClr val="accent1">
                            <a:lumMod val="75000"/>
                          </a:schemeClr>
                        </a:solidFill>
                        <a:latin typeface="Raleway" pitchFamily="2" charset="0"/>
                        <a:ea typeface="+mn-ea"/>
                        <a:cs typeface="+mn-cs"/>
                      </a:endParaRPr>
                    </a:p>
                  </a:txBody>
                  <a:tcPr/>
                </a:tc>
                <a:extLst>
                  <a:ext uri="{0D108BD9-81ED-4DB2-BD59-A6C34878D82A}">
                    <a16:rowId xmlns:a16="http://schemas.microsoft.com/office/drawing/2014/main" val="1498664063"/>
                  </a:ext>
                </a:extLst>
              </a:tr>
              <a:tr h="695905">
                <a:tc>
                  <a:txBody>
                    <a:bodyPr/>
                    <a:lstStyle/>
                    <a:p>
                      <a:pPr marL="0" algn="l" defTabSz="914400" rtl="0" eaLnBrk="1" latinLnBrk="0" hangingPunct="1"/>
                      <a:r>
                        <a:rPr lang="en-US" sz="800" b="1" kern="1200" dirty="0">
                          <a:solidFill>
                            <a:schemeClr val="accent1">
                              <a:lumMod val="75000"/>
                            </a:schemeClr>
                          </a:solidFill>
                          <a:latin typeface="Raleway" pitchFamily="2" charset="0"/>
                          <a:ea typeface="+mn-ea"/>
                          <a:cs typeface="+mn-cs"/>
                        </a:rPr>
                        <a:t>Iran</a:t>
                      </a:r>
                    </a:p>
                  </a:txBody>
                  <a:tcPr/>
                </a:tc>
                <a:tc>
                  <a:txBody>
                    <a:bodyPr/>
                    <a:lstStyle/>
                    <a:p>
                      <a:pPr marL="0" algn="l" defTabSz="914400" rtl="0" eaLnBrk="1" latinLnBrk="0" hangingPunct="1"/>
                      <a:r>
                        <a:rPr lang="en-US" sz="800" b="0" kern="1200" dirty="0">
                          <a:solidFill>
                            <a:schemeClr val="accent1">
                              <a:lumMod val="75000"/>
                            </a:schemeClr>
                          </a:solidFill>
                          <a:latin typeface="Raleway" pitchFamily="2" charset="0"/>
                          <a:ea typeface="+mn-ea"/>
                          <a:cs typeface="+mn-cs"/>
                        </a:rPr>
                        <a:t>Mashhad University of Medical Sciences</a:t>
                      </a:r>
                    </a:p>
                  </a:txBody>
                  <a:tcPr/>
                </a:tc>
                <a:tc>
                  <a:txBody>
                    <a:bodyPr/>
                    <a:lstStyle/>
                    <a:p>
                      <a:pPr marL="0" algn="l" defTabSz="914400" rtl="0" eaLnBrk="1" fontAlgn="ctr" latinLnBrk="0" hangingPunct="1"/>
                      <a:r>
                        <a:rPr lang="en-US" sz="800" b="0" kern="1200" dirty="0">
                          <a:solidFill>
                            <a:schemeClr val="accent1">
                              <a:lumMod val="75000"/>
                            </a:schemeClr>
                          </a:solidFill>
                          <a:latin typeface="Raleway" pitchFamily="2" charset="0"/>
                          <a:ea typeface="+mn-ea"/>
                          <a:cs typeface="+mn-cs"/>
                        </a:rPr>
                        <a:t>Mashhad University of Medical Sciences</a:t>
                      </a:r>
                    </a:p>
                  </a:txBody>
                  <a:tcPr marL="9525" marR="9525" marT="9525" marB="0" anchor="ctr"/>
                </a:tc>
                <a:tc>
                  <a:txBody>
                    <a:bodyPr/>
                    <a:lstStyle/>
                    <a:p>
                      <a:pPr marL="0" algn="l" defTabSz="914400" rtl="0" eaLnBrk="1" latinLnBrk="0" hangingPunct="1"/>
                      <a:endParaRPr lang="en-US" sz="800" b="1" kern="1200" dirty="0">
                        <a:solidFill>
                          <a:schemeClr val="accent1">
                            <a:lumMod val="75000"/>
                          </a:schemeClr>
                        </a:solidFill>
                        <a:latin typeface="Raleway" pitchFamily="2" charset="0"/>
                        <a:ea typeface="+mn-ea"/>
                        <a:cs typeface="+mn-cs"/>
                      </a:endParaRPr>
                    </a:p>
                  </a:txBody>
                  <a:tcPr/>
                </a:tc>
                <a:tc>
                  <a:txBody>
                    <a:bodyPr/>
                    <a:lstStyle/>
                    <a:p>
                      <a:pPr marL="0" algn="l" defTabSz="914400" rtl="0" eaLnBrk="1" latinLnBrk="0" hangingPunct="1"/>
                      <a:r>
                        <a:rPr lang="en-US" sz="800" b="0" kern="1200" dirty="0">
                          <a:solidFill>
                            <a:schemeClr val="accent1">
                              <a:lumMod val="75000"/>
                            </a:schemeClr>
                          </a:solidFill>
                          <a:latin typeface="Raleway" pitchFamily="2" charset="0"/>
                          <a:ea typeface="+mn-ea"/>
                          <a:cs typeface="+mn-cs"/>
                        </a:rPr>
                        <a:t>SNEG2c/</a:t>
                      </a:r>
                      <a:r>
                        <a:rPr lang="en-US" sz="800" b="0" kern="1200" dirty="0" err="1">
                          <a:solidFill>
                            <a:schemeClr val="accent1">
                              <a:lumMod val="75000"/>
                            </a:schemeClr>
                          </a:solidFill>
                          <a:latin typeface="Raleway" pitchFamily="2" charset="0"/>
                          <a:ea typeface="+mn-ea"/>
                          <a:cs typeface="+mn-cs"/>
                        </a:rPr>
                        <a:t>Iribovax</a:t>
                      </a:r>
                      <a:r>
                        <a:rPr lang="en-US" sz="800" b="0" kern="1200" dirty="0">
                          <a:solidFill>
                            <a:schemeClr val="accent1">
                              <a:lumMod val="75000"/>
                            </a:schemeClr>
                          </a:solidFill>
                          <a:latin typeface="Raleway" pitchFamily="2" charset="0"/>
                          <a:ea typeface="+mn-ea"/>
                          <a:cs typeface="+mn-cs"/>
                        </a:rPr>
                        <a:t>® is a thermostable nucleoside-modified mRNA-LNP COVID-19 vaccine. Strong protection and immunogenicity demonstrated in multiple animal models; safety and thermostability validated. Clinical trials are under preparation.</a:t>
                      </a:r>
                    </a:p>
                  </a:txBody>
                  <a:tcPr/>
                </a:tc>
                <a:extLst>
                  <a:ext uri="{0D108BD9-81ED-4DB2-BD59-A6C34878D82A}">
                    <a16:rowId xmlns:a16="http://schemas.microsoft.com/office/drawing/2014/main" val="2788387412"/>
                  </a:ext>
                </a:extLst>
              </a:tr>
            </a:tbl>
          </a:graphicData>
        </a:graphic>
      </p:graphicFrame>
      <p:sp>
        <p:nvSpPr>
          <p:cNvPr id="49" name="TextBox 48">
            <a:extLst>
              <a:ext uri="{FF2B5EF4-FFF2-40B4-BE49-F238E27FC236}">
                <a16:creationId xmlns:a16="http://schemas.microsoft.com/office/drawing/2014/main" id="{E43F2316-8F85-B80C-B86F-BD403694B946}"/>
              </a:ext>
            </a:extLst>
          </p:cNvPr>
          <p:cNvSpPr txBox="1"/>
          <p:nvPr/>
        </p:nvSpPr>
        <p:spPr>
          <a:xfrm>
            <a:off x="9031410" y="5846644"/>
            <a:ext cx="2965187" cy="338554"/>
          </a:xfrm>
          <a:prstGeom prst="rect">
            <a:avLst/>
          </a:prstGeom>
          <a:noFill/>
        </p:spPr>
        <p:txBody>
          <a:bodyPr wrap="square" rtlCol="0">
            <a:spAutoFit/>
          </a:bodyPr>
          <a:lstStyle/>
          <a:p>
            <a:r>
              <a:rPr lang="en-US" sz="800" b="1" dirty="0">
                <a:solidFill>
                  <a:schemeClr val="accent1">
                    <a:lumMod val="75000"/>
                  </a:schemeClr>
                </a:solidFill>
                <a:latin typeface="Raleway" pitchFamily="2" charset="0"/>
              </a:rPr>
              <a:t>Blue – New or updated entries (added at the bottom)</a:t>
            </a:r>
          </a:p>
          <a:p>
            <a:r>
              <a:rPr lang="en-US" sz="800" b="1" dirty="0">
                <a:latin typeface="Raleway" pitchFamily="2" charset="0"/>
              </a:rPr>
              <a:t>Black – No update (existing entries)</a:t>
            </a:r>
          </a:p>
        </p:txBody>
      </p:sp>
      <p:sp>
        <p:nvSpPr>
          <p:cNvPr id="50" name="Slide Number Placeholder 2">
            <a:extLst>
              <a:ext uri="{FF2B5EF4-FFF2-40B4-BE49-F238E27FC236}">
                <a16:creationId xmlns:a16="http://schemas.microsoft.com/office/drawing/2014/main" id="{A2A46F2F-2969-36D5-DE86-943804B34B82}"/>
              </a:ext>
            </a:extLst>
          </p:cNvPr>
          <p:cNvSpPr txBox="1">
            <a:spLocks/>
          </p:cNvSpPr>
          <p:nvPr/>
        </p:nvSpPr>
        <p:spPr>
          <a:xfrm>
            <a:off x="11560724" y="6318245"/>
            <a:ext cx="403413" cy="365125"/>
          </a:xfrm>
          <a:prstGeom prst="rect">
            <a:avLst/>
          </a:prstGeom>
        </p:spPr>
        <p:txBody>
          <a:bodyPr vert="horz" lIns="91440" tIns="45720" rIns="91440" bIns="45720" rtlCol="0" anchor="ctr"/>
          <a:lstStyle>
            <a:defPPr>
              <a:defRPr lang="en-RO"/>
            </a:defPPr>
            <a:lvl1pPr marL="0" algn="ctr" defTabSz="914400" rtl="0" eaLnBrk="1" latinLnBrk="0" hangingPunct="1">
              <a:defRPr sz="1200" b="0" i="0" kern="1200">
                <a:solidFill>
                  <a:schemeClr val="bg1"/>
                </a:solidFill>
                <a:latin typeface=""/>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D1C8182-8BBE-B542-ADE5-8820B104469B}" type="slidenum">
              <a:rPr lang="en-RO" smtClean="0"/>
              <a:pPr/>
              <a:t>4</a:t>
            </a:fld>
            <a:endParaRPr lang="en-RO" dirty="0"/>
          </a:p>
        </p:txBody>
      </p:sp>
    </p:spTree>
    <p:extLst>
      <p:ext uri="{BB962C8B-B14F-4D97-AF65-F5344CB8AC3E}">
        <p14:creationId xmlns:p14="http://schemas.microsoft.com/office/powerpoint/2010/main" val="15722941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1" name="Group 120">
            <a:extLst>
              <a:ext uri="{FF2B5EF4-FFF2-40B4-BE49-F238E27FC236}">
                <a16:creationId xmlns:a16="http://schemas.microsoft.com/office/drawing/2014/main" id="{F672D14C-2D1A-4FA2-88D0-A633F854B847}"/>
              </a:ext>
            </a:extLst>
          </p:cNvPr>
          <p:cNvGrpSpPr/>
          <p:nvPr/>
        </p:nvGrpSpPr>
        <p:grpSpPr>
          <a:xfrm>
            <a:off x="721406" y="1270227"/>
            <a:ext cx="5048304" cy="5196765"/>
            <a:chOff x="1212437" y="3408217"/>
            <a:chExt cx="1726438" cy="1813545"/>
          </a:xfrm>
          <a:solidFill>
            <a:schemeClr val="bg1">
              <a:lumMod val="65000"/>
            </a:schemeClr>
          </a:solidFill>
        </p:grpSpPr>
        <p:sp>
          <p:nvSpPr>
            <p:cNvPr id="124" name="Freeform 8">
              <a:extLst>
                <a:ext uri="{FF2B5EF4-FFF2-40B4-BE49-F238E27FC236}">
                  <a16:creationId xmlns:a16="http://schemas.microsoft.com/office/drawing/2014/main" id="{B859A9DE-6D2D-4832-8EFA-4BA78F1423BE}"/>
                </a:ext>
              </a:extLst>
            </p:cNvPr>
            <p:cNvSpPr>
              <a:spLocks noEditPoints="1"/>
            </p:cNvSpPr>
            <p:nvPr/>
          </p:nvSpPr>
          <p:spPr bwMode="auto">
            <a:xfrm>
              <a:off x="1766576" y="4766277"/>
              <a:ext cx="108100" cy="188911"/>
            </a:xfrm>
            <a:custGeom>
              <a:avLst/>
              <a:gdLst/>
              <a:ahLst/>
              <a:cxnLst>
                <a:cxn ang="0">
                  <a:pos x="100" y="108"/>
                </a:cxn>
                <a:cxn ang="0">
                  <a:pos x="96" y="100"/>
                </a:cxn>
                <a:cxn ang="0">
                  <a:pos x="90" y="96"/>
                </a:cxn>
                <a:cxn ang="0">
                  <a:pos x="3" y="79"/>
                </a:cxn>
                <a:cxn ang="0">
                  <a:pos x="59" y="37"/>
                </a:cxn>
                <a:cxn ang="0">
                  <a:pos x="12" y="37"/>
                </a:cxn>
                <a:cxn ang="0">
                  <a:pos x="9" y="39"/>
                </a:cxn>
                <a:cxn ang="0">
                  <a:pos x="53" y="24"/>
                </a:cxn>
                <a:cxn ang="0">
                  <a:pos x="0" y="16"/>
                </a:cxn>
                <a:cxn ang="0">
                  <a:pos x="24" y="10"/>
                </a:cxn>
                <a:cxn ang="0">
                  <a:pos x="9" y="3"/>
                </a:cxn>
                <a:cxn ang="0">
                  <a:pos x="12" y="10"/>
                </a:cxn>
                <a:cxn ang="0">
                  <a:pos x="27" y="0"/>
                </a:cxn>
                <a:cxn ang="0">
                  <a:pos x="26" y="3"/>
                </a:cxn>
                <a:cxn ang="0">
                  <a:pos x="23" y="1"/>
                </a:cxn>
                <a:cxn ang="0">
                  <a:pos x="36" y="10"/>
                </a:cxn>
                <a:cxn ang="0">
                  <a:pos x="50" y="25"/>
                </a:cxn>
                <a:cxn ang="0">
                  <a:pos x="57" y="31"/>
                </a:cxn>
                <a:cxn ang="0">
                  <a:pos x="59" y="36"/>
                </a:cxn>
                <a:cxn ang="0">
                  <a:pos x="60" y="40"/>
                </a:cxn>
                <a:cxn ang="0">
                  <a:pos x="68" y="48"/>
                </a:cxn>
                <a:cxn ang="0">
                  <a:pos x="74" y="60"/>
                </a:cxn>
                <a:cxn ang="0">
                  <a:pos x="68" y="61"/>
                </a:cxn>
                <a:cxn ang="0">
                  <a:pos x="80" y="63"/>
                </a:cxn>
                <a:cxn ang="0">
                  <a:pos x="83" y="76"/>
                </a:cxn>
                <a:cxn ang="0">
                  <a:pos x="83" y="81"/>
                </a:cxn>
                <a:cxn ang="0">
                  <a:pos x="87" y="84"/>
                </a:cxn>
                <a:cxn ang="0">
                  <a:pos x="90" y="91"/>
                </a:cxn>
                <a:cxn ang="0">
                  <a:pos x="93" y="99"/>
                </a:cxn>
                <a:cxn ang="0">
                  <a:pos x="99" y="109"/>
                </a:cxn>
                <a:cxn ang="0">
                  <a:pos x="103" y="129"/>
                </a:cxn>
                <a:cxn ang="0">
                  <a:pos x="99" y="145"/>
                </a:cxn>
                <a:cxn ang="0">
                  <a:pos x="87" y="160"/>
                </a:cxn>
                <a:cxn ang="0">
                  <a:pos x="69" y="169"/>
                </a:cxn>
                <a:cxn ang="0">
                  <a:pos x="56" y="175"/>
                </a:cxn>
                <a:cxn ang="0">
                  <a:pos x="36" y="178"/>
                </a:cxn>
                <a:cxn ang="0">
                  <a:pos x="21" y="171"/>
                </a:cxn>
                <a:cxn ang="0">
                  <a:pos x="17" y="160"/>
                </a:cxn>
                <a:cxn ang="0">
                  <a:pos x="8" y="123"/>
                </a:cxn>
                <a:cxn ang="0">
                  <a:pos x="6" y="103"/>
                </a:cxn>
                <a:cxn ang="0">
                  <a:pos x="2" y="79"/>
                </a:cxn>
                <a:cxn ang="0">
                  <a:pos x="9" y="85"/>
                </a:cxn>
                <a:cxn ang="0">
                  <a:pos x="8" y="70"/>
                </a:cxn>
                <a:cxn ang="0">
                  <a:pos x="12" y="57"/>
                </a:cxn>
                <a:cxn ang="0">
                  <a:pos x="17" y="39"/>
                </a:cxn>
                <a:cxn ang="0">
                  <a:pos x="21" y="24"/>
                </a:cxn>
                <a:cxn ang="0">
                  <a:pos x="23" y="18"/>
                </a:cxn>
                <a:cxn ang="0">
                  <a:pos x="20" y="10"/>
                </a:cxn>
                <a:cxn ang="0">
                  <a:pos x="29" y="18"/>
                </a:cxn>
                <a:cxn ang="0">
                  <a:pos x="41" y="15"/>
                </a:cxn>
                <a:cxn ang="0">
                  <a:pos x="33" y="13"/>
                </a:cxn>
                <a:cxn ang="0">
                  <a:pos x="24" y="10"/>
                </a:cxn>
                <a:cxn ang="0">
                  <a:pos x="15" y="7"/>
                </a:cxn>
                <a:cxn ang="0">
                  <a:pos x="14" y="3"/>
                </a:cxn>
              </a:cxnLst>
              <a:rect l="0" t="0" r="r" b="b"/>
              <a:pathLst>
                <a:path w="103" h="180">
                  <a:moveTo>
                    <a:pt x="96" y="99"/>
                  </a:moveTo>
                  <a:lnTo>
                    <a:pt x="97" y="99"/>
                  </a:lnTo>
                  <a:lnTo>
                    <a:pt x="97" y="100"/>
                  </a:lnTo>
                  <a:lnTo>
                    <a:pt x="99" y="102"/>
                  </a:lnTo>
                  <a:lnTo>
                    <a:pt x="99" y="103"/>
                  </a:lnTo>
                  <a:lnTo>
                    <a:pt x="100" y="108"/>
                  </a:lnTo>
                  <a:lnTo>
                    <a:pt x="99" y="109"/>
                  </a:lnTo>
                  <a:lnTo>
                    <a:pt x="99" y="108"/>
                  </a:lnTo>
                  <a:lnTo>
                    <a:pt x="97" y="108"/>
                  </a:lnTo>
                  <a:lnTo>
                    <a:pt x="99" y="105"/>
                  </a:lnTo>
                  <a:lnTo>
                    <a:pt x="97" y="103"/>
                  </a:lnTo>
                  <a:lnTo>
                    <a:pt x="96" y="100"/>
                  </a:lnTo>
                  <a:lnTo>
                    <a:pt x="96" y="99"/>
                  </a:lnTo>
                  <a:close/>
                  <a:moveTo>
                    <a:pt x="90" y="96"/>
                  </a:moveTo>
                  <a:lnTo>
                    <a:pt x="90" y="97"/>
                  </a:lnTo>
                  <a:lnTo>
                    <a:pt x="91" y="97"/>
                  </a:lnTo>
                  <a:lnTo>
                    <a:pt x="91" y="96"/>
                  </a:lnTo>
                  <a:lnTo>
                    <a:pt x="90" y="96"/>
                  </a:lnTo>
                  <a:close/>
                  <a:moveTo>
                    <a:pt x="5" y="72"/>
                  </a:moveTo>
                  <a:lnTo>
                    <a:pt x="5" y="73"/>
                  </a:lnTo>
                  <a:lnTo>
                    <a:pt x="6" y="73"/>
                  </a:lnTo>
                  <a:lnTo>
                    <a:pt x="5" y="75"/>
                  </a:lnTo>
                  <a:lnTo>
                    <a:pt x="5" y="78"/>
                  </a:lnTo>
                  <a:lnTo>
                    <a:pt x="3" y="79"/>
                  </a:lnTo>
                  <a:lnTo>
                    <a:pt x="3" y="78"/>
                  </a:lnTo>
                  <a:lnTo>
                    <a:pt x="2" y="75"/>
                  </a:lnTo>
                  <a:lnTo>
                    <a:pt x="3" y="75"/>
                  </a:lnTo>
                  <a:lnTo>
                    <a:pt x="3" y="73"/>
                  </a:lnTo>
                  <a:lnTo>
                    <a:pt x="5" y="72"/>
                  </a:lnTo>
                  <a:close/>
                  <a:moveTo>
                    <a:pt x="59" y="37"/>
                  </a:moveTo>
                  <a:lnTo>
                    <a:pt x="60" y="37"/>
                  </a:lnTo>
                  <a:lnTo>
                    <a:pt x="60" y="39"/>
                  </a:lnTo>
                  <a:lnTo>
                    <a:pt x="59" y="37"/>
                  </a:lnTo>
                  <a:close/>
                  <a:moveTo>
                    <a:pt x="3" y="34"/>
                  </a:moveTo>
                  <a:lnTo>
                    <a:pt x="9" y="34"/>
                  </a:lnTo>
                  <a:lnTo>
                    <a:pt x="12" y="37"/>
                  </a:lnTo>
                  <a:lnTo>
                    <a:pt x="11" y="37"/>
                  </a:lnTo>
                  <a:lnTo>
                    <a:pt x="12" y="39"/>
                  </a:lnTo>
                  <a:lnTo>
                    <a:pt x="12" y="40"/>
                  </a:lnTo>
                  <a:lnTo>
                    <a:pt x="11" y="40"/>
                  </a:lnTo>
                  <a:lnTo>
                    <a:pt x="11" y="39"/>
                  </a:lnTo>
                  <a:lnTo>
                    <a:pt x="9" y="39"/>
                  </a:lnTo>
                  <a:lnTo>
                    <a:pt x="9" y="37"/>
                  </a:lnTo>
                  <a:lnTo>
                    <a:pt x="6" y="36"/>
                  </a:lnTo>
                  <a:lnTo>
                    <a:pt x="5" y="36"/>
                  </a:lnTo>
                  <a:lnTo>
                    <a:pt x="3" y="34"/>
                  </a:lnTo>
                  <a:close/>
                  <a:moveTo>
                    <a:pt x="51" y="24"/>
                  </a:moveTo>
                  <a:lnTo>
                    <a:pt x="53" y="24"/>
                  </a:lnTo>
                  <a:lnTo>
                    <a:pt x="53" y="25"/>
                  </a:lnTo>
                  <a:lnTo>
                    <a:pt x="51" y="24"/>
                  </a:lnTo>
                  <a:close/>
                  <a:moveTo>
                    <a:pt x="0" y="13"/>
                  </a:moveTo>
                  <a:lnTo>
                    <a:pt x="3" y="13"/>
                  </a:lnTo>
                  <a:lnTo>
                    <a:pt x="3" y="16"/>
                  </a:lnTo>
                  <a:lnTo>
                    <a:pt x="0" y="16"/>
                  </a:lnTo>
                  <a:lnTo>
                    <a:pt x="0" y="13"/>
                  </a:lnTo>
                  <a:close/>
                  <a:moveTo>
                    <a:pt x="24" y="10"/>
                  </a:moveTo>
                  <a:lnTo>
                    <a:pt x="26" y="10"/>
                  </a:lnTo>
                  <a:lnTo>
                    <a:pt x="26" y="12"/>
                  </a:lnTo>
                  <a:lnTo>
                    <a:pt x="24" y="12"/>
                  </a:lnTo>
                  <a:lnTo>
                    <a:pt x="24" y="10"/>
                  </a:lnTo>
                  <a:close/>
                  <a:moveTo>
                    <a:pt x="14" y="9"/>
                  </a:moveTo>
                  <a:lnTo>
                    <a:pt x="15" y="9"/>
                  </a:lnTo>
                  <a:lnTo>
                    <a:pt x="15" y="10"/>
                  </a:lnTo>
                  <a:lnTo>
                    <a:pt x="14" y="10"/>
                  </a:lnTo>
                  <a:lnTo>
                    <a:pt x="14" y="9"/>
                  </a:lnTo>
                  <a:close/>
                  <a:moveTo>
                    <a:pt x="9" y="3"/>
                  </a:moveTo>
                  <a:lnTo>
                    <a:pt x="11" y="3"/>
                  </a:lnTo>
                  <a:lnTo>
                    <a:pt x="11" y="7"/>
                  </a:lnTo>
                  <a:lnTo>
                    <a:pt x="12" y="7"/>
                  </a:lnTo>
                  <a:lnTo>
                    <a:pt x="14" y="9"/>
                  </a:lnTo>
                  <a:lnTo>
                    <a:pt x="12" y="9"/>
                  </a:lnTo>
                  <a:lnTo>
                    <a:pt x="12" y="10"/>
                  </a:lnTo>
                  <a:lnTo>
                    <a:pt x="11" y="10"/>
                  </a:lnTo>
                  <a:lnTo>
                    <a:pt x="11" y="9"/>
                  </a:lnTo>
                  <a:lnTo>
                    <a:pt x="9" y="9"/>
                  </a:lnTo>
                  <a:lnTo>
                    <a:pt x="9" y="3"/>
                  </a:lnTo>
                  <a:close/>
                  <a:moveTo>
                    <a:pt x="23" y="0"/>
                  </a:moveTo>
                  <a:lnTo>
                    <a:pt x="27" y="0"/>
                  </a:lnTo>
                  <a:lnTo>
                    <a:pt x="29" y="1"/>
                  </a:lnTo>
                  <a:lnTo>
                    <a:pt x="29" y="3"/>
                  </a:lnTo>
                  <a:lnTo>
                    <a:pt x="35" y="10"/>
                  </a:lnTo>
                  <a:lnTo>
                    <a:pt x="30" y="7"/>
                  </a:lnTo>
                  <a:lnTo>
                    <a:pt x="27" y="3"/>
                  </a:lnTo>
                  <a:lnTo>
                    <a:pt x="26" y="3"/>
                  </a:lnTo>
                  <a:lnTo>
                    <a:pt x="23" y="1"/>
                  </a:lnTo>
                  <a:lnTo>
                    <a:pt x="23" y="0"/>
                  </a:lnTo>
                  <a:close/>
                  <a:moveTo>
                    <a:pt x="15" y="0"/>
                  </a:moveTo>
                  <a:lnTo>
                    <a:pt x="20" y="1"/>
                  </a:lnTo>
                  <a:lnTo>
                    <a:pt x="21" y="0"/>
                  </a:lnTo>
                  <a:lnTo>
                    <a:pt x="23" y="1"/>
                  </a:lnTo>
                  <a:lnTo>
                    <a:pt x="23" y="3"/>
                  </a:lnTo>
                  <a:lnTo>
                    <a:pt x="26" y="3"/>
                  </a:lnTo>
                  <a:lnTo>
                    <a:pt x="33" y="10"/>
                  </a:lnTo>
                  <a:lnTo>
                    <a:pt x="36" y="12"/>
                  </a:lnTo>
                  <a:lnTo>
                    <a:pt x="35" y="10"/>
                  </a:lnTo>
                  <a:lnTo>
                    <a:pt x="36" y="10"/>
                  </a:lnTo>
                  <a:lnTo>
                    <a:pt x="38" y="12"/>
                  </a:lnTo>
                  <a:lnTo>
                    <a:pt x="50" y="22"/>
                  </a:lnTo>
                  <a:lnTo>
                    <a:pt x="51" y="22"/>
                  </a:lnTo>
                  <a:lnTo>
                    <a:pt x="51" y="24"/>
                  </a:lnTo>
                  <a:lnTo>
                    <a:pt x="50" y="24"/>
                  </a:lnTo>
                  <a:lnTo>
                    <a:pt x="50" y="25"/>
                  </a:lnTo>
                  <a:lnTo>
                    <a:pt x="53" y="27"/>
                  </a:lnTo>
                  <a:lnTo>
                    <a:pt x="53" y="25"/>
                  </a:lnTo>
                  <a:lnTo>
                    <a:pt x="54" y="25"/>
                  </a:lnTo>
                  <a:lnTo>
                    <a:pt x="54" y="27"/>
                  </a:lnTo>
                  <a:lnTo>
                    <a:pt x="56" y="28"/>
                  </a:lnTo>
                  <a:lnTo>
                    <a:pt x="57" y="31"/>
                  </a:lnTo>
                  <a:lnTo>
                    <a:pt x="54" y="31"/>
                  </a:lnTo>
                  <a:lnTo>
                    <a:pt x="54" y="33"/>
                  </a:lnTo>
                  <a:lnTo>
                    <a:pt x="56" y="33"/>
                  </a:lnTo>
                  <a:lnTo>
                    <a:pt x="56" y="34"/>
                  </a:lnTo>
                  <a:lnTo>
                    <a:pt x="57" y="34"/>
                  </a:lnTo>
                  <a:lnTo>
                    <a:pt x="59" y="36"/>
                  </a:lnTo>
                  <a:lnTo>
                    <a:pt x="59" y="37"/>
                  </a:lnTo>
                  <a:lnTo>
                    <a:pt x="57" y="37"/>
                  </a:lnTo>
                  <a:lnTo>
                    <a:pt x="59" y="39"/>
                  </a:lnTo>
                  <a:lnTo>
                    <a:pt x="59" y="42"/>
                  </a:lnTo>
                  <a:lnTo>
                    <a:pt x="60" y="42"/>
                  </a:lnTo>
                  <a:lnTo>
                    <a:pt x="60" y="40"/>
                  </a:lnTo>
                  <a:lnTo>
                    <a:pt x="62" y="39"/>
                  </a:lnTo>
                  <a:lnTo>
                    <a:pt x="63" y="42"/>
                  </a:lnTo>
                  <a:lnTo>
                    <a:pt x="65" y="43"/>
                  </a:lnTo>
                  <a:lnTo>
                    <a:pt x="65" y="45"/>
                  </a:lnTo>
                  <a:lnTo>
                    <a:pt x="66" y="45"/>
                  </a:lnTo>
                  <a:lnTo>
                    <a:pt x="68" y="48"/>
                  </a:lnTo>
                  <a:lnTo>
                    <a:pt x="69" y="49"/>
                  </a:lnTo>
                  <a:lnTo>
                    <a:pt x="71" y="52"/>
                  </a:lnTo>
                  <a:lnTo>
                    <a:pt x="72" y="54"/>
                  </a:lnTo>
                  <a:lnTo>
                    <a:pt x="72" y="57"/>
                  </a:lnTo>
                  <a:lnTo>
                    <a:pt x="74" y="58"/>
                  </a:lnTo>
                  <a:lnTo>
                    <a:pt x="74" y="60"/>
                  </a:lnTo>
                  <a:lnTo>
                    <a:pt x="72" y="60"/>
                  </a:lnTo>
                  <a:lnTo>
                    <a:pt x="72" y="61"/>
                  </a:lnTo>
                  <a:lnTo>
                    <a:pt x="71" y="61"/>
                  </a:lnTo>
                  <a:lnTo>
                    <a:pt x="71" y="60"/>
                  </a:lnTo>
                  <a:lnTo>
                    <a:pt x="69" y="60"/>
                  </a:lnTo>
                  <a:lnTo>
                    <a:pt x="68" y="61"/>
                  </a:lnTo>
                  <a:lnTo>
                    <a:pt x="71" y="61"/>
                  </a:lnTo>
                  <a:lnTo>
                    <a:pt x="71" y="63"/>
                  </a:lnTo>
                  <a:lnTo>
                    <a:pt x="75" y="63"/>
                  </a:lnTo>
                  <a:lnTo>
                    <a:pt x="75" y="61"/>
                  </a:lnTo>
                  <a:lnTo>
                    <a:pt x="78" y="61"/>
                  </a:lnTo>
                  <a:lnTo>
                    <a:pt x="80" y="63"/>
                  </a:lnTo>
                  <a:lnTo>
                    <a:pt x="80" y="67"/>
                  </a:lnTo>
                  <a:lnTo>
                    <a:pt x="78" y="66"/>
                  </a:lnTo>
                  <a:lnTo>
                    <a:pt x="78" y="69"/>
                  </a:lnTo>
                  <a:lnTo>
                    <a:pt x="81" y="69"/>
                  </a:lnTo>
                  <a:lnTo>
                    <a:pt x="81" y="73"/>
                  </a:lnTo>
                  <a:lnTo>
                    <a:pt x="83" y="76"/>
                  </a:lnTo>
                  <a:lnTo>
                    <a:pt x="83" y="79"/>
                  </a:lnTo>
                  <a:lnTo>
                    <a:pt x="81" y="78"/>
                  </a:lnTo>
                  <a:lnTo>
                    <a:pt x="81" y="76"/>
                  </a:lnTo>
                  <a:lnTo>
                    <a:pt x="80" y="76"/>
                  </a:lnTo>
                  <a:lnTo>
                    <a:pt x="80" y="78"/>
                  </a:lnTo>
                  <a:lnTo>
                    <a:pt x="83" y="81"/>
                  </a:lnTo>
                  <a:lnTo>
                    <a:pt x="83" y="79"/>
                  </a:lnTo>
                  <a:lnTo>
                    <a:pt x="84" y="79"/>
                  </a:lnTo>
                  <a:lnTo>
                    <a:pt x="84" y="82"/>
                  </a:lnTo>
                  <a:lnTo>
                    <a:pt x="85" y="82"/>
                  </a:lnTo>
                  <a:lnTo>
                    <a:pt x="85" y="84"/>
                  </a:lnTo>
                  <a:lnTo>
                    <a:pt x="87" y="84"/>
                  </a:lnTo>
                  <a:lnTo>
                    <a:pt x="87" y="85"/>
                  </a:lnTo>
                  <a:lnTo>
                    <a:pt x="88" y="85"/>
                  </a:lnTo>
                  <a:lnTo>
                    <a:pt x="87" y="87"/>
                  </a:lnTo>
                  <a:lnTo>
                    <a:pt x="88" y="87"/>
                  </a:lnTo>
                  <a:lnTo>
                    <a:pt x="88" y="91"/>
                  </a:lnTo>
                  <a:lnTo>
                    <a:pt x="90" y="91"/>
                  </a:lnTo>
                  <a:lnTo>
                    <a:pt x="90" y="93"/>
                  </a:lnTo>
                  <a:lnTo>
                    <a:pt x="91" y="93"/>
                  </a:lnTo>
                  <a:lnTo>
                    <a:pt x="91" y="94"/>
                  </a:lnTo>
                  <a:lnTo>
                    <a:pt x="94" y="96"/>
                  </a:lnTo>
                  <a:lnTo>
                    <a:pt x="94" y="99"/>
                  </a:lnTo>
                  <a:lnTo>
                    <a:pt x="93" y="99"/>
                  </a:lnTo>
                  <a:lnTo>
                    <a:pt x="94" y="100"/>
                  </a:lnTo>
                  <a:lnTo>
                    <a:pt x="94" y="102"/>
                  </a:lnTo>
                  <a:lnTo>
                    <a:pt x="96" y="102"/>
                  </a:lnTo>
                  <a:lnTo>
                    <a:pt x="97" y="105"/>
                  </a:lnTo>
                  <a:lnTo>
                    <a:pt x="97" y="109"/>
                  </a:lnTo>
                  <a:lnTo>
                    <a:pt x="99" y="109"/>
                  </a:lnTo>
                  <a:lnTo>
                    <a:pt x="99" y="111"/>
                  </a:lnTo>
                  <a:lnTo>
                    <a:pt x="100" y="109"/>
                  </a:lnTo>
                  <a:lnTo>
                    <a:pt x="100" y="111"/>
                  </a:lnTo>
                  <a:lnTo>
                    <a:pt x="102" y="112"/>
                  </a:lnTo>
                  <a:lnTo>
                    <a:pt x="102" y="127"/>
                  </a:lnTo>
                  <a:lnTo>
                    <a:pt x="103" y="129"/>
                  </a:lnTo>
                  <a:lnTo>
                    <a:pt x="103" y="130"/>
                  </a:lnTo>
                  <a:lnTo>
                    <a:pt x="102" y="132"/>
                  </a:lnTo>
                  <a:lnTo>
                    <a:pt x="100" y="139"/>
                  </a:lnTo>
                  <a:lnTo>
                    <a:pt x="100" y="142"/>
                  </a:lnTo>
                  <a:lnTo>
                    <a:pt x="99" y="142"/>
                  </a:lnTo>
                  <a:lnTo>
                    <a:pt x="99" y="145"/>
                  </a:lnTo>
                  <a:lnTo>
                    <a:pt x="97" y="147"/>
                  </a:lnTo>
                  <a:lnTo>
                    <a:pt x="97" y="148"/>
                  </a:lnTo>
                  <a:lnTo>
                    <a:pt x="93" y="156"/>
                  </a:lnTo>
                  <a:lnTo>
                    <a:pt x="91" y="157"/>
                  </a:lnTo>
                  <a:lnTo>
                    <a:pt x="88" y="159"/>
                  </a:lnTo>
                  <a:lnTo>
                    <a:pt x="87" y="160"/>
                  </a:lnTo>
                  <a:lnTo>
                    <a:pt x="78" y="166"/>
                  </a:lnTo>
                  <a:lnTo>
                    <a:pt x="77" y="168"/>
                  </a:lnTo>
                  <a:lnTo>
                    <a:pt x="72" y="169"/>
                  </a:lnTo>
                  <a:lnTo>
                    <a:pt x="71" y="168"/>
                  </a:lnTo>
                  <a:lnTo>
                    <a:pt x="71" y="169"/>
                  </a:lnTo>
                  <a:lnTo>
                    <a:pt x="69" y="169"/>
                  </a:lnTo>
                  <a:lnTo>
                    <a:pt x="69" y="171"/>
                  </a:lnTo>
                  <a:lnTo>
                    <a:pt x="68" y="171"/>
                  </a:lnTo>
                  <a:lnTo>
                    <a:pt x="63" y="172"/>
                  </a:lnTo>
                  <a:lnTo>
                    <a:pt x="60" y="174"/>
                  </a:lnTo>
                  <a:lnTo>
                    <a:pt x="57" y="174"/>
                  </a:lnTo>
                  <a:lnTo>
                    <a:pt x="56" y="175"/>
                  </a:lnTo>
                  <a:lnTo>
                    <a:pt x="53" y="175"/>
                  </a:lnTo>
                  <a:lnTo>
                    <a:pt x="50" y="178"/>
                  </a:lnTo>
                  <a:lnTo>
                    <a:pt x="45" y="178"/>
                  </a:lnTo>
                  <a:lnTo>
                    <a:pt x="45" y="180"/>
                  </a:lnTo>
                  <a:lnTo>
                    <a:pt x="38" y="180"/>
                  </a:lnTo>
                  <a:lnTo>
                    <a:pt x="36" y="178"/>
                  </a:lnTo>
                  <a:lnTo>
                    <a:pt x="32" y="178"/>
                  </a:lnTo>
                  <a:lnTo>
                    <a:pt x="32" y="177"/>
                  </a:lnTo>
                  <a:lnTo>
                    <a:pt x="27" y="177"/>
                  </a:lnTo>
                  <a:lnTo>
                    <a:pt x="27" y="175"/>
                  </a:lnTo>
                  <a:lnTo>
                    <a:pt x="24" y="175"/>
                  </a:lnTo>
                  <a:lnTo>
                    <a:pt x="21" y="171"/>
                  </a:lnTo>
                  <a:lnTo>
                    <a:pt x="20" y="171"/>
                  </a:lnTo>
                  <a:lnTo>
                    <a:pt x="20" y="169"/>
                  </a:lnTo>
                  <a:lnTo>
                    <a:pt x="18" y="165"/>
                  </a:lnTo>
                  <a:lnTo>
                    <a:pt x="18" y="163"/>
                  </a:lnTo>
                  <a:lnTo>
                    <a:pt x="17" y="163"/>
                  </a:lnTo>
                  <a:lnTo>
                    <a:pt x="17" y="160"/>
                  </a:lnTo>
                  <a:lnTo>
                    <a:pt x="15" y="159"/>
                  </a:lnTo>
                  <a:lnTo>
                    <a:pt x="15" y="153"/>
                  </a:lnTo>
                  <a:lnTo>
                    <a:pt x="14" y="150"/>
                  </a:lnTo>
                  <a:lnTo>
                    <a:pt x="9" y="139"/>
                  </a:lnTo>
                  <a:lnTo>
                    <a:pt x="9" y="130"/>
                  </a:lnTo>
                  <a:lnTo>
                    <a:pt x="8" y="123"/>
                  </a:lnTo>
                  <a:lnTo>
                    <a:pt x="9" y="123"/>
                  </a:lnTo>
                  <a:lnTo>
                    <a:pt x="9" y="121"/>
                  </a:lnTo>
                  <a:lnTo>
                    <a:pt x="8" y="121"/>
                  </a:lnTo>
                  <a:lnTo>
                    <a:pt x="8" y="120"/>
                  </a:lnTo>
                  <a:lnTo>
                    <a:pt x="9" y="120"/>
                  </a:lnTo>
                  <a:lnTo>
                    <a:pt x="6" y="103"/>
                  </a:lnTo>
                  <a:lnTo>
                    <a:pt x="6" y="97"/>
                  </a:lnTo>
                  <a:lnTo>
                    <a:pt x="5" y="91"/>
                  </a:lnTo>
                  <a:lnTo>
                    <a:pt x="5" y="87"/>
                  </a:lnTo>
                  <a:lnTo>
                    <a:pt x="3" y="85"/>
                  </a:lnTo>
                  <a:lnTo>
                    <a:pt x="2" y="81"/>
                  </a:lnTo>
                  <a:lnTo>
                    <a:pt x="2" y="79"/>
                  </a:lnTo>
                  <a:lnTo>
                    <a:pt x="3" y="79"/>
                  </a:lnTo>
                  <a:lnTo>
                    <a:pt x="3" y="81"/>
                  </a:lnTo>
                  <a:lnTo>
                    <a:pt x="5" y="82"/>
                  </a:lnTo>
                  <a:lnTo>
                    <a:pt x="3" y="84"/>
                  </a:lnTo>
                  <a:lnTo>
                    <a:pt x="5" y="85"/>
                  </a:lnTo>
                  <a:lnTo>
                    <a:pt x="9" y="85"/>
                  </a:lnTo>
                  <a:lnTo>
                    <a:pt x="8" y="84"/>
                  </a:lnTo>
                  <a:lnTo>
                    <a:pt x="8" y="82"/>
                  </a:lnTo>
                  <a:lnTo>
                    <a:pt x="6" y="82"/>
                  </a:lnTo>
                  <a:lnTo>
                    <a:pt x="6" y="81"/>
                  </a:lnTo>
                  <a:lnTo>
                    <a:pt x="8" y="78"/>
                  </a:lnTo>
                  <a:lnTo>
                    <a:pt x="8" y="70"/>
                  </a:lnTo>
                  <a:lnTo>
                    <a:pt x="9" y="69"/>
                  </a:lnTo>
                  <a:lnTo>
                    <a:pt x="9" y="63"/>
                  </a:lnTo>
                  <a:lnTo>
                    <a:pt x="11" y="63"/>
                  </a:lnTo>
                  <a:lnTo>
                    <a:pt x="11" y="60"/>
                  </a:lnTo>
                  <a:lnTo>
                    <a:pt x="12" y="58"/>
                  </a:lnTo>
                  <a:lnTo>
                    <a:pt x="12" y="57"/>
                  </a:lnTo>
                  <a:lnTo>
                    <a:pt x="14" y="55"/>
                  </a:lnTo>
                  <a:lnTo>
                    <a:pt x="14" y="51"/>
                  </a:lnTo>
                  <a:lnTo>
                    <a:pt x="12" y="48"/>
                  </a:lnTo>
                  <a:lnTo>
                    <a:pt x="12" y="42"/>
                  </a:lnTo>
                  <a:lnTo>
                    <a:pt x="14" y="40"/>
                  </a:lnTo>
                  <a:lnTo>
                    <a:pt x="17" y="39"/>
                  </a:lnTo>
                  <a:lnTo>
                    <a:pt x="18" y="37"/>
                  </a:lnTo>
                  <a:lnTo>
                    <a:pt x="18" y="36"/>
                  </a:lnTo>
                  <a:lnTo>
                    <a:pt x="20" y="34"/>
                  </a:lnTo>
                  <a:lnTo>
                    <a:pt x="20" y="33"/>
                  </a:lnTo>
                  <a:lnTo>
                    <a:pt x="21" y="30"/>
                  </a:lnTo>
                  <a:lnTo>
                    <a:pt x="21" y="24"/>
                  </a:lnTo>
                  <a:lnTo>
                    <a:pt x="20" y="24"/>
                  </a:lnTo>
                  <a:lnTo>
                    <a:pt x="18" y="22"/>
                  </a:lnTo>
                  <a:lnTo>
                    <a:pt x="18" y="21"/>
                  </a:lnTo>
                  <a:lnTo>
                    <a:pt x="20" y="19"/>
                  </a:lnTo>
                  <a:lnTo>
                    <a:pt x="23" y="19"/>
                  </a:lnTo>
                  <a:lnTo>
                    <a:pt x="23" y="18"/>
                  </a:lnTo>
                  <a:lnTo>
                    <a:pt x="24" y="18"/>
                  </a:lnTo>
                  <a:lnTo>
                    <a:pt x="24" y="15"/>
                  </a:lnTo>
                  <a:lnTo>
                    <a:pt x="23" y="13"/>
                  </a:lnTo>
                  <a:lnTo>
                    <a:pt x="20" y="12"/>
                  </a:lnTo>
                  <a:lnTo>
                    <a:pt x="18" y="10"/>
                  </a:lnTo>
                  <a:lnTo>
                    <a:pt x="20" y="10"/>
                  </a:lnTo>
                  <a:lnTo>
                    <a:pt x="21" y="12"/>
                  </a:lnTo>
                  <a:lnTo>
                    <a:pt x="24" y="13"/>
                  </a:lnTo>
                  <a:lnTo>
                    <a:pt x="27" y="13"/>
                  </a:lnTo>
                  <a:lnTo>
                    <a:pt x="27" y="15"/>
                  </a:lnTo>
                  <a:lnTo>
                    <a:pt x="29" y="15"/>
                  </a:lnTo>
                  <a:lnTo>
                    <a:pt x="29" y="18"/>
                  </a:lnTo>
                  <a:lnTo>
                    <a:pt x="32" y="16"/>
                  </a:lnTo>
                  <a:lnTo>
                    <a:pt x="36" y="15"/>
                  </a:lnTo>
                  <a:lnTo>
                    <a:pt x="42" y="18"/>
                  </a:lnTo>
                  <a:lnTo>
                    <a:pt x="44" y="18"/>
                  </a:lnTo>
                  <a:lnTo>
                    <a:pt x="41" y="16"/>
                  </a:lnTo>
                  <a:lnTo>
                    <a:pt x="41" y="15"/>
                  </a:lnTo>
                  <a:lnTo>
                    <a:pt x="38" y="15"/>
                  </a:lnTo>
                  <a:lnTo>
                    <a:pt x="38" y="13"/>
                  </a:lnTo>
                  <a:lnTo>
                    <a:pt x="36" y="13"/>
                  </a:lnTo>
                  <a:lnTo>
                    <a:pt x="36" y="15"/>
                  </a:lnTo>
                  <a:lnTo>
                    <a:pt x="35" y="13"/>
                  </a:lnTo>
                  <a:lnTo>
                    <a:pt x="33" y="13"/>
                  </a:lnTo>
                  <a:lnTo>
                    <a:pt x="30" y="12"/>
                  </a:lnTo>
                  <a:lnTo>
                    <a:pt x="29" y="10"/>
                  </a:lnTo>
                  <a:lnTo>
                    <a:pt x="27" y="10"/>
                  </a:lnTo>
                  <a:lnTo>
                    <a:pt x="26" y="9"/>
                  </a:lnTo>
                  <a:lnTo>
                    <a:pt x="24" y="9"/>
                  </a:lnTo>
                  <a:lnTo>
                    <a:pt x="24" y="10"/>
                  </a:lnTo>
                  <a:lnTo>
                    <a:pt x="23" y="10"/>
                  </a:lnTo>
                  <a:lnTo>
                    <a:pt x="21" y="9"/>
                  </a:lnTo>
                  <a:lnTo>
                    <a:pt x="21" y="10"/>
                  </a:lnTo>
                  <a:lnTo>
                    <a:pt x="20" y="10"/>
                  </a:lnTo>
                  <a:lnTo>
                    <a:pt x="17" y="7"/>
                  </a:lnTo>
                  <a:lnTo>
                    <a:pt x="15" y="7"/>
                  </a:lnTo>
                  <a:lnTo>
                    <a:pt x="15" y="6"/>
                  </a:lnTo>
                  <a:lnTo>
                    <a:pt x="14" y="6"/>
                  </a:lnTo>
                  <a:lnTo>
                    <a:pt x="14" y="4"/>
                  </a:lnTo>
                  <a:lnTo>
                    <a:pt x="12" y="4"/>
                  </a:lnTo>
                  <a:lnTo>
                    <a:pt x="12" y="3"/>
                  </a:lnTo>
                  <a:lnTo>
                    <a:pt x="14" y="3"/>
                  </a:lnTo>
                  <a:lnTo>
                    <a:pt x="15" y="1"/>
                  </a:lnTo>
                  <a:lnTo>
                    <a:pt x="15"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10">
              <a:extLst>
                <a:ext uri="{FF2B5EF4-FFF2-40B4-BE49-F238E27FC236}">
                  <a16:creationId xmlns:a16="http://schemas.microsoft.com/office/drawing/2014/main" id="{092AB541-53C7-4CA1-BFF1-0F99970A9DA3}"/>
                </a:ext>
              </a:extLst>
            </p:cNvPr>
            <p:cNvSpPr>
              <a:spLocks/>
            </p:cNvSpPr>
            <p:nvPr/>
          </p:nvSpPr>
          <p:spPr bwMode="auto">
            <a:xfrm>
              <a:off x="2922083" y="5170336"/>
              <a:ext cx="16792" cy="9446"/>
            </a:xfrm>
            <a:custGeom>
              <a:avLst/>
              <a:gdLst/>
              <a:ahLst/>
              <a:cxnLst>
                <a:cxn ang="0">
                  <a:pos x="7" y="0"/>
                </a:cxn>
                <a:cxn ang="0">
                  <a:pos x="10" y="0"/>
                </a:cxn>
                <a:cxn ang="0">
                  <a:pos x="13" y="3"/>
                </a:cxn>
                <a:cxn ang="0">
                  <a:pos x="16" y="3"/>
                </a:cxn>
                <a:cxn ang="0">
                  <a:pos x="16" y="4"/>
                </a:cxn>
                <a:cxn ang="0">
                  <a:pos x="15" y="6"/>
                </a:cxn>
                <a:cxn ang="0">
                  <a:pos x="12" y="6"/>
                </a:cxn>
                <a:cxn ang="0">
                  <a:pos x="12" y="7"/>
                </a:cxn>
                <a:cxn ang="0">
                  <a:pos x="9" y="7"/>
                </a:cxn>
                <a:cxn ang="0">
                  <a:pos x="9" y="9"/>
                </a:cxn>
                <a:cxn ang="0">
                  <a:pos x="7" y="9"/>
                </a:cxn>
                <a:cxn ang="0">
                  <a:pos x="6" y="7"/>
                </a:cxn>
                <a:cxn ang="0">
                  <a:pos x="4" y="7"/>
                </a:cxn>
                <a:cxn ang="0">
                  <a:pos x="3" y="6"/>
                </a:cxn>
                <a:cxn ang="0">
                  <a:pos x="0" y="6"/>
                </a:cxn>
                <a:cxn ang="0">
                  <a:pos x="0" y="4"/>
                </a:cxn>
                <a:cxn ang="0">
                  <a:pos x="1" y="3"/>
                </a:cxn>
                <a:cxn ang="0">
                  <a:pos x="1" y="1"/>
                </a:cxn>
                <a:cxn ang="0">
                  <a:pos x="6" y="1"/>
                </a:cxn>
                <a:cxn ang="0">
                  <a:pos x="7" y="0"/>
                </a:cxn>
              </a:cxnLst>
              <a:rect l="0" t="0" r="r" b="b"/>
              <a:pathLst>
                <a:path w="16" h="9">
                  <a:moveTo>
                    <a:pt x="7" y="0"/>
                  </a:moveTo>
                  <a:lnTo>
                    <a:pt x="10" y="0"/>
                  </a:lnTo>
                  <a:lnTo>
                    <a:pt x="13" y="3"/>
                  </a:lnTo>
                  <a:lnTo>
                    <a:pt x="16" y="3"/>
                  </a:lnTo>
                  <a:lnTo>
                    <a:pt x="16" y="4"/>
                  </a:lnTo>
                  <a:lnTo>
                    <a:pt x="15" y="6"/>
                  </a:lnTo>
                  <a:lnTo>
                    <a:pt x="12" y="6"/>
                  </a:lnTo>
                  <a:lnTo>
                    <a:pt x="12" y="7"/>
                  </a:lnTo>
                  <a:lnTo>
                    <a:pt x="9" y="7"/>
                  </a:lnTo>
                  <a:lnTo>
                    <a:pt x="9" y="9"/>
                  </a:lnTo>
                  <a:lnTo>
                    <a:pt x="7" y="9"/>
                  </a:lnTo>
                  <a:lnTo>
                    <a:pt x="6" y="7"/>
                  </a:lnTo>
                  <a:lnTo>
                    <a:pt x="4" y="7"/>
                  </a:lnTo>
                  <a:lnTo>
                    <a:pt x="3" y="6"/>
                  </a:lnTo>
                  <a:lnTo>
                    <a:pt x="0" y="6"/>
                  </a:lnTo>
                  <a:lnTo>
                    <a:pt x="0" y="4"/>
                  </a:lnTo>
                  <a:lnTo>
                    <a:pt x="1" y="3"/>
                  </a:lnTo>
                  <a:lnTo>
                    <a:pt x="1" y="1"/>
                  </a:lnTo>
                  <a:lnTo>
                    <a:pt x="6" y="1"/>
                  </a:lnTo>
                  <a:lnTo>
                    <a:pt x="7"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19">
              <a:extLst>
                <a:ext uri="{FF2B5EF4-FFF2-40B4-BE49-F238E27FC236}">
                  <a16:creationId xmlns:a16="http://schemas.microsoft.com/office/drawing/2014/main" id="{C1C284B1-0B67-485A-8316-D032BC86316A}"/>
                </a:ext>
              </a:extLst>
            </p:cNvPr>
            <p:cNvSpPr>
              <a:spLocks/>
            </p:cNvSpPr>
            <p:nvPr/>
          </p:nvSpPr>
          <p:spPr bwMode="auto">
            <a:xfrm>
              <a:off x="1785468" y="3708376"/>
              <a:ext cx="391466" cy="222494"/>
            </a:xfrm>
            <a:custGeom>
              <a:avLst/>
              <a:gdLst/>
              <a:ahLst/>
              <a:cxnLst>
                <a:cxn ang="0">
                  <a:pos x="88" y="5"/>
                </a:cxn>
                <a:cxn ang="0">
                  <a:pos x="97" y="14"/>
                </a:cxn>
                <a:cxn ang="0">
                  <a:pos x="109" y="23"/>
                </a:cxn>
                <a:cxn ang="0">
                  <a:pos x="124" y="36"/>
                </a:cxn>
                <a:cxn ang="0">
                  <a:pos x="135" y="39"/>
                </a:cxn>
                <a:cxn ang="0">
                  <a:pos x="147" y="45"/>
                </a:cxn>
                <a:cxn ang="0">
                  <a:pos x="154" y="54"/>
                </a:cxn>
                <a:cxn ang="0">
                  <a:pos x="162" y="65"/>
                </a:cxn>
                <a:cxn ang="0">
                  <a:pos x="177" y="60"/>
                </a:cxn>
                <a:cxn ang="0">
                  <a:pos x="186" y="62"/>
                </a:cxn>
                <a:cxn ang="0">
                  <a:pos x="190" y="72"/>
                </a:cxn>
                <a:cxn ang="0">
                  <a:pos x="202" y="89"/>
                </a:cxn>
                <a:cxn ang="0">
                  <a:pos x="217" y="96"/>
                </a:cxn>
                <a:cxn ang="0">
                  <a:pos x="227" y="95"/>
                </a:cxn>
                <a:cxn ang="0">
                  <a:pos x="233" y="102"/>
                </a:cxn>
                <a:cxn ang="0">
                  <a:pos x="235" y="111"/>
                </a:cxn>
                <a:cxn ang="0">
                  <a:pos x="248" y="111"/>
                </a:cxn>
                <a:cxn ang="0">
                  <a:pos x="257" y="111"/>
                </a:cxn>
                <a:cxn ang="0">
                  <a:pos x="268" y="119"/>
                </a:cxn>
                <a:cxn ang="0">
                  <a:pos x="277" y="126"/>
                </a:cxn>
                <a:cxn ang="0">
                  <a:pos x="287" y="129"/>
                </a:cxn>
                <a:cxn ang="0">
                  <a:pos x="308" y="126"/>
                </a:cxn>
                <a:cxn ang="0">
                  <a:pos x="332" y="137"/>
                </a:cxn>
                <a:cxn ang="0">
                  <a:pos x="347" y="137"/>
                </a:cxn>
                <a:cxn ang="0">
                  <a:pos x="359" y="132"/>
                </a:cxn>
                <a:cxn ang="0">
                  <a:pos x="367" y="162"/>
                </a:cxn>
                <a:cxn ang="0">
                  <a:pos x="368" y="177"/>
                </a:cxn>
                <a:cxn ang="0">
                  <a:pos x="368" y="206"/>
                </a:cxn>
                <a:cxn ang="0">
                  <a:pos x="358" y="207"/>
                </a:cxn>
                <a:cxn ang="0">
                  <a:pos x="350" y="209"/>
                </a:cxn>
                <a:cxn ang="0">
                  <a:pos x="331" y="210"/>
                </a:cxn>
                <a:cxn ang="0">
                  <a:pos x="316" y="203"/>
                </a:cxn>
                <a:cxn ang="0">
                  <a:pos x="295" y="203"/>
                </a:cxn>
                <a:cxn ang="0">
                  <a:pos x="281" y="198"/>
                </a:cxn>
                <a:cxn ang="0">
                  <a:pos x="265" y="198"/>
                </a:cxn>
                <a:cxn ang="0">
                  <a:pos x="250" y="188"/>
                </a:cxn>
                <a:cxn ang="0">
                  <a:pos x="235" y="186"/>
                </a:cxn>
                <a:cxn ang="0">
                  <a:pos x="223" y="179"/>
                </a:cxn>
                <a:cxn ang="0">
                  <a:pos x="211" y="174"/>
                </a:cxn>
                <a:cxn ang="0">
                  <a:pos x="195" y="158"/>
                </a:cxn>
                <a:cxn ang="0">
                  <a:pos x="181" y="156"/>
                </a:cxn>
                <a:cxn ang="0">
                  <a:pos x="154" y="153"/>
                </a:cxn>
                <a:cxn ang="0">
                  <a:pos x="133" y="155"/>
                </a:cxn>
                <a:cxn ang="0">
                  <a:pos x="114" y="143"/>
                </a:cxn>
                <a:cxn ang="0">
                  <a:pos x="93" y="131"/>
                </a:cxn>
                <a:cxn ang="0">
                  <a:pos x="72" y="126"/>
                </a:cxn>
                <a:cxn ang="0">
                  <a:pos x="62" y="117"/>
                </a:cxn>
                <a:cxn ang="0">
                  <a:pos x="51" y="107"/>
                </a:cxn>
                <a:cxn ang="0">
                  <a:pos x="35" y="99"/>
                </a:cxn>
                <a:cxn ang="0">
                  <a:pos x="21" y="92"/>
                </a:cxn>
                <a:cxn ang="0">
                  <a:pos x="12" y="93"/>
                </a:cxn>
                <a:cxn ang="0">
                  <a:pos x="0" y="77"/>
                </a:cxn>
                <a:cxn ang="0">
                  <a:pos x="8" y="63"/>
                </a:cxn>
                <a:cxn ang="0">
                  <a:pos x="11" y="50"/>
                </a:cxn>
                <a:cxn ang="0">
                  <a:pos x="14" y="36"/>
                </a:cxn>
                <a:cxn ang="0">
                  <a:pos x="27" y="24"/>
                </a:cxn>
                <a:cxn ang="0">
                  <a:pos x="39" y="11"/>
                </a:cxn>
                <a:cxn ang="0">
                  <a:pos x="47" y="17"/>
                </a:cxn>
                <a:cxn ang="0">
                  <a:pos x="56" y="15"/>
                </a:cxn>
                <a:cxn ang="0">
                  <a:pos x="67" y="5"/>
                </a:cxn>
              </a:cxnLst>
              <a:rect l="0" t="0" r="r" b="b"/>
              <a:pathLst>
                <a:path w="373" h="212">
                  <a:moveTo>
                    <a:pt x="70" y="0"/>
                  </a:moveTo>
                  <a:lnTo>
                    <a:pt x="73" y="0"/>
                  </a:lnTo>
                  <a:lnTo>
                    <a:pt x="79" y="3"/>
                  </a:lnTo>
                  <a:lnTo>
                    <a:pt x="81" y="3"/>
                  </a:lnTo>
                  <a:lnTo>
                    <a:pt x="82" y="2"/>
                  </a:lnTo>
                  <a:lnTo>
                    <a:pt x="85" y="3"/>
                  </a:lnTo>
                  <a:lnTo>
                    <a:pt x="87" y="3"/>
                  </a:lnTo>
                  <a:lnTo>
                    <a:pt x="88" y="5"/>
                  </a:lnTo>
                  <a:lnTo>
                    <a:pt x="90" y="5"/>
                  </a:lnTo>
                  <a:lnTo>
                    <a:pt x="90" y="3"/>
                  </a:lnTo>
                  <a:lnTo>
                    <a:pt x="93" y="3"/>
                  </a:lnTo>
                  <a:lnTo>
                    <a:pt x="94" y="5"/>
                  </a:lnTo>
                  <a:lnTo>
                    <a:pt x="94" y="11"/>
                  </a:lnTo>
                  <a:lnTo>
                    <a:pt x="96" y="12"/>
                  </a:lnTo>
                  <a:lnTo>
                    <a:pt x="97" y="12"/>
                  </a:lnTo>
                  <a:lnTo>
                    <a:pt x="97" y="14"/>
                  </a:lnTo>
                  <a:lnTo>
                    <a:pt x="96" y="15"/>
                  </a:lnTo>
                  <a:lnTo>
                    <a:pt x="96" y="18"/>
                  </a:lnTo>
                  <a:lnTo>
                    <a:pt x="99" y="18"/>
                  </a:lnTo>
                  <a:lnTo>
                    <a:pt x="102" y="20"/>
                  </a:lnTo>
                  <a:lnTo>
                    <a:pt x="105" y="20"/>
                  </a:lnTo>
                  <a:lnTo>
                    <a:pt x="105" y="21"/>
                  </a:lnTo>
                  <a:lnTo>
                    <a:pt x="108" y="21"/>
                  </a:lnTo>
                  <a:lnTo>
                    <a:pt x="109" y="23"/>
                  </a:lnTo>
                  <a:lnTo>
                    <a:pt x="109" y="24"/>
                  </a:lnTo>
                  <a:lnTo>
                    <a:pt x="112" y="24"/>
                  </a:lnTo>
                  <a:lnTo>
                    <a:pt x="114" y="26"/>
                  </a:lnTo>
                  <a:lnTo>
                    <a:pt x="115" y="26"/>
                  </a:lnTo>
                  <a:lnTo>
                    <a:pt x="118" y="30"/>
                  </a:lnTo>
                  <a:lnTo>
                    <a:pt x="121" y="30"/>
                  </a:lnTo>
                  <a:lnTo>
                    <a:pt x="121" y="33"/>
                  </a:lnTo>
                  <a:lnTo>
                    <a:pt x="124" y="36"/>
                  </a:lnTo>
                  <a:lnTo>
                    <a:pt x="126" y="36"/>
                  </a:lnTo>
                  <a:lnTo>
                    <a:pt x="126" y="38"/>
                  </a:lnTo>
                  <a:lnTo>
                    <a:pt x="127" y="38"/>
                  </a:lnTo>
                  <a:lnTo>
                    <a:pt x="127" y="39"/>
                  </a:lnTo>
                  <a:lnTo>
                    <a:pt x="130" y="39"/>
                  </a:lnTo>
                  <a:lnTo>
                    <a:pt x="132" y="38"/>
                  </a:lnTo>
                  <a:lnTo>
                    <a:pt x="132" y="39"/>
                  </a:lnTo>
                  <a:lnTo>
                    <a:pt x="135" y="39"/>
                  </a:lnTo>
                  <a:lnTo>
                    <a:pt x="138" y="42"/>
                  </a:lnTo>
                  <a:lnTo>
                    <a:pt x="138" y="44"/>
                  </a:lnTo>
                  <a:lnTo>
                    <a:pt x="139" y="44"/>
                  </a:lnTo>
                  <a:lnTo>
                    <a:pt x="139" y="42"/>
                  </a:lnTo>
                  <a:lnTo>
                    <a:pt x="145" y="42"/>
                  </a:lnTo>
                  <a:lnTo>
                    <a:pt x="145" y="44"/>
                  </a:lnTo>
                  <a:lnTo>
                    <a:pt x="147" y="44"/>
                  </a:lnTo>
                  <a:lnTo>
                    <a:pt x="147" y="45"/>
                  </a:lnTo>
                  <a:lnTo>
                    <a:pt x="148" y="45"/>
                  </a:lnTo>
                  <a:lnTo>
                    <a:pt x="148" y="47"/>
                  </a:lnTo>
                  <a:lnTo>
                    <a:pt x="147" y="48"/>
                  </a:lnTo>
                  <a:lnTo>
                    <a:pt x="148" y="50"/>
                  </a:lnTo>
                  <a:lnTo>
                    <a:pt x="151" y="48"/>
                  </a:lnTo>
                  <a:lnTo>
                    <a:pt x="153" y="50"/>
                  </a:lnTo>
                  <a:lnTo>
                    <a:pt x="153" y="53"/>
                  </a:lnTo>
                  <a:lnTo>
                    <a:pt x="154" y="54"/>
                  </a:lnTo>
                  <a:lnTo>
                    <a:pt x="154" y="57"/>
                  </a:lnTo>
                  <a:lnTo>
                    <a:pt x="156" y="57"/>
                  </a:lnTo>
                  <a:lnTo>
                    <a:pt x="156" y="59"/>
                  </a:lnTo>
                  <a:lnTo>
                    <a:pt x="157" y="59"/>
                  </a:lnTo>
                  <a:lnTo>
                    <a:pt x="159" y="60"/>
                  </a:lnTo>
                  <a:lnTo>
                    <a:pt x="159" y="63"/>
                  </a:lnTo>
                  <a:lnTo>
                    <a:pt x="160" y="65"/>
                  </a:lnTo>
                  <a:lnTo>
                    <a:pt x="162" y="65"/>
                  </a:lnTo>
                  <a:lnTo>
                    <a:pt x="162" y="66"/>
                  </a:lnTo>
                  <a:lnTo>
                    <a:pt x="166" y="66"/>
                  </a:lnTo>
                  <a:lnTo>
                    <a:pt x="166" y="63"/>
                  </a:lnTo>
                  <a:lnTo>
                    <a:pt x="168" y="63"/>
                  </a:lnTo>
                  <a:lnTo>
                    <a:pt x="169" y="62"/>
                  </a:lnTo>
                  <a:lnTo>
                    <a:pt x="174" y="62"/>
                  </a:lnTo>
                  <a:lnTo>
                    <a:pt x="175" y="60"/>
                  </a:lnTo>
                  <a:lnTo>
                    <a:pt x="177" y="60"/>
                  </a:lnTo>
                  <a:lnTo>
                    <a:pt x="178" y="59"/>
                  </a:lnTo>
                  <a:lnTo>
                    <a:pt x="180" y="59"/>
                  </a:lnTo>
                  <a:lnTo>
                    <a:pt x="180" y="60"/>
                  </a:lnTo>
                  <a:lnTo>
                    <a:pt x="183" y="60"/>
                  </a:lnTo>
                  <a:lnTo>
                    <a:pt x="183" y="62"/>
                  </a:lnTo>
                  <a:lnTo>
                    <a:pt x="184" y="62"/>
                  </a:lnTo>
                  <a:lnTo>
                    <a:pt x="186" y="60"/>
                  </a:lnTo>
                  <a:lnTo>
                    <a:pt x="186" y="62"/>
                  </a:lnTo>
                  <a:lnTo>
                    <a:pt x="187" y="63"/>
                  </a:lnTo>
                  <a:lnTo>
                    <a:pt x="189" y="63"/>
                  </a:lnTo>
                  <a:lnTo>
                    <a:pt x="189" y="66"/>
                  </a:lnTo>
                  <a:lnTo>
                    <a:pt x="187" y="66"/>
                  </a:lnTo>
                  <a:lnTo>
                    <a:pt x="189" y="68"/>
                  </a:lnTo>
                  <a:lnTo>
                    <a:pt x="189" y="69"/>
                  </a:lnTo>
                  <a:lnTo>
                    <a:pt x="190" y="69"/>
                  </a:lnTo>
                  <a:lnTo>
                    <a:pt x="190" y="72"/>
                  </a:lnTo>
                  <a:lnTo>
                    <a:pt x="192" y="72"/>
                  </a:lnTo>
                  <a:lnTo>
                    <a:pt x="192" y="78"/>
                  </a:lnTo>
                  <a:lnTo>
                    <a:pt x="195" y="81"/>
                  </a:lnTo>
                  <a:lnTo>
                    <a:pt x="199" y="81"/>
                  </a:lnTo>
                  <a:lnTo>
                    <a:pt x="199" y="84"/>
                  </a:lnTo>
                  <a:lnTo>
                    <a:pt x="201" y="84"/>
                  </a:lnTo>
                  <a:lnTo>
                    <a:pt x="202" y="87"/>
                  </a:lnTo>
                  <a:lnTo>
                    <a:pt x="202" y="89"/>
                  </a:lnTo>
                  <a:lnTo>
                    <a:pt x="207" y="89"/>
                  </a:lnTo>
                  <a:lnTo>
                    <a:pt x="207" y="90"/>
                  </a:lnTo>
                  <a:lnTo>
                    <a:pt x="210" y="90"/>
                  </a:lnTo>
                  <a:lnTo>
                    <a:pt x="211" y="92"/>
                  </a:lnTo>
                  <a:lnTo>
                    <a:pt x="213" y="92"/>
                  </a:lnTo>
                  <a:lnTo>
                    <a:pt x="213" y="95"/>
                  </a:lnTo>
                  <a:lnTo>
                    <a:pt x="214" y="96"/>
                  </a:lnTo>
                  <a:lnTo>
                    <a:pt x="217" y="96"/>
                  </a:lnTo>
                  <a:lnTo>
                    <a:pt x="217" y="98"/>
                  </a:lnTo>
                  <a:lnTo>
                    <a:pt x="223" y="98"/>
                  </a:lnTo>
                  <a:lnTo>
                    <a:pt x="223" y="99"/>
                  </a:lnTo>
                  <a:lnTo>
                    <a:pt x="225" y="99"/>
                  </a:lnTo>
                  <a:lnTo>
                    <a:pt x="225" y="98"/>
                  </a:lnTo>
                  <a:lnTo>
                    <a:pt x="226" y="96"/>
                  </a:lnTo>
                  <a:lnTo>
                    <a:pt x="227" y="96"/>
                  </a:lnTo>
                  <a:lnTo>
                    <a:pt x="227" y="95"/>
                  </a:lnTo>
                  <a:lnTo>
                    <a:pt x="229" y="95"/>
                  </a:lnTo>
                  <a:lnTo>
                    <a:pt x="229" y="93"/>
                  </a:lnTo>
                  <a:lnTo>
                    <a:pt x="230" y="93"/>
                  </a:lnTo>
                  <a:lnTo>
                    <a:pt x="232" y="95"/>
                  </a:lnTo>
                  <a:lnTo>
                    <a:pt x="235" y="96"/>
                  </a:lnTo>
                  <a:lnTo>
                    <a:pt x="235" y="99"/>
                  </a:lnTo>
                  <a:lnTo>
                    <a:pt x="233" y="99"/>
                  </a:lnTo>
                  <a:lnTo>
                    <a:pt x="233" y="102"/>
                  </a:lnTo>
                  <a:lnTo>
                    <a:pt x="232" y="102"/>
                  </a:lnTo>
                  <a:lnTo>
                    <a:pt x="232" y="104"/>
                  </a:lnTo>
                  <a:lnTo>
                    <a:pt x="230" y="104"/>
                  </a:lnTo>
                  <a:lnTo>
                    <a:pt x="232" y="107"/>
                  </a:lnTo>
                  <a:lnTo>
                    <a:pt x="232" y="110"/>
                  </a:lnTo>
                  <a:lnTo>
                    <a:pt x="230" y="110"/>
                  </a:lnTo>
                  <a:lnTo>
                    <a:pt x="232" y="111"/>
                  </a:lnTo>
                  <a:lnTo>
                    <a:pt x="235" y="111"/>
                  </a:lnTo>
                  <a:lnTo>
                    <a:pt x="236" y="113"/>
                  </a:lnTo>
                  <a:lnTo>
                    <a:pt x="239" y="113"/>
                  </a:lnTo>
                  <a:lnTo>
                    <a:pt x="241" y="111"/>
                  </a:lnTo>
                  <a:lnTo>
                    <a:pt x="242" y="111"/>
                  </a:lnTo>
                  <a:lnTo>
                    <a:pt x="242" y="113"/>
                  </a:lnTo>
                  <a:lnTo>
                    <a:pt x="245" y="113"/>
                  </a:lnTo>
                  <a:lnTo>
                    <a:pt x="245" y="111"/>
                  </a:lnTo>
                  <a:lnTo>
                    <a:pt x="248" y="111"/>
                  </a:lnTo>
                  <a:lnTo>
                    <a:pt x="250" y="113"/>
                  </a:lnTo>
                  <a:lnTo>
                    <a:pt x="250" y="111"/>
                  </a:lnTo>
                  <a:lnTo>
                    <a:pt x="253" y="111"/>
                  </a:lnTo>
                  <a:lnTo>
                    <a:pt x="253" y="113"/>
                  </a:lnTo>
                  <a:lnTo>
                    <a:pt x="254" y="113"/>
                  </a:lnTo>
                  <a:lnTo>
                    <a:pt x="254" y="114"/>
                  </a:lnTo>
                  <a:lnTo>
                    <a:pt x="256" y="114"/>
                  </a:lnTo>
                  <a:lnTo>
                    <a:pt x="257" y="111"/>
                  </a:lnTo>
                  <a:lnTo>
                    <a:pt x="259" y="111"/>
                  </a:lnTo>
                  <a:lnTo>
                    <a:pt x="259" y="110"/>
                  </a:lnTo>
                  <a:lnTo>
                    <a:pt x="260" y="113"/>
                  </a:lnTo>
                  <a:lnTo>
                    <a:pt x="260" y="114"/>
                  </a:lnTo>
                  <a:lnTo>
                    <a:pt x="263" y="117"/>
                  </a:lnTo>
                  <a:lnTo>
                    <a:pt x="265" y="117"/>
                  </a:lnTo>
                  <a:lnTo>
                    <a:pt x="266" y="119"/>
                  </a:lnTo>
                  <a:lnTo>
                    <a:pt x="268" y="119"/>
                  </a:lnTo>
                  <a:lnTo>
                    <a:pt x="268" y="123"/>
                  </a:lnTo>
                  <a:lnTo>
                    <a:pt x="271" y="126"/>
                  </a:lnTo>
                  <a:lnTo>
                    <a:pt x="271" y="131"/>
                  </a:lnTo>
                  <a:lnTo>
                    <a:pt x="272" y="132"/>
                  </a:lnTo>
                  <a:lnTo>
                    <a:pt x="277" y="132"/>
                  </a:lnTo>
                  <a:lnTo>
                    <a:pt x="278" y="131"/>
                  </a:lnTo>
                  <a:lnTo>
                    <a:pt x="278" y="128"/>
                  </a:lnTo>
                  <a:lnTo>
                    <a:pt x="277" y="126"/>
                  </a:lnTo>
                  <a:lnTo>
                    <a:pt x="277" y="123"/>
                  </a:lnTo>
                  <a:lnTo>
                    <a:pt x="281" y="119"/>
                  </a:lnTo>
                  <a:lnTo>
                    <a:pt x="281" y="123"/>
                  </a:lnTo>
                  <a:lnTo>
                    <a:pt x="283" y="125"/>
                  </a:lnTo>
                  <a:lnTo>
                    <a:pt x="283" y="126"/>
                  </a:lnTo>
                  <a:lnTo>
                    <a:pt x="284" y="128"/>
                  </a:lnTo>
                  <a:lnTo>
                    <a:pt x="287" y="128"/>
                  </a:lnTo>
                  <a:lnTo>
                    <a:pt x="287" y="129"/>
                  </a:lnTo>
                  <a:lnTo>
                    <a:pt x="290" y="129"/>
                  </a:lnTo>
                  <a:lnTo>
                    <a:pt x="292" y="131"/>
                  </a:lnTo>
                  <a:lnTo>
                    <a:pt x="295" y="131"/>
                  </a:lnTo>
                  <a:lnTo>
                    <a:pt x="298" y="128"/>
                  </a:lnTo>
                  <a:lnTo>
                    <a:pt x="298" y="122"/>
                  </a:lnTo>
                  <a:lnTo>
                    <a:pt x="307" y="122"/>
                  </a:lnTo>
                  <a:lnTo>
                    <a:pt x="307" y="125"/>
                  </a:lnTo>
                  <a:lnTo>
                    <a:pt x="308" y="126"/>
                  </a:lnTo>
                  <a:lnTo>
                    <a:pt x="313" y="126"/>
                  </a:lnTo>
                  <a:lnTo>
                    <a:pt x="314" y="128"/>
                  </a:lnTo>
                  <a:lnTo>
                    <a:pt x="314" y="129"/>
                  </a:lnTo>
                  <a:lnTo>
                    <a:pt x="320" y="129"/>
                  </a:lnTo>
                  <a:lnTo>
                    <a:pt x="322" y="131"/>
                  </a:lnTo>
                  <a:lnTo>
                    <a:pt x="325" y="135"/>
                  </a:lnTo>
                  <a:lnTo>
                    <a:pt x="331" y="135"/>
                  </a:lnTo>
                  <a:lnTo>
                    <a:pt x="332" y="137"/>
                  </a:lnTo>
                  <a:lnTo>
                    <a:pt x="334" y="135"/>
                  </a:lnTo>
                  <a:lnTo>
                    <a:pt x="335" y="135"/>
                  </a:lnTo>
                  <a:lnTo>
                    <a:pt x="337" y="134"/>
                  </a:lnTo>
                  <a:lnTo>
                    <a:pt x="337" y="137"/>
                  </a:lnTo>
                  <a:lnTo>
                    <a:pt x="341" y="135"/>
                  </a:lnTo>
                  <a:lnTo>
                    <a:pt x="346" y="135"/>
                  </a:lnTo>
                  <a:lnTo>
                    <a:pt x="346" y="137"/>
                  </a:lnTo>
                  <a:lnTo>
                    <a:pt x="347" y="137"/>
                  </a:lnTo>
                  <a:lnTo>
                    <a:pt x="347" y="135"/>
                  </a:lnTo>
                  <a:lnTo>
                    <a:pt x="350" y="135"/>
                  </a:lnTo>
                  <a:lnTo>
                    <a:pt x="350" y="137"/>
                  </a:lnTo>
                  <a:lnTo>
                    <a:pt x="353" y="137"/>
                  </a:lnTo>
                  <a:lnTo>
                    <a:pt x="356" y="134"/>
                  </a:lnTo>
                  <a:lnTo>
                    <a:pt x="356" y="132"/>
                  </a:lnTo>
                  <a:lnTo>
                    <a:pt x="358" y="131"/>
                  </a:lnTo>
                  <a:lnTo>
                    <a:pt x="359" y="132"/>
                  </a:lnTo>
                  <a:lnTo>
                    <a:pt x="368" y="132"/>
                  </a:lnTo>
                  <a:lnTo>
                    <a:pt x="370" y="134"/>
                  </a:lnTo>
                  <a:lnTo>
                    <a:pt x="373" y="134"/>
                  </a:lnTo>
                  <a:lnTo>
                    <a:pt x="373" y="140"/>
                  </a:lnTo>
                  <a:lnTo>
                    <a:pt x="371" y="141"/>
                  </a:lnTo>
                  <a:lnTo>
                    <a:pt x="368" y="150"/>
                  </a:lnTo>
                  <a:lnTo>
                    <a:pt x="367" y="153"/>
                  </a:lnTo>
                  <a:lnTo>
                    <a:pt x="367" y="162"/>
                  </a:lnTo>
                  <a:lnTo>
                    <a:pt x="365" y="165"/>
                  </a:lnTo>
                  <a:lnTo>
                    <a:pt x="365" y="171"/>
                  </a:lnTo>
                  <a:lnTo>
                    <a:pt x="364" y="173"/>
                  </a:lnTo>
                  <a:lnTo>
                    <a:pt x="365" y="174"/>
                  </a:lnTo>
                  <a:lnTo>
                    <a:pt x="365" y="176"/>
                  </a:lnTo>
                  <a:lnTo>
                    <a:pt x="367" y="176"/>
                  </a:lnTo>
                  <a:lnTo>
                    <a:pt x="367" y="177"/>
                  </a:lnTo>
                  <a:lnTo>
                    <a:pt x="368" y="177"/>
                  </a:lnTo>
                  <a:lnTo>
                    <a:pt x="368" y="179"/>
                  </a:lnTo>
                  <a:lnTo>
                    <a:pt x="371" y="182"/>
                  </a:lnTo>
                  <a:lnTo>
                    <a:pt x="371" y="185"/>
                  </a:lnTo>
                  <a:lnTo>
                    <a:pt x="373" y="185"/>
                  </a:lnTo>
                  <a:lnTo>
                    <a:pt x="373" y="195"/>
                  </a:lnTo>
                  <a:lnTo>
                    <a:pt x="370" y="200"/>
                  </a:lnTo>
                  <a:lnTo>
                    <a:pt x="370" y="204"/>
                  </a:lnTo>
                  <a:lnTo>
                    <a:pt x="368" y="206"/>
                  </a:lnTo>
                  <a:lnTo>
                    <a:pt x="367" y="209"/>
                  </a:lnTo>
                  <a:lnTo>
                    <a:pt x="365" y="210"/>
                  </a:lnTo>
                  <a:lnTo>
                    <a:pt x="364" y="210"/>
                  </a:lnTo>
                  <a:lnTo>
                    <a:pt x="362" y="209"/>
                  </a:lnTo>
                  <a:lnTo>
                    <a:pt x="361" y="209"/>
                  </a:lnTo>
                  <a:lnTo>
                    <a:pt x="361" y="207"/>
                  </a:lnTo>
                  <a:lnTo>
                    <a:pt x="359" y="206"/>
                  </a:lnTo>
                  <a:lnTo>
                    <a:pt x="358" y="207"/>
                  </a:lnTo>
                  <a:lnTo>
                    <a:pt x="356" y="207"/>
                  </a:lnTo>
                  <a:lnTo>
                    <a:pt x="355" y="206"/>
                  </a:lnTo>
                  <a:lnTo>
                    <a:pt x="355" y="207"/>
                  </a:lnTo>
                  <a:lnTo>
                    <a:pt x="353" y="207"/>
                  </a:lnTo>
                  <a:lnTo>
                    <a:pt x="353" y="209"/>
                  </a:lnTo>
                  <a:lnTo>
                    <a:pt x="352" y="209"/>
                  </a:lnTo>
                  <a:lnTo>
                    <a:pt x="350" y="207"/>
                  </a:lnTo>
                  <a:lnTo>
                    <a:pt x="350" y="209"/>
                  </a:lnTo>
                  <a:lnTo>
                    <a:pt x="349" y="209"/>
                  </a:lnTo>
                  <a:lnTo>
                    <a:pt x="346" y="210"/>
                  </a:lnTo>
                  <a:lnTo>
                    <a:pt x="344" y="210"/>
                  </a:lnTo>
                  <a:lnTo>
                    <a:pt x="341" y="207"/>
                  </a:lnTo>
                  <a:lnTo>
                    <a:pt x="337" y="207"/>
                  </a:lnTo>
                  <a:lnTo>
                    <a:pt x="335" y="209"/>
                  </a:lnTo>
                  <a:lnTo>
                    <a:pt x="334" y="212"/>
                  </a:lnTo>
                  <a:lnTo>
                    <a:pt x="331" y="210"/>
                  </a:lnTo>
                  <a:lnTo>
                    <a:pt x="329" y="209"/>
                  </a:lnTo>
                  <a:lnTo>
                    <a:pt x="325" y="209"/>
                  </a:lnTo>
                  <a:lnTo>
                    <a:pt x="322" y="206"/>
                  </a:lnTo>
                  <a:lnTo>
                    <a:pt x="322" y="200"/>
                  </a:lnTo>
                  <a:lnTo>
                    <a:pt x="320" y="200"/>
                  </a:lnTo>
                  <a:lnTo>
                    <a:pt x="319" y="201"/>
                  </a:lnTo>
                  <a:lnTo>
                    <a:pt x="319" y="203"/>
                  </a:lnTo>
                  <a:lnTo>
                    <a:pt x="316" y="203"/>
                  </a:lnTo>
                  <a:lnTo>
                    <a:pt x="311" y="207"/>
                  </a:lnTo>
                  <a:lnTo>
                    <a:pt x="307" y="207"/>
                  </a:lnTo>
                  <a:lnTo>
                    <a:pt x="307" y="209"/>
                  </a:lnTo>
                  <a:lnTo>
                    <a:pt x="305" y="207"/>
                  </a:lnTo>
                  <a:lnTo>
                    <a:pt x="299" y="204"/>
                  </a:lnTo>
                  <a:lnTo>
                    <a:pt x="298" y="204"/>
                  </a:lnTo>
                  <a:lnTo>
                    <a:pt x="298" y="203"/>
                  </a:lnTo>
                  <a:lnTo>
                    <a:pt x="295" y="203"/>
                  </a:lnTo>
                  <a:lnTo>
                    <a:pt x="293" y="201"/>
                  </a:lnTo>
                  <a:lnTo>
                    <a:pt x="290" y="200"/>
                  </a:lnTo>
                  <a:lnTo>
                    <a:pt x="287" y="200"/>
                  </a:lnTo>
                  <a:lnTo>
                    <a:pt x="287" y="198"/>
                  </a:lnTo>
                  <a:lnTo>
                    <a:pt x="284" y="198"/>
                  </a:lnTo>
                  <a:lnTo>
                    <a:pt x="283" y="200"/>
                  </a:lnTo>
                  <a:lnTo>
                    <a:pt x="281" y="200"/>
                  </a:lnTo>
                  <a:lnTo>
                    <a:pt x="281" y="198"/>
                  </a:lnTo>
                  <a:lnTo>
                    <a:pt x="278" y="198"/>
                  </a:lnTo>
                  <a:lnTo>
                    <a:pt x="275" y="197"/>
                  </a:lnTo>
                  <a:lnTo>
                    <a:pt x="274" y="195"/>
                  </a:lnTo>
                  <a:lnTo>
                    <a:pt x="272" y="197"/>
                  </a:lnTo>
                  <a:lnTo>
                    <a:pt x="271" y="197"/>
                  </a:lnTo>
                  <a:lnTo>
                    <a:pt x="268" y="200"/>
                  </a:lnTo>
                  <a:lnTo>
                    <a:pt x="265" y="200"/>
                  </a:lnTo>
                  <a:lnTo>
                    <a:pt x="265" y="198"/>
                  </a:lnTo>
                  <a:lnTo>
                    <a:pt x="263" y="198"/>
                  </a:lnTo>
                  <a:lnTo>
                    <a:pt x="260" y="197"/>
                  </a:lnTo>
                  <a:lnTo>
                    <a:pt x="260" y="189"/>
                  </a:lnTo>
                  <a:lnTo>
                    <a:pt x="259" y="188"/>
                  </a:lnTo>
                  <a:lnTo>
                    <a:pt x="256" y="186"/>
                  </a:lnTo>
                  <a:lnTo>
                    <a:pt x="254" y="186"/>
                  </a:lnTo>
                  <a:lnTo>
                    <a:pt x="251" y="188"/>
                  </a:lnTo>
                  <a:lnTo>
                    <a:pt x="250" y="188"/>
                  </a:lnTo>
                  <a:lnTo>
                    <a:pt x="248" y="189"/>
                  </a:lnTo>
                  <a:lnTo>
                    <a:pt x="244" y="189"/>
                  </a:lnTo>
                  <a:lnTo>
                    <a:pt x="244" y="191"/>
                  </a:lnTo>
                  <a:lnTo>
                    <a:pt x="242" y="191"/>
                  </a:lnTo>
                  <a:lnTo>
                    <a:pt x="241" y="192"/>
                  </a:lnTo>
                  <a:lnTo>
                    <a:pt x="236" y="191"/>
                  </a:lnTo>
                  <a:lnTo>
                    <a:pt x="235" y="189"/>
                  </a:lnTo>
                  <a:lnTo>
                    <a:pt x="235" y="186"/>
                  </a:lnTo>
                  <a:lnTo>
                    <a:pt x="233" y="185"/>
                  </a:lnTo>
                  <a:lnTo>
                    <a:pt x="232" y="185"/>
                  </a:lnTo>
                  <a:lnTo>
                    <a:pt x="229" y="186"/>
                  </a:lnTo>
                  <a:lnTo>
                    <a:pt x="229" y="185"/>
                  </a:lnTo>
                  <a:lnTo>
                    <a:pt x="227" y="185"/>
                  </a:lnTo>
                  <a:lnTo>
                    <a:pt x="225" y="182"/>
                  </a:lnTo>
                  <a:lnTo>
                    <a:pt x="225" y="180"/>
                  </a:lnTo>
                  <a:lnTo>
                    <a:pt x="223" y="179"/>
                  </a:lnTo>
                  <a:lnTo>
                    <a:pt x="220" y="179"/>
                  </a:lnTo>
                  <a:lnTo>
                    <a:pt x="219" y="177"/>
                  </a:lnTo>
                  <a:lnTo>
                    <a:pt x="217" y="177"/>
                  </a:lnTo>
                  <a:lnTo>
                    <a:pt x="217" y="179"/>
                  </a:lnTo>
                  <a:lnTo>
                    <a:pt x="211" y="177"/>
                  </a:lnTo>
                  <a:lnTo>
                    <a:pt x="211" y="176"/>
                  </a:lnTo>
                  <a:lnTo>
                    <a:pt x="210" y="176"/>
                  </a:lnTo>
                  <a:lnTo>
                    <a:pt x="211" y="174"/>
                  </a:lnTo>
                  <a:lnTo>
                    <a:pt x="211" y="171"/>
                  </a:lnTo>
                  <a:lnTo>
                    <a:pt x="213" y="170"/>
                  </a:lnTo>
                  <a:lnTo>
                    <a:pt x="213" y="168"/>
                  </a:lnTo>
                  <a:lnTo>
                    <a:pt x="211" y="165"/>
                  </a:lnTo>
                  <a:lnTo>
                    <a:pt x="211" y="164"/>
                  </a:lnTo>
                  <a:lnTo>
                    <a:pt x="208" y="161"/>
                  </a:lnTo>
                  <a:lnTo>
                    <a:pt x="195" y="159"/>
                  </a:lnTo>
                  <a:lnTo>
                    <a:pt x="195" y="158"/>
                  </a:lnTo>
                  <a:lnTo>
                    <a:pt x="193" y="156"/>
                  </a:lnTo>
                  <a:lnTo>
                    <a:pt x="190" y="156"/>
                  </a:lnTo>
                  <a:lnTo>
                    <a:pt x="190" y="155"/>
                  </a:lnTo>
                  <a:lnTo>
                    <a:pt x="189" y="153"/>
                  </a:lnTo>
                  <a:lnTo>
                    <a:pt x="187" y="153"/>
                  </a:lnTo>
                  <a:lnTo>
                    <a:pt x="187" y="152"/>
                  </a:lnTo>
                  <a:lnTo>
                    <a:pt x="186" y="152"/>
                  </a:lnTo>
                  <a:lnTo>
                    <a:pt x="181" y="156"/>
                  </a:lnTo>
                  <a:lnTo>
                    <a:pt x="178" y="155"/>
                  </a:lnTo>
                  <a:lnTo>
                    <a:pt x="175" y="155"/>
                  </a:lnTo>
                  <a:lnTo>
                    <a:pt x="174" y="156"/>
                  </a:lnTo>
                  <a:lnTo>
                    <a:pt x="175" y="156"/>
                  </a:lnTo>
                  <a:lnTo>
                    <a:pt x="175" y="161"/>
                  </a:lnTo>
                  <a:lnTo>
                    <a:pt x="163" y="155"/>
                  </a:lnTo>
                  <a:lnTo>
                    <a:pt x="157" y="153"/>
                  </a:lnTo>
                  <a:lnTo>
                    <a:pt x="154" y="153"/>
                  </a:lnTo>
                  <a:lnTo>
                    <a:pt x="153" y="155"/>
                  </a:lnTo>
                  <a:lnTo>
                    <a:pt x="153" y="158"/>
                  </a:lnTo>
                  <a:lnTo>
                    <a:pt x="151" y="159"/>
                  </a:lnTo>
                  <a:lnTo>
                    <a:pt x="151" y="161"/>
                  </a:lnTo>
                  <a:lnTo>
                    <a:pt x="147" y="161"/>
                  </a:lnTo>
                  <a:lnTo>
                    <a:pt x="147" y="159"/>
                  </a:lnTo>
                  <a:lnTo>
                    <a:pt x="142" y="155"/>
                  </a:lnTo>
                  <a:lnTo>
                    <a:pt x="133" y="155"/>
                  </a:lnTo>
                  <a:lnTo>
                    <a:pt x="132" y="153"/>
                  </a:lnTo>
                  <a:lnTo>
                    <a:pt x="124" y="153"/>
                  </a:lnTo>
                  <a:lnTo>
                    <a:pt x="123" y="152"/>
                  </a:lnTo>
                  <a:lnTo>
                    <a:pt x="123" y="146"/>
                  </a:lnTo>
                  <a:lnTo>
                    <a:pt x="121" y="144"/>
                  </a:lnTo>
                  <a:lnTo>
                    <a:pt x="121" y="143"/>
                  </a:lnTo>
                  <a:lnTo>
                    <a:pt x="120" y="141"/>
                  </a:lnTo>
                  <a:lnTo>
                    <a:pt x="114" y="143"/>
                  </a:lnTo>
                  <a:lnTo>
                    <a:pt x="111" y="144"/>
                  </a:lnTo>
                  <a:lnTo>
                    <a:pt x="108" y="143"/>
                  </a:lnTo>
                  <a:lnTo>
                    <a:pt x="106" y="141"/>
                  </a:lnTo>
                  <a:lnTo>
                    <a:pt x="102" y="138"/>
                  </a:lnTo>
                  <a:lnTo>
                    <a:pt x="97" y="134"/>
                  </a:lnTo>
                  <a:lnTo>
                    <a:pt x="94" y="134"/>
                  </a:lnTo>
                  <a:lnTo>
                    <a:pt x="93" y="132"/>
                  </a:lnTo>
                  <a:lnTo>
                    <a:pt x="93" y="131"/>
                  </a:lnTo>
                  <a:lnTo>
                    <a:pt x="87" y="131"/>
                  </a:lnTo>
                  <a:lnTo>
                    <a:pt x="85" y="134"/>
                  </a:lnTo>
                  <a:lnTo>
                    <a:pt x="82" y="134"/>
                  </a:lnTo>
                  <a:lnTo>
                    <a:pt x="81" y="132"/>
                  </a:lnTo>
                  <a:lnTo>
                    <a:pt x="78" y="131"/>
                  </a:lnTo>
                  <a:lnTo>
                    <a:pt x="75" y="128"/>
                  </a:lnTo>
                  <a:lnTo>
                    <a:pt x="72" y="128"/>
                  </a:lnTo>
                  <a:lnTo>
                    <a:pt x="72" y="126"/>
                  </a:lnTo>
                  <a:lnTo>
                    <a:pt x="70" y="126"/>
                  </a:lnTo>
                  <a:lnTo>
                    <a:pt x="70" y="125"/>
                  </a:lnTo>
                  <a:lnTo>
                    <a:pt x="66" y="123"/>
                  </a:lnTo>
                  <a:lnTo>
                    <a:pt x="65" y="123"/>
                  </a:lnTo>
                  <a:lnTo>
                    <a:pt x="65" y="120"/>
                  </a:lnTo>
                  <a:lnTo>
                    <a:pt x="63" y="119"/>
                  </a:lnTo>
                  <a:lnTo>
                    <a:pt x="62" y="119"/>
                  </a:lnTo>
                  <a:lnTo>
                    <a:pt x="62" y="117"/>
                  </a:lnTo>
                  <a:lnTo>
                    <a:pt x="60" y="117"/>
                  </a:lnTo>
                  <a:lnTo>
                    <a:pt x="60" y="120"/>
                  </a:lnTo>
                  <a:lnTo>
                    <a:pt x="57" y="120"/>
                  </a:lnTo>
                  <a:lnTo>
                    <a:pt x="57" y="117"/>
                  </a:lnTo>
                  <a:lnTo>
                    <a:pt x="54" y="114"/>
                  </a:lnTo>
                  <a:lnTo>
                    <a:pt x="54" y="113"/>
                  </a:lnTo>
                  <a:lnTo>
                    <a:pt x="53" y="108"/>
                  </a:lnTo>
                  <a:lnTo>
                    <a:pt x="51" y="107"/>
                  </a:lnTo>
                  <a:lnTo>
                    <a:pt x="47" y="107"/>
                  </a:lnTo>
                  <a:lnTo>
                    <a:pt x="44" y="105"/>
                  </a:lnTo>
                  <a:lnTo>
                    <a:pt x="44" y="104"/>
                  </a:lnTo>
                  <a:lnTo>
                    <a:pt x="39" y="104"/>
                  </a:lnTo>
                  <a:lnTo>
                    <a:pt x="39" y="102"/>
                  </a:lnTo>
                  <a:lnTo>
                    <a:pt x="38" y="101"/>
                  </a:lnTo>
                  <a:lnTo>
                    <a:pt x="35" y="101"/>
                  </a:lnTo>
                  <a:lnTo>
                    <a:pt x="35" y="99"/>
                  </a:lnTo>
                  <a:lnTo>
                    <a:pt x="32" y="98"/>
                  </a:lnTo>
                  <a:lnTo>
                    <a:pt x="30" y="98"/>
                  </a:lnTo>
                  <a:lnTo>
                    <a:pt x="29" y="96"/>
                  </a:lnTo>
                  <a:lnTo>
                    <a:pt x="29" y="95"/>
                  </a:lnTo>
                  <a:lnTo>
                    <a:pt x="27" y="93"/>
                  </a:lnTo>
                  <a:lnTo>
                    <a:pt x="24" y="93"/>
                  </a:lnTo>
                  <a:lnTo>
                    <a:pt x="24" y="92"/>
                  </a:lnTo>
                  <a:lnTo>
                    <a:pt x="21" y="92"/>
                  </a:lnTo>
                  <a:lnTo>
                    <a:pt x="20" y="93"/>
                  </a:lnTo>
                  <a:lnTo>
                    <a:pt x="21" y="96"/>
                  </a:lnTo>
                  <a:lnTo>
                    <a:pt x="21" y="98"/>
                  </a:lnTo>
                  <a:lnTo>
                    <a:pt x="17" y="93"/>
                  </a:lnTo>
                  <a:lnTo>
                    <a:pt x="15" y="95"/>
                  </a:lnTo>
                  <a:lnTo>
                    <a:pt x="14" y="95"/>
                  </a:lnTo>
                  <a:lnTo>
                    <a:pt x="14" y="93"/>
                  </a:lnTo>
                  <a:lnTo>
                    <a:pt x="12" y="93"/>
                  </a:lnTo>
                  <a:lnTo>
                    <a:pt x="12" y="90"/>
                  </a:lnTo>
                  <a:lnTo>
                    <a:pt x="9" y="90"/>
                  </a:lnTo>
                  <a:lnTo>
                    <a:pt x="9" y="89"/>
                  </a:lnTo>
                  <a:lnTo>
                    <a:pt x="8" y="87"/>
                  </a:lnTo>
                  <a:lnTo>
                    <a:pt x="5" y="87"/>
                  </a:lnTo>
                  <a:lnTo>
                    <a:pt x="3" y="84"/>
                  </a:lnTo>
                  <a:lnTo>
                    <a:pt x="0" y="84"/>
                  </a:lnTo>
                  <a:lnTo>
                    <a:pt x="0" y="77"/>
                  </a:lnTo>
                  <a:lnTo>
                    <a:pt x="2" y="77"/>
                  </a:lnTo>
                  <a:lnTo>
                    <a:pt x="3" y="75"/>
                  </a:lnTo>
                  <a:lnTo>
                    <a:pt x="3" y="71"/>
                  </a:lnTo>
                  <a:lnTo>
                    <a:pt x="6" y="68"/>
                  </a:lnTo>
                  <a:lnTo>
                    <a:pt x="9" y="68"/>
                  </a:lnTo>
                  <a:lnTo>
                    <a:pt x="9" y="66"/>
                  </a:lnTo>
                  <a:lnTo>
                    <a:pt x="8" y="65"/>
                  </a:lnTo>
                  <a:lnTo>
                    <a:pt x="8" y="63"/>
                  </a:lnTo>
                  <a:lnTo>
                    <a:pt x="11" y="63"/>
                  </a:lnTo>
                  <a:lnTo>
                    <a:pt x="11" y="57"/>
                  </a:lnTo>
                  <a:lnTo>
                    <a:pt x="9" y="57"/>
                  </a:lnTo>
                  <a:lnTo>
                    <a:pt x="9" y="56"/>
                  </a:lnTo>
                  <a:lnTo>
                    <a:pt x="8" y="53"/>
                  </a:lnTo>
                  <a:lnTo>
                    <a:pt x="8" y="51"/>
                  </a:lnTo>
                  <a:lnTo>
                    <a:pt x="11" y="51"/>
                  </a:lnTo>
                  <a:lnTo>
                    <a:pt x="11" y="50"/>
                  </a:lnTo>
                  <a:lnTo>
                    <a:pt x="12" y="48"/>
                  </a:lnTo>
                  <a:lnTo>
                    <a:pt x="12" y="47"/>
                  </a:lnTo>
                  <a:lnTo>
                    <a:pt x="14" y="47"/>
                  </a:lnTo>
                  <a:lnTo>
                    <a:pt x="14" y="45"/>
                  </a:lnTo>
                  <a:lnTo>
                    <a:pt x="15" y="44"/>
                  </a:lnTo>
                  <a:lnTo>
                    <a:pt x="15" y="39"/>
                  </a:lnTo>
                  <a:lnTo>
                    <a:pt x="14" y="38"/>
                  </a:lnTo>
                  <a:lnTo>
                    <a:pt x="14" y="36"/>
                  </a:lnTo>
                  <a:lnTo>
                    <a:pt x="17" y="33"/>
                  </a:lnTo>
                  <a:lnTo>
                    <a:pt x="20" y="33"/>
                  </a:lnTo>
                  <a:lnTo>
                    <a:pt x="20" y="32"/>
                  </a:lnTo>
                  <a:lnTo>
                    <a:pt x="23" y="29"/>
                  </a:lnTo>
                  <a:lnTo>
                    <a:pt x="23" y="27"/>
                  </a:lnTo>
                  <a:lnTo>
                    <a:pt x="24" y="26"/>
                  </a:lnTo>
                  <a:lnTo>
                    <a:pt x="24" y="24"/>
                  </a:lnTo>
                  <a:lnTo>
                    <a:pt x="27" y="24"/>
                  </a:lnTo>
                  <a:lnTo>
                    <a:pt x="29" y="23"/>
                  </a:lnTo>
                  <a:lnTo>
                    <a:pt x="32" y="21"/>
                  </a:lnTo>
                  <a:lnTo>
                    <a:pt x="33" y="18"/>
                  </a:lnTo>
                  <a:lnTo>
                    <a:pt x="38" y="14"/>
                  </a:lnTo>
                  <a:lnTo>
                    <a:pt x="36" y="12"/>
                  </a:lnTo>
                  <a:lnTo>
                    <a:pt x="38" y="12"/>
                  </a:lnTo>
                  <a:lnTo>
                    <a:pt x="38" y="11"/>
                  </a:lnTo>
                  <a:lnTo>
                    <a:pt x="39" y="11"/>
                  </a:lnTo>
                  <a:lnTo>
                    <a:pt x="39" y="12"/>
                  </a:lnTo>
                  <a:lnTo>
                    <a:pt x="41" y="12"/>
                  </a:lnTo>
                  <a:lnTo>
                    <a:pt x="44" y="11"/>
                  </a:lnTo>
                  <a:lnTo>
                    <a:pt x="44" y="12"/>
                  </a:lnTo>
                  <a:lnTo>
                    <a:pt x="45" y="12"/>
                  </a:lnTo>
                  <a:lnTo>
                    <a:pt x="45" y="14"/>
                  </a:lnTo>
                  <a:lnTo>
                    <a:pt x="47" y="15"/>
                  </a:lnTo>
                  <a:lnTo>
                    <a:pt x="47" y="17"/>
                  </a:lnTo>
                  <a:lnTo>
                    <a:pt x="48" y="18"/>
                  </a:lnTo>
                  <a:lnTo>
                    <a:pt x="48" y="21"/>
                  </a:lnTo>
                  <a:lnTo>
                    <a:pt x="54" y="21"/>
                  </a:lnTo>
                  <a:lnTo>
                    <a:pt x="54" y="20"/>
                  </a:lnTo>
                  <a:lnTo>
                    <a:pt x="56" y="18"/>
                  </a:lnTo>
                  <a:lnTo>
                    <a:pt x="57" y="18"/>
                  </a:lnTo>
                  <a:lnTo>
                    <a:pt x="57" y="17"/>
                  </a:lnTo>
                  <a:lnTo>
                    <a:pt x="56" y="15"/>
                  </a:lnTo>
                  <a:lnTo>
                    <a:pt x="59" y="15"/>
                  </a:lnTo>
                  <a:lnTo>
                    <a:pt x="60" y="14"/>
                  </a:lnTo>
                  <a:lnTo>
                    <a:pt x="60" y="11"/>
                  </a:lnTo>
                  <a:lnTo>
                    <a:pt x="62" y="11"/>
                  </a:lnTo>
                  <a:lnTo>
                    <a:pt x="62" y="2"/>
                  </a:lnTo>
                  <a:lnTo>
                    <a:pt x="63" y="2"/>
                  </a:lnTo>
                  <a:lnTo>
                    <a:pt x="66" y="5"/>
                  </a:lnTo>
                  <a:lnTo>
                    <a:pt x="67" y="5"/>
                  </a:lnTo>
                  <a:lnTo>
                    <a:pt x="69" y="2"/>
                  </a:lnTo>
                  <a:lnTo>
                    <a:pt x="70" y="2"/>
                  </a:lnTo>
                  <a:lnTo>
                    <a:pt x="70"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22">
              <a:extLst>
                <a:ext uri="{FF2B5EF4-FFF2-40B4-BE49-F238E27FC236}">
                  <a16:creationId xmlns:a16="http://schemas.microsoft.com/office/drawing/2014/main" id="{AF09F986-5B59-41EF-8EC3-D44C8194E847}"/>
                </a:ext>
              </a:extLst>
            </p:cNvPr>
            <p:cNvSpPr>
              <a:spLocks noEditPoints="1"/>
            </p:cNvSpPr>
            <p:nvPr/>
          </p:nvSpPr>
          <p:spPr bwMode="auto">
            <a:xfrm>
              <a:off x="1442280" y="4914257"/>
              <a:ext cx="29386" cy="307505"/>
            </a:xfrm>
            <a:custGeom>
              <a:avLst/>
              <a:gdLst/>
              <a:ahLst/>
              <a:cxnLst>
                <a:cxn ang="0">
                  <a:pos x="27" y="292"/>
                </a:cxn>
                <a:cxn ang="0">
                  <a:pos x="28" y="292"/>
                </a:cxn>
                <a:cxn ang="0">
                  <a:pos x="27" y="293"/>
                </a:cxn>
                <a:cxn ang="0">
                  <a:pos x="27" y="292"/>
                </a:cxn>
                <a:cxn ang="0">
                  <a:pos x="0" y="203"/>
                </a:cxn>
                <a:cxn ang="0">
                  <a:pos x="1" y="203"/>
                </a:cxn>
                <a:cxn ang="0">
                  <a:pos x="1" y="205"/>
                </a:cxn>
                <a:cxn ang="0">
                  <a:pos x="0" y="205"/>
                </a:cxn>
                <a:cxn ang="0">
                  <a:pos x="0" y="203"/>
                </a:cxn>
                <a:cxn ang="0">
                  <a:pos x="22" y="160"/>
                </a:cxn>
                <a:cxn ang="0">
                  <a:pos x="24" y="160"/>
                </a:cxn>
                <a:cxn ang="0">
                  <a:pos x="24" y="163"/>
                </a:cxn>
                <a:cxn ang="0">
                  <a:pos x="22" y="163"/>
                </a:cxn>
                <a:cxn ang="0">
                  <a:pos x="21" y="161"/>
                </a:cxn>
                <a:cxn ang="0">
                  <a:pos x="22" y="160"/>
                </a:cxn>
                <a:cxn ang="0">
                  <a:pos x="27" y="116"/>
                </a:cxn>
                <a:cxn ang="0">
                  <a:pos x="28" y="116"/>
                </a:cxn>
                <a:cxn ang="0">
                  <a:pos x="28" y="119"/>
                </a:cxn>
                <a:cxn ang="0">
                  <a:pos x="27" y="119"/>
                </a:cxn>
                <a:cxn ang="0">
                  <a:pos x="27" y="121"/>
                </a:cxn>
                <a:cxn ang="0">
                  <a:pos x="25" y="119"/>
                </a:cxn>
                <a:cxn ang="0">
                  <a:pos x="27" y="118"/>
                </a:cxn>
                <a:cxn ang="0">
                  <a:pos x="27" y="116"/>
                </a:cxn>
                <a:cxn ang="0">
                  <a:pos x="24" y="82"/>
                </a:cxn>
                <a:cxn ang="0">
                  <a:pos x="25" y="84"/>
                </a:cxn>
                <a:cxn ang="0">
                  <a:pos x="24" y="84"/>
                </a:cxn>
                <a:cxn ang="0">
                  <a:pos x="24" y="82"/>
                </a:cxn>
                <a:cxn ang="0">
                  <a:pos x="22" y="48"/>
                </a:cxn>
                <a:cxn ang="0">
                  <a:pos x="22" y="49"/>
                </a:cxn>
                <a:cxn ang="0">
                  <a:pos x="21" y="49"/>
                </a:cxn>
                <a:cxn ang="0">
                  <a:pos x="22" y="48"/>
                </a:cxn>
                <a:cxn ang="0">
                  <a:pos x="21" y="45"/>
                </a:cxn>
                <a:cxn ang="0">
                  <a:pos x="22" y="45"/>
                </a:cxn>
                <a:cxn ang="0">
                  <a:pos x="22" y="46"/>
                </a:cxn>
                <a:cxn ang="0">
                  <a:pos x="21" y="46"/>
                </a:cxn>
                <a:cxn ang="0">
                  <a:pos x="21" y="45"/>
                </a:cxn>
                <a:cxn ang="0">
                  <a:pos x="10" y="0"/>
                </a:cxn>
                <a:cxn ang="0">
                  <a:pos x="12" y="0"/>
                </a:cxn>
                <a:cxn ang="0">
                  <a:pos x="12" y="1"/>
                </a:cxn>
                <a:cxn ang="0">
                  <a:pos x="10" y="1"/>
                </a:cxn>
                <a:cxn ang="0">
                  <a:pos x="10" y="0"/>
                </a:cxn>
              </a:cxnLst>
              <a:rect l="0" t="0" r="r" b="b"/>
              <a:pathLst>
                <a:path w="28" h="293">
                  <a:moveTo>
                    <a:pt x="27" y="292"/>
                  </a:moveTo>
                  <a:lnTo>
                    <a:pt x="28" y="292"/>
                  </a:lnTo>
                  <a:lnTo>
                    <a:pt x="27" y="293"/>
                  </a:lnTo>
                  <a:lnTo>
                    <a:pt x="27" y="292"/>
                  </a:lnTo>
                  <a:close/>
                  <a:moveTo>
                    <a:pt x="0" y="203"/>
                  </a:moveTo>
                  <a:lnTo>
                    <a:pt x="1" y="203"/>
                  </a:lnTo>
                  <a:lnTo>
                    <a:pt x="1" y="205"/>
                  </a:lnTo>
                  <a:lnTo>
                    <a:pt x="0" y="205"/>
                  </a:lnTo>
                  <a:lnTo>
                    <a:pt x="0" y="203"/>
                  </a:lnTo>
                  <a:close/>
                  <a:moveTo>
                    <a:pt x="22" y="160"/>
                  </a:moveTo>
                  <a:lnTo>
                    <a:pt x="24" y="160"/>
                  </a:lnTo>
                  <a:lnTo>
                    <a:pt x="24" y="163"/>
                  </a:lnTo>
                  <a:lnTo>
                    <a:pt x="22" y="163"/>
                  </a:lnTo>
                  <a:lnTo>
                    <a:pt x="21" y="161"/>
                  </a:lnTo>
                  <a:lnTo>
                    <a:pt x="22" y="160"/>
                  </a:lnTo>
                  <a:close/>
                  <a:moveTo>
                    <a:pt x="27" y="116"/>
                  </a:moveTo>
                  <a:lnTo>
                    <a:pt x="28" y="116"/>
                  </a:lnTo>
                  <a:lnTo>
                    <a:pt x="28" y="119"/>
                  </a:lnTo>
                  <a:lnTo>
                    <a:pt x="27" y="119"/>
                  </a:lnTo>
                  <a:lnTo>
                    <a:pt x="27" y="121"/>
                  </a:lnTo>
                  <a:lnTo>
                    <a:pt x="25" y="119"/>
                  </a:lnTo>
                  <a:lnTo>
                    <a:pt x="27" y="118"/>
                  </a:lnTo>
                  <a:lnTo>
                    <a:pt x="27" y="116"/>
                  </a:lnTo>
                  <a:close/>
                  <a:moveTo>
                    <a:pt x="24" y="82"/>
                  </a:moveTo>
                  <a:lnTo>
                    <a:pt x="25" y="84"/>
                  </a:lnTo>
                  <a:lnTo>
                    <a:pt x="24" y="84"/>
                  </a:lnTo>
                  <a:lnTo>
                    <a:pt x="24" y="82"/>
                  </a:lnTo>
                  <a:close/>
                  <a:moveTo>
                    <a:pt x="22" y="48"/>
                  </a:moveTo>
                  <a:lnTo>
                    <a:pt x="22" y="49"/>
                  </a:lnTo>
                  <a:lnTo>
                    <a:pt x="21" y="49"/>
                  </a:lnTo>
                  <a:lnTo>
                    <a:pt x="22" y="48"/>
                  </a:lnTo>
                  <a:close/>
                  <a:moveTo>
                    <a:pt x="21" y="45"/>
                  </a:moveTo>
                  <a:lnTo>
                    <a:pt x="22" y="45"/>
                  </a:lnTo>
                  <a:lnTo>
                    <a:pt x="22" y="46"/>
                  </a:lnTo>
                  <a:lnTo>
                    <a:pt x="21" y="46"/>
                  </a:lnTo>
                  <a:lnTo>
                    <a:pt x="21" y="45"/>
                  </a:lnTo>
                  <a:close/>
                  <a:moveTo>
                    <a:pt x="10" y="0"/>
                  </a:moveTo>
                  <a:lnTo>
                    <a:pt x="12" y="0"/>
                  </a:lnTo>
                  <a:lnTo>
                    <a:pt x="12" y="1"/>
                  </a:lnTo>
                  <a:lnTo>
                    <a:pt x="10" y="1"/>
                  </a:lnTo>
                  <a:lnTo>
                    <a:pt x="10" y="0"/>
                  </a:lnTo>
                  <a:close/>
                </a:path>
              </a:pathLst>
            </a:custGeom>
            <a:grp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33">
              <a:extLst>
                <a:ext uri="{FF2B5EF4-FFF2-40B4-BE49-F238E27FC236}">
                  <a16:creationId xmlns:a16="http://schemas.microsoft.com/office/drawing/2014/main" id="{D0AF0DBD-0DCE-4E5D-AAA9-3CCF7F6182D4}"/>
                </a:ext>
              </a:extLst>
            </p:cNvPr>
            <p:cNvSpPr>
              <a:spLocks noEditPoints="1"/>
            </p:cNvSpPr>
            <p:nvPr/>
          </p:nvSpPr>
          <p:spPr bwMode="auto">
            <a:xfrm>
              <a:off x="1212437" y="3408217"/>
              <a:ext cx="1406336" cy="1507090"/>
            </a:xfrm>
            <a:custGeom>
              <a:avLst/>
              <a:gdLst/>
              <a:ahLst/>
              <a:cxnLst>
                <a:cxn ang="0">
                  <a:pos x="1162" y="1369"/>
                </a:cxn>
                <a:cxn ang="0">
                  <a:pos x="513" y="1319"/>
                </a:cxn>
                <a:cxn ang="0">
                  <a:pos x="1114" y="1257"/>
                </a:cxn>
                <a:cxn ang="0">
                  <a:pos x="1125" y="1153"/>
                </a:cxn>
                <a:cxn ang="0">
                  <a:pos x="1135" y="1182"/>
                </a:cxn>
                <a:cxn ang="0">
                  <a:pos x="1129" y="1158"/>
                </a:cxn>
                <a:cxn ang="0">
                  <a:pos x="950" y="734"/>
                </a:cxn>
                <a:cxn ang="0">
                  <a:pos x="942" y="706"/>
                </a:cxn>
                <a:cxn ang="0">
                  <a:pos x="462" y="45"/>
                </a:cxn>
                <a:cxn ang="0">
                  <a:pos x="488" y="176"/>
                </a:cxn>
                <a:cxn ang="0">
                  <a:pos x="509" y="243"/>
                </a:cxn>
                <a:cxn ang="0">
                  <a:pos x="579" y="304"/>
                </a:cxn>
                <a:cxn ang="0">
                  <a:pos x="575" y="382"/>
                </a:cxn>
                <a:cxn ang="0">
                  <a:pos x="697" y="445"/>
                </a:cxn>
                <a:cxn ang="0">
                  <a:pos x="806" y="475"/>
                </a:cxn>
                <a:cxn ang="0">
                  <a:pos x="910" y="496"/>
                </a:cxn>
                <a:cxn ang="0">
                  <a:pos x="945" y="453"/>
                </a:cxn>
                <a:cxn ang="0">
                  <a:pos x="1073" y="475"/>
                </a:cxn>
                <a:cxn ang="0">
                  <a:pos x="1107" y="423"/>
                </a:cxn>
                <a:cxn ang="0">
                  <a:pos x="1200" y="352"/>
                </a:cxn>
                <a:cxn ang="0">
                  <a:pos x="1295" y="358"/>
                </a:cxn>
                <a:cxn ang="0">
                  <a:pos x="1318" y="441"/>
                </a:cxn>
                <a:cxn ang="0">
                  <a:pos x="1237" y="486"/>
                </a:cxn>
                <a:cxn ang="0">
                  <a:pos x="1197" y="608"/>
                </a:cxn>
                <a:cxn ang="0">
                  <a:pos x="1141" y="706"/>
                </a:cxn>
                <a:cxn ang="0">
                  <a:pos x="1102" y="631"/>
                </a:cxn>
                <a:cxn ang="0">
                  <a:pos x="1059" y="644"/>
                </a:cxn>
                <a:cxn ang="0">
                  <a:pos x="1116" y="569"/>
                </a:cxn>
                <a:cxn ang="0">
                  <a:pos x="992" y="514"/>
                </a:cxn>
                <a:cxn ang="0">
                  <a:pos x="951" y="500"/>
                </a:cxn>
                <a:cxn ang="0">
                  <a:pos x="917" y="526"/>
                </a:cxn>
                <a:cxn ang="0">
                  <a:pos x="916" y="590"/>
                </a:cxn>
                <a:cxn ang="0">
                  <a:pos x="954" y="682"/>
                </a:cxn>
                <a:cxn ang="0">
                  <a:pos x="938" y="716"/>
                </a:cxn>
                <a:cxn ang="0">
                  <a:pos x="919" y="706"/>
                </a:cxn>
                <a:cxn ang="0">
                  <a:pos x="853" y="798"/>
                </a:cxn>
                <a:cxn ang="0">
                  <a:pos x="787" y="824"/>
                </a:cxn>
                <a:cxn ang="0">
                  <a:pos x="717" y="903"/>
                </a:cxn>
                <a:cxn ang="0">
                  <a:pos x="634" y="986"/>
                </a:cxn>
                <a:cxn ang="0">
                  <a:pos x="548" y="1042"/>
                </a:cxn>
                <a:cxn ang="0">
                  <a:pos x="557" y="1143"/>
                </a:cxn>
                <a:cxn ang="0">
                  <a:pos x="510" y="1283"/>
                </a:cxn>
                <a:cxn ang="0">
                  <a:pos x="421" y="1372"/>
                </a:cxn>
                <a:cxn ang="0">
                  <a:pos x="377" y="1291"/>
                </a:cxn>
                <a:cxn ang="0">
                  <a:pos x="320" y="1183"/>
                </a:cxn>
                <a:cxn ang="0">
                  <a:pos x="288" y="1077"/>
                </a:cxn>
                <a:cxn ang="0">
                  <a:pos x="259" y="1029"/>
                </a:cxn>
                <a:cxn ang="0">
                  <a:pos x="232" y="939"/>
                </a:cxn>
                <a:cxn ang="0">
                  <a:pos x="216" y="872"/>
                </a:cxn>
                <a:cxn ang="0">
                  <a:pos x="211" y="834"/>
                </a:cxn>
                <a:cxn ang="0">
                  <a:pos x="205" y="759"/>
                </a:cxn>
                <a:cxn ang="0">
                  <a:pos x="205" y="716"/>
                </a:cxn>
                <a:cxn ang="0">
                  <a:pos x="181" y="715"/>
                </a:cxn>
                <a:cxn ang="0">
                  <a:pos x="135" y="776"/>
                </a:cxn>
                <a:cxn ang="0">
                  <a:pos x="47" y="694"/>
                </a:cxn>
                <a:cxn ang="0">
                  <a:pos x="96" y="668"/>
                </a:cxn>
                <a:cxn ang="0">
                  <a:pos x="14" y="634"/>
                </a:cxn>
                <a:cxn ang="0">
                  <a:pos x="42" y="601"/>
                </a:cxn>
                <a:cxn ang="0">
                  <a:pos x="99" y="530"/>
                </a:cxn>
                <a:cxn ang="0">
                  <a:pos x="190" y="376"/>
                </a:cxn>
                <a:cxn ang="0">
                  <a:pos x="295" y="252"/>
                </a:cxn>
                <a:cxn ang="0">
                  <a:pos x="298" y="168"/>
                </a:cxn>
                <a:cxn ang="0">
                  <a:pos x="268" y="80"/>
                </a:cxn>
              </a:cxnLst>
              <a:rect l="0" t="0" r="r" b="b"/>
              <a:pathLst>
                <a:path w="1340" h="1436">
                  <a:moveTo>
                    <a:pt x="1177" y="1414"/>
                  </a:moveTo>
                  <a:lnTo>
                    <a:pt x="1179" y="1414"/>
                  </a:lnTo>
                  <a:lnTo>
                    <a:pt x="1180" y="1415"/>
                  </a:lnTo>
                  <a:lnTo>
                    <a:pt x="1180" y="1417"/>
                  </a:lnTo>
                  <a:lnTo>
                    <a:pt x="1182" y="1418"/>
                  </a:lnTo>
                  <a:lnTo>
                    <a:pt x="1182" y="1421"/>
                  </a:lnTo>
                  <a:lnTo>
                    <a:pt x="1183" y="1423"/>
                  </a:lnTo>
                  <a:lnTo>
                    <a:pt x="1183" y="1427"/>
                  </a:lnTo>
                  <a:lnTo>
                    <a:pt x="1182" y="1430"/>
                  </a:lnTo>
                  <a:lnTo>
                    <a:pt x="1182" y="1433"/>
                  </a:lnTo>
                  <a:lnTo>
                    <a:pt x="1180" y="1433"/>
                  </a:lnTo>
                  <a:lnTo>
                    <a:pt x="1180" y="1435"/>
                  </a:lnTo>
                  <a:lnTo>
                    <a:pt x="1179" y="1436"/>
                  </a:lnTo>
                  <a:lnTo>
                    <a:pt x="1177" y="1436"/>
                  </a:lnTo>
                  <a:lnTo>
                    <a:pt x="1177" y="1432"/>
                  </a:lnTo>
                  <a:lnTo>
                    <a:pt x="1176" y="1430"/>
                  </a:lnTo>
                  <a:lnTo>
                    <a:pt x="1176" y="1429"/>
                  </a:lnTo>
                  <a:lnTo>
                    <a:pt x="1174" y="1429"/>
                  </a:lnTo>
                  <a:lnTo>
                    <a:pt x="1174" y="1426"/>
                  </a:lnTo>
                  <a:lnTo>
                    <a:pt x="1173" y="1424"/>
                  </a:lnTo>
                  <a:lnTo>
                    <a:pt x="1170" y="1424"/>
                  </a:lnTo>
                  <a:lnTo>
                    <a:pt x="1170" y="1420"/>
                  </a:lnTo>
                  <a:lnTo>
                    <a:pt x="1171" y="1418"/>
                  </a:lnTo>
                  <a:lnTo>
                    <a:pt x="1171" y="1417"/>
                  </a:lnTo>
                  <a:lnTo>
                    <a:pt x="1174" y="1417"/>
                  </a:lnTo>
                  <a:lnTo>
                    <a:pt x="1174" y="1415"/>
                  </a:lnTo>
                  <a:lnTo>
                    <a:pt x="1176" y="1415"/>
                  </a:lnTo>
                  <a:lnTo>
                    <a:pt x="1177" y="1414"/>
                  </a:lnTo>
                  <a:close/>
                  <a:moveTo>
                    <a:pt x="1171" y="1405"/>
                  </a:moveTo>
                  <a:lnTo>
                    <a:pt x="1173" y="1405"/>
                  </a:lnTo>
                  <a:lnTo>
                    <a:pt x="1173" y="1406"/>
                  </a:lnTo>
                  <a:lnTo>
                    <a:pt x="1174" y="1408"/>
                  </a:lnTo>
                  <a:lnTo>
                    <a:pt x="1174" y="1409"/>
                  </a:lnTo>
                  <a:lnTo>
                    <a:pt x="1173" y="1409"/>
                  </a:lnTo>
                  <a:lnTo>
                    <a:pt x="1173" y="1411"/>
                  </a:lnTo>
                  <a:lnTo>
                    <a:pt x="1171" y="1411"/>
                  </a:lnTo>
                  <a:lnTo>
                    <a:pt x="1170" y="1412"/>
                  </a:lnTo>
                  <a:lnTo>
                    <a:pt x="1170" y="1414"/>
                  </a:lnTo>
                  <a:lnTo>
                    <a:pt x="1168" y="1412"/>
                  </a:lnTo>
                  <a:lnTo>
                    <a:pt x="1168" y="1408"/>
                  </a:lnTo>
                  <a:lnTo>
                    <a:pt x="1171" y="1408"/>
                  </a:lnTo>
                  <a:lnTo>
                    <a:pt x="1171" y="1405"/>
                  </a:lnTo>
                  <a:close/>
                  <a:moveTo>
                    <a:pt x="1156" y="1378"/>
                  </a:moveTo>
                  <a:lnTo>
                    <a:pt x="1159" y="1378"/>
                  </a:lnTo>
                  <a:lnTo>
                    <a:pt x="1159" y="1381"/>
                  </a:lnTo>
                  <a:lnTo>
                    <a:pt x="1161" y="1381"/>
                  </a:lnTo>
                  <a:lnTo>
                    <a:pt x="1162" y="1382"/>
                  </a:lnTo>
                  <a:lnTo>
                    <a:pt x="1162" y="1384"/>
                  </a:lnTo>
                  <a:lnTo>
                    <a:pt x="1161" y="1385"/>
                  </a:lnTo>
                  <a:lnTo>
                    <a:pt x="1161" y="1384"/>
                  </a:lnTo>
                  <a:lnTo>
                    <a:pt x="1156" y="1384"/>
                  </a:lnTo>
                  <a:lnTo>
                    <a:pt x="1156" y="1382"/>
                  </a:lnTo>
                  <a:lnTo>
                    <a:pt x="1155" y="1382"/>
                  </a:lnTo>
                  <a:lnTo>
                    <a:pt x="1155" y="1379"/>
                  </a:lnTo>
                  <a:lnTo>
                    <a:pt x="1156" y="1378"/>
                  </a:lnTo>
                  <a:close/>
                  <a:moveTo>
                    <a:pt x="1162" y="1369"/>
                  </a:moveTo>
                  <a:lnTo>
                    <a:pt x="1165" y="1369"/>
                  </a:lnTo>
                  <a:lnTo>
                    <a:pt x="1165" y="1370"/>
                  </a:lnTo>
                  <a:lnTo>
                    <a:pt x="1164" y="1370"/>
                  </a:lnTo>
                  <a:lnTo>
                    <a:pt x="1164" y="1373"/>
                  </a:lnTo>
                  <a:lnTo>
                    <a:pt x="1165" y="1375"/>
                  </a:lnTo>
                  <a:lnTo>
                    <a:pt x="1165" y="1378"/>
                  </a:lnTo>
                  <a:lnTo>
                    <a:pt x="1164" y="1378"/>
                  </a:lnTo>
                  <a:lnTo>
                    <a:pt x="1165" y="1379"/>
                  </a:lnTo>
                  <a:lnTo>
                    <a:pt x="1165" y="1378"/>
                  </a:lnTo>
                  <a:lnTo>
                    <a:pt x="1167" y="1378"/>
                  </a:lnTo>
                  <a:lnTo>
                    <a:pt x="1167" y="1382"/>
                  </a:lnTo>
                  <a:lnTo>
                    <a:pt x="1164" y="1381"/>
                  </a:lnTo>
                  <a:lnTo>
                    <a:pt x="1164" y="1379"/>
                  </a:lnTo>
                  <a:lnTo>
                    <a:pt x="1162" y="1379"/>
                  </a:lnTo>
                  <a:lnTo>
                    <a:pt x="1162" y="1375"/>
                  </a:lnTo>
                  <a:lnTo>
                    <a:pt x="1161" y="1372"/>
                  </a:lnTo>
                  <a:lnTo>
                    <a:pt x="1161" y="1370"/>
                  </a:lnTo>
                  <a:lnTo>
                    <a:pt x="1162" y="1370"/>
                  </a:lnTo>
                  <a:lnTo>
                    <a:pt x="1162" y="1369"/>
                  </a:lnTo>
                  <a:close/>
                  <a:moveTo>
                    <a:pt x="225" y="1366"/>
                  </a:moveTo>
                  <a:lnTo>
                    <a:pt x="226" y="1366"/>
                  </a:lnTo>
                  <a:lnTo>
                    <a:pt x="226" y="1367"/>
                  </a:lnTo>
                  <a:lnTo>
                    <a:pt x="225" y="1367"/>
                  </a:lnTo>
                  <a:lnTo>
                    <a:pt x="225" y="1366"/>
                  </a:lnTo>
                  <a:close/>
                  <a:moveTo>
                    <a:pt x="1143" y="1363"/>
                  </a:moveTo>
                  <a:lnTo>
                    <a:pt x="1146" y="1363"/>
                  </a:lnTo>
                  <a:lnTo>
                    <a:pt x="1146" y="1367"/>
                  </a:lnTo>
                  <a:lnTo>
                    <a:pt x="1147" y="1367"/>
                  </a:lnTo>
                  <a:lnTo>
                    <a:pt x="1147" y="1369"/>
                  </a:lnTo>
                  <a:lnTo>
                    <a:pt x="1146" y="1369"/>
                  </a:lnTo>
                  <a:lnTo>
                    <a:pt x="1144" y="1367"/>
                  </a:lnTo>
                  <a:lnTo>
                    <a:pt x="1144" y="1366"/>
                  </a:lnTo>
                  <a:lnTo>
                    <a:pt x="1143" y="1366"/>
                  </a:lnTo>
                  <a:lnTo>
                    <a:pt x="1143" y="1363"/>
                  </a:lnTo>
                  <a:close/>
                  <a:moveTo>
                    <a:pt x="1168" y="1354"/>
                  </a:moveTo>
                  <a:lnTo>
                    <a:pt x="1170" y="1355"/>
                  </a:lnTo>
                  <a:lnTo>
                    <a:pt x="1170" y="1357"/>
                  </a:lnTo>
                  <a:lnTo>
                    <a:pt x="1168" y="1358"/>
                  </a:lnTo>
                  <a:lnTo>
                    <a:pt x="1168" y="1354"/>
                  </a:lnTo>
                  <a:close/>
                  <a:moveTo>
                    <a:pt x="515" y="1322"/>
                  </a:moveTo>
                  <a:lnTo>
                    <a:pt x="518" y="1324"/>
                  </a:lnTo>
                  <a:lnTo>
                    <a:pt x="519" y="1325"/>
                  </a:lnTo>
                  <a:lnTo>
                    <a:pt x="518" y="1325"/>
                  </a:lnTo>
                  <a:lnTo>
                    <a:pt x="515" y="1322"/>
                  </a:lnTo>
                  <a:close/>
                  <a:moveTo>
                    <a:pt x="1129" y="1321"/>
                  </a:moveTo>
                  <a:lnTo>
                    <a:pt x="1131" y="1321"/>
                  </a:lnTo>
                  <a:lnTo>
                    <a:pt x="1132" y="1322"/>
                  </a:lnTo>
                  <a:lnTo>
                    <a:pt x="1132" y="1325"/>
                  </a:lnTo>
                  <a:lnTo>
                    <a:pt x="1131" y="1327"/>
                  </a:lnTo>
                  <a:lnTo>
                    <a:pt x="1128" y="1327"/>
                  </a:lnTo>
                  <a:lnTo>
                    <a:pt x="1128" y="1322"/>
                  </a:lnTo>
                  <a:lnTo>
                    <a:pt x="1129" y="1322"/>
                  </a:lnTo>
                  <a:lnTo>
                    <a:pt x="1129" y="1321"/>
                  </a:lnTo>
                  <a:close/>
                  <a:moveTo>
                    <a:pt x="512" y="1318"/>
                  </a:moveTo>
                  <a:lnTo>
                    <a:pt x="515" y="1318"/>
                  </a:lnTo>
                  <a:lnTo>
                    <a:pt x="513" y="1319"/>
                  </a:lnTo>
                  <a:lnTo>
                    <a:pt x="513" y="1321"/>
                  </a:lnTo>
                  <a:lnTo>
                    <a:pt x="515" y="1321"/>
                  </a:lnTo>
                  <a:lnTo>
                    <a:pt x="515" y="1322"/>
                  </a:lnTo>
                  <a:lnTo>
                    <a:pt x="512" y="1321"/>
                  </a:lnTo>
                  <a:lnTo>
                    <a:pt x="507" y="1321"/>
                  </a:lnTo>
                  <a:lnTo>
                    <a:pt x="507" y="1319"/>
                  </a:lnTo>
                  <a:lnTo>
                    <a:pt x="510" y="1319"/>
                  </a:lnTo>
                  <a:lnTo>
                    <a:pt x="512" y="1318"/>
                  </a:lnTo>
                  <a:close/>
                  <a:moveTo>
                    <a:pt x="376" y="1292"/>
                  </a:moveTo>
                  <a:lnTo>
                    <a:pt x="377" y="1294"/>
                  </a:lnTo>
                  <a:lnTo>
                    <a:pt x="377" y="1298"/>
                  </a:lnTo>
                  <a:lnTo>
                    <a:pt x="376" y="1295"/>
                  </a:lnTo>
                  <a:lnTo>
                    <a:pt x="376" y="1292"/>
                  </a:lnTo>
                  <a:close/>
                  <a:moveTo>
                    <a:pt x="371" y="1288"/>
                  </a:moveTo>
                  <a:lnTo>
                    <a:pt x="373" y="1288"/>
                  </a:lnTo>
                  <a:lnTo>
                    <a:pt x="374" y="1289"/>
                  </a:lnTo>
                  <a:lnTo>
                    <a:pt x="374" y="1291"/>
                  </a:lnTo>
                  <a:lnTo>
                    <a:pt x="371" y="1291"/>
                  </a:lnTo>
                  <a:lnTo>
                    <a:pt x="371" y="1288"/>
                  </a:lnTo>
                  <a:close/>
                  <a:moveTo>
                    <a:pt x="252" y="1282"/>
                  </a:moveTo>
                  <a:lnTo>
                    <a:pt x="253" y="1282"/>
                  </a:lnTo>
                  <a:lnTo>
                    <a:pt x="252" y="1283"/>
                  </a:lnTo>
                  <a:lnTo>
                    <a:pt x="252" y="1282"/>
                  </a:lnTo>
                  <a:close/>
                  <a:moveTo>
                    <a:pt x="368" y="1280"/>
                  </a:moveTo>
                  <a:lnTo>
                    <a:pt x="370" y="1280"/>
                  </a:lnTo>
                  <a:lnTo>
                    <a:pt x="370" y="1282"/>
                  </a:lnTo>
                  <a:lnTo>
                    <a:pt x="371" y="1282"/>
                  </a:lnTo>
                  <a:lnTo>
                    <a:pt x="371" y="1286"/>
                  </a:lnTo>
                  <a:lnTo>
                    <a:pt x="370" y="1285"/>
                  </a:lnTo>
                  <a:lnTo>
                    <a:pt x="368" y="1282"/>
                  </a:lnTo>
                  <a:lnTo>
                    <a:pt x="368" y="1280"/>
                  </a:lnTo>
                  <a:close/>
                  <a:moveTo>
                    <a:pt x="530" y="1272"/>
                  </a:moveTo>
                  <a:lnTo>
                    <a:pt x="530" y="1273"/>
                  </a:lnTo>
                  <a:lnTo>
                    <a:pt x="534" y="1273"/>
                  </a:lnTo>
                  <a:lnTo>
                    <a:pt x="533" y="1272"/>
                  </a:lnTo>
                  <a:lnTo>
                    <a:pt x="530" y="1272"/>
                  </a:lnTo>
                  <a:close/>
                  <a:moveTo>
                    <a:pt x="184" y="1248"/>
                  </a:moveTo>
                  <a:lnTo>
                    <a:pt x="186" y="1248"/>
                  </a:lnTo>
                  <a:lnTo>
                    <a:pt x="184" y="1249"/>
                  </a:lnTo>
                  <a:lnTo>
                    <a:pt x="184" y="1248"/>
                  </a:lnTo>
                  <a:close/>
                  <a:moveTo>
                    <a:pt x="1117" y="1245"/>
                  </a:moveTo>
                  <a:lnTo>
                    <a:pt x="1119" y="1245"/>
                  </a:lnTo>
                  <a:lnTo>
                    <a:pt x="1120" y="1246"/>
                  </a:lnTo>
                  <a:lnTo>
                    <a:pt x="1120" y="1249"/>
                  </a:lnTo>
                  <a:lnTo>
                    <a:pt x="1122" y="1249"/>
                  </a:lnTo>
                  <a:lnTo>
                    <a:pt x="1122" y="1255"/>
                  </a:lnTo>
                  <a:lnTo>
                    <a:pt x="1119" y="1258"/>
                  </a:lnTo>
                  <a:lnTo>
                    <a:pt x="1119" y="1260"/>
                  </a:lnTo>
                  <a:lnTo>
                    <a:pt x="1120" y="1260"/>
                  </a:lnTo>
                  <a:lnTo>
                    <a:pt x="1120" y="1261"/>
                  </a:lnTo>
                  <a:lnTo>
                    <a:pt x="1119" y="1263"/>
                  </a:lnTo>
                  <a:lnTo>
                    <a:pt x="1117" y="1263"/>
                  </a:lnTo>
                  <a:lnTo>
                    <a:pt x="1116" y="1261"/>
                  </a:lnTo>
                  <a:lnTo>
                    <a:pt x="1111" y="1261"/>
                  </a:lnTo>
                  <a:lnTo>
                    <a:pt x="1114" y="1258"/>
                  </a:lnTo>
                  <a:lnTo>
                    <a:pt x="1114" y="1257"/>
                  </a:lnTo>
                  <a:lnTo>
                    <a:pt x="1113" y="1257"/>
                  </a:lnTo>
                  <a:lnTo>
                    <a:pt x="1113" y="1255"/>
                  </a:lnTo>
                  <a:lnTo>
                    <a:pt x="1111" y="1255"/>
                  </a:lnTo>
                  <a:lnTo>
                    <a:pt x="1111" y="1251"/>
                  </a:lnTo>
                  <a:lnTo>
                    <a:pt x="1113" y="1251"/>
                  </a:lnTo>
                  <a:lnTo>
                    <a:pt x="1113" y="1249"/>
                  </a:lnTo>
                  <a:lnTo>
                    <a:pt x="1114" y="1249"/>
                  </a:lnTo>
                  <a:lnTo>
                    <a:pt x="1114" y="1246"/>
                  </a:lnTo>
                  <a:lnTo>
                    <a:pt x="1117" y="1245"/>
                  </a:lnTo>
                  <a:close/>
                  <a:moveTo>
                    <a:pt x="1123" y="1216"/>
                  </a:moveTo>
                  <a:lnTo>
                    <a:pt x="1125" y="1216"/>
                  </a:lnTo>
                  <a:lnTo>
                    <a:pt x="1126" y="1218"/>
                  </a:lnTo>
                  <a:lnTo>
                    <a:pt x="1126" y="1222"/>
                  </a:lnTo>
                  <a:lnTo>
                    <a:pt x="1125" y="1222"/>
                  </a:lnTo>
                  <a:lnTo>
                    <a:pt x="1125" y="1224"/>
                  </a:lnTo>
                  <a:lnTo>
                    <a:pt x="1123" y="1224"/>
                  </a:lnTo>
                  <a:lnTo>
                    <a:pt x="1123" y="1222"/>
                  </a:lnTo>
                  <a:lnTo>
                    <a:pt x="1122" y="1222"/>
                  </a:lnTo>
                  <a:lnTo>
                    <a:pt x="1122" y="1221"/>
                  </a:lnTo>
                  <a:lnTo>
                    <a:pt x="1123" y="1221"/>
                  </a:lnTo>
                  <a:lnTo>
                    <a:pt x="1123" y="1216"/>
                  </a:lnTo>
                  <a:close/>
                  <a:moveTo>
                    <a:pt x="1105" y="1212"/>
                  </a:moveTo>
                  <a:lnTo>
                    <a:pt x="1107" y="1212"/>
                  </a:lnTo>
                  <a:lnTo>
                    <a:pt x="1107" y="1213"/>
                  </a:lnTo>
                  <a:lnTo>
                    <a:pt x="1108" y="1213"/>
                  </a:lnTo>
                  <a:lnTo>
                    <a:pt x="1108" y="1215"/>
                  </a:lnTo>
                  <a:lnTo>
                    <a:pt x="1105" y="1215"/>
                  </a:lnTo>
                  <a:lnTo>
                    <a:pt x="1105" y="1212"/>
                  </a:lnTo>
                  <a:close/>
                  <a:moveTo>
                    <a:pt x="1138" y="1192"/>
                  </a:moveTo>
                  <a:lnTo>
                    <a:pt x="1141" y="1192"/>
                  </a:lnTo>
                  <a:lnTo>
                    <a:pt x="1144" y="1198"/>
                  </a:lnTo>
                  <a:lnTo>
                    <a:pt x="1143" y="1198"/>
                  </a:lnTo>
                  <a:lnTo>
                    <a:pt x="1143" y="1197"/>
                  </a:lnTo>
                  <a:lnTo>
                    <a:pt x="1141" y="1197"/>
                  </a:lnTo>
                  <a:lnTo>
                    <a:pt x="1141" y="1195"/>
                  </a:lnTo>
                  <a:lnTo>
                    <a:pt x="1140" y="1195"/>
                  </a:lnTo>
                  <a:lnTo>
                    <a:pt x="1140" y="1194"/>
                  </a:lnTo>
                  <a:lnTo>
                    <a:pt x="1138" y="1194"/>
                  </a:lnTo>
                  <a:lnTo>
                    <a:pt x="1138" y="1192"/>
                  </a:lnTo>
                  <a:close/>
                  <a:moveTo>
                    <a:pt x="1144" y="1183"/>
                  </a:moveTo>
                  <a:lnTo>
                    <a:pt x="1146" y="1185"/>
                  </a:lnTo>
                  <a:lnTo>
                    <a:pt x="1144" y="1186"/>
                  </a:lnTo>
                  <a:lnTo>
                    <a:pt x="1146" y="1188"/>
                  </a:lnTo>
                  <a:lnTo>
                    <a:pt x="1146" y="1189"/>
                  </a:lnTo>
                  <a:lnTo>
                    <a:pt x="1144" y="1189"/>
                  </a:lnTo>
                  <a:lnTo>
                    <a:pt x="1144" y="1188"/>
                  </a:lnTo>
                  <a:lnTo>
                    <a:pt x="1143" y="1188"/>
                  </a:lnTo>
                  <a:lnTo>
                    <a:pt x="1143" y="1185"/>
                  </a:lnTo>
                  <a:lnTo>
                    <a:pt x="1144" y="1185"/>
                  </a:lnTo>
                  <a:lnTo>
                    <a:pt x="1144" y="1183"/>
                  </a:lnTo>
                  <a:close/>
                  <a:moveTo>
                    <a:pt x="1126" y="1147"/>
                  </a:moveTo>
                  <a:lnTo>
                    <a:pt x="1128" y="1147"/>
                  </a:lnTo>
                  <a:lnTo>
                    <a:pt x="1128" y="1153"/>
                  </a:lnTo>
                  <a:lnTo>
                    <a:pt x="1126" y="1153"/>
                  </a:lnTo>
                  <a:lnTo>
                    <a:pt x="1126" y="1156"/>
                  </a:lnTo>
                  <a:lnTo>
                    <a:pt x="1125" y="1153"/>
                  </a:lnTo>
                  <a:lnTo>
                    <a:pt x="1125" y="1152"/>
                  </a:lnTo>
                  <a:lnTo>
                    <a:pt x="1126" y="1152"/>
                  </a:lnTo>
                  <a:lnTo>
                    <a:pt x="1126" y="1147"/>
                  </a:lnTo>
                  <a:close/>
                  <a:moveTo>
                    <a:pt x="557" y="1122"/>
                  </a:moveTo>
                  <a:lnTo>
                    <a:pt x="558" y="1125"/>
                  </a:lnTo>
                  <a:lnTo>
                    <a:pt x="558" y="1126"/>
                  </a:lnTo>
                  <a:lnTo>
                    <a:pt x="557" y="1122"/>
                  </a:lnTo>
                  <a:close/>
                  <a:moveTo>
                    <a:pt x="1138" y="1120"/>
                  </a:moveTo>
                  <a:lnTo>
                    <a:pt x="1143" y="1120"/>
                  </a:lnTo>
                  <a:lnTo>
                    <a:pt x="1144" y="1122"/>
                  </a:lnTo>
                  <a:lnTo>
                    <a:pt x="1143" y="1123"/>
                  </a:lnTo>
                  <a:lnTo>
                    <a:pt x="1143" y="1128"/>
                  </a:lnTo>
                  <a:lnTo>
                    <a:pt x="1144" y="1128"/>
                  </a:lnTo>
                  <a:lnTo>
                    <a:pt x="1143" y="1129"/>
                  </a:lnTo>
                  <a:lnTo>
                    <a:pt x="1143" y="1131"/>
                  </a:lnTo>
                  <a:lnTo>
                    <a:pt x="1141" y="1131"/>
                  </a:lnTo>
                  <a:lnTo>
                    <a:pt x="1140" y="1129"/>
                  </a:lnTo>
                  <a:lnTo>
                    <a:pt x="1140" y="1132"/>
                  </a:lnTo>
                  <a:lnTo>
                    <a:pt x="1143" y="1132"/>
                  </a:lnTo>
                  <a:lnTo>
                    <a:pt x="1143" y="1134"/>
                  </a:lnTo>
                  <a:lnTo>
                    <a:pt x="1144" y="1134"/>
                  </a:lnTo>
                  <a:lnTo>
                    <a:pt x="1143" y="1135"/>
                  </a:lnTo>
                  <a:lnTo>
                    <a:pt x="1143" y="1144"/>
                  </a:lnTo>
                  <a:lnTo>
                    <a:pt x="1140" y="1144"/>
                  </a:lnTo>
                  <a:lnTo>
                    <a:pt x="1140" y="1146"/>
                  </a:lnTo>
                  <a:lnTo>
                    <a:pt x="1138" y="1144"/>
                  </a:lnTo>
                  <a:lnTo>
                    <a:pt x="1138" y="1143"/>
                  </a:lnTo>
                  <a:lnTo>
                    <a:pt x="1137" y="1144"/>
                  </a:lnTo>
                  <a:lnTo>
                    <a:pt x="1137" y="1146"/>
                  </a:lnTo>
                  <a:lnTo>
                    <a:pt x="1138" y="1147"/>
                  </a:lnTo>
                  <a:lnTo>
                    <a:pt x="1137" y="1147"/>
                  </a:lnTo>
                  <a:lnTo>
                    <a:pt x="1135" y="1150"/>
                  </a:lnTo>
                  <a:lnTo>
                    <a:pt x="1135" y="1152"/>
                  </a:lnTo>
                  <a:lnTo>
                    <a:pt x="1137" y="1150"/>
                  </a:lnTo>
                  <a:lnTo>
                    <a:pt x="1137" y="1152"/>
                  </a:lnTo>
                  <a:lnTo>
                    <a:pt x="1138" y="1152"/>
                  </a:lnTo>
                  <a:lnTo>
                    <a:pt x="1138" y="1155"/>
                  </a:lnTo>
                  <a:lnTo>
                    <a:pt x="1140" y="1156"/>
                  </a:lnTo>
                  <a:lnTo>
                    <a:pt x="1138" y="1156"/>
                  </a:lnTo>
                  <a:lnTo>
                    <a:pt x="1140" y="1158"/>
                  </a:lnTo>
                  <a:lnTo>
                    <a:pt x="1140" y="1170"/>
                  </a:lnTo>
                  <a:lnTo>
                    <a:pt x="1138" y="1170"/>
                  </a:lnTo>
                  <a:lnTo>
                    <a:pt x="1138" y="1171"/>
                  </a:lnTo>
                  <a:lnTo>
                    <a:pt x="1140" y="1171"/>
                  </a:lnTo>
                  <a:lnTo>
                    <a:pt x="1138" y="1173"/>
                  </a:lnTo>
                  <a:lnTo>
                    <a:pt x="1138" y="1174"/>
                  </a:lnTo>
                  <a:lnTo>
                    <a:pt x="1137" y="1174"/>
                  </a:lnTo>
                  <a:lnTo>
                    <a:pt x="1137" y="1173"/>
                  </a:lnTo>
                  <a:lnTo>
                    <a:pt x="1134" y="1173"/>
                  </a:lnTo>
                  <a:lnTo>
                    <a:pt x="1134" y="1176"/>
                  </a:lnTo>
                  <a:lnTo>
                    <a:pt x="1135" y="1176"/>
                  </a:lnTo>
                  <a:lnTo>
                    <a:pt x="1137" y="1177"/>
                  </a:lnTo>
                  <a:lnTo>
                    <a:pt x="1135" y="1179"/>
                  </a:lnTo>
                  <a:lnTo>
                    <a:pt x="1135" y="1180"/>
                  </a:lnTo>
                  <a:lnTo>
                    <a:pt x="1137" y="1180"/>
                  </a:lnTo>
                  <a:lnTo>
                    <a:pt x="1135" y="1182"/>
                  </a:lnTo>
                  <a:lnTo>
                    <a:pt x="1135" y="1185"/>
                  </a:lnTo>
                  <a:lnTo>
                    <a:pt x="1134" y="1185"/>
                  </a:lnTo>
                  <a:lnTo>
                    <a:pt x="1134" y="1186"/>
                  </a:lnTo>
                  <a:lnTo>
                    <a:pt x="1132" y="1186"/>
                  </a:lnTo>
                  <a:lnTo>
                    <a:pt x="1132" y="1189"/>
                  </a:lnTo>
                  <a:lnTo>
                    <a:pt x="1129" y="1189"/>
                  </a:lnTo>
                  <a:lnTo>
                    <a:pt x="1129" y="1191"/>
                  </a:lnTo>
                  <a:lnTo>
                    <a:pt x="1131" y="1192"/>
                  </a:lnTo>
                  <a:lnTo>
                    <a:pt x="1129" y="1192"/>
                  </a:lnTo>
                  <a:lnTo>
                    <a:pt x="1129" y="1194"/>
                  </a:lnTo>
                  <a:lnTo>
                    <a:pt x="1128" y="1195"/>
                  </a:lnTo>
                  <a:lnTo>
                    <a:pt x="1128" y="1200"/>
                  </a:lnTo>
                  <a:lnTo>
                    <a:pt x="1129" y="1200"/>
                  </a:lnTo>
                  <a:lnTo>
                    <a:pt x="1129" y="1197"/>
                  </a:lnTo>
                  <a:lnTo>
                    <a:pt x="1131" y="1197"/>
                  </a:lnTo>
                  <a:lnTo>
                    <a:pt x="1131" y="1200"/>
                  </a:lnTo>
                  <a:lnTo>
                    <a:pt x="1129" y="1207"/>
                  </a:lnTo>
                  <a:lnTo>
                    <a:pt x="1128" y="1207"/>
                  </a:lnTo>
                  <a:lnTo>
                    <a:pt x="1126" y="1209"/>
                  </a:lnTo>
                  <a:lnTo>
                    <a:pt x="1126" y="1212"/>
                  </a:lnTo>
                  <a:lnTo>
                    <a:pt x="1128" y="1212"/>
                  </a:lnTo>
                  <a:lnTo>
                    <a:pt x="1128" y="1209"/>
                  </a:lnTo>
                  <a:lnTo>
                    <a:pt x="1129" y="1209"/>
                  </a:lnTo>
                  <a:lnTo>
                    <a:pt x="1129" y="1215"/>
                  </a:lnTo>
                  <a:lnTo>
                    <a:pt x="1128" y="1216"/>
                  </a:lnTo>
                  <a:lnTo>
                    <a:pt x="1126" y="1216"/>
                  </a:lnTo>
                  <a:lnTo>
                    <a:pt x="1125" y="1215"/>
                  </a:lnTo>
                  <a:lnTo>
                    <a:pt x="1125" y="1213"/>
                  </a:lnTo>
                  <a:lnTo>
                    <a:pt x="1123" y="1213"/>
                  </a:lnTo>
                  <a:lnTo>
                    <a:pt x="1123" y="1209"/>
                  </a:lnTo>
                  <a:lnTo>
                    <a:pt x="1120" y="1206"/>
                  </a:lnTo>
                  <a:lnTo>
                    <a:pt x="1120" y="1201"/>
                  </a:lnTo>
                  <a:lnTo>
                    <a:pt x="1119" y="1201"/>
                  </a:lnTo>
                  <a:lnTo>
                    <a:pt x="1119" y="1198"/>
                  </a:lnTo>
                  <a:lnTo>
                    <a:pt x="1120" y="1197"/>
                  </a:lnTo>
                  <a:lnTo>
                    <a:pt x="1122" y="1197"/>
                  </a:lnTo>
                  <a:lnTo>
                    <a:pt x="1122" y="1198"/>
                  </a:lnTo>
                  <a:lnTo>
                    <a:pt x="1123" y="1200"/>
                  </a:lnTo>
                  <a:lnTo>
                    <a:pt x="1123" y="1192"/>
                  </a:lnTo>
                  <a:lnTo>
                    <a:pt x="1125" y="1192"/>
                  </a:lnTo>
                  <a:lnTo>
                    <a:pt x="1123" y="1188"/>
                  </a:lnTo>
                  <a:lnTo>
                    <a:pt x="1125" y="1186"/>
                  </a:lnTo>
                  <a:lnTo>
                    <a:pt x="1125" y="1183"/>
                  </a:lnTo>
                  <a:lnTo>
                    <a:pt x="1126" y="1183"/>
                  </a:lnTo>
                  <a:lnTo>
                    <a:pt x="1128" y="1182"/>
                  </a:lnTo>
                  <a:lnTo>
                    <a:pt x="1128" y="1185"/>
                  </a:lnTo>
                  <a:lnTo>
                    <a:pt x="1131" y="1185"/>
                  </a:lnTo>
                  <a:lnTo>
                    <a:pt x="1131" y="1182"/>
                  </a:lnTo>
                  <a:lnTo>
                    <a:pt x="1129" y="1182"/>
                  </a:lnTo>
                  <a:lnTo>
                    <a:pt x="1129" y="1180"/>
                  </a:lnTo>
                  <a:lnTo>
                    <a:pt x="1131" y="1180"/>
                  </a:lnTo>
                  <a:lnTo>
                    <a:pt x="1131" y="1179"/>
                  </a:lnTo>
                  <a:lnTo>
                    <a:pt x="1128" y="1179"/>
                  </a:lnTo>
                  <a:lnTo>
                    <a:pt x="1128" y="1165"/>
                  </a:lnTo>
                  <a:lnTo>
                    <a:pt x="1129" y="1164"/>
                  </a:lnTo>
                  <a:lnTo>
                    <a:pt x="1129" y="1158"/>
                  </a:lnTo>
                  <a:lnTo>
                    <a:pt x="1128" y="1156"/>
                  </a:lnTo>
                  <a:lnTo>
                    <a:pt x="1129" y="1155"/>
                  </a:lnTo>
                  <a:lnTo>
                    <a:pt x="1129" y="1153"/>
                  </a:lnTo>
                  <a:lnTo>
                    <a:pt x="1131" y="1155"/>
                  </a:lnTo>
                  <a:lnTo>
                    <a:pt x="1131" y="1153"/>
                  </a:lnTo>
                  <a:lnTo>
                    <a:pt x="1132" y="1152"/>
                  </a:lnTo>
                  <a:lnTo>
                    <a:pt x="1132" y="1141"/>
                  </a:lnTo>
                  <a:lnTo>
                    <a:pt x="1134" y="1140"/>
                  </a:lnTo>
                  <a:lnTo>
                    <a:pt x="1134" y="1131"/>
                  </a:lnTo>
                  <a:lnTo>
                    <a:pt x="1135" y="1128"/>
                  </a:lnTo>
                  <a:lnTo>
                    <a:pt x="1135" y="1125"/>
                  </a:lnTo>
                  <a:lnTo>
                    <a:pt x="1137" y="1125"/>
                  </a:lnTo>
                  <a:lnTo>
                    <a:pt x="1138" y="1123"/>
                  </a:lnTo>
                  <a:lnTo>
                    <a:pt x="1138" y="1120"/>
                  </a:lnTo>
                  <a:close/>
                  <a:moveTo>
                    <a:pt x="1141" y="1114"/>
                  </a:moveTo>
                  <a:lnTo>
                    <a:pt x="1143" y="1114"/>
                  </a:lnTo>
                  <a:lnTo>
                    <a:pt x="1143" y="1116"/>
                  </a:lnTo>
                  <a:lnTo>
                    <a:pt x="1140" y="1116"/>
                  </a:lnTo>
                  <a:lnTo>
                    <a:pt x="1141" y="1114"/>
                  </a:lnTo>
                  <a:close/>
                  <a:moveTo>
                    <a:pt x="590" y="1014"/>
                  </a:moveTo>
                  <a:lnTo>
                    <a:pt x="591" y="1014"/>
                  </a:lnTo>
                  <a:lnTo>
                    <a:pt x="591" y="1016"/>
                  </a:lnTo>
                  <a:lnTo>
                    <a:pt x="590" y="1016"/>
                  </a:lnTo>
                  <a:lnTo>
                    <a:pt x="590" y="1014"/>
                  </a:lnTo>
                  <a:close/>
                  <a:moveTo>
                    <a:pt x="585" y="1013"/>
                  </a:moveTo>
                  <a:lnTo>
                    <a:pt x="588" y="1016"/>
                  </a:lnTo>
                  <a:lnTo>
                    <a:pt x="590" y="1016"/>
                  </a:lnTo>
                  <a:lnTo>
                    <a:pt x="590" y="1017"/>
                  </a:lnTo>
                  <a:lnTo>
                    <a:pt x="587" y="1017"/>
                  </a:lnTo>
                  <a:lnTo>
                    <a:pt x="584" y="1014"/>
                  </a:lnTo>
                  <a:lnTo>
                    <a:pt x="585" y="1013"/>
                  </a:lnTo>
                  <a:close/>
                  <a:moveTo>
                    <a:pt x="244" y="996"/>
                  </a:moveTo>
                  <a:lnTo>
                    <a:pt x="244" y="998"/>
                  </a:lnTo>
                  <a:lnTo>
                    <a:pt x="246" y="996"/>
                  </a:lnTo>
                  <a:lnTo>
                    <a:pt x="244" y="996"/>
                  </a:lnTo>
                  <a:close/>
                  <a:moveTo>
                    <a:pt x="213" y="863"/>
                  </a:moveTo>
                  <a:lnTo>
                    <a:pt x="214" y="863"/>
                  </a:lnTo>
                  <a:lnTo>
                    <a:pt x="213" y="864"/>
                  </a:lnTo>
                  <a:lnTo>
                    <a:pt x="213" y="863"/>
                  </a:lnTo>
                  <a:close/>
                  <a:moveTo>
                    <a:pt x="799" y="828"/>
                  </a:moveTo>
                  <a:lnTo>
                    <a:pt x="800" y="828"/>
                  </a:lnTo>
                  <a:lnTo>
                    <a:pt x="797" y="830"/>
                  </a:lnTo>
                  <a:lnTo>
                    <a:pt x="799" y="828"/>
                  </a:lnTo>
                  <a:close/>
                  <a:moveTo>
                    <a:pt x="803" y="825"/>
                  </a:moveTo>
                  <a:lnTo>
                    <a:pt x="803" y="827"/>
                  </a:lnTo>
                  <a:lnTo>
                    <a:pt x="802" y="827"/>
                  </a:lnTo>
                  <a:lnTo>
                    <a:pt x="803" y="825"/>
                  </a:lnTo>
                  <a:close/>
                  <a:moveTo>
                    <a:pt x="856" y="791"/>
                  </a:moveTo>
                  <a:lnTo>
                    <a:pt x="857" y="792"/>
                  </a:lnTo>
                  <a:lnTo>
                    <a:pt x="856" y="794"/>
                  </a:lnTo>
                  <a:lnTo>
                    <a:pt x="856" y="791"/>
                  </a:lnTo>
                  <a:close/>
                  <a:moveTo>
                    <a:pt x="866" y="779"/>
                  </a:moveTo>
                  <a:lnTo>
                    <a:pt x="868" y="779"/>
                  </a:lnTo>
                  <a:lnTo>
                    <a:pt x="866" y="780"/>
                  </a:lnTo>
                  <a:lnTo>
                    <a:pt x="866" y="779"/>
                  </a:lnTo>
                  <a:close/>
                  <a:moveTo>
                    <a:pt x="950" y="734"/>
                  </a:moveTo>
                  <a:lnTo>
                    <a:pt x="951" y="736"/>
                  </a:lnTo>
                  <a:lnTo>
                    <a:pt x="953" y="736"/>
                  </a:lnTo>
                  <a:lnTo>
                    <a:pt x="953" y="739"/>
                  </a:lnTo>
                  <a:lnTo>
                    <a:pt x="950" y="739"/>
                  </a:lnTo>
                  <a:lnTo>
                    <a:pt x="950" y="734"/>
                  </a:lnTo>
                  <a:close/>
                  <a:moveTo>
                    <a:pt x="923" y="725"/>
                  </a:moveTo>
                  <a:lnTo>
                    <a:pt x="923" y="727"/>
                  </a:lnTo>
                  <a:lnTo>
                    <a:pt x="925" y="731"/>
                  </a:lnTo>
                  <a:lnTo>
                    <a:pt x="925" y="727"/>
                  </a:lnTo>
                  <a:lnTo>
                    <a:pt x="923" y="725"/>
                  </a:lnTo>
                  <a:close/>
                  <a:moveTo>
                    <a:pt x="917" y="722"/>
                  </a:moveTo>
                  <a:lnTo>
                    <a:pt x="919" y="722"/>
                  </a:lnTo>
                  <a:lnTo>
                    <a:pt x="919" y="730"/>
                  </a:lnTo>
                  <a:lnTo>
                    <a:pt x="917" y="731"/>
                  </a:lnTo>
                  <a:lnTo>
                    <a:pt x="919" y="733"/>
                  </a:lnTo>
                  <a:lnTo>
                    <a:pt x="917" y="734"/>
                  </a:lnTo>
                  <a:lnTo>
                    <a:pt x="916" y="733"/>
                  </a:lnTo>
                  <a:lnTo>
                    <a:pt x="913" y="733"/>
                  </a:lnTo>
                  <a:lnTo>
                    <a:pt x="913" y="731"/>
                  </a:lnTo>
                  <a:lnTo>
                    <a:pt x="914" y="730"/>
                  </a:lnTo>
                  <a:lnTo>
                    <a:pt x="916" y="725"/>
                  </a:lnTo>
                  <a:lnTo>
                    <a:pt x="917" y="722"/>
                  </a:lnTo>
                  <a:close/>
                  <a:moveTo>
                    <a:pt x="941" y="719"/>
                  </a:moveTo>
                  <a:lnTo>
                    <a:pt x="942" y="719"/>
                  </a:lnTo>
                  <a:lnTo>
                    <a:pt x="942" y="721"/>
                  </a:lnTo>
                  <a:lnTo>
                    <a:pt x="941" y="722"/>
                  </a:lnTo>
                  <a:lnTo>
                    <a:pt x="941" y="725"/>
                  </a:lnTo>
                  <a:lnTo>
                    <a:pt x="938" y="725"/>
                  </a:lnTo>
                  <a:lnTo>
                    <a:pt x="938" y="722"/>
                  </a:lnTo>
                  <a:lnTo>
                    <a:pt x="941" y="719"/>
                  </a:lnTo>
                  <a:close/>
                  <a:moveTo>
                    <a:pt x="916" y="718"/>
                  </a:moveTo>
                  <a:lnTo>
                    <a:pt x="917" y="718"/>
                  </a:lnTo>
                  <a:lnTo>
                    <a:pt x="917" y="721"/>
                  </a:lnTo>
                  <a:lnTo>
                    <a:pt x="916" y="722"/>
                  </a:lnTo>
                  <a:lnTo>
                    <a:pt x="914" y="722"/>
                  </a:lnTo>
                  <a:lnTo>
                    <a:pt x="914" y="721"/>
                  </a:lnTo>
                  <a:lnTo>
                    <a:pt x="916" y="719"/>
                  </a:lnTo>
                  <a:lnTo>
                    <a:pt x="916" y="718"/>
                  </a:lnTo>
                  <a:close/>
                  <a:moveTo>
                    <a:pt x="944" y="709"/>
                  </a:moveTo>
                  <a:lnTo>
                    <a:pt x="944" y="710"/>
                  </a:lnTo>
                  <a:lnTo>
                    <a:pt x="942" y="712"/>
                  </a:lnTo>
                  <a:lnTo>
                    <a:pt x="944" y="713"/>
                  </a:lnTo>
                  <a:lnTo>
                    <a:pt x="945" y="713"/>
                  </a:lnTo>
                  <a:lnTo>
                    <a:pt x="944" y="715"/>
                  </a:lnTo>
                  <a:lnTo>
                    <a:pt x="944" y="716"/>
                  </a:lnTo>
                  <a:lnTo>
                    <a:pt x="945" y="716"/>
                  </a:lnTo>
                  <a:lnTo>
                    <a:pt x="945" y="715"/>
                  </a:lnTo>
                  <a:lnTo>
                    <a:pt x="947" y="715"/>
                  </a:lnTo>
                  <a:lnTo>
                    <a:pt x="944" y="712"/>
                  </a:lnTo>
                  <a:lnTo>
                    <a:pt x="944" y="710"/>
                  </a:lnTo>
                  <a:lnTo>
                    <a:pt x="947" y="709"/>
                  </a:lnTo>
                  <a:lnTo>
                    <a:pt x="944" y="709"/>
                  </a:lnTo>
                  <a:close/>
                  <a:moveTo>
                    <a:pt x="941" y="706"/>
                  </a:moveTo>
                  <a:lnTo>
                    <a:pt x="941" y="707"/>
                  </a:lnTo>
                  <a:lnTo>
                    <a:pt x="942" y="707"/>
                  </a:lnTo>
                  <a:lnTo>
                    <a:pt x="942" y="706"/>
                  </a:lnTo>
                  <a:lnTo>
                    <a:pt x="941" y="706"/>
                  </a:lnTo>
                  <a:close/>
                  <a:moveTo>
                    <a:pt x="189" y="701"/>
                  </a:moveTo>
                  <a:lnTo>
                    <a:pt x="189" y="703"/>
                  </a:lnTo>
                  <a:lnTo>
                    <a:pt x="187" y="703"/>
                  </a:lnTo>
                  <a:lnTo>
                    <a:pt x="189" y="701"/>
                  </a:lnTo>
                  <a:close/>
                  <a:moveTo>
                    <a:pt x="907" y="694"/>
                  </a:moveTo>
                  <a:lnTo>
                    <a:pt x="907" y="695"/>
                  </a:lnTo>
                  <a:lnTo>
                    <a:pt x="908" y="695"/>
                  </a:lnTo>
                  <a:lnTo>
                    <a:pt x="908" y="694"/>
                  </a:lnTo>
                  <a:lnTo>
                    <a:pt x="907" y="694"/>
                  </a:lnTo>
                  <a:close/>
                  <a:moveTo>
                    <a:pt x="29" y="622"/>
                  </a:moveTo>
                  <a:lnTo>
                    <a:pt x="27" y="623"/>
                  </a:lnTo>
                  <a:lnTo>
                    <a:pt x="26" y="623"/>
                  </a:lnTo>
                  <a:lnTo>
                    <a:pt x="26" y="625"/>
                  </a:lnTo>
                  <a:lnTo>
                    <a:pt x="29" y="625"/>
                  </a:lnTo>
                  <a:lnTo>
                    <a:pt x="29" y="623"/>
                  </a:lnTo>
                  <a:lnTo>
                    <a:pt x="32" y="622"/>
                  </a:lnTo>
                  <a:lnTo>
                    <a:pt x="29" y="622"/>
                  </a:lnTo>
                  <a:close/>
                  <a:moveTo>
                    <a:pt x="397" y="0"/>
                  </a:moveTo>
                  <a:lnTo>
                    <a:pt x="400" y="0"/>
                  </a:lnTo>
                  <a:lnTo>
                    <a:pt x="400" y="2"/>
                  </a:lnTo>
                  <a:lnTo>
                    <a:pt x="401" y="3"/>
                  </a:lnTo>
                  <a:lnTo>
                    <a:pt x="403" y="3"/>
                  </a:lnTo>
                  <a:lnTo>
                    <a:pt x="404" y="5"/>
                  </a:lnTo>
                  <a:lnTo>
                    <a:pt x="406" y="5"/>
                  </a:lnTo>
                  <a:lnTo>
                    <a:pt x="407" y="3"/>
                  </a:lnTo>
                  <a:lnTo>
                    <a:pt x="409" y="3"/>
                  </a:lnTo>
                  <a:lnTo>
                    <a:pt x="409" y="5"/>
                  </a:lnTo>
                  <a:lnTo>
                    <a:pt x="410" y="5"/>
                  </a:lnTo>
                  <a:lnTo>
                    <a:pt x="410" y="6"/>
                  </a:lnTo>
                  <a:lnTo>
                    <a:pt x="412" y="6"/>
                  </a:lnTo>
                  <a:lnTo>
                    <a:pt x="413" y="8"/>
                  </a:lnTo>
                  <a:lnTo>
                    <a:pt x="415" y="8"/>
                  </a:lnTo>
                  <a:lnTo>
                    <a:pt x="418" y="6"/>
                  </a:lnTo>
                  <a:lnTo>
                    <a:pt x="419" y="6"/>
                  </a:lnTo>
                  <a:lnTo>
                    <a:pt x="424" y="11"/>
                  </a:lnTo>
                  <a:lnTo>
                    <a:pt x="425" y="11"/>
                  </a:lnTo>
                  <a:lnTo>
                    <a:pt x="428" y="9"/>
                  </a:lnTo>
                  <a:lnTo>
                    <a:pt x="431" y="9"/>
                  </a:lnTo>
                  <a:lnTo>
                    <a:pt x="437" y="11"/>
                  </a:lnTo>
                  <a:lnTo>
                    <a:pt x="439" y="11"/>
                  </a:lnTo>
                  <a:lnTo>
                    <a:pt x="440" y="9"/>
                  </a:lnTo>
                  <a:lnTo>
                    <a:pt x="443" y="9"/>
                  </a:lnTo>
                  <a:lnTo>
                    <a:pt x="446" y="12"/>
                  </a:lnTo>
                  <a:lnTo>
                    <a:pt x="449" y="12"/>
                  </a:lnTo>
                  <a:lnTo>
                    <a:pt x="451" y="9"/>
                  </a:lnTo>
                  <a:lnTo>
                    <a:pt x="455" y="9"/>
                  </a:lnTo>
                  <a:lnTo>
                    <a:pt x="455" y="11"/>
                  </a:lnTo>
                  <a:lnTo>
                    <a:pt x="453" y="14"/>
                  </a:lnTo>
                  <a:lnTo>
                    <a:pt x="453" y="17"/>
                  </a:lnTo>
                  <a:lnTo>
                    <a:pt x="452" y="21"/>
                  </a:lnTo>
                  <a:lnTo>
                    <a:pt x="453" y="26"/>
                  </a:lnTo>
                  <a:lnTo>
                    <a:pt x="458" y="33"/>
                  </a:lnTo>
                  <a:lnTo>
                    <a:pt x="459" y="36"/>
                  </a:lnTo>
                  <a:lnTo>
                    <a:pt x="459" y="42"/>
                  </a:lnTo>
                  <a:lnTo>
                    <a:pt x="462" y="45"/>
                  </a:lnTo>
                  <a:lnTo>
                    <a:pt x="465" y="56"/>
                  </a:lnTo>
                  <a:lnTo>
                    <a:pt x="465" y="57"/>
                  </a:lnTo>
                  <a:lnTo>
                    <a:pt x="468" y="59"/>
                  </a:lnTo>
                  <a:lnTo>
                    <a:pt x="470" y="60"/>
                  </a:lnTo>
                  <a:lnTo>
                    <a:pt x="480" y="62"/>
                  </a:lnTo>
                  <a:lnTo>
                    <a:pt x="483" y="63"/>
                  </a:lnTo>
                  <a:lnTo>
                    <a:pt x="491" y="71"/>
                  </a:lnTo>
                  <a:lnTo>
                    <a:pt x="492" y="71"/>
                  </a:lnTo>
                  <a:lnTo>
                    <a:pt x="495" y="72"/>
                  </a:lnTo>
                  <a:lnTo>
                    <a:pt x="497" y="74"/>
                  </a:lnTo>
                  <a:lnTo>
                    <a:pt x="497" y="77"/>
                  </a:lnTo>
                  <a:lnTo>
                    <a:pt x="498" y="78"/>
                  </a:lnTo>
                  <a:lnTo>
                    <a:pt x="497" y="78"/>
                  </a:lnTo>
                  <a:lnTo>
                    <a:pt x="497" y="80"/>
                  </a:lnTo>
                  <a:lnTo>
                    <a:pt x="494" y="83"/>
                  </a:lnTo>
                  <a:lnTo>
                    <a:pt x="489" y="86"/>
                  </a:lnTo>
                  <a:lnTo>
                    <a:pt x="486" y="87"/>
                  </a:lnTo>
                  <a:lnTo>
                    <a:pt x="485" y="93"/>
                  </a:lnTo>
                  <a:lnTo>
                    <a:pt x="488" y="99"/>
                  </a:lnTo>
                  <a:lnTo>
                    <a:pt x="488" y="102"/>
                  </a:lnTo>
                  <a:lnTo>
                    <a:pt x="489" y="107"/>
                  </a:lnTo>
                  <a:lnTo>
                    <a:pt x="488" y="117"/>
                  </a:lnTo>
                  <a:lnTo>
                    <a:pt x="489" y="120"/>
                  </a:lnTo>
                  <a:lnTo>
                    <a:pt x="491" y="122"/>
                  </a:lnTo>
                  <a:lnTo>
                    <a:pt x="497" y="131"/>
                  </a:lnTo>
                  <a:lnTo>
                    <a:pt x="500" y="131"/>
                  </a:lnTo>
                  <a:lnTo>
                    <a:pt x="500" y="132"/>
                  </a:lnTo>
                  <a:lnTo>
                    <a:pt x="501" y="132"/>
                  </a:lnTo>
                  <a:lnTo>
                    <a:pt x="501" y="135"/>
                  </a:lnTo>
                  <a:lnTo>
                    <a:pt x="506" y="135"/>
                  </a:lnTo>
                  <a:lnTo>
                    <a:pt x="509" y="137"/>
                  </a:lnTo>
                  <a:lnTo>
                    <a:pt x="515" y="137"/>
                  </a:lnTo>
                  <a:lnTo>
                    <a:pt x="516" y="138"/>
                  </a:lnTo>
                  <a:lnTo>
                    <a:pt x="516" y="140"/>
                  </a:lnTo>
                  <a:lnTo>
                    <a:pt x="515" y="141"/>
                  </a:lnTo>
                  <a:lnTo>
                    <a:pt x="515" y="143"/>
                  </a:lnTo>
                  <a:lnTo>
                    <a:pt x="513" y="144"/>
                  </a:lnTo>
                  <a:lnTo>
                    <a:pt x="513" y="150"/>
                  </a:lnTo>
                  <a:lnTo>
                    <a:pt x="515" y="150"/>
                  </a:lnTo>
                  <a:lnTo>
                    <a:pt x="518" y="153"/>
                  </a:lnTo>
                  <a:lnTo>
                    <a:pt x="518" y="156"/>
                  </a:lnTo>
                  <a:lnTo>
                    <a:pt x="521" y="159"/>
                  </a:lnTo>
                  <a:lnTo>
                    <a:pt x="521" y="167"/>
                  </a:lnTo>
                  <a:lnTo>
                    <a:pt x="518" y="168"/>
                  </a:lnTo>
                  <a:lnTo>
                    <a:pt x="512" y="174"/>
                  </a:lnTo>
                  <a:lnTo>
                    <a:pt x="506" y="174"/>
                  </a:lnTo>
                  <a:lnTo>
                    <a:pt x="504" y="176"/>
                  </a:lnTo>
                  <a:lnTo>
                    <a:pt x="503" y="176"/>
                  </a:lnTo>
                  <a:lnTo>
                    <a:pt x="503" y="180"/>
                  </a:lnTo>
                  <a:lnTo>
                    <a:pt x="501" y="182"/>
                  </a:lnTo>
                  <a:lnTo>
                    <a:pt x="497" y="182"/>
                  </a:lnTo>
                  <a:lnTo>
                    <a:pt x="495" y="183"/>
                  </a:lnTo>
                  <a:lnTo>
                    <a:pt x="494" y="182"/>
                  </a:lnTo>
                  <a:lnTo>
                    <a:pt x="492" y="182"/>
                  </a:lnTo>
                  <a:lnTo>
                    <a:pt x="491" y="180"/>
                  </a:lnTo>
                  <a:lnTo>
                    <a:pt x="488" y="176"/>
                  </a:lnTo>
                  <a:lnTo>
                    <a:pt x="486" y="174"/>
                  </a:lnTo>
                  <a:lnTo>
                    <a:pt x="486" y="167"/>
                  </a:lnTo>
                  <a:lnTo>
                    <a:pt x="485" y="167"/>
                  </a:lnTo>
                  <a:lnTo>
                    <a:pt x="482" y="170"/>
                  </a:lnTo>
                  <a:lnTo>
                    <a:pt x="479" y="171"/>
                  </a:lnTo>
                  <a:lnTo>
                    <a:pt x="470" y="171"/>
                  </a:lnTo>
                  <a:lnTo>
                    <a:pt x="470" y="173"/>
                  </a:lnTo>
                  <a:lnTo>
                    <a:pt x="473" y="179"/>
                  </a:lnTo>
                  <a:lnTo>
                    <a:pt x="473" y="189"/>
                  </a:lnTo>
                  <a:lnTo>
                    <a:pt x="474" y="189"/>
                  </a:lnTo>
                  <a:lnTo>
                    <a:pt x="477" y="192"/>
                  </a:lnTo>
                  <a:lnTo>
                    <a:pt x="477" y="194"/>
                  </a:lnTo>
                  <a:lnTo>
                    <a:pt x="482" y="200"/>
                  </a:lnTo>
                  <a:lnTo>
                    <a:pt x="483" y="201"/>
                  </a:lnTo>
                  <a:lnTo>
                    <a:pt x="485" y="201"/>
                  </a:lnTo>
                  <a:lnTo>
                    <a:pt x="486" y="203"/>
                  </a:lnTo>
                  <a:lnTo>
                    <a:pt x="486" y="204"/>
                  </a:lnTo>
                  <a:lnTo>
                    <a:pt x="485" y="207"/>
                  </a:lnTo>
                  <a:lnTo>
                    <a:pt x="485" y="212"/>
                  </a:lnTo>
                  <a:lnTo>
                    <a:pt x="483" y="213"/>
                  </a:lnTo>
                  <a:lnTo>
                    <a:pt x="485" y="215"/>
                  </a:lnTo>
                  <a:lnTo>
                    <a:pt x="485" y="219"/>
                  </a:lnTo>
                  <a:lnTo>
                    <a:pt x="488" y="219"/>
                  </a:lnTo>
                  <a:lnTo>
                    <a:pt x="489" y="221"/>
                  </a:lnTo>
                  <a:lnTo>
                    <a:pt x="489" y="224"/>
                  </a:lnTo>
                  <a:lnTo>
                    <a:pt x="485" y="228"/>
                  </a:lnTo>
                  <a:lnTo>
                    <a:pt x="485" y="230"/>
                  </a:lnTo>
                  <a:lnTo>
                    <a:pt x="486" y="230"/>
                  </a:lnTo>
                  <a:lnTo>
                    <a:pt x="488" y="231"/>
                  </a:lnTo>
                  <a:lnTo>
                    <a:pt x="488" y="233"/>
                  </a:lnTo>
                  <a:lnTo>
                    <a:pt x="486" y="236"/>
                  </a:lnTo>
                  <a:lnTo>
                    <a:pt x="486" y="238"/>
                  </a:lnTo>
                  <a:lnTo>
                    <a:pt x="488" y="240"/>
                  </a:lnTo>
                  <a:lnTo>
                    <a:pt x="489" y="240"/>
                  </a:lnTo>
                  <a:lnTo>
                    <a:pt x="489" y="238"/>
                  </a:lnTo>
                  <a:lnTo>
                    <a:pt x="491" y="240"/>
                  </a:lnTo>
                  <a:lnTo>
                    <a:pt x="492" y="240"/>
                  </a:lnTo>
                  <a:lnTo>
                    <a:pt x="492" y="238"/>
                  </a:lnTo>
                  <a:lnTo>
                    <a:pt x="494" y="238"/>
                  </a:lnTo>
                  <a:lnTo>
                    <a:pt x="494" y="236"/>
                  </a:lnTo>
                  <a:lnTo>
                    <a:pt x="495" y="237"/>
                  </a:lnTo>
                  <a:lnTo>
                    <a:pt x="497" y="237"/>
                  </a:lnTo>
                  <a:lnTo>
                    <a:pt x="497" y="238"/>
                  </a:lnTo>
                  <a:lnTo>
                    <a:pt x="498" y="237"/>
                  </a:lnTo>
                  <a:lnTo>
                    <a:pt x="498" y="233"/>
                  </a:lnTo>
                  <a:lnTo>
                    <a:pt x="501" y="231"/>
                  </a:lnTo>
                  <a:lnTo>
                    <a:pt x="501" y="233"/>
                  </a:lnTo>
                  <a:lnTo>
                    <a:pt x="503" y="233"/>
                  </a:lnTo>
                  <a:lnTo>
                    <a:pt x="504" y="234"/>
                  </a:lnTo>
                  <a:lnTo>
                    <a:pt x="504" y="236"/>
                  </a:lnTo>
                  <a:lnTo>
                    <a:pt x="506" y="236"/>
                  </a:lnTo>
                  <a:lnTo>
                    <a:pt x="506" y="237"/>
                  </a:lnTo>
                  <a:lnTo>
                    <a:pt x="507" y="237"/>
                  </a:lnTo>
                  <a:lnTo>
                    <a:pt x="507" y="240"/>
                  </a:lnTo>
                  <a:lnTo>
                    <a:pt x="509" y="240"/>
                  </a:lnTo>
                  <a:lnTo>
                    <a:pt x="509" y="243"/>
                  </a:lnTo>
                  <a:lnTo>
                    <a:pt x="510" y="243"/>
                  </a:lnTo>
                  <a:lnTo>
                    <a:pt x="510" y="246"/>
                  </a:lnTo>
                  <a:lnTo>
                    <a:pt x="512" y="247"/>
                  </a:lnTo>
                  <a:lnTo>
                    <a:pt x="512" y="249"/>
                  </a:lnTo>
                  <a:lnTo>
                    <a:pt x="515" y="249"/>
                  </a:lnTo>
                  <a:lnTo>
                    <a:pt x="515" y="250"/>
                  </a:lnTo>
                  <a:lnTo>
                    <a:pt x="516" y="250"/>
                  </a:lnTo>
                  <a:lnTo>
                    <a:pt x="516" y="253"/>
                  </a:lnTo>
                  <a:lnTo>
                    <a:pt x="521" y="253"/>
                  </a:lnTo>
                  <a:lnTo>
                    <a:pt x="521" y="256"/>
                  </a:lnTo>
                  <a:lnTo>
                    <a:pt x="522" y="256"/>
                  </a:lnTo>
                  <a:lnTo>
                    <a:pt x="522" y="258"/>
                  </a:lnTo>
                  <a:lnTo>
                    <a:pt x="525" y="258"/>
                  </a:lnTo>
                  <a:lnTo>
                    <a:pt x="527" y="256"/>
                  </a:lnTo>
                  <a:lnTo>
                    <a:pt x="537" y="256"/>
                  </a:lnTo>
                  <a:lnTo>
                    <a:pt x="537" y="258"/>
                  </a:lnTo>
                  <a:lnTo>
                    <a:pt x="540" y="261"/>
                  </a:lnTo>
                  <a:lnTo>
                    <a:pt x="542" y="261"/>
                  </a:lnTo>
                  <a:lnTo>
                    <a:pt x="545" y="262"/>
                  </a:lnTo>
                  <a:lnTo>
                    <a:pt x="545" y="264"/>
                  </a:lnTo>
                  <a:lnTo>
                    <a:pt x="548" y="267"/>
                  </a:lnTo>
                  <a:lnTo>
                    <a:pt x="549" y="267"/>
                  </a:lnTo>
                  <a:lnTo>
                    <a:pt x="551" y="265"/>
                  </a:lnTo>
                  <a:lnTo>
                    <a:pt x="554" y="268"/>
                  </a:lnTo>
                  <a:lnTo>
                    <a:pt x="555" y="268"/>
                  </a:lnTo>
                  <a:lnTo>
                    <a:pt x="555" y="270"/>
                  </a:lnTo>
                  <a:lnTo>
                    <a:pt x="554" y="271"/>
                  </a:lnTo>
                  <a:lnTo>
                    <a:pt x="552" y="271"/>
                  </a:lnTo>
                  <a:lnTo>
                    <a:pt x="552" y="274"/>
                  </a:lnTo>
                  <a:lnTo>
                    <a:pt x="554" y="274"/>
                  </a:lnTo>
                  <a:lnTo>
                    <a:pt x="554" y="276"/>
                  </a:lnTo>
                  <a:lnTo>
                    <a:pt x="552" y="277"/>
                  </a:lnTo>
                  <a:lnTo>
                    <a:pt x="552" y="279"/>
                  </a:lnTo>
                  <a:lnTo>
                    <a:pt x="554" y="277"/>
                  </a:lnTo>
                  <a:lnTo>
                    <a:pt x="555" y="277"/>
                  </a:lnTo>
                  <a:lnTo>
                    <a:pt x="560" y="279"/>
                  </a:lnTo>
                  <a:lnTo>
                    <a:pt x="564" y="282"/>
                  </a:lnTo>
                  <a:lnTo>
                    <a:pt x="566" y="282"/>
                  </a:lnTo>
                  <a:lnTo>
                    <a:pt x="567" y="283"/>
                  </a:lnTo>
                  <a:lnTo>
                    <a:pt x="572" y="283"/>
                  </a:lnTo>
                  <a:lnTo>
                    <a:pt x="576" y="286"/>
                  </a:lnTo>
                  <a:lnTo>
                    <a:pt x="579" y="289"/>
                  </a:lnTo>
                  <a:lnTo>
                    <a:pt x="579" y="291"/>
                  </a:lnTo>
                  <a:lnTo>
                    <a:pt x="581" y="291"/>
                  </a:lnTo>
                  <a:lnTo>
                    <a:pt x="584" y="292"/>
                  </a:lnTo>
                  <a:lnTo>
                    <a:pt x="588" y="294"/>
                  </a:lnTo>
                  <a:lnTo>
                    <a:pt x="590" y="294"/>
                  </a:lnTo>
                  <a:lnTo>
                    <a:pt x="590" y="297"/>
                  </a:lnTo>
                  <a:lnTo>
                    <a:pt x="587" y="298"/>
                  </a:lnTo>
                  <a:lnTo>
                    <a:pt x="585" y="298"/>
                  </a:lnTo>
                  <a:lnTo>
                    <a:pt x="585" y="297"/>
                  </a:lnTo>
                  <a:lnTo>
                    <a:pt x="584" y="297"/>
                  </a:lnTo>
                  <a:lnTo>
                    <a:pt x="584" y="298"/>
                  </a:lnTo>
                  <a:lnTo>
                    <a:pt x="582" y="298"/>
                  </a:lnTo>
                  <a:lnTo>
                    <a:pt x="584" y="300"/>
                  </a:lnTo>
                  <a:lnTo>
                    <a:pt x="579" y="304"/>
                  </a:lnTo>
                  <a:lnTo>
                    <a:pt x="578" y="307"/>
                  </a:lnTo>
                  <a:lnTo>
                    <a:pt x="575" y="309"/>
                  </a:lnTo>
                  <a:lnTo>
                    <a:pt x="573" y="310"/>
                  </a:lnTo>
                  <a:lnTo>
                    <a:pt x="570" y="310"/>
                  </a:lnTo>
                  <a:lnTo>
                    <a:pt x="570" y="312"/>
                  </a:lnTo>
                  <a:lnTo>
                    <a:pt x="569" y="313"/>
                  </a:lnTo>
                  <a:lnTo>
                    <a:pt x="569" y="315"/>
                  </a:lnTo>
                  <a:lnTo>
                    <a:pt x="566" y="318"/>
                  </a:lnTo>
                  <a:lnTo>
                    <a:pt x="566" y="319"/>
                  </a:lnTo>
                  <a:lnTo>
                    <a:pt x="563" y="319"/>
                  </a:lnTo>
                  <a:lnTo>
                    <a:pt x="560" y="322"/>
                  </a:lnTo>
                  <a:lnTo>
                    <a:pt x="560" y="324"/>
                  </a:lnTo>
                  <a:lnTo>
                    <a:pt x="561" y="325"/>
                  </a:lnTo>
                  <a:lnTo>
                    <a:pt x="561" y="330"/>
                  </a:lnTo>
                  <a:lnTo>
                    <a:pt x="560" y="331"/>
                  </a:lnTo>
                  <a:lnTo>
                    <a:pt x="560" y="333"/>
                  </a:lnTo>
                  <a:lnTo>
                    <a:pt x="558" y="333"/>
                  </a:lnTo>
                  <a:lnTo>
                    <a:pt x="558" y="334"/>
                  </a:lnTo>
                  <a:lnTo>
                    <a:pt x="557" y="336"/>
                  </a:lnTo>
                  <a:lnTo>
                    <a:pt x="557" y="337"/>
                  </a:lnTo>
                  <a:lnTo>
                    <a:pt x="554" y="337"/>
                  </a:lnTo>
                  <a:lnTo>
                    <a:pt x="554" y="339"/>
                  </a:lnTo>
                  <a:lnTo>
                    <a:pt x="555" y="342"/>
                  </a:lnTo>
                  <a:lnTo>
                    <a:pt x="555" y="343"/>
                  </a:lnTo>
                  <a:lnTo>
                    <a:pt x="557" y="343"/>
                  </a:lnTo>
                  <a:lnTo>
                    <a:pt x="557" y="349"/>
                  </a:lnTo>
                  <a:lnTo>
                    <a:pt x="554" y="349"/>
                  </a:lnTo>
                  <a:lnTo>
                    <a:pt x="554" y="351"/>
                  </a:lnTo>
                  <a:lnTo>
                    <a:pt x="555" y="352"/>
                  </a:lnTo>
                  <a:lnTo>
                    <a:pt x="555" y="354"/>
                  </a:lnTo>
                  <a:lnTo>
                    <a:pt x="552" y="354"/>
                  </a:lnTo>
                  <a:lnTo>
                    <a:pt x="549" y="357"/>
                  </a:lnTo>
                  <a:lnTo>
                    <a:pt x="549" y="361"/>
                  </a:lnTo>
                  <a:lnTo>
                    <a:pt x="548" y="363"/>
                  </a:lnTo>
                  <a:lnTo>
                    <a:pt x="546" y="363"/>
                  </a:lnTo>
                  <a:lnTo>
                    <a:pt x="546" y="370"/>
                  </a:lnTo>
                  <a:lnTo>
                    <a:pt x="549" y="370"/>
                  </a:lnTo>
                  <a:lnTo>
                    <a:pt x="551" y="373"/>
                  </a:lnTo>
                  <a:lnTo>
                    <a:pt x="554" y="373"/>
                  </a:lnTo>
                  <a:lnTo>
                    <a:pt x="555" y="375"/>
                  </a:lnTo>
                  <a:lnTo>
                    <a:pt x="555" y="376"/>
                  </a:lnTo>
                  <a:lnTo>
                    <a:pt x="558" y="376"/>
                  </a:lnTo>
                  <a:lnTo>
                    <a:pt x="558" y="379"/>
                  </a:lnTo>
                  <a:lnTo>
                    <a:pt x="560" y="379"/>
                  </a:lnTo>
                  <a:lnTo>
                    <a:pt x="560" y="381"/>
                  </a:lnTo>
                  <a:lnTo>
                    <a:pt x="561" y="381"/>
                  </a:lnTo>
                  <a:lnTo>
                    <a:pt x="563" y="379"/>
                  </a:lnTo>
                  <a:lnTo>
                    <a:pt x="567" y="384"/>
                  </a:lnTo>
                  <a:lnTo>
                    <a:pt x="567" y="382"/>
                  </a:lnTo>
                  <a:lnTo>
                    <a:pt x="566" y="379"/>
                  </a:lnTo>
                  <a:lnTo>
                    <a:pt x="567" y="378"/>
                  </a:lnTo>
                  <a:lnTo>
                    <a:pt x="570" y="378"/>
                  </a:lnTo>
                  <a:lnTo>
                    <a:pt x="570" y="379"/>
                  </a:lnTo>
                  <a:lnTo>
                    <a:pt x="573" y="379"/>
                  </a:lnTo>
                  <a:lnTo>
                    <a:pt x="575" y="381"/>
                  </a:lnTo>
                  <a:lnTo>
                    <a:pt x="575" y="382"/>
                  </a:lnTo>
                  <a:lnTo>
                    <a:pt x="576" y="384"/>
                  </a:lnTo>
                  <a:lnTo>
                    <a:pt x="578" y="384"/>
                  </a:lnTo>
                  <a:lnTo>
                    <a:pt x="581" y="385"/>
                  </a:lnTo>
                  <a:lnTo>
                    <a:pt x="581" y="387"/>
                  </a:lnTo>
                  <a:lnTo>
                    <a:pt x="584" y="387"/>
                  </a:lnTo>
                  <a:lnTo>
                    <a:pt x="585" y="388"/>
                  </a:lnTo>
                  <a:lnTo>
                    <a:pt x="585" y="390"/>
                  </a:lnTo>
                  <a:lnTo>
                    <a:pt x="590" y="390"/>
                  </a:lnTo>
                  <a:lnTo>
                    <a:pt x="590" y="391"/>
                  </a:lnTo>
                  <a:lnTo>
                    <a:pt x="593" y="393"/>
                  </a:lnTo>
                  <a:lnTo>
                    <a:pt x="597" y="393"/>
                  </a:lnTo>
                  <a:lnTo>
                    <a:pt x="599" y="394"/>
                  </a:lnTo>
                  <a:lnTo>
                    <a:pt x="600" y="399"/>
                  </a:lnTo>
                  <a:lnTo>
                    <a:pt x="600" y="400"/>
                  </a:lnTo>
                  <a:lnTo>
                    <a:pt x="603" y="403"/>
                  </a:lnTo>
                  <a:lnTo>
                    <a:pt x="603" y="406"/>
                  </a:lnTo>
                  <a:lnTo>
                    <a:pt x="606" y="406"/>
                  </a:lnTo>
                  <a:lnTo>
                    <a:pt x="606" y="403"/>
                  </a:lnTo>
                  <a:lnTo>
                    <a:pt x="608" y="403"/>
                  </a:lnTo>
                  <a:lnTo>
                    <a:pt x="608" y="405"/>
                  </a:lnTo>
                  <a:lnTo>
                    <a:pt x="609" y="405"/>
                  </a:lnTo>
                  <a:lnTo>
                    <a:pt x="611" y="406"/>
                  </a:lnTo>
                  <a:lnTo>
                    <a:pt x="611" y="409"/>
                  </a:lnTo>
                  <a:lnTo>
                    <a:pt x="612" y="409"/>
                  </a:lnTo>
                  <a:lnTo>
                    <a:pt x="616" y="411"/>
                  </a:lnTo>
                  <a:lnTo>
                    <a:pt x="616" y="412"/>
                  </a:lnTo>
                  <a:lnTo>
                    <a:pt x="618" y="412"/>
                  </a:lnTo>
                  <a:lnTo>
                    <a:pt x="618" y="414"/>
                  </a:lnTo>
                  <a:lnTo>
                    <a:pt x="621" y="414"/>
                  </a:lnTo>
                  <a:lnTo>
                    <a:pt x="624" y="417"/>
                  </a:lnTo>
                  <a:lnTo>
                    <a:pt x="627" y="418"/>
                  </a:lnTo>
                  <a:lnTo>
                    <a:pt x="628" y="420"/>
                  </a:lnTo>
                  <a:lnTo>
                    <a:pt x="631" y="420"/>
                  </a:lnTo>
                  <a:lnTo>
                    <a:pt x="633" y="417"/>
                  </a:lnTo>
                  <a:lnTo>
                    <a:pt x="639" y="417"/>
                  </a:lnTo>
                  <a:lnTo>
                    <a:pt x="639" y="418"/>
                  </a:lnTo>
                  <a:lnTo>
                    <a:pt x="640" y="420"/>
                  </a:lnTo>
                  <a:lnTo>
                    <a:pt x="643" y="420"/>
                  </a:lnTo>
                  <a:lnTo>
                    <a:pt x="648" y="424"/>
                  </a:lnTo>
                  <a:lnTo>
                    <a:pt x="652" y="427"/>
                  </a:lnTo>
                  <a:lnTo>
                    <a:pt x="654" y="429"/>
                  </a:lnTo>
                  <a:lnTo>
                    <a:pt x="657" y="430"/>
                  </a:lnTo>
                  <a:lnTo>
                    <a:pt x="660" y="429"/>
                  </a:lnTo>
                  <a:lnTo>
                    <a:pt x="666" y="427"/>
                  </a:lnTo>
                  <a:lnTo>
                    <a:pt x="667" y="429"/>
                  </a:lnTo>
                  <a:lnTo>
                    <a:pt x="667" y="430"/>
                  </a:lnTo>
                  <a:lnTo>
                    <a:pt x="669" y="432"/>
                  </a:lnTo>
                  <a:lnTo>
                    <a:pt x="669" y="438"/>
                  </a:lnTo>
                  <a:lnTo>
                    <a:pt x="670" y="439"/>
                  </a:lnTo>
                  <a:lnTo>
                    <a:pt x="678" y="439"/>
                  </a:lnTo>
                  <a:lnTo>
                    <a:pt x="679" y="441"/>
                  </a:lnTo>
                  <a:lnTo>
                    <a:pt x="688" y="441"/>
                  </a:lnTo>
                  <a:lnTo>
                    <a:pt x="693" y="445"/>
                  </a:lnTo>
                  <a:lnTo>
                    <a:pt x="693" y="447"/>
                  </a:lnTo>
                  <a:lnTo>
                    <a:pt x="697" y="447"/>
                  </a:lnTo>
                  <a:lnTo>
                    <a:pt x="697" y="445"/>
                  </a:lnTo>
                  <a:lnTo>
                    <a:pt x="699" y="444"/>
                  </a:lnTo>
                  <a:lnTo>
                    <a:pt x="699" y="441"/>
                  </a:lnTo>
                  <a:lnTo>
                    <a:pt x="700" y="439"/>
                  </a:lnTo>
                  <a:lnTo>
                    <a:pt x="703" y="439"/>
                  </a:lnTo>
                  <a:lnTo>
                    <a:pt x="709" y="441"/>
                  </a:lnTo>
                  <a:lnTo>
                    <a:pt x="721" y="447"/>
                  </a:lnTo>
                  <a:lnTo>
                    <a:pt x="721" y="442"/>
                  </a:lnTo>
                  <a:lnTo>
                    <a:pt x="720" y="442"/>
                  </a:lnTo>
                  <a:lnTo>
                    <a:pt x="721" y="441"/>
                  </a:lnTo>
                  <a:lnTo>
                    <a:pt x="724" y="441"/>
                  </a:lnTo>
                  <a:lnTo>
                    <a:pt x="727" y="442"/>
                  </a:lnTo>
                  <a:lnTo>
                    <a:pt x="732" y="438"/>
                  </a:lnTo>
                  <a:lnTo>
                    <a:pt x="733" y="438"/>
                  </a:lnTo>
                  <a:lnTo>
                    <a:pt x="733" y="439"/>
                  </a:lnTo>
                  <a:lnTo>
                    <a:pt x="735" y="439"/>
                  </a:lnTo>
                  <a:lnTo>
                    <a:pt x="736" y="441"/>
                  </a:lnTo>
                  <a:lnTo>
                    <a:pt x="736" y="442"/>
                  </a:lnTo>
                  <a:lnTo>
                    <a:pt x="739" y="442"/>
                  </a:lnTo>
                  <a:lnTo>
                    <a:pt x="741" y="444"/>
                  </a:lnTo>
                  <a:lnTo>
                    <a:pt x="741" y="445"/>
                  </a:lnTo>
                  <a:lnTo>
                    <a:pt x="754" y="447"/>
                  </a:lnTo>
                  <a:lnTo>
                    <a:pt x="757" y="450"/>
                  </a:lnTo>
                  <a:lnTo>
                    <a:pt x="757" y="451"/>
                  </a:lnTo>
                  <a:lnTo>
                    <a:pt x="759" y="454"/>
                  </a:lnTo>
                  <a:lnTo>
                    <a:pt x="759" y="456"/>
                  </a:lnTo>
                  <a:lnTo>
                    <a:pt x="757" y="457"/>
                  </a:lnTo>
                  <a:lnTo>
                    <a:pt x="757" y="460"/>
                  </a:lnTo>
                  <a:lnTo>
                    <a:pt x="756" y="462"/>
                  </a:lnTo>
                  <a:lnTo>
                    <a:pt x="757" y="462"/>
                  </a:lnTo>
                  <a:lnTo>
                    <a:pt x="757" y="463"/>
                  </a:lnTo>
                  <a:lnTo>
                    <a:pt x="763" y="465"/>
                  </a:lnTo>
                  <a:lnTo>
                    <a:pt x="763" y="463"/>
                  </a:lnTo>
                  <a:lnTo>
                    <a:pt x="765" y="463"/>
                  </a:lnTo>
                  <a:lnTo>
                    <a:pt x="766" y="465"/>
                  </a:lnTo>
                  <a:lnTo>
                    <a:pt x="769" y="465"/>
                  </a:lnTo>
                  <a:lnTo>
                    <a:pt x="771" y="466"/>
                  </a:lnTo>
                  <a:lnTo>
                    <a:pt x="771" y="468"/>
                  </a:lnTo>
                  <a:lnTo>
                    <a:pt x="773" y="471"/>
                  </a:lnTo>
                  <a:lnTo>
                    <a:pt x="775" y="471"/>
                  </a:lnTo>
                  <a:lnTo>
                    <a:pt x="775" y="472"/>
                  </a:lnTo>
                  <a:lnTo>
                    <a:pt x="778" y="471"/>
                  </a:lnTo>
                  <a:lnTo>
                    <a:pt x="779" y="471"/>
                  </a:lnTo>
                  <a:lnTo>
                    <a:pt x="781" y="472"/>
                  </a:lnTo>
                  <a:lnTo>
                    <a:pt x="781" y="475"/>
                  </a:lnTo>
                  <a:lnTo>
                    <a:pt x="782" y="477"/>
                  </a:lnTo>
                  <a:lnTo>
                    <a:pt x="787" y="478"/>
                  </a:lnTo>
                  <a:lnTo>
                    <a:pt x="788" y="477"/>
                  </a:lnTo>
                  <a:lnTo>
                    <a:pt x="790" y="477"/>
                  </a:lnTo>
                  <a:lnTo>
                    <a:pt x="790" y="475"/>
                  </a:lnTo>
                  <a:lnTo>
                    <a:pt x="794" y="475"/>
                  </a:lnTo>
                  <a:lnTo>
                    <a:pt x="796" y="474"/>
                  </a:lnTo>
                  <a:lnTo>
                    <a:pt x="797" y="474"/>
                  </a:lnTo>
                  <a:lnTo>
                    <a:pt x="800" y="472"/>
                  </a:lnTo>
                  <a:lnTo>
                    <a:pt x="802" y="472"/>
                  </a:lnTo>
                  <a:lnTo>
                    <a:pt x="805" y="474"/>
                  </a:lnTo>
                  <a:lnTo>
                    <a:pt x="806" y="475"/>
                  </a:lnTo>
                  <a:lnTo>
                    <a:pt x="806" y="483"/>
                  </a:lnTo>
                  <a:lnTo>
                    <a:pt x="809" y="484"/>
                  </a:lnTo>
                  <a:lnTo>
                    <a:pt x="811" y="484"/>
                  </a:lnTo>
                  <a:lnTo>
                    <a:pt x="811" y="486"/>
                  </a:lnTo>
                  <a:lnTo>
                    <a:pt x="814" y="486"/>
                  </a:lnTo>
                  <a:lnTo>
                    <a:pt x="817" y="483"/>
                  </a:lnTo>
                  <a:lnTo>
                    <a:pt x="818" y="483"/>
                  </a:lnTo>
                  <a:lnTo>
                    <a:pt x="820" y="481"/>
                  </a:lnTo>
                  <a:lnTo>
                    <a:pt x="821" y="483"/>
                  </a:lnTo>
                  <a:lnTo>
                    <a:pt x="824" y="484"/>
                  </a:lnTo>
                  <a:lnTo>
                    <a:pt x="827" y="484"/>
                  </a:lnTo>
                  <a:lnTo>
                    <a:pt x="827" y="486"/>
                  </a:lnTo>
                  <a:lnTo>
                    <a:pt x="829" y="486"/>
                  </a:lnTo>
                  <a:lnTo>
                    <a:pt x="830" y="484"/>
                  </a:lnTo>
                  <a:lnTo>
                    <a:pt x="833" y="484"/>
                  </a:lnTo>
                  <a:lnTo>
                    <a:pt x="833" y="486"/>
                  </a:lnTo>
                  <a:lnTo>
                    <a:pt x="836" y="486"/>
                  </a:lnTo>
                  <a:lnTo>
                    <a:pt x="839" y="487"/>
                  </a:lnTo>
                  <a:lnTo>
                    <a:pt x="841" y="489"/>
                  </a:lnTo>
                  <a:lnTo>
                    <a:pt x="844" y="489"/>
                  </a:lnTo>
                  <a:lnTo>
                    <a:pt x="844" y="490"/>
                  </a:lnTo>
                  <a:lnTo>
                    <a:pt x="845" y="490"/>
                  </a:lnTo>
                  <a:lnTo>
                    <a:pt x="851" y="493"/>
                  </a:lnTo>
                  <a:lnTo>
                    <a:pt x="853" y="495"/>
                  </a:lnTo>
                  <a:lnTo>
                    <a:pt x="853" y="493"/>
                  </a:lnTo>
                  <a:lnTo>
                    <a:pt x="857" y="493"/>
                  </a:lnTo>
                  <a:lnTo>
                    <a:pt x="862" y="489"/>
                  </a:lnTo>
                  <a:lnTo>
                    <a:pt x="865" y="489"/>
                  </a:lnTo>
                  <a:lnTo>
                    <a:pt x="865" y="487"/>
                  </a:lnTo>
                  <a:lnTo>
                    <a:pt x="866" y="486"/>
                  </a:lnTo>
                  <a:lnTo>
                    <a:pt x="868" y="486"/>
                  </a:lnTo>
                  <a:lnTo>
                    <a:pt x="868" y="492"/>
                  </a:lnTo>
                  <a:lnTo>
                    <a:pt x="871" y="495"/>
                  </a:lnTo>
                  <a:lnTo>
                    <a:pt x="875" y="495"/>
                  </a:lnTo>
                  <a:lnTo>
                    <a:pt x="877" y="496"/>
                  </a:lnTo>
                  <a:lnTo>
                    <a:pt x="880" y="498"/>
                  </a:lnTo>
                  <a:lnTo>
                    <a:pt x="881" y="495"/>
                  </a:lnTo>
                  <a:lnTo>
                    <a:pt x="883" y="493"/>
                  </a:lnTo>
                  <a:lnTo>
                    <a:pt x="887" y="493"/>
                  </a:lnTo>
                  <a:lnTo>
                    <a:pt x="890" y="496"/>
                  </a:lnTo>
                  <a:lnTo>
                    <a:pt x="892" y="496"/>
                  </a:lnTo>
                  <a:lnTo>
                    <a:pt x="895" y="495"/>
                  </a:lnTo>
                  <a:lnTo>
                    <a:pt x="896" y="495"/>
                  </a:lnTo>
                  <a:lnTo>
                    <a:pt x="896" y="493"/>
                  </a:lnTo>
                  <a:lnTo>
                    <a:pt x="898" y="495"/>
                  </a:lnTo>
                  <a:lnTo>
                    <a:pt x="899" y="495"/>
                  </a:lnTo>
                  <a:lnTo>
                    <a:pt x="899" y="493"/>
                  </a:lnTo>
                  <a:lnTo>
                    <a:pt x="901" y="493"/>
                  </a:lnTo>
                  <a:lnTo>
                    <a:pt x="901" y="492"/>
                  </a:lnTo>
                  <a:lnTo>
                    <a:pt x="902" y="493"/>
                  </a:lnTo>
                  <a:lnTo>
                    <a:pt x="904" y="493"/>
                  </a:lnTo>
                  <a:lnTo>
                    <a:pt x="905" y="492"/>
                  </a:lnTo>
                  <a:lnTo>
                    <a:pt x="907" y="493"/>
                  </a:lnTo>
                  <a:lnTo>
                    <a:pt x="907" y="495"/>
                  </a:lnTo>
                  <a:lnTo>
                    <a:pt x="908" y="495"/>
                  </a:lnTo>
                  <a:lnTo>
                    <a:pt x="910" y="496"/>
                  </a:lnTo>
                  <a:lnTo>
                    <a:pt x="911" y="496"/>
                  </a:lnTo>
                  <a:lnTo>
                    <a:pt x="913" y="495"/>
                  </a:lnTo>
                  <a:lnTo>
                    <a:pt x="914" y="492"/>
                  </a:lnTo>
                  <a:lnTo>
                    <a:pt x="916" y="490"/>
                  </a:lnTo>
                  <a:lnTo>
                    <a:pt x="916" y="486"/>
                  </a:lnTo>
                  <a:lnTo>
                    <a:pt x="919" y="481"/>
                  </a:lnTo>
                  <a:lnTo>
                    <a:pt x="919" y="471"/>
                  </a:lnTo>
                  <a:lnTo>
                    <a:pt x="917" y="471"/>
                  </a:lnTo>
                  <a:lnTo>
                    <a:pt x="917" y="468"/>
                  </a:lnTo>
                  <a:lnTo>
                    <a:pt x="914" y="465"/>
                  </a:lnTo>
                  <a:lnTo>
                    <a:pt x="914" y="463"/>
                  </a:lnTo>
                  <a:lnTo>
                    <a:pt x="913" y="463"/>
                  </a:lnTo>
                  <a:lnTo>
                    <a:pt x="913" y="462"/>
                  </a:lnTo>
                  <a:lnTo>
                    <a:pt x="911" y="462"/>
                  </a:lnTo>
                  <a:lnTo>
                    <a:pt x="911" y="460"/>
                  </a:lnTo>
                  <a:lnTo>
                    <a:pt x="910" y="459"/>
                  </a:lnTo>
                  <a:lnTo>
                    <a:pt x="911" y="457"/>
                  </a:lnTo>
                  <a:lnTo>
                    <a:pt x="911" y="451"/>
                  </a:lnTo>
                  <a:lnTo>
                    <a:pt x="913" y="448"/>
                  </a:lnTo>
                  <a:lnTo>
                    <a:pt x="913" y="439"/>
                  </a:lnTo>
                  <a:lnTo>
                    <a:pt x="914" y="436"/>
                  </a:lnTo>
                  <a:lnTo>
                    <a:pt x="917" y="427"/>
                  </a:lnTo>
                  <a:lnTo>
                    <a:pt x="919" y="426"/>
                  </a:lnTo>
                  <a:lnTo>
                    <a:pt x="919" y="420"/>
                  </a:lnTo>
                  <a:lnTo>
                    <a:pt x="917" y="420"/>
                  </a:lnTo>
                  <a:lnTo>
                    <a:pt x="916" y="418"/>
                  </a:lnTo>
                  <a:lnTo>
                    <a:pt x="916" y="417"/>
                  </a:lnTo>
                  <a:lnTo>
                    <a:pt x="917" y="415"/>
                  </a:lnTo>
                  <a:lnTo>
                    <a:pt x="920" y="415"/>
                  </a:lnTo>
                  <a:lnTo>
                    <a:pt x="929" y="414"/>
                  </a:lnTo>
                  <a:lnTo>
                    <a:pt x="929" y="412"/>
                  </a:lnTo>
                  <a:lnTo>
                    <a:pt x="932" y="411"/>
                  </a:lnTo>
                  <a:lnTo>
                    <a:pt x="935" y="411"/>
                  </a:lnTo>
                  <a:lnTo>
                    <a:pt x="935" y="409"/>
                  </a:lnTo>
                  <a:lnTo>
                    <a:pt x="936" y="409"/>
                  </a:lnTo>
                  <a:lnTo>
                    <a:pt x="938" y="408"/>
                  </a:lnTo>
                  <a:lnTo>
                    <a:pt x="939" y="408"/>
                  </a:lnTo>
                  <a:lnTo>
                    <a:pt x="941" y="409"/>
                  </a:lnTo>
                  <a:lnTo>
                    <a:pt x="945" y="409"/>
                  </a:lnTo>
                  <a:lnTo>
                    <a:pt x="948" y="412"/>
                  </a:lnTo>
                  <a:lnTo>
                    <a:pt x="948" y="417"/>
                  </a:lnTo>
                  <a:lnTo>
                    <a:pt x="950" y="418"/>
                  </a:lnTo>
                  <a:lnTo>
                    <a:pt x="950" y="421"/>
                  </a:lnTo>
                  <a:lnTo>
                    <a:pt x="948" y="430"/>
                  </a:lnTo>
                  <a:lnTo>
                    <a:pt x="947" y="432"/>
                  </a:lnTo>
                  <a:lnTo>
                    <a:pt x="947" y="433"/>
                  </a:lnTo>
                  <a:lnTo>
                    <a:pt x="945" y="435"/>
                  </a:lnTo>
                  <a:lnTo>
                    <a:pt x="945" y="442"/>
                  </a:lnTo>
                  <a:lnTo>
                    <a:pt x="948" y="445"/>
                  </a:lnTo>
                  <a:lnTo>
                    <a:pt x="950" y="445"/>
                  </a:lnTo>
                  <a:lnTo>
                    <a:pt x="950" y="447"/>
                  </a:lnTo>
                  <a:lnTo>
                    <a:pt x="951" y="447"/>
                  </a:lnTo>
                  <a:lnTo>
                    <a:pt x="951" y="450"/>
                  </a:lnTo>
                  <a:lnTo>
                    <a:pt x="948" y="451"/>
                  </a:lnTo>
                  <a:lnTo>
                    <a:pt x="947" y="451"/>
                  </a:lnTo>
                  <a:lnTo>
                    <a:pt x="945" y="453"/>
                  </a:lnTo>
                  <a:lnTo>
                    <a:pt x="945" y="454"/>
                  </a:lnTo>
                  <a:lnTo>
                    <a:pt x="944" y="456"/>
                  </a:lnTo>
                  <a:lnTo>
                    <a:pt x="945" y="457"/>
                  </a:lnTo>
                  <a:lnTo>
                    <a:pt x="948" y="459"/>
                  </a:lnTo>
                  <a:lnTo>
                    <a:pt x="950" y="460"/>
                  </a:lnTo>
                  <a:lnTo>
                    <a:pt x="950" y="466"/>
                  </a:lnTo>
                  <a:lnTo>
                    <a:pt x="951" y="465"/>
                  </a:lnTo>
                  <a:lnTo>
                    <a:pt x="953" y="465"/>
                  </a:lnTo>
                  <a:lnTo>
                    <a:pt x="954" y="466"/>
                  </a:lnTo>
                  <a:lnTo>
                    <a:pt x="953" y="468"/>
                  </a:lnTo>
                  <a:lnTo>
                    <a:pt x="954" y="468"/>
                  </a:lnTo>
                  <a:lnTo>
                    <a:pt x="954" y="469"/>
                  </a:lnTo>
                  <a:lnTo>
                    <a:pt x="956" y="469"/>
                  </a:lnTo>
                  <a:lnTo>
                    <a:pt x="956" y="468"/>
                  </a:lnTo>
                  <a:lnTo>
                    <a:pt x="957" y="468"/>
                  </a:lnTo>
                  <a:lnTo>
                    <a:pt x="957" y="469"/>
                  </a:lnTo>
                  <a:lnTo>
                    <a:pt x="959" y="469"/>
                  </a:lnTo>
                  <a:lnTo>
                    <a:pt x="960" y="471"/>
                  </a:lnTo>
                  <a:lnTo>
                    <a:pt x="960" y="472"/>
                  </a:lnTo>
                  <a:lnTo>
                    <a:pt x="962" y="474"/>
                  </a:lnTo>
                  <a:lnTo>
                    <a:pt x="969" y="474"/>
                  </a:lnTo>
                  <a:lnTo>
                    <a:pt x="969" y="472"/>
                  </a:lnTo>
                  <a:lnTo>
                    <a:pt x="974" y="472"/>
                  </a:lnTo>
                  <a:lnTo>
                    <a:pt x="977" y="475"/>
                  </a:lnTo>
                  <a:lnTo>
                    <a:pt x="980" y="474"/>
                  </a:lnTo>
                  <a:lnTo>
                    <a:pt x="983" y="475"/>
                  </a:lnTo>
                  <a:lnTo>
                    <a:pt x="984" y="475"/>
                  </a:lnTo>
                  <a:lnTo>
                    <a:pt x="986" y="477"/>
                  </a:lnTo>
                  <a:lnTo>
                    <a:pt x="984" y="478"/>
                  </a:lnTo>
                  <a:lnTo>
                    <a:pt x="989" y="478"/>
                  </a:lnTo>
                  <a:lnTo>
                    <a:pt x="990" y="480"/>
                  </a:lnTo>
                  <a:lnTo>
                    <a:pt x="995" y="480"/>
                  </a:lnTo>
                  <a:lnTo>
                    <a:pt x="995" y="478"/>
                  </a:lnTo>
                  <a:lnTo>
                    <a:pt x="1002" y="478"/>
                  </a:lnTo>
                  <a:lnTo>
                    <a:pt x="1007" y="477"/>
                  </a:lnTo>
                  <a:lnTo>
                    <a:pt x="1008" y="477"/>
                  </a:lnTo>
                  <a:lnTo>
                    <a:pt x="1010" y="475"/>
                  </a:lnTo>
                  <a:lnTo>
                    <a:pt x="1011" y="472"/>
                  </a:lnTo>
                  <a:lnTo>
                    <a:pt x="1016" y="472"/>
                  </a:lnTo>
                  <a:lnTo>
                    <a:pt x="1019" y="469"/>
                  </a:lnTo>
                  <a:lnTo>
                    <a:pt x="1020" y="469"/>
                  </a:lnTo>
                  <a:lnTo>
                    <a:pt x="1029" y="475"/>
                  </a:lnTo>
                  <a:lnTo>
                    <a:pt x="1035" y="477"/>
                  </a:lnTo>
                  <a:lnTo>
                    <a:pt x="1046" y="475"/>
                  </a:lnTo>
                  <a:lnTo>
                    <a:pt x="1050" y="475"/>
                  </a:lnTo>
                  <a:lnTo>
                    <a:pt x="1052" y="474"/>
                  </a:lnTo>
                  <a:lnTo>
                    <a:pt x="1058" y="474"/>
                  </a:lnTo>
                  <a:lnTo>
                    <a:pt x="1059" y="475"/>
                  </a:lnTo>
                  <a:lnTo>
                    <a:pt x="1065" y="475"/>
                  </a:lnTo>
                  <a:lnTo>
                    <a:pt x="1065" y="474"/>
                  </a:lnTo>
                  <a:lnTo>
                    <a:pt x="1067" y="472"/>
                  </a:lnTo>
                  <a:lnTo>
                    <a:pt x="1067" y="471"/>
                  </a:lnTo>
                  <a:lnTo>
                    <a:pt x="1071" y="471"/>
                  </a:lnTo>
                  <a:lnTo>
                    <a:pt x="1071" y="472"/>
                  </a:lnTo>
                  <a:lnTo>
                    <a:pt x="1073" y="474"/>
                  </a:lnTo>
                  <a:lnTo>
                    <a:pt x="1073" y="475"/>
                  </a:lnTo>
                  <a:lnTo>
                    <a:pt x="1074" y="475"/>
                  </a:lnTo>
                  <a:lnTo>
                    <a:pt x="1076" y="474"/>
                  </a:lnTo>
                  <a:lnTo>
                    <a:pt x="1079" y="474"/>
                  </a:lnTo>
                  <a:lnTo>
                    <a:pt x="1079" y="475"/>
                  </a:lnTo>
                  <a:lnTo>
                    <a:pt x="1082" y="474"/>
                  </a:lnTo>
                  <a:lnTo>
                    <a:pt x="1083" y="474"/>
                  </a:lnTo>
                  <a:lnTo>
                    <a:pt x="1086" y="472"/>
                  </a:lnTo>
                  <a:lnTo>
                    <a:pt x="1086" y="471"/>
                  </a:lnTo>
                  <a:lnTo>
                    <a:pt x="1088" y="472"/>
                  </a:lnTo>
                  <a:lnTo>
                    <a:pt x="1088" y="474"/>
                  </a:lnTo>
                  <a:lnTo>
                    <a:pt x="1089" y="474"/>
                  </a:lnTo>
                  <a:lnTo>
                    <a:pt x="1089" y="472"/>
                  </a:lnTo>
                  <a:lnTo>
                    <a:pt x="1091" y="472"/>
                  </a:lnTo>
                  <a:lnTo>
                    <a:pt x="1091" y="471"/>
                  </a:lnTo>
                  <a:lnTo>
                    <a:pt x="1092" y="471"/>
                  </a:lnTo>
                  <a:lnTo>
                    <a:pt x="1093" y="472"/>
                  </a:lnTo>
                  <a:lnTo>
                    <a:pt x="1096" y="472"/>
                  </a:lnTo>
                  <a:lnTo>
                    <a:pt x="1098" y="469"/>
                  </a:lnTo>
                  <a:lnTo>
                    <a:pt x="1098" y="465"/>
                  </a:lnTo>
                  <a:lnTo>
                    <a:pt x="1096" y="463"/>
                  </a:lnTo>
                  <a:lnTo>
                    <a:pt x="1095" y="460"/>
                  </a:lnTo>
                  <a:lnTo>
                    <a:pt x="1093" y="459"/>
                  </a:lnTo>
                  <a:lnTo>
                    <a:pt x="1093" y="457"/>
                  </a:lnTo>
                  <a:lnTo>
                    <a:pt x="1095" y="457"/>
                  </a:lnTo>
                  <a:lnTo>
                    <a:pt x="1095" y="454"/>
                  </a:lnTo>
                  <a:lnTo>
                    <a:pt x="1096" y="454"/>
                  </a:lnTo>
                  <a:lnTo>
                    <a:pt x="1096" y="451"/>
                  </a:lnTo>
                  <a:lnTo>
                    <a:pt x="1098" y="450"/>
                  </a:lnTo>
                  <a:lnTo>
                    <a:pt x="1099" y="450"/>
                  </a:lnTo>
                  <a:lnTo>
                    <a:pt x="1098" y="448"/>
                  </a:lnTo>
                  <a:lnTo>
                    <a:pt x="1095" y="441"/>
                  </a:lnTo>
                  <a:lnTo>
                    <a:pt x="1093" y="439"/>
                  </a:lnTo>
                  <a:lnTo>
                    <a:pt x="1093" y="441"/>
                  </a:lnTo>
                  <a:lnTo>
                    <a:pt x="1088" y="441"/>
                  </a:lnTo>
                  <a:lnTo>
                    <a:pt x="1085" y="442"/>
                  </a:lnTo>
                  <a:lnTo>
                    <a:pt x="1083" y="442"/>
                  </a:lnTo>
                  <a:lnTo>
                    <a:pt x="1080" y="439"/>
                  </a:lnTo>
                  <a:lnTo>
                    <a:pt x="1079" y="439"/>
                  </a:lnTo>
                  <a:lnTo>
                    <a:pt x="1079" y="438"/>
                  </a:lnTo>
                  <a:lnTo>
                    <a:pt x="1077" y="436"/>
                  </a:lnTo>
                  <a:lnTo>
                    <a:pt x="1076" y="436"/>
                  </a:lnTo>
                  <a:lnTo>
                    <a:pt x="1076" y="430"/>
                  </a:lnTo>
                  <a:lnTo>
                    <a:pt x="1077" y="427"/>
                  </a:lnTo>
                  <a:lnTo>
                    <a:pt x="1079" y="426"/>
                  </a:lnTo>
                  <a:lnTo>
                    <a:pt x="1085" y="424"/>
                  </a:lnTo>
                  <a:lnTo>
                    <a:pt x="1086" y="426"/>
                  </a:lnTo>
                  <a:lnTo>
                    <a:pt x="1088" y="426"/>
                  </a:lnTo>
                  <a:lnTo>
                    <a:pt x="1089" y="427"/>
                  </a:lnTo>
                  <a:lnTo>
                    <a:pt x="1091" y="426"/>
                  </a:lnTo>
                  <a:lnTo>
                    <a:pt x="1092" y="427"/>
                  </a:lnTo>
                  <a:lnTo>
                    <a:pt x="1093" y="427"/>
                  </a:lnTo>
                  <a:lnTo>
                    <a:pt x="1098" y="423"/>
                  </a:lnTo>
                  <a:lnTo>
                    <a:pt x="1105" y="423"/>
                  </a:lnTo>
                  <a:lnTo>
                    <a:pt x="1105" y="420"/>
                  </a:lnTo>
                  <a:lnTo>
                    <a:pt x="1107" y="420"/>
                  </a:lnTo>
                  <a:lnTo>
                    <a:pt x="1107" y="423"/>
                  </a:lnTo>
                  <a:lnTo>
                    <a:pt x="1108" y="423"/>
                  </a:lnTo>
                  <a:lnTo>
                    <a:pt x="1108" y="424"/>
                  </a:lnTo>
                  <a:lnTo>
                    <a:pt x="1110" y="423"/>
                  </a:lnTo>
                  <a:lnTo>
                    <a:pt x="1111" y="423"/>
                  </a:lnTo>
                  <a:lnTo>
                    <a:pt x="1111" y="421"/>
                  </a:lnTo>
                  <a:lnTo>
                    <a:pt x="1113" y="421"/>
                  </a:lnTo>
                  <a:lnTo>
                    <a:pt x="1113" y="420"/>
                  </a:lnTo>
                  <a:lnTo>
                    <a:pt x="1114" y="421"/>
                  </a:lnTo>
                  <a:lnTo>
                    <a:pt x="1116" y="421"/>
                  </a:lnTo>
                  <a:lnTo>
                    <a:pt x="1119" y="420"/>
                  </a:lnTo>
                  <a:lnTo>
                    <a:pt x="1120" y="418"/>
                  </a:lnTo>
                  <a:lnTo>
                    <a:pt x="1122" y="418"/>
                  </a:lnTo>
                  <a:lnTo>
                    <a:pt x="1122" y="417"/>
                  </a:lnTo>
                  <a:lnTo>
                    <a:pt x="1123" y="417"/>
                  </a:lnTo>
                  <a:lnTo>
                    <a:pt x="1126" y="414"/>
                  </a:lnTo>
                  <a:lnTo>
                    <a:pt x="1126" y="411"/>
                  </a:lnTo>
                  <a:lnTo>
                    <a:pt x="1125" y="409"/>
                  </a:lnTo>
                  <a:lnTo>
                    <a:pt x="1123" y="409"/>
                  </a:lnTo>
                  <a:lnTo>
                    <a:pt x="1131" y="402"/>
                  </a:lnTo>
                  <a:lnTo>
                    <a:pt x="1131" y="403"/>
                  </a:lnTo>
                  <a:lnTo>
                    <a:pt x="1134" y="403"/>
                  </a:lnTo>
                  <a:lnTo>
                    <a:pt x="1134" y="402"/>
                  </a:lnTo>
                  <a:lnTo>
                    <a:pt x="1135" y="400"/>
                  </a:lnTo>
                  <a:lnTo>
                    <a:pt x="1137" y="400"/>
                  </a:lnTo>
                  <a:lnTo>
                    <a:pt x="1137" y="399"/>
                  </a:lnTo>
                  <a:lnTo>
                    <a:pt x="1138" y="399"/>
                  </a:lnTo>
                  <a:lnTo>
                    <a:pt x="1140" y="397"/>
                  </a:lnTo>
                  <a:lnTo>
                    <a:pt x="1141" y="397"/>
                  </a:lnTo>
                  <a:lnTo>
                    <a:pt x="1146" y="393"/>
                  </a:lnTo>
                  <a:lnTo>
                    <a:pt x="1147" y="390"/>
                  </a:lnTo>
                  <a:lnTo>
                    <a:pt x="1147" y="387"/>
                  </a:lnTo>
                  <a:lnTo>
                    <a:pt x="1150" y="384"/>
                  </a:lnTo>
                  <a:lnTo>
                    <a:pt x="1153" y="384"/>
                  </a:lnTo>
                  <a:lnTo>
                    <a:pt x="1155" y="381"/>
                  </a:lnTo>
                  <a:lnTo>
                    <a:pt x="1156" y="381"/>
                  </a:lnTo>
                  <a:lnTo>
                    <a:pt x="1161" y="378"/>
                  </a:lnTo>
                  <a:lnTo>
                    <a:pt x="1170" y="378"/>
                  </a:lnTo>
                  <a:lnTo>
                    <a:pt x="1171" y="376"/>
                  </a:lnTo>
                  <a:lnTo>
                    <a:pt x="1174" y="376"/>
                  </a:lnTo>
                  <a:lnTo>
                    <a:pt x="1177" y="373"/>
                  </a:lnTo>
                  <a:lnTo>
                    <a:pt x="1180" y="372"/>
                  </a:lnTo>
                  <a:lnTo>
                    <a:pt x="1182" y="372"/>
                  </a:lnTo>
                  <a:lnTo>
                    <a:pt x="1183" y="370"/>
                  </a:lnTo>
                  <a:lnTo>
                    <a:pt x="1182" y="370"/>
                  </a:lnTo>
                  <a:lnTo>
                    <a:pt x="1183" y="369"/>
                  </a:lnTo>
                  <a:lnTo>
                    <a:pt x="1188" y="369"/>
                  </a:lnTo>
                  <a:lnTo>
                    <a:pt x="1188" y="367"/>
                  </a:lnTo>
                  <a:lnTo>
                    <a:pt x="1191" y="367"/>
                  </a:lnTo>
                  <a:lnTo>
                    <a:pt x="1192" y="366"/>
                  </a:lnTo>
                  <a:lnTo>
                    <a:pt x="1195" y="364"/>
                  </a:lnTo>
                  <a:lnTo>
                    <a:pt x="1198" y="364"/>
                  </a:lnTo>
                  <a:lnTo>
                    <a:pt x="1200" y="361"/>
                  </a:lnTo>
                  <a:lnTo>
                    <a:pt x="1203" y="360"/>
                  </a:lnTo>
                  <a:lnTo>
                    <a:pt x="1201" y="357"/>
                  </a:lnTo>
                  <a:lnTo>
                    <a:pt x="1200" y="355"/>
                  </a:lnTo>
                  <a:lnTo>
                    <a:pt x="1200" y="352"/>
                  </a:lnTo>
                  <a:lnTo>
                    <a:pt x="1203" y="352"/>
                  </a:lnTo>
                  <a:lnTo>
                    <a:pt x="1203" y="351"/>
                  </a:lnTo>
                  <a:lnTo>
                    <a:pt x="1204" y="351"/>
                  </a:lnTo>
                  <a:lnTo>
                    <a:pt x="1204" y="349"/>
                  </a:lnTo>
                  <a:lnTo>
                    <a:pt x="1210" y="349"/>
                  </a:lnTo>
                  <a:lnTo>
                    <a:pt x="1210" y="348"/>
                  </a:lnTo>
                  <a:lnTo>
                    <a:pt x="1215" y="343"/>
                  </a:lnTo>
                  <a:lnTo>
                    <a:pt x="1216" y="343"/>
                  </a:lnTo>
                  <a:lnTo>
                    <a:pt x="1222" y="349"/>
                  </a:lnTo>
                  <a:lnTo>
                    <a:pt x="1222" y="352"/>
                  </a:lnTo>
                  <a:lnTo>
                    <a:pt x="1228" y="352"/>
                  </a:lnTo>
                  <a:lnTo>
                    <a:pt x="1231" y="354"/>
                  </a:lnTo>
                  <a:lnTo>
                    <a:pt x="1231" y="352"/>
                  </a:lnTo>
                  <a:lnTo>
                    <a:pt x="1233" y="352"/>
                  </a:lnTo>
                  <a:lnTo>
                    <a:pt x="1234" y="354"/>
                  </a:lnTo>
                  <a:lnTo>
                    <a:pt x="1237" y="354"/>
                  </a:lnTo>
                  <a:lnTo>
                    <a:pt x="1237" y="355"/>
                  </a:lnTo>
                  <a:lnTo>
                    <a:pt x="1242" y="355"/>
                  </a:lnTo>
                  <a:lnTo>
                    <a:pt x="1242" y="357"/>
                  </a:lnTo>
                  <a:lnTo>
                    <a:pt x="1243" y="357"/>
                  </a:lnTo>
                  <a:lnTo>
                    <a:pt x="1246" y="358"/>
                  </a:lnTo>
                  <a:lnTo>
                    <a:pt x="1245" y="355"/>
                  </a:lnTo>
                  <a:lnTo>
                    <a:pt x="1246" y="354"/>
                  </a:lnTo>
                  <a:lnTo>
                    <a:pt x="1251" y="354"/>
                  </a:lnTo>
                  <a:lnTo>
                    <a:pt x="1252" y="351"/>
                  </a:lnTo>
                  <a:lnTo>
                    <a:pt x="1253" y="351"/>
                  </a:lnTo>
                  <a:lnTo>
                    <a:pt x="1253" y="354"/>
                  </a:lnTo>
                  <a:lnTo>
                    <a:pt x="1256" y="354"/>
                  </a:lnTo>
                  <a:lnTo>
                    <a:pt x="1256" y="349"/>
                  </a:lnTo>
                  <a:lnTo>
                    <a:pt x="1258" y="349"/>
                  </a:lnTo>
                  <a:lnTo>
                    <a:pt x="1258" y="348"/>
                  </a:lnTo>
                  <a:lnTo>
                    <a:pt x="1262" y="348"/>
                  </a:lnTo>
                  <a:lnTo>
                    <a:pt x="1265" y="349"/>
                  </a:lnTo>
                  <a:lnTo>
                    <a:pt x="1267" y="346"/>
                  </a:lnTo>
                  <a:lnTo>
                    <a:pt x="1267" y="343"/>
                  </a:lnTo>
                  <a:lnTo>
                    <a:pt x="1268" y="342"/>
                  </a:lnTo>
                  <a:lnTo>
                    <a:pt x="1271" y="343"/>
                  </a:lnTo>
                  <a:lnTo>
                    <a:pt x="1276" y="342"/>
                  </a:lnTo>
                  <a:lnTo>
                    <a:pt x="1285" y="342"/>
                  </a:lnTo>
                  <a:lnTo>
                    <a:pt x="1286" y="345"/>
                  </a:lnTo>
                  <a:lnTo>
                    <a:pt x="1289" y="348"/>
                  </a:lnTo>
                  <a:lnTo>
                    <a:pt x="1291" y="348"/>
                  </a:lnTo>
                  <a:lnTo>
                    <a:pt x="1292" y="346"/>
                  </a:lnTo>
                  <a:lnTo>
                    <a:pt x="1295" y="346"/>
                  </a:lnTo>
                  <a:lnTo>
                    <a:pt x="1295" y="348"/>
                  </a:lnTo>
                  <a:lnTo>
                    <a:pt x="1294" y="349"/>
                  </a:lnTo>
                  <a:lnTo>
                    <a:pt x="1294" y="351"/>
                  </a:lnTo>
                  <a:lnTo>
                    <a:pt x="1292" y="351"/>
                  </a:lnTo>
                  <a:lnTo>
                    <a:pt x="1288" y="352"/>
                  </a:lnTo>
                  <a:lnTo>
                    <a:pt x="1288" y="354"/>
                  </a:lnTo>
                  <a:lnTo>
                    <a:pt x="1286" y="354"/>
                  </a:lnTo>
                  <a:lnTo>
                    <a:pt x="1286" y="355"/>
                  </a:lnTo>
                  <a:lnTo>
                    <a:pt x="1288" y="360"/>
                  </a:lnTo>
                  <a:lnTo>
                    <a:pt x="1291" y="357"/>
                  </a:lnTo>
                  <a:lnTo>
                    <a:pt x="1294" y="355"/>
                  </a:lnTo>
                  <a:lnTo>
                    <a:pt x="1295" y="358"/>
                  </a:lnTo>
                  <a:lnTo>
                    <a:pt x="1300" y="361"/>
                  </a:lnTo>
                  <a:lnTo>
                    <a:pt x="1298" y="361"/>
                  </a:lnTo>
                  <a:lnTo>
                    <a:pt x="1298" y="363"/>
                  </a:lnTo>
                  <a:lnTo>
                    <a:pt x="1301" y="363"/>
                  </a:lnTo>
                  <a:lnTo>
                    <a:pt x="1301" y="366"/>
                  </a:lnTo>
                  <a:lnTo>
                    <a:pt x="1303" y="367"/>
                  </a:lnTo>
                  <a:lnTo>
                    <a:pt x="1306" y="373"/>
                  </a:lnTo>
                  <a:lnTo>
                    <a:pt x="1306" y="376"/>
                  </a:lnTo>
                  <a:lnTo>
                    <a:pt x="1301" y="379"/>
                  </a:lnTo>
                  <a:lnTo>
                    <a:pt x="1298" y="381"/>
                  </a:lnTo>
                  <a:lnTo>
                    <a:pt x="1300" y="384"/>
                  </a:lnTo>
                  <a:lnTo>
                    <a:pt x="1298" y="385"/>
                  </a:lnTo>
                  <a:lnTo>
                    <a:pt x="1300" y="387"/>
                  </a:lnTo>
                  <a:lnTo>
                    <a:pt x="1301" y="391"/>
                  </a:lnTo>
                  <a:lnTo>
                    <a:pt x="1301" y="387"/>
                  </a:lnTo>
                  <a:lnTo>
                    <a:pt x="1303" y="385"/>
                  </a:lnTo>
                  <a:lnTo>
                    <a:pt x="1304" y="382"/>
                  </a:lnTo>
                  <a:lnTo>
                    <a:pt x="1306" y="381"/>
                  </a:lnTo>
                  <a:lnTo>
                    <a:pt x="1310" y="382"/>
                  </a:lnTo>
                  <a:lnTo>
                    <a:pt x="1316" y="388"/>
                  </a:lnTo>
                  <a:lnTo>
                    <a:pt x="1319" y="390"/>
                  </a:lnTo>
                  <a:lnTo>
                    <a:pt x="1319" y="394"/>
                  </a:lnTo>
                  <a:lnTo>
                    <a:pt x="1321" y="396"/>
                  </a:lnTo>
                  <a:lnTo>
                    <a:pt x="1324" y="396"/>
                  </a:lnTo>
                  <a:lnTo>
                    <a:pt x="1325" y="394"/>
                  </a:lnTo>
                  <a:lnTo>
                    <a:pt x="1328" y="393"/>
                  </a:lnTo>
                  <a:lnTo>
                    <a:pt x="1330" y="394"/>
                  </a:lnTo>
                  <a:lnTo>
                    <a:pt x="1333" y="396"/>
                  </a:lnTo>
                  <a:lnTo>
                    <a:pt x="1334" y="397"/>
                  </a:lnTo>
                  <a:lnTo>
                    <a:pt x="1334" y="399"/>
                  </a:lnTo>
                  <a:lnTo>
                    <a:pt x="1337" y="400"/>
                  </a:lnTo>
                  <a:lnTo>
                    <a:pt x="1339" y="402"/>
                  </a:lnTo>
                  <a:lnTo>
                    <a:pt x="1339" y="403"/>
                  </a:lnTo>
                  <a:lnTo>
                    <a:pt x="1337" y="406"/>
                  </a:lnTo>
                  <a:lnTo>
                    <a:pt x="1337" y="408"/>
                  </a:lnTo>
                  <a:lnTo>
                    <a:pt x="1340" y="411"/>
                  </a:lnTo>
                  <a:lnTo>
                    <a:pt x="1340" y="418"/>
                  </a:lnTo>
                  <a:lnTo>
                    <a:pt x="1337" y="418"/>
                  </a:lnTo>
                  <a:lnTo>
                    <a:pt x="1337" y="417"/>
                  </a:lnTo>
                  <a:lnTo>
                    <a:pt x="1336" y="417"/>
                  </a:lnTo>
                  <a:lnTo>
                    <a:pt x="1330" y="423"/>
                  </a:lnTo>
                  <a:lnTo>
                    <a:pt x="1328" y="423"/>
                  </a:lnTo>
                  <a:lnTo>
                    <a:pt x="1328" y="424"/>
                  </a:lnTo>
                  <a:lnTo>
                    <a:pt x="1327" y="424"/>
                  </a:lnTo>
                  <a:lnTo>
                    <a:pt x="1327" y="426"/>
                  </a:lnTo>
                  <a:lnTo>
                    <a:pt x="1324" y="426"/>
                  </a:lnTo>
                  <a:lnTo>
                    <a:pt x="1324" y="427"/>
                  </a:lnTo>
                  <a:lnTo>
                    <a:pt x="1322" y="429"/>
                  </a:lnTo>
                  <a:lnTo>
                    <a:pt x="1321" y="429"/>
                  </a:lnTo>
                  <a:lnTo>
                    <a:pt x="1319" y="430"/>
                  </a:lnTo>
                  <a:lnTo>
                    <a:pt x="1319" y="432"/>
                  </a:lnTo>
                  <a:lnTo>
                    <a:pt x="1318" y="432"/>
                  </a:lnTo>
                  <a:lnTo>
                    <a:pt x="1318" y="436"/>
                  </a:lnTo>
                  <a:lnTo>
                    <a:pt x="1319" y="436"/>
                  </a:lnTo>
                  <a:lnTo>
                    <a:pt x="1319" y="439"/>
                  </a:lnTo>
                  <a:lnTo>
                    <a:pt x="1318" y="441"/>
                  </a:lnTo>
                  <a:lnTo>
                    <a:pt x="1319" y="441"/>
                  </a:lnTo>
                  <a:lnTo>
                    <a:pt x="1319" y="444"/>
                  </a:lnTo>
                  <a:lnTo>
                    <a:pt x="1327" y="453"/>
                  </a:lnTo>
                  <a:lnTo>
                    <a:pt x="1328" y="454"/>
                  </a:lnTo>
                  <a:lnTo>
                    <a:pt x="1328" y="456"/>
                  </a:lnTo>
                  <a:lnTo>
                    <a:pt x="1330" y="457"/>
                  </a:lnTo>
                  <a:lnTo>
                    <a:pt x="1330" y="460"/>
                  </a:lnTo>
                  <a:lnTo>
                    <a:pt x="1328" y="460"/>
                  </a:lnTo>
                  <a:lnTo>
                    <a:pt x="1328" y="459"/>
                  </a:lnTo>
                  <a:lnTo>
                    <a:pt x="1327" y="459"/>
                  </a:lnTo>
                  <a:lnTo>
                    <a:pt x="1327" y="460"/>
                  </a:lnTo>
                  <a:lnTo>
                    <a:pt x="1325" y="460"/>
                  </a:lnTo>
                  <a:lnTo>
                    <a:pt x="1325" y="459"/>
                  </a:lnTo>
                  <a:lnTo>
                    <a:pt x="1324" y="459"/>
                  </a:lnTo>
                  <a:lnTo>
                    <a:pt x="1318" y="456"/>
                  </a:lnTo>
                  <a:lnTo>
                    <a:pt x="1316" y="454"/>
                  </a:lnTo>
                  <a:lnTo>
                    <a:pt x="1318" y="453"/>
                  </a:lnTo>
                  <a:lnTo>
                    <a:pt x="1318" y="451"/>
                  </a:lnTo>
                  <a:lnTo>
                    <a:pt x="1316" y="450"/>
                  </a:lnTo>
                  <a:lnTo>
                    <a:pt x="1315" y="450"/>
                  </a:lnTo>
                  <a:lnTo>
                    <a:pt x="1315" y="448"/>
                  </a:lnTo>
                  <a:lnTo>
                    <a:pt x="1312" y="445"/>
                  </a:lnTo>
                  <a:lnTo>
                    <a:pt x="1309" y="445"/>
                  </a:lnTo>
                  <a:lnTo>
                    <a:pt x="1309" y="447"/>
                  </a:lnTo>
                  <a:lnTo>
                    <a:pt x="1306" y="447"/>
                  </a:lnTo>
                  <a:lnTo>
                    <a:pt x="1306" y="445"/>
                  </a:lnTo>
                  <a:lnTo>
                    <a:pt x="1301" y="450"/>
                  </a:lnTo>
                  <a:lnTo>
                    <a:pt x="1300" y="448"/>
                  </a:lnTo>
                  <a:lnTo>
                    <a:pt x="1297" y="448"/>
                  </a:lnTo>
                  <a:lnTo>
                    <a:pt x="1285" y="451"/>
                  </a:lnTo>
                  <a:lnTo>
                    <a:pt x="1279" y="454"/>
                  </a:lnTo>
                  <a:lnTo>
                    <a:pt x="1276" y="460"/>
                  </a:lnTo>
                  <a:lnTo>
                    <a:pt x="1273" y="463"/>
                  </a:lnTo>
                  <a:lnTo>
                    <a:pt x="1270" y="463"/>
                  </a:lnTo>
                  <a:lnTo>
                    <a:pt x="1268" y="465"/>
                  </a:lnTo>
                  <a:lnTo>
                    <a:pt x="1265" y="466"/>
                  </a:lnTo>
                  <a:lnTo>
                    <a:pt x="1265" y="469"/>
                  </a:lnTo>
                  <a:lnTo>
                    <a:pt x="1264" y="469"/>
                  </a:lnTo>
                  <a:lnTo>
                    <a:pt x="1262" y="471"/>
                  </a:lnTo>
                  <a:lnTo>
                    <a:pt x="1261" y="471"/>
                  </a:lnTo>
                  <a:lnTo>
                    <a:pt x="1259" y="472"/>
                  </a:lnTo>
                  <a:lnTo>
                    <a:pt x="1259" y="474"/>
                  </a:lnTo>
                  <a:lnTo>
                    <a:pt x="1255" y="474"/>
                  </a:lnTo>
                  <a:lnTo>
                    <a:pt x="1253" y="475"/>
                  </a:lnTo>
                  <a:lnTo>
                    <a:pt x="1252" y="478"/>
                  </a:lnTo>
                  <a:lnTo>
                    <a:pt x="1251" y="480"/>
                  </a:lnTo>
                  <a:lnTo>
                    <a:pt x="1248" y="481"/>
                  </a:lnTo>
                  <a:lnTo>
                    <a:pt x="1245" y="481"/>
                  </a:lnTo>
                  <a:lnTo>
                    <a:pt x="1245" y="483"/>
                  </a:lnTo>
                  <a:lnTo>
                    <a:pt x="1243" y="483"/>
                  </a:lnTo>
                  <a:lnTo>
                    <a:pt x="1243" y="481"/>
                  </a:lnTo>
                  <a:lnTo>
                    <a:pt x="1242" y="481"/>
                  </a:lnTo>
                  <a:lnTo>
                    <a:pt x="1240" y="483"/>
                  </a:lnTo>
                  <a:lnTo>
                    <a:pt x="1239" y="483"/>
                  </a:lnTo>
                  <a:lnTo>
                    <a:pt x="1239" y="484"/>
                  </a:lnTo>
                  <a:lnTo>
                    <a:pt x="1237" y="486"/>
                  </a:lnTo>
                  <a:lnTo>
                    <a:pt x="1237" y="487"/>
                  </a:lnTo>
                  <a:lnTo>
                    <a:pt x="1236" y="489"/>
                  </a:lnTo>
                  <a:lnTo>
                    <a:pt x="1236" y="490"/>
                  </a:lnTo>
                  <a:lnTo>
                    <a:pt x="1234" y="492"/>
                  </a:lnTo>
                  <a:lnTo>
                    <a:pt x="1236" y="493"/>
                  </a:lnTo>
                  <a:lnTo>
                    <a:pt x="1236" y="495"/>
                  </a:lnTo>
                  <a:lnTo>
                    <a:pt x="1234" y="498"/>
                  </a:lnTo>
                  <a:lnTo>
                    <a:pt x="1234" y="502"/>
                  </a:lnTo>
                  <a:lnTo>
                    <a:pt x="1236" y="503"/>
                  </a:lnTo>
                  <a:lnTo>
                    <a:pt x="1236" y="505"/>
                  </a:lnTo>
                  <a:lnTo>
                    <a:pt x="1237" y="505"/>
                  </a:lnTo>
                  <a:lnTo>
                    <a:pt x="1236" y="506"/>
                  </a:lnTo>
                  <a:lnTo>
                    <a:pt x="1237" y="509"/>
                  </a:lnTo>
                  <a:lnTo>
                    <a:pt x="1237" y="511"/>
                  </a:lnTo>
                  <a:lnTo>
                    <a:pt x="1239" y="511"/>
                  </a:lnTo>
                  <a:lnTo>
                    <a:pt x="1240" y="512"/>
                  </a:lnTo>
                  <a:lnTo>
                    <a:pt x="1234" y="518"/>
                  </a:lnTo>
                  <a:lnTo>
                    <a:pt x="1233" y="518"/>
                  </a:lnTo>
                  <a:lnTo>
                    <a:pt x="1233" y="529"/>
                  </a:lnTo>
                  <a:lnTo>
                    <a:pt x="1231" y="529"/>
                  </a:lnTo>
                  <a:lnTo>
                    <a:pt x="1227" y="535"/>
                  </a:lnTo>
                  <a:lnTo>
                    <a:pt x="1227" y="536"/>
                  </a:lnTo>
                  <a:lnTo>
                    <a:pt x="1225" y="538"/>
                  </a:lnTo>
                  <a:lnTo>
                    <a:pt x="1224" y="538"/>
                  </a:lnTo>
                  <a:lnTo>
                    <a:pt x="1222" y="541"/>
                  </a:lnTo>
                  <a:lnTo>
                    <a:pt x="1218" y="541"/>
                  </a:lnTo>
                  <a:lnTo>
                    <a:pt x="1216" y="542"/>
                  </a:lnTo>
                  <a:lnTo>
                    <a:pt x="1216" y="544"/>
                  </a:lnTo>
                  <a:lnTo>
                    <a:pt x="1215" y="545"/>
                  </a:lnTo>
                  <a:lnTo>
                    <a:pt x="1212" y="553"/>
                  </a:lnTo>
                  <a:lnTo>
                    <a:pt x="1212" y="556"/>
                  </a:lnTo>
                  <a:lnTo>
                    <a:pt x="1213" y="557"/>
                  </a:lnTo>
                  <a:lnTo>
                    <a:pt x="1216" y="557"/>
                  </a:lnTo>
                  <a:lnTo>
                    <a:pt x="1219" y="560"/>
                  </a:lnTo>
                  <a:lnTo>
                    <a:pt x="1219" y="565"/>
                  </a:lnTo>
                  <a:lnTo>
                    <a:pt x="1218" y="566"/>
                  </a:lnTo>
                  <a:lnTo>
                    <a:pt x="1216" y="571"/>
                  </a:lnTo>
                  <a:lnTo>
                    <a:pt x="1216" y="572"/>
                  </a:lnTo>
                  <a:lnTo>
                    <a:pt x="1215" y="575"/>
                  </a:lnTo>
                  <a:lnTo>
                    <a:pt x="1213" y="577"/>
                  </a:lnTo>
                  <a:lnTo>
                    <a:pt x="1213" y="580"/>
                  </a:lnTo>
                  <a:lnTo>
                    <a:pt x="1210" y="580"/>
                  </a:lnTo>
                  <a:lnTo>
                    <a:pt x="1210" y="581"/>
                  </a:lnTo>
                  <a:lnTo>
                    <a:pt x="1209" y="584"/>
                  </a:lnTo>
                  <a:lnTo>
                    <a:pt x="1209" y="586"/>
                  </a:lnTo>
                  <a:lnTo>
                    <a:pt x="1206" y="587"/>
                  </a:lnTo>
                  <a:lnTo>
                    <a:pt x="1206" y="589"/>
                  </a:lnTo>
                  <a:lnTo>
                    <a:pt x="1204" y="590"/>
                  </a:lnTo>
                  <a:lnTo>
                    <a:pt x="1204" y="592"/>
                  </a:lnTo>
                  <a:lnTo>
                    <a:pt x="1203" y="592"/>
                  </a:lnTo>
                  <a:lnTo>
                    <a:pt x="1203" y="595"/>
                  </a:lnTo>
                  <a:lnTo>
                    <a:pt x="1201" y="596"/>
                  </a:lnTo>
                  <a:lnTo>
                    <a:pt x="1201" y="598"/>
                  </a:lnTo>
                  <a:lnTo>
                    <a:pt x="1200" y="599"/>
                  </a:lnTo>
                  <a:lnTo>
                    <a:pt x="1200" y="602"/>
                  </a:lnTo>
                  <a:lnTo>
                    <a:pt x="1197" y="608"/>
                  </a:lnTo>
                  <a:lnTo>
                    <a:pt x="1197" y="613"/>
                  </a:lnTo>
                  <a:lnTo>
                    <a:pt x="1195" y="613"/>
                  </a:lnTo>
                  <a:lnTo>
                    <a:pt x="1195" y="616"/>
                  </a:lnTo>
                  <a:lnTo>
                    <a:pt x="1194" y="619"/>
                  </a:lnTo>
                  <a:lnTo>
                    <a:pt x="1192" y="620"/>
                  </a:lnTo>
                  <a:lnTo>
                    <a:pt x="1192" y="623"/>
                  </a:lnTo>
                  <a:lnTo>
                    <a:pt x="1191" y="623"/>
                  </a:lnTo>
                  <a:lnTo>
                    <a:pt x="1189" y="622"/>
                  </a:lnTo>
                  <a:lnTo>
                    <a:pt x="1186" y="620"/>
                  </a:lnTo>
                  <a:lnTo>
                    <a:pt x="1185" y="620"/>
                  </a:lnTo>
                  <a:lnTo>
                    <a:pt x="1183" y="619"/>
                  </a:lnTo>
                  <a:lnTo>
                    <a:pt x="1177" y="619"/>
                  </a:lnTo>
                  <a:lnTo>
                    <a:pt x="1174" y="616"/>
                  </a:lnTo>
                  <a:lnTo>
                    <a:pt x="1167" y="616"/>
                  </a:lnTo>
                  <a:lnTo>
                    <a:pt x="1167" y="617"/>
                  </a:lnTo>
                  <a:lnTo>
                    <a:pt x="1161" y="617"/>
                  </a:lnTo>
                  <a:lnTo>
                    <a:pt x="1161" y="616"/>
                  </a:lnTo>
                  <a:lnTo>
                    <a:pt x="1159" y="614"/>
                  </a:lnTo>
                  <a:lnTo>
                    <a:pt x="1158" y="611"/>
                  </a:lnTo>
                  <a:lnTo>
                    <a:pt x="1155" y="611"/>
                  </a:lnTo>
                  <a:lnTo>
                    <a:pt x="1155" y="617"/>
                  </a:lnTo>
                  <a:lnTo>
                    <a:pt x="1156" y="619"/>
                  </a:lnTo>
                  <a:lnTo>
                    <a:pt x="1156" y="620"/>
                  </a:lnTo>
                  <a:lnTo>
                    <a:pt x="1158" y="622"/>
                  </a:lnTo>
                  <a:lnTo>
                    <a:pt x="1158" y="629"/>
                  </a:lnTo>
                  <a:lnTo>
                    <a:pt x="1159" y="629"/>
                  </a:lnTo>
                  <a:lnTo>
                    <a:pt x="1159" y="631"/>
                  </a:lnTo>
                  <a:lnTo>
                    <a:pt x="1161" y="631"/>
                  </a:lnTo>
                  <a:lnTo>
                    <a:pt x="1161" y="634"/>
                  </a:lnTo>
                  <a:lnTo>
                    <a:pt x="1159" y="643"/>
                  </a:lnTo>
                  <a:lnTo>
                    <a:pt x="1159" y="649"/>
                  </a:lnTo>
                  <a:lnTo>
                    <a:pt x="1158" y="650"/>
                  </a:lnTo>
                  <a:lnTo>
                    <a:pt x="1158" y="659"/>
                  </a:lnTo>
                  <a:lnTo>
                    <a:pt x="1156" y="664"/>
                  </a:lnTo>
                  <a:lnTo>
                    <a:pt x="1155" y="664"/>
                  </a:lnTo>
                  <a:lnTo>
                    <a:pt x="1155" y="665"/>
                  </a:lnTo>
                  <a:lnTo>
                    <a:pt x="1150" y="665"/>
                  </a:lnTo>
                  <a:lnTo>
                    <a:pt x="1150" y="664"/>
                  </a:lnTo>
                  <a:lnTo>
                    <a:pt x="1149" y="662"/>
                  </a:lnTo>
                  <a:lnTo>
                    <a:pt x="1147" y="664"/>
                  </a:lnTo>
                  <a:lnTo>
                    <a:pt x="1147" y="668"/>
                  </a:lnTo>
                  <a:lnTo>
                    <a:pt x="1149" y="670"/>
                  </a:lnTo>
                  <a:lnTo>
                    <a:pt x="1149" y="671"/>
                  </a:lnTo>
                  <a:lnTo>
                    <a:pt x="1146" y="674"/>
                  </a:lnTo>
                  <a:lnTo>
                    <a:pt x="1146" y="676"/>
                  </a:lnTo>
                  <a:lnTo>
                    <a:pt x="1144" y="677"/>
                  </a:lnTo>
                  <a:lnTo>
                    <a:pt x="1144" y="683"/>
                  </a:lnTo>
                  <a:lnTo>
                    <a:pt x="1146" y="685"/>
                  </a:lnTo>
                  <a:lnTo>
                    <a:pt x="1146" y="692"/>
                  </a:lnTo>
                  <a:lnTo>
                    <a:pt x="1147" y="694"/>
                  </a:lnTo>
                  <a:lnTo>
                    <a:pt x="1149" y="697"/>
                  </a:lnTo>
                  <a:lnTo>
                    <a:pt x="1149" y="703"/>
                  </a:lnTo>
                  <a:lnTo>
                    <a:pt x="1147" y="703"/>
                  </a:lnTo>
                  <a:lnTo>
                    <a:pt x="1146" y="704"/>
                  </a:lnTo>
                  <a:lnTo>
                    <a:pt x="1147" y="706"/>
                  </a:lnTo>
                  <a:lnTo>
                    <a:pt x="1141" y="706"/>
                  </a:lnTo>
                  <a:lnTo>
                    <a:pt x="1141" y="710"/>
                  </a:lnTo>
                  <a:lnTo>
                    <a:pt x="1140" y="710"/>
                  </a:lnTo>
                  <a:lnTo>
                    <a:pt x="1140" y="712"/>
                  </a:lnTo>
                  <a:lnTo>
                    <a:pt x="1138" y="713"/>
                  </a:lnTo>
                  <a:lnTo>
                    <a:pt x="1140" y="713"/>
                  </a:lnTo>
                  <a:lnTo>
                    <a:pt x="1140" y="716"/>
                  </a:lnTo>
                  <a:lnTo>
                    <a:pt x="1138" y="716"/>
                  </a:lnTo>
                  <a:lnTo>
                    <a:pt x="1138" y="715"/>
                  </a:lnTo>
                  <a:lnTo>
                    <a:pt x="1137" y="715"/>
                  </a:lnTo>
                  <a:lnTo>
                    <a:pt x="1135" y="716"/>
                  </a:lnTo>
                  <a:lnTo>
                    <a:pt x="1135" y="718"/>
                  </a:lnTo>
                  <a:lnTo>
                    <a:pt x="1134" y="716"/>
                  </a:lnTo>
                  <a:lnTo>
                    <a:pt x="1134" y="715"/>
                  </a:lnTo>
                  <a:lnTo>
                    <a:pt x="1132" y="713"/>
                  </a:lnTo>
                  <a:lnTo>
                    <a:pt x="1131" y="710"/>
                  </a:lnTo>
                  <a:lnTo>
                    <a:pt x="1128" y="707"/>
                  </a:lnTo>
                  <a:lnTo>
                    <a:pt x="1126" y="707"/>
                  </a:lnTo>
                  <a:lnTo>
                    <a:pt x="1126" y="709"/>
                  </a:lnTo>
                  <a:lnTo>
                    <a:pt x="1125" y="709"/>
                  </a:lnTo>
                  <a:lnTo>
                    <a:pt x="1126" y="710"/>
                  </a:lnTo>
                  <a:lnTo>
                    <a:pt x="1125" y="710"/>
                  </a:lnTo>
                  <a:lnTo>
                    <a:pt x="1125" y="715"/>
                  </a:lnTo>
                  <a:lnTo>
                    <a:pt x="1123" y="715"/>
                  </a:lnTo>
                  <a:lnTo>
                    <a:pt x="1122" y="716"/>
                  </a:lnTo>
                  <a:lnTo>
                    <a:pt x="1120" y="716"/>
                  </a:lnTo>
                  <a:lnTo>
                    <a:pt x="1120" y="712"/>
                  </a:lnTo>
                  <a:lnTo>
                    <a:pt x="1119" y="709"/>
                  </a:lnTo>
                  <a:lnTo>
                    <a:pt x="1120" y="709"/>
                  </a:lnTo>
                  <a:lnTo>
                    <a:pt x="1122" y="707"/>
                  </a:lnTo>
                  <a:lnTo>
                    <a:pt x="1119" y="691"/>
                  </a:lnTo>
                  <a:lnTo>
                    <a:pt x="1119" y="689"/>
                  </a:lnTo>
                  <a:lnTo>
                    <a:pt x="1117" y="688"/>
                  </a:lnTo>
                  <a:lnTo>
                    <a:pt x="1117" y="679"/>
                  </a:lnTo>
                  <a:lnTo>
                    <a:pt x="1116" y="679"/>
                  </a:lnTo>
                  <a:lnTo>
                    <a:pt x="1114" y="677"/>
                  </a:lnTo>
                  <a:lnTo>
                    <a:pt x="1114" y="673"/>
                  </a:lnTo>
                  <a:lnTo>
                    <a:pt x="1113" y="671"/>
                  </a:lnTo>
                  <a:lnTo>
                    <a:pt x="1111" y="671"/>
                  </a:lnTo>
                  <a:lnTo>
                    <a:pt x="1111" y="664"/>
                  </a:lnTo>
                  <a:lnTo>
                    <a:pt x="1110" y="658"/>
                  </a:lnTo>
                  <a:lnTo>
                    <a:pt x="1110" y="655"/>
                  </a:lnTo>
                  <a:lnTo>
                    <a:pt x="1111" y="653"/>
                  </a:lnTo>
                  <a:lnTo>
                    <a:pt x="1111" y="650"/>
                  </a:lnTo>
                  <a:lnTo>
                    <a:pt x="1110" y="650"/>
                  </a:lnTo>
                  <a:lnTo>
                    <a:pt x="1111" y="649"/>
                  </a:lnTo>
                  <a:lnTo>
                    <a:pt x="1110" y="647"/>
                  </a:lnTo>
                  <a:lnTo>
                    <a:pt x="1110" y="646"/>
                  </a:lnTo>
                  <a:lnTo>
                    <a:pt x="1108" y="644"/>
                  </a:lnTo>
                  <a:lnTo>
                    <a:pt x="1108" y="641"/>
                  </a:lnTo>
                  <a:lnTo>
                    <a:pt x="1107" y="635"/>
                  </a:lnTo>
                  <a:lnTo>
                    <a:pt x="1107" y="631"/>
                  </a:lnTo>
                  <a:lnTo>
                    <a:pt x="1105" y="631"/>
                  </a:lnTo>
                  <a:lnTo>
                    <a:pt x="1104" y="632"/>
                  </a:lnTo>
                  <a:lnTo>
                    <a:pt x="1104" y="634"/>
                  </a:lnTo>
                  <a:lnTo>
                    <a:pt x="1102" y="632"/>
                  </a:lnTo>
                  <a:lnTo>
                    <a:pt x="1102" y="631"/>
                  </a:lnTo>
                  <a:lnTo>
                    <a:pt x="1101" y="629"/>
                  </a:lnTo>
                  <a:lnTo>
                    <a:pt x="1099" y="629"/>
                  </a:lnTo>
                  <a:lnTo>
                    <a:pt x="1099" y="631"/>
                  </a:lnTo>
                  <a:lnTo>
                    <a:pt x="1096" y="634"/>
                  </a:lnTo>
                  <a:lnTo>
                    <a:pt x="1095" y="634"/>
                  </a:lnTo>
                  <a:lnTo>
                    <a:pt x="1093" y="631"/>
                  </a:lnTo>
                  <a:lnTo>
                    <a:pt x="1092" y="631"/>
                  </a:lnTo>
                  <a:lnTo>
                    <a:pt x="1092" y="629"/>
                  </a:lnTo>
                  <a:lnTo>
                    <a:pt x="1091" y="629"/>
                  </a:lnTo>
                  <a:lnTo>
                    <a:pt x="1091" y="634"/>
                  </a:lnTo>
                  <a:lnTo>
                    <a:pt x="1092" y="640"/>
                  </a:lnTo>
                  <a:lnTo>
                    <a:pt x="1092" y="641"/>
                  </a:lnTo>
                  <a:lnTo>
                    <a:pt x="1091" y="643"/>
                  </a:lnTo>
                  <a:lnTo>
                    <a:pt x="1091" y="644"/>
                  </a:lnTo>
                  <a:lnTo>
                    <a:pt x="1089" y="644"/>
                  </a:lnTo>
                  <a:lnTo>
                    <a:pt x="1088" y="646"/>
                  </a:lnTo>
                  <a:lnTo>
                    <a:pt x="1086" y="646"/>
                  </a:lnTo>
                  <a:lnTo>
                    <a:pt x="1085" y="647"/>
                  </a:lnTo>
                  <a:lnTo>
                    <a:pt x="1085" y="650"/>
                  </a:lnTo>
                  <a:lnTo>
                    <a:pt x="1083" y="652"/>
                  </a:lnTo>
                  <a:lnTo>
                    <a:pt x="1083" y="655"/>
                  </a:lnTo>
                  <a:lnTo>
                    <a:pt x="1085" y="656"/>
                  </a:lnTo>
                  <a:lnTo>
                    <a:pt x="1085" y="661"/>
                  </a:lnTo>
                  <a:lnTo>
                    <a:pt x="1086" y="661"/>
                  </a:lnTo>
                  <a:lnTo>
                    <a:pt x="1085" y="662"/>
                  </a:lnTo>
                  <a:lnTo>
                    <a:pt x="1083" y="662"/>
                  </a:lnTo>
                  <a:lnTo>
                    <a:pt x="1083" y="665"/>
                  </a:lnTo>
                  <a:lnTo>
                    <a:pt x="1082" y="665"/>
                  </a:lnTo>
                  <a:lnTo>
                    <a:pt x="1080" y="667"/>
                  </a:lnTo>
                  <a:lnTo>
                    <a:pt x="1077" y="667"/>
                  </a:lnTo>
                  <a:lnTo>
                    <a:pt x="1077" y="668"/>
                  </a:lnTo>
                  <a:lnTo>
                    <a:pt x="1076" y="668"/>
                  </a:lnTo>
                  <a:lnTo>
                    <a:pt x="1076" y="667"/>
                  </a:lnTo>
                  <a:lnTo>
                    <a:pt x="1074" y="667"/>
                  </a:lnTo>
                  <a:lnTo>
                    <a:pt x="1073" y="665"/>
                  </a:lnTo>
                  <a:lnTo>
                    <a:pt x="1073" y="664"/>
                  </a:lnTo>
                  <a:lnTo>
                    <a:pt x="1071" y="662"/>
                  </a:lnTo>
                  <a:lnTo>
                    <a:pt x="1071" y="658"/>
                  </a:lnTo>
                  <a:lnTo>
                    <a:pt x="1070" y="656"/>
                  </a:lnTo>
                  <a:lnTo>
                    <a:pt x="1070" y="655"/>
                  </a:lnTo>
                  <a:lnTo>
                    <a:pt x="1068" y="655"/>
                  </a:lnTo>
                  <a:lnTo>
                    <a:pt x="1068" y="653"/>
                  </a:lnTo>
                  <a:lnTo>
                    <a:pt x="1065" y="653"/>
                  </a:lnTo>
                  <a:lnTo>
                    <a:pt x="1065" y="656"/>
                  </a:lnTo>
                  <a:lnTo>
                    <a:pt x="1067" y="661"/>
                  </a:lnTo>
                  <a:lnTo>
                    <a:pt x="1067" y="662"/>
                  </a:lnTo>
                  <a:lnTo>
                    <a:pt x="1065" y="662"/>
                  </a:lnTo>
                  <a:lnTo>
                    <a:pt x="1062" y="659"/>
                  </a:lnTo>
                  <a:lnTo>
                    <a:pt x="1062" y="650"/>
                  </a:lnTo>
                  <a:lnTo>
                    <a:pt x="1061" y="650"/>
                  </a:lnTo>
                  <a:lnTo>
                    <a:pt x="1061" y="649"/>
                  </a:lnTo>
                  <a:lnTo>
                    <a:pt x="1062" y="649"/>
                  </a:lnTo>
                  <a:lnTo>
                    <a:pt x="1062" y="647"/>
                  </a:lnTo>
                  <a:lnTo>
                    <a:pt x="1061" y="647"/>
                  </a:lnTo>
                  <a:lnTo>
                    <a:pt x="1061" y="646"/>
                  </a:lnTo>
                  <a:lnTo>
                    <a:pt x="1059" y="644"/>
                  </a:lnTo>
                  <a:lnTo>
                    <a:pt x="1059" y="641"/>
                  </a:lnTo>
                  <a:lnTo>
                    <a:pt x="1058" y="641"/>
                  </a:lnTo>
                  <a:lnTo>
                    <a:pt x="1058" y="638"/>
                  </a:lnTo>
                  <a:lnTo>
                    <a:pt x="1056" y="638"/>
                  </a:lnTo>
                  <a:lnTo>
                    <a:pt x="1055" y="635"/>
                  </a:lnTo>
                  <a:lnTo>
                    <a:pt x="1055" y="634"/>
                  </a:lnTo>
                  <a:lnTo>
                    <a:pt x="1056" y="634"/>
                  </a:lnTo>
                  <a:lnTo>
                    <a:pt x="1058" y="632"/>
                  </a:lnTo>
                  <a:lnTo>
                    <a:pt x="1056" y="632"/>
                  </a:lnTo>
                  <a:lnTo>
                    <a:pt x="1056" y="631"/>
                  </a:lnTo>
                  <a:lnTo>
                    <a:pt x="1055" y="631"/>
                  </a:lnTo>
                  <a:lnTo>
                    <a:pt x="1055" y="629"/>
                  </a:lnTo>
                  <a:lnTo>
                    <a:pt x="1058" y="629"/>
                  </a:lnTo>
                  <a:lnTo>
                    <a:pt x="1058" y="628"/>
                  </a:lnTo>
                  <a:lnTo>
                    <a:pt x="1059" y="625"/>
                  </a:lnTo>
                  <a:lnTo>
                    <a:pt x="1059" y="620"/>
                  </a:lnTo>
                  <a:lnTo>
                    <a:pt x="1061" y="617"/>
                  </a:lnTo>
                  <a:lnTo>
                    <a:pt x="1062" y="616"/>
                  </a:lnTo>
                  <a:lnTo>
                    <a:pt x="1065" y="616"/>
                  </a:lnTo>
                  <a:lnTo>
                    <a:pt x="1065" y="611"/>
                  </a:lnTo>
                  <a:lnTo>
                    <a:pt x="1076" y="611"/>
                  </a:lnTo>
                  <a:lnTo>
                    <a:pt x="1077" y="610"/>
                  </a:lnTo>
                  <a:lnTo>
                    <a:pt x="1077" y="605"/>
                  </a:lnTo>
                  <a:lnTo>
                    <a:pt x="1079" y="605"/>
                  </a:lnTo>
                  <a:lnTo>
                    <a:pt x="1079" y="607"/>
                  </a:lnTo>
                  <a:lnTo>
                    <a:pt x="1080" y="608"/>
                  </a:lnTo>
                  <a:lnTo>
                    <a:pt x="1083" y="608"/>
                  </a:lnTo>
                  <a:lnTo>
                    <a:pt x="1083" y="607"/>
                  </a:lnTo>
                  <a:lnTo>
                    <a:pt x="1082" y="605"/>
                  </a:lnTo>
                  <a:lnTo>
                    <a:pt x="1083" y="604"/>
                  </a:lnTo>
                  <a:lnTo>
                    <a:pt x="1086" y="605"/>
                  </a:lnTo>
                  <a:lnTo>
                    <a:pt x="1086" y="607"/>
                  </a:lnTo>
                  <a:lnTo>
                    <a:pt x="1088" y="608"/>
                  </a:lnTo>
                  <a:lnTo>
                    <a:pt x="1089" y="608"/>
                  </a:lnTo>
                  <a:lnTo>
                    <a:pt x="1089" y="607"/>
                  </a:lnTo>
                  <a:lnTo>
                    <a:pt x="1091" y="602"/>
                  </a:lnTo>
                  <a:lnTo>
                    <a:pt x="1091" y="599"/>
                  </a:lnTo>
                  <a:lnTo>
                    <a:pt x="1093" y="599"/>
                  </a:lnTo>
                  <a:lnTo>
                    <a:pt x="1092" y="598"/>
                  </a:lnTo>
                  <a:lnTo>
                    <a:pt x="1098" y="598"/>
                  </a:lnTo>
                  <a:lnTo>
                    <a:pt x="1099" y="596"/>
                  </a:lnTo>
                  <a:lnTo>
                    <a:pt x="1099" y="590"/>
                  </a:lnTo>
                  <a:lnTo>
                    <a:pt x="1101" y="589"/>
                  </a:lnTo>
                  <a:lnTo>
                    <a:pt x="1102" y="589"/>
                  </a:lnTo>
                  <a:lnTo>
                    <a:pt x="1102" y="583"/>
                  </a:lnTo>
                  <a:lnTo>
                    <a:pt x="1105" y="577"/>
                  </a:lnTo>
                  <a:lnTo>
                    <a:pt x="1105" y="571"/>
                  </a:lnTo>
                  <a:lnTo>
                    <a:pt x="1108" y="571"/>
                  </a:lnTo>
                  <a:lnTo>
                    <a:pt x="1111" y="572"/>
                  </a:lnTo>
                  <a:lnTo>
                    <a:pt x="1111" y="574"/>
                  </a:lnTo>
                  <a:lnTo>
                    <a:pt x="1113" y="574"/>
                  </a:lnTo>
                  <a:lnTo>
                    <a:pt x="1114" y="572"/>
                  </a:lnTo>
                  <a:lnTo>
                    <a:pt x="1116" y="572"/>
                  </a:lnTo>
                  <a:lnTo>
                    <a:pt x="1117" y="571"/>
                  </a:lnTo>
                  <a:lnTo>
                    <a:pt x="1117" y="569"/>
                  </a:lnTo>
                  <a:lnTo>
                    <a:pt x="1116" y="569"/>
                  </a:lnTo>
                  <a:lnTo>
                    <a:pt x="1116" y="568"/>
                  </a:lnTo>
                  <a:lnTo>
                    <a:pt x="1114" y="568"/>
                  </a:lnTo>
                  <a:lnTo>
                    <a:pt x="1113" y="566"/>
                  </a:lnTo>
                  <a:lnTo>
                    <a:pt x="1113" y="565"/>
                  </a:lnTo>
                  <a:lnTo>
                    <a:pt x="1111" y="563"/>
                  </a:lnTo>
                  <a:lnTo>
                    <a:pt x="1110" y="563"/>
                  </a:lnTo>
                  <a:lnTo>
                    <a:pt x="1108" y="562"/>
                  </a:lnTo>
                  <a:lnTo>
                    <a:pt x="1105" y="562"/>
                  </a:lnTo>
                  <a:lnTo>
                    <a:pt x="1105" y="560"/>
                  </a:lnTo>
                  <a:lnTo>
                    <a:pt x="1104" y="560"/>
                  </a:lnTo>
                  <a:lnTo>
                    <a:pt x="1102" y="559"/>
                  </a:lnTo>
                  <a:lnTo>
                    <a:pt x="1099" y="559"/>
                  </a:lnTo>
                  <a:lnTo>
                    <a:pt x="1099" y="557"/>
                  </a:lnTo>
                  <a:lnTo>
                    <a:pt x="1098" y="557"/>
                  </a:lnTo>
                  <a:lnTo>
                    <a:pt x="1096" y="556"/>
                  </a:lnTo>
                  <a:lnTo>
                    <a:pt x="1095" y="556"/>
                  </a:lnTo>
                  <a:lnTo>
                    <a:pt x="1093" y="557"/>
                  </a:lnTo>
                  <a:lnTo>
                    <a:pt x="1082" y="557"/>
                  </a:lnTo>
                  <a:lnTo>
                    <a:pt x="1082" y="559"/>
                  </a:lnTo>
                  <a:lnTo>
                    <a:pt x="1080" y="557"/>
                  </a:lnTo>
                  <a:lnTo>
                    <a:pt x="1080" y="559"/>
                  </a:lnTo>
                  <a:lnTo>
                    <a:pt x="1076" y="559"/>
                  </a:lnTo>
                  <a:lnTo>
                    <a:pt x="1076" y="557"/>
                  </a:lnTo>
                  <a:lnTo>
                    <a:pt x="1074" y="557"/>
                  </a:lnTo>
                  <a:lnTo>
                    <a:pt x="1073" y="559"/>
                  </a:lnTo>
                  <a:lnTo>
                    <a:pt x="1068" y="559"/>
                  </a:lnTo>
                  <a:lnTo>
                    <a:pt x="1062" y="557"/>
                  </a:lnTo>
                  <a:lnTo>
                    <a:pt x="1059" y="556"/>
                  </a:lnTo>
                  <a:lnTo>
                    <a:pt x="1055" y="556"/>
                  </a:lnTo>
                  <a:lnTo>
                    <a:pt x="1047" y="557"/>
                  </a:lnTo>
                  <a:lnTo>
                    <a:pt x="1046" y="557"/>
                  </a:lnTo>
                  <a:lnTo>
                    <a:pt x="1041" y="559"/>
                  </a:lnTo>
                  <a:lnTo>
                    <a:pt x="1040" y="559"/>
                  </a:lnTo>
                  <a:lnTo>
                    <a:pt x="1038" y="557"/>
                  </a:lnTo>
                  <a:lnTo>
                    <a:pt x="1026" y="557"/>
                  </a:lnTo>
                  <a:lnTo>
                    <a:pt x="1022" y="559"/>
                  </a:lnTo>
                  <a:lnTo>
                    <a:pt x="1020" y="557"/>
                  </a:lnTo>
                  <a:lnTo>
                    <a:pt x="1016" y="556"/>
                  </a:lnTo>
                  <a:lnTo>
                    <a:pt x="1008" y="554"/>
                  </a:lnTo>
                  <a:lnTo>
                    <a:pt x="999" y="551"/>
                  </a:lnTo>
                  <a:lnTo>
                    <a:pt x="995" y="551"/>
                  </a:lnTo>
                  <a:lnTo>
                    <a:pt x="995" y="550"/>
                  </a:lnTo>
                  <a:lnTo>
                    <a:pt x="993" y="548"/>
                  </a:lnTo>
                  <a:lnTo>
                    <a:pt x="993" y="545"/>
                  </a:lnTo>
                  <a:lnTo>
                    <a:pt x="995" y="544"/>
                  </a:lnTo>
                  <a:lnTo>
                    <a:pt x="995" y="532"/>
                  </a:lnTo>
                  <a:lnTo>
                    <a:pt x="993" y="529"/>
                  </a:lnTo>
                  <a:lnTo>
                    <a:pt x="993" y="523"/>
                  </a:lnTo>
                  <a:lnTo>
                    <a:pt x="995" y="520"/>
                  </a:lnTo>
                  <a:lnTo>
                    <a:pt x="995" y="518"/>
                  </a:lnTo>
                  <a:lnTo>
                    <a:pt x="993" y="517"/>
                  </a:lnTo>
                  <a:lnTo>
                    <a:pt x="995" y="517"/>
                  </a:lnTo>
                  <a:lnTo>
                    <a:pt x="995" y="515"/>
                  </a:lnTo>
                  <a:lnTo>
                    <a:pt x="993" y="515"/>
                  </a:lnTo>
                  <a:lnTo>
                    <a:pt x="993" y="514"/>
                  </a:lnTo>
                  <a:lnTo>
                    <a:pt x="992" y="514"/>
                  </a:lnTo>
                  <a:lnTo>
                    <a:pt x="992" y="511"/>
                  </a:lnTo>
                  <a:lnTo>
                    <a:pt x="990" y="509"/>
                  </a:lnTo>
                  <a:lnTo>
                    <a:pt x="990" y="508"/>
                  </a:lnTo>
                  <a:lnTo>
                    <a:pt x="989" y="506"/>
                  </a:lnTo>
                  <a:lnTo>
                    <a:pt x="989" y="508"/>
                  </a:lnTo>
                  <a:lnTo>
                    <a:pt x="987" y="506"/>
                  </a:lnTo>
                  <a:lnTo>
                    <a:pt x="987" y="503"/>
                  </a:lnTo>
                  <a:lnTo>
                    <a:pt x="986" y="503"/>
                  </a:lnTo>
                  <a:lnTo>
                    <a:pt x="984" y="505"/>
                  </a:lnTo>
                  <a:lnTo>
                    <a:pt x="984" y="506"/>
                  </a:lnTo>
                  <a:lnTo>
                    <a:pt x="983" y="506"/>
                  </a:lnTo>
                  <a:lnTo>
                    <a:pt x="983" y="508"/>
                  </a:lnTo>
                  <a:lnTo>
                    <a:pt x="984" y="509"/>
                  </a:lnTo>
                  <a:lnTo>
                    <a:pt x="983" y="509"/>
                  </a:lnTo>
                  <a:lnTo>
                    <a:pt x="983" y="511"/>
                  </a:lnTo>
                  <a:lnTo>
                    <a:pt x="986" y="511"/>
                  </a:lnTo>
                  <a:lnTo>
                    <a:pt x="983" y="514"/>
                  </a:lnTo>
                  <a:lnTo>
                    <a:pt x="983" y="517"/>
                  </a:lnTo>
                  <a:lnTo>
                    <a:pt x="980" y="517"/>
                  </a:lnTo>
                  <a:lnTo>
                    <a:pt x="980" y="515"/>
                  </a:lnTo>
                  <a:lnTo>
                    <a:pt x="975" y="515"/>
                  </a:lnTo>
                  <a:lnTo>
                    <a:pt x="975" y="514"/>
                  </a:lnTo>
                  <a:lnTo>
                    <a:pt x="974" y="514"/>
                  </a:lnTo>
                  <a:lnTo>
                    <a:pt x="974" y="515"/>
                  </a:lnTo>
                  <a:lnTo>
                    <a:pt x="972" y="515"/>
                  </a:lnTo>
                  <a:lnTo>
                    <a:pt x="969" y="512"/>
                  </a:lnTo>
                  <a:lnTo>
                    <a:pt x="968" y="512"/>
                  </a:lnTo>
                  <a:lnTo>
                    <a:pt x="968" y="511"/>
                  </a:lnTo>
                  <a:lnTo>
                    <a:pt x="966" y="509"/>
                  </a:lnTo>
                  <a:lnTo>
                    <a:pt x="963" y="508"/>
                  </a:lnTo>
                  <a:lnTo>
                    <a:pt x="962" y="508"/>
                  </a:lnTo>
                  <a:lnTo>
                    <a:pt x="962" y="503"/>
                  </a:lnTo>
                  <a:lnTo>
                    <a:pt x="960" y="502"/>
                  </a:lnTo>
                  <a:lnTo>
                    <a:pt x="960" y="499"/>
                  </a:lnTo>
                  <a:lnTo>
                    <a:pt x="962" y="499"/>
                  </a:lnTo>
                  <a:lnTo>
                    <a:pt x="962" y="498"/>
                  </a:lnTo>
                  <a:lnTo>
                    <a:pt x="959" y="498"/>
                  </a:lnTo>
                  <a:lnTo>
                    <a:pt x="960" y="496"/>
                  </a:lnTo>
                  <a:lnTo>
                    <a:pt x="957" y="496"/>
                  </a:lnTo>
                  <a:lnTo>
                    <a:pt x="957" y="495"/>
                  </a:lnTo>
                  <a:lnTo>
                    <a:pt x="956" y="495"/>
                  </a:lnTo>
                  <a:lnTo>
                    <a:pt x="956" y="493"/>
                  </a:lnTo>
                  <a:lnTo>
                    <a:pt x="953" y="493"/>
                  </a:lnTo>
                  <a:lnTo>
                    <a:pt x="953" y="495"/>
                  </a:lnTo>
                  <a:lnTo>
                    <a:pt x="951" y="496"/>
                  </a:lnTo>
                  <a:lnTo>
                    <a:pt x="953" y="498"/>
                  </a:lnTo>
                  <a:lnTo>
                    <a:pt x="954" y="498"/>
                  </a:lnTo>
                  <a:lnTo>
                    <a:pt x="956" y="499"/>
                  </a:lnTo>
                  <a:lnTo>
                    <a:pt x="956" y="500"/>
                  </a:lnTo>
                  <a:lnTo>
                    <a:pt x="957" y="500"/>
                  </a:lnTo>
                  <a:lnTo>
                    <a:pt x="957" y="502"/>
                  </a:lnTo>
                  <a:lnTo>
                    <a:pt x="959" y="502"/>
                  </a:lnTo>
                  <a:lnTo>
                    <a:pt x="957" y="503"/>
                  </a:lnTo>
                  <a:lnTo>
                    <a:pt x="954" y="503"/>
                  </a:lnTo>
                  <a:lnTo>
                    <a:pt x="953" y="500"/>
                  </a:lnTo>
                  <a:lnTo>
                    <a:pt x="951" y="500"/>
                  </a:lnTo>
                  <a:lnTo>
                    <a:pt x="950" y="502"/>
                  </a:lnTo>
                  <a:lnTo>
                    <a:pt x="950" y="503"/>
                  </a:lnTo>
                  <a:lnTo>
                    <a:pt x="948" y="503"/>
                  </a:lnTo>
                  <a:lnTo>
                    <a:pt x="948" y="502"/>
                  </a:lnTo>
                  <a:lnTo>
                    <a:pt x="947" y="502"/>
                  </a:lnTo>
                  <a:lnTo>
                    <a:pt x="947" y="500"/>
                  </a:lnTo>
                  <a:lnTo>
                    <a:pt x="945" y="500"/>
                  </a:lnTo>
                  <a:lnTo>
                    <a:pt x="941" y="502"/>
                  </a:lnTo>
                  <a:lnTo>
                    <a:pt x="941" y="500"/>
                  </a:lnTo>
                  <a:lnTo>
                    <a:pt x="942" y="500"/>
                  </a:lnTo>
                  <a:lnTo>
                    <a:pt x="944" y="499"/>
                  </a:lnTo>
                  <a:lnTo>
                    <a:pt x="944" y="498"/>
                  </a:lnTo>
                  <a:lnTo>
                    <a:pt x="942" y="498"/>
                  </a:lnTo>
                  <a:lnTo>
                    <a:pt x="942" y="496"/>
                  </a:lnTo>
                  <a:lnTo>
                    <a:pt x="941" y="495"/>
                  </a:lnTo>
                  <a:lnTo>
                    <a:pt x="941" y="493"/>
                  </a:lnTo>
                  <a:lnTo>
                    <a:pt x="939" y="493"/>
                  </a:lnTo>
                  <a:lnTo>
                    <a:pt x="938" y="492"/>
                  </a:lnTo>
                  <a:lnTo>
                    <a:pt x="935" y="492"/>
                  </a:lnTo>
                  <a:lnTo>
                    <a:pt x="935" y="490"/>
                  </a:lnTo>
                  <a:lnTo>
                    <a:pt x="933" y="490"/>
                  </a:lnTo>
                  <a:lnTo>
                    <a:pt x="933" y="489"/>
                  </a:lnTo>
                  <a:lnTo>
                    <a:pt x="932" y="489"/>
                  </a:lnTo>
                  <a:lnTo>
                    <a:pt x="932" y="487"/>
                  </a:lnTo>
                  <a:lnTo>
                    <a:pt x="929" y="487"/>
                  </a:lnTo>
                  <a:lnTo>
                    <a:pt x="929" y="484"/>
                  </a:lnTo>
                  <a:lnTo>
                    <a:pt x="928" y="486"/>
                  </a:lnTo>
                  <a:lnTo>
                    <a:pt x="926" y="489"/>
                  </a:lnTo>
                  <a:lnTo>
                    <a:pt x="926" y="492"/>
                  </a:lnTo>
                  <a:lnTo>
                    <a:pt x="928" y="492"/>
                  </a:lnTo>
                  <a:lnTo>
                    <a:pt x="928" y="490"/>
                  </a:lnTo>
                  <a:lnTo>
                    <a:pt x="929" y="492"/>
                  </a:lnTo>
                  <a:lnTo>
                    <a:pt x="932" y="492"/>
                  </a:lnTo>
                  <a:lnTo>
                    <a:pt x="933" y="493"/>
                  </a:lnTo>
                  <a:lnTo>
                    <a:pt x="933" y="498"/>
                  </a:lnTo>
                  <a:lnTo>
                    <a:pt x="932" y="498"/>
                  </a:lnTo>
                  <a:lnTo>
                    <a:pt x="931" y="496"/>
                  </a:lnTo>
                  <a:lnTo>
                    <a:pt x="931" y="498"/>
                  </a:lnTo>
                  <a:lnTo>
                    <a:pt x="928" y="499"/>
                  </a:lnTo>
                  <a:lnTo>
                    <a:pt x="926" y="500"/>
                  </a:lnTo>
                  <a:lnTo>
                    <a:pt x="926" y="505"/>
                  </a:lnTo>
                  <a:lnTo>
                    <a:pt x="922" y="505"/>
                  </a:lnTo>
                  <a:lnTo>
                    <a:pt x="922" y="506"/>
                  </a:lnTo>
                  <a:lnTo>
                    <a:pt x="920" y="506"/>
                  </a:lnTo>
                  <a:lnTo>
                    <a:pt x="919" y="508"/>
                  </a:lnTo>
                  <a:lnTo>
                    <a:pt x="919" y="509"/>
                  </a:lnTo>
                  <a:lnTo>
                    <a:pt x="917" y="511"/>
                  </a:lnTo>
                  <a:lnTo>
                    <a:pt x="919" y="511"/>
                  </a:lnTo>
                  <a:lnTo>
                    <a:pt x="919" y="514"/>
                  </a:lnTo>
                  <a:lnTo>
                    <a:pt x="917" y="514"/>
                  </a:lnTo>
                  <a:lnTo>
                    <a:pt x="916" y="515"/>
                  </a:lnTo>
                  <a:lnTo>
                    <a:pt x="916" y="520"/>
                  </a:lnTo>
                  <a:lnTo>
                    <a:pt x="914" y="520"/>
                  </a:lnTo>
                  <a:lnTo>
                    <a:pt x="916" y="521"/>
                  </a:lnTo>
                  <a:lnTo>
                    <a:pt x="916" y="524"/>
                  </a:lnTo>
                  <a:lnTo>
                    <a:pt x="917" y="526"/>
                  </a:lnTo>
                  <a:lnTo>
                    <a:pt x="920" y="526"/>
                  </a:lnTo>
                  <a:lnTo>
                    <a:pt x="922" y="524"/>
                  </a:lnTo>
                  <a:lnTo>
                    <a:pt x="929" y="532"/>
                  </a:lnTo>
                  <a:lnTo>
                    <a:pt x="931" y="532"/>
                  </a:lnTo>
                  <a:lnTo>
                    <a:pt x="931" y="536"/>
                  </a:lnTo>
                  <a:lnTo>
                    <a:pt x="932" y="536"/>
                  </a:lnTo>
                  <a:lnTo>
                    <a:pt x="935" y="539"/>
                  </a:lnTo>
                  <a:lnTo>
                    <a:pt x="935" y="541"/>
                  </a:lnTo>
                  <a:lnTo>
                    <a:pt x="939" y="541"/>
                  </a:lnTo>
                  <a:lnTo>
                    <a:pt x="941" y="542"/>
                  </a:lnTo>
                  <a:lnTo>
                    <a:pt x="942" y="542"/>
                  </a:lnTo>
                  <a:lnTo>
                    <a:pt x="942" y="541"/>
                  </a:lnTo>
                  <a:lnTo>
                    <a:pt x="945" y="541"/>
                  </a:lnTo>
                  <a:lnTo>
                    <a:pt x="945" y="539"/>
                  </a:lnTo>
                  <a:lnTo>
                    <a:pt x="948" y="542"/>
                  </a:lnTo>
                  <a:lnTo>
                    <a:pt x="948" y="547"/>
                  </a:lnTo>
                  <a:lnTo>
                    <a:pt x="950" y="548"/>
                  </a:lnTo>
                  <a:lnTo>
                    <a:pt x="950" y="550"/>
                  </a:lnTo>
                  <a:lnTo>
                    <a:pt x="956" y="550"/>
                  </a:lnTo>
                  <a:lnTo>
                    <a:pt x="956" y="553"/>
                  </a:lnTo>
                  <a:lnTo>
                    <a:pt x="954" y="553"/>
                  </a:lnTo>
                  <a:lnTo>
                    <a:pt x="954" y="556"/>
                  </a:lnTo>
                  <a:lnTo>
                    <a:pt x="953" y="556"/>
                  </a:lnTo>
                  <a:lnTo>
                    <a:pt x="953" y="557"/>
                  </a:lnTo>
                  <a:lnTo>
                    <a:pt x="950" y="556"/>
                  </a:lnTo>
                  <a:lnTo>
                    <a:pt x="948" y="556"/>
                  </a:lnTo>
                  <a:lnTo>
                    <a:pt x="947" y="557"/>
                  </a:lnTo>
                  <a:lnTo>
                    <a:pt x="944" y="557"/>
                  </a:lnTo>
                  <a:lnTo>
                    <a:pt x="941" y="556"/>
                  </a:lnTo>
                  <a:lnTo>
                    <a:pt x="938" y="556"/>
                  </a:lnTo>
                  <a:lnTo>
                    <a:pt x="938" y="557"/>
                  </a:lnTo>
                  <a:lnTo>
                    <a:pt x="936" y="557"/>
                  </a:lnTo>
                  <a:lnTo>
                    <a:pt x="935" y="556"/>
                  </a:lnTo>
                  <a:lnTo>
                    <a:pt x="932" y="556"/>
                  </a:lnTo>
                  <a:lnTo>
                    <a:pt x="931" y="557"/>
                  </a:lnTo>
                  <a:lnTo>
                    <a:pt x="931" y="565"/>
                  </a:lnTo>
                  <a:lnTo>
                    <a:pt x="929" y="566"/>
                  </a:lnTo>
                  <a:lnTo>
                    <a:pt x="929" y="568"/>
                  </a:lnTo>
                  <a:lnTo>
                    <a:pt x="928" y="571"/>
                  </a:lnTo>
                  <a:lnTo>
                    <a:pt x="926" y="572"/>
                  </a:lnTo>
                  <a:lnTo>
                    <a:pt x="923" y="572"/>
                  </a:lnTo>
                  <a:lnTo>
                    <a:pt x="923" y="571"/>
                  </a:lnTo>
                  <a:lnTo>
                    <a:pt x="920" y="568"/>
                  </a:lnTo>
                  <a:lnTo>
                    <a:pt x="919" y="569"/>
                  </a:lnTo>
                  <a:lnTo>
                    <a:pt x="917" y="569"/>
                  </a:lnTo>
                  <a:lnTo>
                    <a:pt x="917" y="575"/>
                  </a:lnTo>
                  <a:lnTo>
                    <a:pt x="916" y="575"/>
                  </a:lnTo>
                  <a:lnTo>
                    <a:pt x="916" y="577"/>
                  </a:lnTo>
                  <a:lnTo>
                    <a:pt x="914" y="578"/>
                  </a:lnTo>
                  <a:lnTo>
                    <a:pt x="914" y="580"/>
                  </a:lnTo>
                  <a:lnTo>
                    <a:pt x="913" y="581"/>
                  </a:lnTo>
                  <a:lnTo>
                    <a:pt x="913" y="584"/>
                  </a:lnTo>
                  <a:lnTo>
                    <a:pt x="914" y="584"/>
                  </a:lnTo>
                  <a:lnTo>
                    <a:pt x="914" y="586"/>
                  </a:lnTo>
                  <a:lnTo>
                    <a:pt x="916" y="586"/>
                  </a:lnTo>
                  <a:lnTo>
                    <a:pt x="916" y="590"/>
                  </a:lnTo>
                  <a:lnTo>
                    <a:pt x="917" y="590"/>
                  </a:lnTo>
                  <a:lnTo>
                    <a:pt x="929" y="598"/>
                  </a:lnTo>
                  <a:lnTo>
                    <a:pt x="933" y="601"/>
                  </a:lnTo>
                  <a:lnTo>
                    <a:pt x="941" y="601"/>
                  </a:lnTo>
                  <a:lnTo>
                    <a:pt x="941" y="599"/>
                  </a:lnTo>
                  <a:lnTo>
                    <a:pt x="942" y="599"/>
                  </a:lnTo>
                  <a:lnTo>
                    <a:pt x="944" y="601"/>
                  </a:lnTo>
                  <a:lnTo>
                    <a:pt x="945" y="601"/>
                  </a:lnTo>
                  <a:lnTo>
                    <a:pt x="945" y="607"/>
                  </a:lnTo>
                  <a:lnTo>
                    <a:pt x="942" y="607"/>
                  </a:lnTo>
                  <a:lnTo>
                    <a:pt x="942" y="613"/>
                  </a:lnTo>
                  <a:lnTo>
                    <a:pt x="944" y="613"/>
                  </a:lnTo>
                  <a:lnTo>
                    <a:pt x="944" y="620"/>
                  </a:lnTo>
                  <a:lnTo>
                    <a:pt x="942" y="622"/>
                  </a:lnTo>
                  <a:lnTo>
                    <a:pt x="941" y="622"/>
                  </a:lnTo>
                  <a:lnTo>
                    <a:pt x="941" y="623"/>
                  </a:lnTo>
                  <a:lnTo>
                    <a:pt x="939" y="622"/>
                  </a:lnTo>
                  <a:lnTo>
                    <a:pt x="938" y="623"/>
                  </a:lnTo>
                  <a:lnTo>
                    <a:pt x="938" y="626"/>
                  </a:lnTo>
                  <a:lnTo>
                    <a:pt x="936" y="626"/>
                  </a:lnTo>
                  <a:lnTo>
                    <a:pt x="936" y="635"/>
                  </a:lnTo>
                  <a:lnTo>
                    <a:pt x="938" y="637"/>
                  </a:lnTo>
                  <a:lnTo>
                    <a:pt x="939" y="637"/>
                  </a:lnTo>
                  <a:lnTo>
                    <a:pt x="941" y="640"/>
                  </a:lnTo>
                  <a:lnTo>
                    <a:pt x="942" y="641"/>
                  </a:lnTo>
                  <a:lnTo>
                    <a:pt x="944" y="641"/>
                  </a:lnTo>
                  <a:lnTo>
                    <a:pt x="944" y="643"/>
                  </a:lnTo>
                  <a:lnTo>
                    <a:pt x="945" y="643"/>
                  </a:lnTo>
                  <a:lnTo>
                    <a:pt x="945" y="641"/>
                  </a:lnTo>
                  <a:lnTo>
                    <a:pt x="947" y="641"/>
                  </a:lnTo>
                  <a:lnTo>
                    <a:pt x="947" y="643"/>
                  </a:lnTo>
                  <a:lnTo>
                    <a:pt x="944" y="649"/>
                  </a:lnTo>
                  <a:lnTo>
                    <a:pt x="942" y="650"/>
                  </a:lnTo>
                  <a:lnTo>
                    <a:pt x="942" y="653"/>
                  </a:lnTo>
                  <a:lnTo>
                    <a:pt x="944" y="653"/>
                  </a:lnTo>
                  <a:lnTo>
                    <a:pt x="947" y="655"/>
                  </a:lnTo>
                  <a:lnTo>
                    <a:pt x="948" y="655"/>
                  </a:lnTo>
                  <a:lnTo>
                    <a:pt x="948" y="653"/>
                  </a:lnTo>
                  <a:lnTo>
                    <a:pt x="950" y="655"/>
                  </a:lnTo>
                  <a:lnTo>
                    <a:pt x="954" y="655"/>
                  </a:lnTo>
                  <a:lnTo>
                    <a:pt x="956" y="656"/>
                  </a:lnTo>
                  <a:lnTo>
                    <a:pt x="954" y="656"/>
                  </a:lnTo>
                  <a:lnTo>
                    <a:pt x="954" y="658"/>
                  </a:lnTo>
                  <a:lnTo>
                    <a:pt x="953" y="658"/>
                  </a:lnTo>
                  <a:lnTo>
                    <a:pt x="951" y="661"/>
                  </a:lnTo>
                  <a:lnTo>
                    <a:pt x="950" y="662"/>
                  </a:lnTo>
                  <a:lnTo>
                    <a:pt x="950" y="668"/>
                  </a:lnTo>
                  <a:lnTo>
                    <a:pt x="951" y="668"/>
                  </a:lnTo>
                  <a:lnTo>
                    <a:pt x="951" y="670"/>
                  </a:lnTo>
                  <a:lnTo>
                    <a:pt x="953" y="671"/>
                  </a:lnTo>
                  <a:lnTo>
                    <a:pt x="953" y="673"/>
                  </a:lnTo>
                  <a:lnTo>
                    <a:pt x="954" y="673"/>
                  </a:lnTo>
                  <a:lnTo>
                    <a:pt x="954" y="677"/>
                  </a:lnTo>
                  <a:lnTo>
                    <a:pt x="953" y="677"/>
                  </a:lnTo>
                  <a:lnTo>
                    <a:pt x="953" y="680"/>
                  </a:lnTo>
                  <a:lnTo>
                    <a:pt x="954" y="682"/>
                  </a:lnTo>
                  <a:lnTo>
                    <a:pt x="954" y="688"/>
                  </a:lnTo>
                  <a:lnTo>
                    <a:pt x="956" y="689"/>
                  </a:lnTo>
                  <a:lnTo>
                    <a:pt x="956" y="691"/>
                  </a:lnTo>
                  <a:lnTo>
                    <a:pt x="957" y="692"/>
                  </a:lnTo>
                  <a:lnTo>
                    <a:pt x="957" y="695"/>
                  </a:lnTo>
                  <a:lnTo>
                    <a:pt x="956" y="695"/>
                  </a:lnTo>
                  <a:lnTo>
                    <a:pt x="956" y="697"/>
                  </a:lnTo>
                  <a:lnTo>
                    <a:pt x="957" y="698"/>
                  </a:lnTo>
                  <a:lnTo>
                    <a:pt x="957" y="703"/>
                  </a:lnTo>
                  <a:lnTo>
                    <a:pt x="960" y="704"/>
                  </a:lnTo>
                  <a:lnTo>
                    <a:pt x="960" y="709"/>
                  </a:lnTo>
                  <a:lnTo>
                    <a:pt x="959" y="709"/>
                  </a:lnTo>
                  <a:lnTo>
                    <a:pt x="959" y="713"/>
                  </a:lnTo>
                  <a:lnTo>
                    <a:pt x="960" y="713"/>
                  </a:lnTo>
                  <a:lnTo>
                    <a:pt x="960" y="718"/>
                  </a:lnTo>
                  <a:lnTo>
                    <a:pt x="959" y="719"/>
                  </a:lnTo>
                  <a:lnTo>
                    <a:pt x="956" y="719"/>
                  </a:lnTo>
                  <a:lnTo>
                    <a:pt x="954" y="718"/>
                  </a:lnTo>
                  <a:lnTo>
                    <a:pt x="954" y="716"/>
                  </a:lnTo>
                  <a:lnTo>
                    <a:pt x="953" y="716"/>
                  </a:lnTo>
                  <a:lnTo>
                    <a:pt x="953" y="719"/>
                  </a:lnTo>
                  <a:lnTo>
                    <a:pt x="956" y="719"/>
                  </a:lnTo>
                  <a:lnTo>
                    <a:pt x="957" y="721"/>
                  </a:lnTo>
                  <a:lnTo>
                    <a:pt x="957" y="722"/>
                  </a:lnTo>
                  <a:lnTo>
                    <a:pt x="959" y="727"/>
                  </a:lnTo>
                  <a:lnTo>
                    <a:pt x="959" y="728"/>
                  </a:lnTo>
                  <a:lnTo>
                    <a:pt x="960" y="730"/>
                  </a:lnTo>
                  <a:lnTo>
                    <a:pt x="960" y="734"/>
                  </a:lnTo>
                  <a:lnTo>
                    <a:pt x="956" y="734"/>
                  </a:lnTo>
                  <a:lnTo>
                    <a:pt x="954" y="733"/>
                  </a:lnTo>
                  <a:lnTo>
                    <a:pt x="951" y="733"/>
                  </a:lnTo>
                  <a:lnTo>
                    <a:pt x="951" y="727"/>
                  </a:lnTo>
                  <a:lnTo>
                    <a:pt x="950" y="727"/>
                  </a:lnTo>
                  <a:lnTo>
                    <a:pt x="950" y="734"/>
                  </a:lnTo>
                  <a:lnTo>
                    <a:pt x="948" y="734"/>
                  </a:lnTo>
                  <a:lnTo>
                    <a:pt x="948" y="731"/>
                  </a:lnTo>
                  <a:lnTo>
                    <a:pt x="947" y="733"/>
                  </a:lnTo>
                  <a:lnTo>
                    <a:pt x="947" y="736"/>
                  </a:lnTo>
                  <a:lnTo>
                    <a:pt x="948" y="736"/>
                  </a:lnTo>
                  <a:lnTo>
                    <a:pt x="947" y="737"/>
                  </a:lnTo>
                  <a:lnTo>
                    <a:pt x="944" y="737"/>
                  </a:lnTo>
                  <a:lnTo>
                    <a:pt x="944" y="734"/>
                  </a:lnTo>
                  <a:lnTo>
                    <a:pt x="942" y="731"/>
                  </a:lnTo>
                  <a:lnTo>
                    <a:pt x="942" y="730"/>
                  </a:lnTo>
                  <a:lnTo>
                    <a:pt x="944" y="725"/>
                  </a:lnTo>
                  <a:lnTo>
                    <a:pt x="944" y="724"/>
                  </a:lnTo>
                  <a:lnTo>
                    <a:pt x="942" y="724"/>
                  </a:lnTo>
                  <a:lnTo>
                    <a:pt x="944" y="721"/>
                  </a:lnTo>
                  <a:lnTo>
                    <a:pt x="944" y="718"/>
                  </a:lnTo>
                  <a:lnTo>
                    <a:pt x="939" y="718"/>
                  </a:lnTo>
                  <a:lnTo>
                    <a:pt x="939" y="716"/>
                  </a:lnTo>
                  <a:lnTo>
                    <a:pt x="941" y="715"/>
                  </a:lnTo>
                  <a:lnTo>
                    <a:pt x="941" y="709"/>
                  </a:lnTo>
                  <a:lnTo>
                    <a:pt x="939" y="709"/>
                  </a:lnTo>
                  <a:lnTo>
                    <a:pt x="939" y="715"/>
                  </a:lnTo>
                  <a:lnTo>
                    <a:pt x="938" y="716"/>
                  </a:lnTo>
                  <a:lnTo>
                    <a:pt x="939" y="718"/>
                  </a:lnTo>
                  <a:lnTo>
                    <a:pt x="938" y="719"/>
                  </a:lnTo>
                  <a:lnTo>
                    <a:pt x="936" y="722"/>
                  </a:lnTo>
                  <a:lnTo>
                    <a:pt x="936" y="727"/>
                  </a:lnTo>
                  <a:lnTo>
                    <a:pt x="939" y="727"/>
                  </a:lnTo>
                  <a:lnTo>
                    <a:pt x="941" y="728"/>
                  </a:lnTo>
                  <a:lnTo>
                    <a:pt x="939" y="728"/>
                  </a:lnTo>
                  <a:lnTo>
                    <a:pt x="939" y="730"/>
                  </a:lnTo>
                  <a:lnTo>
                    <a:pt x="938" y="730"/>
                  </a:lnTo>
                  <a:lnTo>
                    <a:pt x="938" y="737"/>
                  </a:lnTo>
                  <a:lnTo>
                    <a:pt x="936" y="737"/>
                  </a:lnTo>
                  <a:lnTo>
                    <a:pt x="936" y="736"/>
                  </a:lnTo>
                  <a:lnTo>
                    <a:pt x="935" y="737"/>
                  </a:lnTo>
                  <a:lnTo>
                    <a:pt x="936" y="739"/>
                  </a:lnTo>
                  <a:lnTo>
                    <a:pt x="933" y="739"/>
                  </a:lnTo>
                  <a:lnTo>
                    <a:pt x="933" y="736"/>
                  </a:lnTo>
                  <a:lnTo>
                    <a:pt x="935" y="736"/>
                  </a:lnTo>
                  <a:lnTo>
                    <a:pt x="935" y="722"/>
                  </a:lnTo>
                  <a:lnTo>
                    <a:pt x="933" y="721"/>
                  </a:lnTo>
                  <a:lnTo>
                    <a:pt x="935" y="719"/>
                  </a:lnTo>
                  <a:lnTo>
                    <a:pt x="935" y="718"/>
                  </a:lnTo>
                  <a:lnTo>
                    <a:pt x="933" y="718"/>
                  </a:lnTo>
                  <a:lnTo>
                    <a:pt x="933" y="725"/>
                  </a:lnTo>
                  <a:lnTo>
                    <a:pt x="932" y="727"/>
                  </a:lnTo>
                  <a:lnTo>
                    <a:pt x="932" y="731"/>
                  </a:lnTo>
                  <a:lnTo>
                    <a:pt x="933" y="731"/>
                  </a:lnTo>
                  <a:lnTo>
                    <a:pt x="932" y="733"/>
                  </a:lnTo>
                  <a:lnTo>
                    <a:pt x="932" y="734"/>
                  </a:lnTo>
                  <a:lnTo>
                    <a:pt x="931" y="734"/>
                  </a:lnTo>
                  <a:lnTo>
                    <a:pt x="931" y="736"/>
                  </a:lnTo>
                  <a:lnTo>
                    <a:pt x="929" y="734"/>
                  </a:lnTo>
                  <a:lnTo>
                    <a:pt x="929" y="730"/>
                  </a:lnTo>
                  <a:lnTo>
                    <a:pt x="928" y="731"/>
                  </a:lnTo>
                  <a:lnTo>
                    <a:pt x="928" y="730"/>
                  </a:lnTo>
                  <a:lnTo>
                    <a:pt x="926" y="730"/>
                  </a:lnTo>
                  <a:lnTo>
                    <a:pt x="926" y="731"/>
                  </a:lnTo>
                  <a:lnTo>
                    <a:pt x="928" y="731"/>
                  </a:lnTo>
                  <a:lnTo>
                    <a:pt x="928" y="733"/>
                  </a:lnTo>
                  <a:lnTo>
                    <a:pt x="926" y="734"/>
                  </a:lnTo>
                  <a:lnTo>
                    <a:pt x="925" y="733"/>
                  </a:lnTo>
                  <a:lnTo>
                    <a:pt x="925" y="737"/>
                  </a:lnTo>
                  <a:lnTo>
                    <a:pt x="923" y="737"/>
                  </a:lnTo>
                  <a:lnTo>
                    <a:pt x="923" y="736"/>
                  </a:lnTo>
                  <a:lnTo>
                    <a:pt x="922" y="734"/>
                  </a:lnTo>
                  <a:lnTo>
                    <a:pt x="920" y="734"/>
                  </a:lnTo>
                  <a:lnTo>
                    <a:pt x="920" y="728"/>
                  </a:lnTo>
                  <a:lnTo>
                    <a:pt x="922" y="728"/>
                  </a:lnTo>
                  <a:lnTo>
                    <a:pt x="920" y="727"/>
                  </a:lnTo>
                  <a:lnTo>
                    <a:pt x="922" y="725"/>
                  </a:lnTo>
                  <a:lnTo>
                    <a:pt x="920" y="725"/>
                  </a:lnTo>
                  <a:lnTo>
                    <a:pt x="919" y="721"/>
                  </a:lnTo>
                  <a:lnTo>
                    <a:pt x="919" y="715"/>
                  </a:lnTo>
                  <a:lnTo>
                    <a:pt x="922" y="712"/>
                  </a:lnTo>
                  <a:lnTo>
                    <a:pt x="922" y="710"/>
                  </a:lnTo>
                  <a:lnTo>
                    <a:pt x="920" y="707"/>
                  </a:lnTo>
                  <a:lnTo>
                    <a:pt x="919" y="706"/>
                  </a:lnTo>
                  <a:lnTo>
                    <a:pt x="917" y="706"/>
                  </a:lnTo>
                  <a:lnTo>
                    <a:pt x="914" y="703"/>
                  </a:lnTo>
                  <a:lnTo>
                    <a:pt x="914" y="704"/>
                  </a:lnTo>
                  <a:lnTo>
                    <a:pt x="913" y="704"/>
                  </a:lnTo>
                  <a:lnTo>
                    <a:pt x="910" y="701"/>
                  </a:lnTo>
                  <a:lnTo>
                    <a:pt x="910" y="698"/>
                  </a:lnTo>
                  <a:lnTo>
                    <a:pt x="908" y="697"/>
                  </a:lnTo>
                  <a:lnTo>
                    <a:pt x="908" y="701"/>
                  </a:lnTo>
                  <a:lnTo>
                    <a:pt x="911" y="704"/>
                  </a:lnTo>
                  <a:lnTo>
                    <a:pt x="911" y="706"/>
                  </a:lnTo>
                  <a:lnTo>
                    <a:pt x="917" y="706"/>
                  </a:lnTo>
                  <a:lnTo>
                    <a:pt x="919" y="707"/>
                  </a:lnTo>
                  <a:lnTo>
                    <a:pt x="919" y="710"/>
                  </a:lnTo>
                  <a:lnTo>
                    <a:pt x="917" y="712"/>
                  </a:lnTo>
                  <a:lnTo>
                    <a:pt x="917" y="713"/>
                  </a:lnTo>
                  <a:lnTo>
                    <a:pt x="916" y="715"/>
                  </a:lnTo>
                  <a:lnTo>
                    <a:pt x="913" y="715"/>
                  </a:lnTo>
                  <a:lnTo>
                    <a:pt x="914" y="716"/>
                  </a:lnTo>
                  <a:lnTo>
                    <a:pt x="913" y="718"/>
                  </a:lnTo>
                  <a:lnTo>
                    <a:pt x="911" y="722"/>
                  </a:lnTo>
                  <a:lnTo>
                    <a:pt x="910" y="724"/>
                  </a:lnTo>
                  <a:lnTo>
                    <a:pt x="908" y="724"/>
                  </a:lnTo>
                  <a:lnTo>
                    <a:pt x="907" y="725"/>
                  </a:lnTo>
                  <a:lnTo>
                    <a:pt x="907" y="727"/>
                  </a:lnTo>
                  <a:lnTo>
                    <a:pt x="905" y="728"/>
                  </a:lnTo>
                  <a:lnTo>
                    <a:pt x="904" y="728"/>
                  </a:lnTo>
                  <a:lnTo>
                    <a:pt x="901" y="730"/>
                  </a:lnTo>
                  <a:lnTo>
                    <a:pt x="898" y="733"/>
                  </a:lnTo>
                  <a:lnTo>
                    <a:pt x="893" y="733"/>
                  </a:lnTo>
                  <a:lnTo>
                    <a:pt x="887" y="734"/>
                  </a:lnTo>
                  <a:lnTo>
                    <a:pt x="881" y="737"/>
                  </a:lnTo>
                  <a:lnTo>
                    <a:pt x="875" y="737"/>
                  </a:lnTo>
                  <a:lnTo>
                    <a:pt x="871" y="740"/>
                  </a:lnTo>
                  <a:lnTo>
                    <a:pt x="868" y="742"/>
                  </a:lnTo>
                  <a:lnTo>
                    <a:pt x="862" y="748"/>
                  </a:lnTo>
                  <a:lnTo>
                    <a:pt x="859" y="752"/>
                  </a:lnTo>
                  <a:lnTo>
                    <a:pt x="857" y="755"/>
                  </a:lnTo>
                  <a:lnTo>
                    <a:pt x="859" y="759"/>
                  </a:lnTo>
                  <a:lnTo>
                    <a:pt x="863" y="771"/>
                  </a:lnTo>
                  <a:lnTo>
                    <a:pt x="863" y="774"/>
                  </a:lnTo>
                  <a:lnTo>
                    <a:pt x="860" y="774"/>
                  </a:lnTo>
                  <a:lnTo>
                    <a:pt x="860" y="776"/>
                  </a:lnTo>
                  <a:lnTo>
                    <a:pt x="865" y="776"/>
                  </a:lnTo>
                  <a:lnTo>
                    <a:pt x="865" y="780"/>
                  </a:lnTo>
                  <a:lnTo>
                    <a:pt x="866" y="780"/>
                  </a:lnTo>
                  <a:lnTo>
                    <a:pt x="865" y="782"/>
                  </a:lnTo>
                  <a:lnTo>
                    <a:pt x="862" y="782"/>
                  </a:lnTo>
                  <a:lnTo>
                    <a:pt x="854" y="788"/>
                  </a:lnTo>
                  <a:lnTo>
                    <a:pt x="854" y="789"/>
                  </a:lnTo>
                  <a:lnTo>
                    <a:pt x="853" y="791"/>
                  </a:lnTo>
                  <a:lnTo>
                    <a:pt x="853" y="794"/>
                  </a:lnTo>
                  <a:lnTo>
                    <a:pt x="856" y="794"/>
                  </a:lnTo>
                  <a:lnTo>
                    <a:pt x="854" y="797"/>
                  </a:lnTo>
                  <a:lnTo>
                    <a:pt x="853" y="797"/>
                  </a:lnTo>
                  <a:lnTo>
                    <a:pt x="851" y="798"/>
                  </a:lnTo>
                  <a:lnTo>
                    <a:pt x="853" y="798"/>
                  </a:lnTo>
                  <a:lnTo>
                    <a:pt x="848" y="801"/>
                  </a:lnTo>
                  <a:lnTo>
                    <a:pt x="847" y="803"/>
                  </a:lnTo>
                  <a:lnTo>
                    <a:pt x="842" y="803"/>
                  </a:lnTo>
                  <a:lnTo>
                    <a:pt x="842" y="804"/>
                  </a:lnTo>
                  <a:lnTo>
                    <a:pt x="841" y="807"/>
                  </a:lnTo>
                  <a:lnTo>
                    <a:pt x="841" y="809"/>
                  </a:lnTo>
                  <a:lnTo>
                    <a:pt x="838" y="812"/>
                  </a:lnTo>
                  <a:lnTo>
                    <a:pt x="838" y="813"/>
                  </a:lnTo>
                  <a:lnTo>
                    <a:pt x="832" y="810"/>
                  </a:lnTo>
                  <a:lnTo>
                    <a:pt x="829" y="810"/>
                  </a:lnTo>
                  <a:lnTo>
                    <a:pt x="829" y="809"/>
                  </a:lnTo>
                  <a:lnTo>
                    <a:pt x="827" y="807"/>
                  </a:lnTo>
                  <a:lnTo>
                    <a:pt x="827" y="806"/>
                  </a:lnTo>
                  <a:lnTo>
                    <a:pt x="826" y="806"/>
                  </a:lnTo>
                  <a:lnTo>
                    <a:pt x="826" y="809"/>
                  </a:lnTo>
                  <a:lnTo>
                    <a:pt x="827" y="809"/>
                  </a:lnTo>
                  <a:lnTo>
                    <a:pt x="827" y="810"/>
                  </a:lnTo>
                  <a:lnTo>
                    <a:pt x="829" y="810"/>
                  </a:lnTo>
                  <a:lnTo>
                    <a:pt x="830" y="812"/>
                  </a:lnTo>
                  <a:lnTo>
                    <a:pt x="833" y="812"/>
                  </a:lnTo>
                  <a:lnTo>
                    <a:pt x="833" y="813"/>
                  </a:lnTo>
                  <a:lnTo>
                    <a:pt x="835" y="813"/>
                  </a:lnTo>
                  <a:lnTo>
                    <a:pt x="836" y="815"/>
                  </a:lnTo>
                  <a:lnTo>
                    <a:pt x="832" y="818"/>
                  </a:lnTo>
                  <a:lnTo>
                    <a:pt x="824" y="819"/>
                  </a:lnTo>
                  <a:lnTo>
                    <a:pt x="823" y="821"/>
                  </a:lnTo>
                  <a:lnTo>
                    <a:pt x="821" y="819"/>
                  </a:lnTo>
                  <a:lnTo>
                    <a:pt x="821" y="821"/>
                  </a:lnTo>
                  <a:lnTo>
                    <a:pt x="820" y="821"/>
                  </a:lnTo>
                  <a:lnTo>
                    <a:pt x="814" y="822"/>
                  </a:lnTo>
                  <a:lnTo>
                    <a:pt x="812" y="822"/>
                  </a:lnTo>
                  <a:lnTo>
                    <a:pt x="811" y="824"/>
                  </a:lnTo>
                  <a:lnTo>
                    <a:pt x="808" y="824"/>
                  </a:lnTo>
                  <a:lnTo>
                    <a:pt x="806" y="825"/>
                  </a:lnTo>
                  <a:lnTo>
                    <a:pt x="803" y="825"/>
                  </a:lnTo>
                  <a:lnTo>
                    <a:pt x="802" y="827"/>
                  </a:lnTo>
                  <a:lnTo>
                    <a:pt x="796" y="830"/>
                  </a:lnTo>
                  <a:lnTo>
                    <a:pt x="794" y="830"/>
                  </a:lnTo>
                  <a:lnTo>
                    <a:pt x="794" y="828"/>
                  </a:lnTo>
                  <a:lnTo>
                    <a:pt x="793" y="828"/>
                  </a:lnTo>
                  <a:lnTo>
                    <a:pt x="793" y="827"/>
                  </a:lnTo>
                  <a:lnTo>
                    <a:pt x="796" y="827"/>
                  </a:lnTo>
                  <a:lnTo>
                    <a:pt x="797" y="825"/>
                  </a:lnTo>
                  <a:lnTo>
                    <a:pt x="797" y="827"/>
                  </a:lnTo>
                  <a:lnTo>
                    <a:pt x="799" y="825"/>
                  </a:lnTo>
                  <a:lnTo>
                    <a:pt x="799" y="824"/>
                  </a:lnTo>
                  <a:lnTo>
                    <a:pt x="800" y="824"/>
                  </a:lnTo>
                  <a:lnTo>
                    <a:pt x="799" y="822"/>
                  </a:lnTo>
                  <a:lnTo>
                    <a:pt x="800" y="819"/>
                  </a:lnTo>
                  <a:lnTo>
                    <a:pt x="799" y="819"/>
                  </a:lnTo>
                  <a:lnTo>
                    <a:pt x="797" y="818"/>
                  </a:lnTo>
                  <a:lnTo>
                    <a:pt x="794" y="818"/>
                  </a:lnTo>
                  <a:lnTo>
                    <a:pt x="791" y="821"/>
                  </a:lnTo>
                  <a:lnTo>
                    <a:pt x="788" y="822"/>
                  </a:lnTo>
                  <a:lnTo>
                    <a:pt x="787" y="822"/>
                  </a:lnTo>
                  <a:lnTo>
                    <a:pt x="787" y="824"/>
                  </a:lnTo>
                  <a:lnTo>
                    <a:pt x="785" y="824"/>
                  </a:lnTo>
                  <a:lnTo>
                    <a:pt x="782" y="827"/>
                  </a:lnTo>
                  <a:lnTo>
                    <a:pt x="782" y="828"/>
                  </a:lnTo>
                  <a:lnTo>
                    <a:pt x="781" y="830"/>
                  </a:lnTo>
                  <a:lnTo>
                    <a:pt x="781" y="831"/>
                  </a:lnTo>
                  <a:lnTo>
                    <a:pt x="779" y="833"/>
                  </a:lnTo>
                  <a:lnTo>
                    <a:pt x="781" y="834"/>
                  </a:lnTo>
                  <a:lnTo>
                    <a:pt x="779" y="834"/>
                  </a:lnTo>
                  <a:lnTo>
                    <a:pt x="778" y="836"/>
                  </a:lnTo>
                  <a:lnTo>
                    <a:pt x="778" y="837"/>
                  </a:lnTo>
                  <a:lnTo>
                    <a:pt x="782" y="837"/>
                  </a:lnTo>
                  <a:lnTo>
                    <a:pt x="782" y="833"/>
                  </a:lnTo>
                  <a:lnTo>
                    <a:pt x="784" y="833"/>
                  </a:lnTo>
                  <a:lnTo>
                    <a:pt x="785" y="831"/>
                  </a:lnTo>
                  <a:lnTo>
                    <a:pt x="784" y="831"/>
                  </a:lnTo>
                  <a:lnTo>
                    <a:pt x="785" y="830"/>
                  </a:lnTo>
                  <a:lnTo>
                    <a:pt x="788" y="830"/>
                  </a:lnTo>
                  <a:lnTo>
                    <a:pt x="790" y="828"/>
                  </a:lnTo>
                  <a:lnTo>
                    <a:pt x="791" y="828"/>
                  </a:lnTo>
                  <a:lnTo>
                    <a:pt x="791" y="831"/>
                  </a:lnTo>
                  <a:lnTo>
                    <a:pt x="790" y="831"/>
                  </a:lnTo>
                  <a:lnTo>
                    <a:pt x="790" y="833"/>
                  </a:lnTo>
                  <a:lnTo>
                    <a:pt x="797" y="830"/>
                  </a:lnTo>
                  <a:lnTo>
                    <a:pt x="791" y="833"/>
                  </a:lnTo>
                  <a:lnTo>
                    <a:pt x="787" y="833"/>
                  </a:lnTo>
                  <a:lnTo>
                    <a:pt x="787" y="834"/>
                  </a:lnTo>
                  <a:lnTo>
                    <a:pt x="788" y="833"/>
                  </a:lnTo>
                  <a:lnTo>
                    <a:pt x="787" y="836"/>
                  </a:lnTo>
                  <a:lnTo>
                    <a:pt x="784" y="836"/>
                  </a:lnTo>
                  <a:lnTo>
                    <a:pt x="782" y="839"/>
                  </a:lnTo>
                  <a:lnTo>
                    <a:pt x="776" y="843"/>
                  </a:lnTo>
                  <a:lnTo>
                    <a:pt x="773" y="846"/>
                  </a:lnTo>
                  <a:lnTo>
                    <a:pt x="768" y="851"/>
                  </a:lnTo>
                  <a:lnTo>
                    <a:pt x="765" y="855"/>
                  </a:lnTo>
                  <a:lnTo>
                    <a:pt x="760" y="855"/>
                  </a:lnTo>
                  <a:lnTo>
                    <a:pt x="760" y="857"/>
                  </a:lnTo>
                  <a:lnTo>
                    <a:pt x="762" y="857"/>
                  </a:lnTo>
                  <a:lnTo>
                    <a:pt x="762" y="860"/>
                  </a:lnTo>
                  <a:lnTo>
                    <a:pt x="760" y="863"/>
                  </a:lnTo>
                  <a:lnTo>
                    <a:pt x="757" y="866"/>
                  </a:lnTo>
                  <a:lnTo>
                    <a:pt x="753" y="872"/>
                  </a:lnTo>
                  <a:lnTo>
                    <a:pt x="748" y="876"/>
                  </a:lnTo>
                  <a:lnTo>
                    <a:pt x="748" y="878"/>
                  </a:lnTo>
                  <a:lnTo>
                    <a:pt x="744" y="882"/>
                  </a:lnTo>
                  <a:lnTo>
                    <a:pt x="744" y="884"/>
                  </a:lnTo>
                  <a:lnTo>
                    <a:pt x="741" y="885"/>
                  </a:lnTo>
                  <a:lnTo>
                    <a:pt x="742" y="884"/>
                  </a:lnTo>
                  <a:lnTo>
                    <a:pt x="739" y="884"/>
                  </a:lnTo>
                  <a:lnTo>
                    <a:pt x="739" y="885"/>
                  </a:lnTo>
                  <a:lnTo>
                    <a:pt x="741" y="885"/>
                  </a:lnTo>
                  <a:lnTo>
                    <a:pt x="735" y="891"/>
                  </a:lnTo>
                  <a:lnTo>
                    <a:pt x="735" y="893"/>
                  </a:lnTo>
                  <a:lnTo>
                    <a:pt x="733" y="893"/>
                  </a:lnTo>
                  <a:lnTo>
                    <a:pt x="733" y="896"/>
                  </a:lnTo>
                  <a:lnTo>
                    <a:pt x="732" y="897"/>
                  </a:lnTo>
                  <a:lnTo>
                    <a:pt x="717" y="903"/>
                  </a:lnTo>
                  <a:lnTo>
                    <a:pt x="711" y="908"/>
                  </a:lnTo>
                  <a:lnTo>
                    <a:pt x="709" y="909"/>
                  </a:lnTo>
                  <a:lnTo>
                    <a:pt x="708" y="909"/>
                  </a:lnTo>
                  <a:lnTo>
                    <a:pt x="708" y="911"/>
                  </a:lnTo>
                  <a:lnTo>
                    <a:pt x="705" y="914"/>
                  </a:lnTo>
                  <a:lnTo>
                    <a:pt x="702" y="914"/>
                  </a:lnTo>
                  <a:lnTo>
                    <a:pt x="703" y="915"/>
                  </a:lnTo>
                  <a:lnTo>
                    <a:pt x="700" y="918"/>
                  </a:lnTo>
                  <a:lnTo>
                    <a:pt x="700" y="920"/>
                  </a:lnTo>
                  <a:lnTo>
                    <a:pt x="696" y="924"/>
                  </a:lnTo>
                  <a:lnTo>
                    <a:pt x="694" y="924"/>
                  </a:lnTo>
                  <a:lnTo>
                    <a:pt x="694" y="923"/>
                  </a:lnTo>
                  <a:lnTo>
                    <a:pt x="693" y="923"/>
                  </a:lnTo>
                  <a:lnTo>
                    <a:pt x="693" y="924"/>
                  </a:lnTo>
                  <a:lnTo>
                    <a:pt x="694" y="924"/>
                  </a:lnTo>
                  <a:lnTo>
                    <a:pt x="696" y="926"/>
                  </a:lnTo>
                  <a:lnTo>
                    <a:pt x="694" y="926"/>
                  </a:lnTo>
                  <a:lnTo>
                    <a:pt x="693" y="927"/>
                  </a:lnTo>
                  <a:lnTo>
                    <a:pt x="691" y="927"/>
                  </a:lnTo>
                  <a:lnTo>
                    <a:pt x="693" y="929"/>
                  </a:lnTo>
                  <a:lnTo>
                    <a:pt x="691" y="930"/>
                  </a:lnTo>
                  <a:lnTo>
                    <a:pt x="690" y="930"/>
                  </a:lnTo>
                  <a:lnTo>
                    <a:pt x="685" y="932"/>
                  </a:lnTo>
                  <a:lnTo>
                    <a:pt x="681" y="936"/>
                  </a:lnTo>
                  <a:lnTo>
                    <a:pt x="679" y="936"/>
                  </a:lnTo>
                  <a:lnTo>
                    <a:pt x="678" y="938"/>
                  </a:lnTo>
                  <a:lnTo>
                    <a:pt x="675" y="938"/>
                  </a:lnTo>
                  <a:lnTo>
                    <a:pt x="675" y="939"/>
                  </a:lnTo>
                  <a:lnTo>
                    <a:pt x="672" y="939"/>
                  </a:lnTo>
                  <a:lnTo>
                    <a:pt x="670" y="941"/>
                  </a:lnTo>
                  <a:lnTo>
                    <a:pt x="669" y="941"/>
                  </a:lnTo>
                  <a:lnTo>
                    <a:pt x="658" y="948"/>
                  </a:lnTo>
                  <a:lnTo>
                    <a:pt x="657" y="948"/>
                  </a:lnTo>
                  <a:lnTo>
                    <a:pt x="655" y="950"/>
                  </a:lnTo>
                  <a:lnTo>
                    <a:pt x="655" y="951"/>
                  </a:lnTo>
                  <a:lnTo>
                    <a:pt x="654" y="951"/>
                  </a:lnTo>
                  <a:lnTo>
                    <a:pt x="651" y="954"/>
                  </a:lnTo>
                  <a:lnTo>
                    <a:pt x="651" y="956"/>
                  </a:lnTo>
                  <a:lnTo>
                    <a:pt x="649" y="956"/>
                  </a:lnTo>
                  <a:lnTo>
                    <a:pt x="649" y="957"/>
                  </a:lnTo>
                  <a:lnTo>
                    <a:pt x="648" y="960"/>
                  </a:lnTo>
                  <a:lnTo>
                    <a:pt x="648" y="963"/>
                  </a:lnTo>
                  <a:lnTo>
                    <a:pt x="649" y="965"/>
                  </a:lnTo>
                  <a:lnTo>
                    <a:pt x="652" y="965"/>
                  </a:lnTo>
                  <a:lnTo>
                    <a:pt x="652" y="972"/>
                  </a:lnTo>
                  <a:lnTo>
                    <a:pt x="651" y="972"/>
                  </a:lnTo>
                  <a:lnTo>
                    <a:pt x="651" y="977"/>
                  </a:lnTo>
                  <a:lnTo>
                    <a:pt x="649" y="977"/>
                  </a:lnTo>
                  <a:lnTo>
                    <a:pt x="649" y="978"/>
                  </a:lnTo>
                  <a:lnTo>
                    <a:pt x="648" y="978"/>
                  </a:lnTo>
                  <a:lnTo>
                    <a:pt x="645" y="981"/>
                  </a:lnTo>
                  <a:lnTo>
                    <a:pt x="643" y="981"/>
                  </a:lnTo>
                  <a:lnTo>
                    <a:pt x="640" y="984"/>
                  </a:lnTo>
                  <a:lnTo>
                    <a:pt x="637" y="984"/>
                  </a:lnTo>
                  <a:lnTo>
                    <a:pt x="636" y="986"/>
                  </a:lnTo>
                  <a:lnTo>
                    <a:pt x="634" y="986"/>
                  </a:lnTo>
                  <a:lnTo>
                    <a:pt x="633" y="987"/>
                  </a:lnTo>
                  <a:lnTo>
                    <a:pt x="630" y="987"/>
                  </a:lnTo>
                  <a:lnTo>
                    <a:pt x="625" y="989"/>
                  </a:lnTo>
                  <a:lnTo>
                    <a:pt x="625" y="990"/>
                  </a:lnTo>
                  <a:lnTo>
                    <a:pt x="621" y="990"/>
                  </a:lnTo>
                  <a:lnTo>
                    <a:pt x="619" y="989"/>
                  </a:lnTo>
                  <a:lnTo>
                    <a:pt x="616" y="989"/>
                  </a:lnTo>
                  <a:lnTo>
                    <a:pt x="616" y="987"/>
                  </a:lnTo>
                  <a:lnTo>
                    <a:pt x="615" y="987"/>
                  </a:lnTo>
                  <a:lnTo>
                    <a:pt x="615" y="989"/>
                  </a:lnTo>
                  <a:lnTo>
                    <a:pt x="609" y="989"/>
                  </a:lnTo>
                  <a:lnTo>
                    <a:pt x="609" y="987"/>
                  </a:lnTo>
                  <a:lnTo>
                    <a:pt x="605" y="987"/>
                  </a:lnTo>
                  <a:lnTo>
                    <a:pt x="602" y="989"/>
                  </a:lnTo>
                  <a:lnTo>
                    <a:pt x="602" y="992"/>
                  </a:lnTo>
                  <a:lnTo>
                    <a:pt x="600" y="993"/>
                  </a:lnTo>
                  <a:lnTo>
                    <a:pt x="600" y="996"/>
                  </a:lnTo>
                  <a:lnTo>
                    <a:pt x="599" y="999"/>
                  </a:lnTo>
                  <a:lnTo>
                    <a:pt x="599" y="1001"/>
                  </a:lnTo>
                  <a:lnTo>
                    <a:pt x="597" y="1002"/>
                  </a:lnTo>
                  <a:lnTo>
                    <a:pt x="597" y="1007"/>
                  </a:lnTo>
                  <a:lnTo>
                    <a:pt x="596" y="1007"/>
                  </a:lnTo>
                  <a:lnTo>
                    <a:pt x="594" y="1010"/>
                  </a:lnTo>
                  <a:lnTo>
                    <a:pt x="593" y="1010"/>
                  </a:lnTo>
                  <a:lnTo>
                    <a:pt x="590" y="1013"/>
                  </a:lnTo>
                  <a:lnTo>
                    <a:pt x="590" y="1014"/>
                  </a:lnTo>
                  <a:lnTo>
                    <a:pt x="588" y="1013"/>
                  </a:lnTo>
                  <a:lnTo>
                    <a:pt x="587" y="1013"/>
                  </a:lnTo>
                  <a:lnTo>
                    <a:pt x="585" y="1011"/>
                  </a:lnTo>
                  <a:lnTo>
                    <a:pt x="585" y="1010"/>
                  </a:lnTo>
                  <a:lnTo>
                    <a:pt x="587" y="1007"/>
                  </a:lnTo>
                  <a:lnTo>
                    <a:pt x="584" y="1004"/>
                  </a:lnTo>
                  <a:lnTo>
                    <a:pt x="585" y="1007"/>
                  </a:lnTo>
                  <a:lnTo>
                    <a:pt x="585" y="1010"/>
                  </a:lnTo>
                  <a:lnTo>
                    <a:pt x="584" y="1014"/>
                  </a:lnTo>
                  <a:lnTo>
                    <a:pt x="582" y="1017"/>
                  </a:lnTo>
                  <a:lnTo>
                    <a:pt x="582" y="1019"/>
                  </a:lnTo>
                  <a:lnTo>
                    <a:pt x="581" y="1019"/>
                  </a:lnTo>
                  <a:lnTo>
                    <a:pt x="581" y="1013"/>
                  </a:lnTo>
                  <a:lnTo>
                    <a:pt x="579" y="1011"/>
                  </a:lnTo>
                  <a:lnTo>
                    <a:pt x="579" y="1010"/>
                  </a:lnTo>
                  <a:lnTo>
                    <a:pt x="575" y="1010"/>
                  </a:lnTo>
                  <a:lnTo>
                    <a:pt x="575" y="1011"/>
                  </a:lnTo>
                  <a:lnTo>
                    <a:pt x="569" y="1011"/>
                  </a:lnTo>
                  <a:lnTo>
                    <a:pt x="569" y="1013"/>
                  </a:lnTo>
                  <a:lnTo>
                    <a:pt x="566" y="1013"/>
                  </a:lnTo>
                  <a:lnTo>
                    <a:pt x="564" y="1014"/>
                  </a:lnTo>
                  <a:lnTo>
                    <a:pt x="563" y="1014"/>
                  </a:lnTo>
                  <a:lnTo>
                    <a:pt x="557" y="1020"/>
                  </a:lnTo>
                  <a:lnTo>
                    <a:pt x="554" y="1026"/>
                  </a:lnTo>
                  <a:lnTo>
                    <a:pt x="554" y="1029"/>
                  </a:lnTo>
                  <a:lnTo>
                    <a:pt x="552" y="1030"/>
                  </a:lnTo>
                  <a:lnTo>
                    <a:pt x="552" y="1032"/>
                  </a:lnTo>
                  <a:lnTo>
                    <a:pt x="549" y="1035"/>
                  </a:lnTo>
                  <a:lnTo>
                    <a:pt x="548" y="1038"/>
                  </a:lnTo>
                  <a:lnTo>
                    <a:pt x="548" y="1042"/>
                  </a:lnTo>
                  <a:lnTo>
                    <a:pt x="546" y="1048"/>
                  </a:lnTo>
                  <a:lnTo>
                    <a:pt x="546" y="1051"/>
                  </a:lnTo>
                  <a:lnTo>
                    <a:pt x="548" y="1053"/>
                  </a:lnTo>
                  <a:lnTo>
                    <a:pt x="548" y="1056"/>
                  </a:lnTo>
                  <a:lnTo>
                    <a:pt x="549" y="1063"/>
                  </a:lnTo>
                  <a:lnTo>
                    <a:pt x="549" y="1066"/>
                  </a:lnTo>
                  <a:lnTo>
                    <a:pt x="551" y="1066"/>
                  </a:lnTo>
                  <a:lnTo>
                    <a:pt x="551" y="1068"/>
                  </a:lnTo>
                  <a:lnTo>
                    <a:pt x="552" y="1068"/>
                  </a:lnTo>
                  <a:lnTo>
                    <a:pt x="552" y="1072"/>
                  </a:lnTo>
                  <a:lnTo>
                    <a:pt x="554" y="1072"/>
                  </a:lnTo>
                  <a:lnTo>
                    <a:pt x="554" y="1074"/>
                  </a:lnTo>
                  <a:lnTo>
                    <a:pt x="552" y="1074"/>
                  </a:lnTo>
                  <a:lnTo>
                    <a:pt x="552" y="1084"/>
                  </a:lnTo>
                  <a:lnTo>
                    <a:pt x="551" y="1087"/>
                  </a:lnTo>
                  <a:lnTo>
                    <a:pt x="548" y="1087"/>
                  </a:lnTo>
                  <a:lnTo>
                    <a:pt x="548" y="1089"/>
                  </a:lnTo>
                  <a:lnTo>
                    <a:pt x="546" y="1089"/>
                  </a:lnTo>
                  <a:lnTo>
                    <a:pt x="546" y="1090"/>
                  </a:lnTo>
                  <a:lnTo>
                    <a:pt x="548" y="1090"/>
                  </a:lnTo>
                  <a:lnTo>
                    <a:pt x="548" y="1089"/>
                  </a:lnTo>
                  <a:lnTo>
                    <a:pt x="551" y="1089"/>
                  </a:lnTo>
                  <a:lnTo>
                    <a:pt x="549" y="1090"/>
                  </a:lnTo>
                  <a:lnTo>
                    <a:pt x="549" y="1092"/>
                  </a:lnTo>
                  <a:lnTo>
                    <a:pt x="551" y="1098"/>
                  </a:lnTo>
                  <a:lnTo>
                    <a:pt x="555" y="1107"/>
                  </a:lnTo>
                  <a:lnTo>
                    <a:pt x="555" y="1113"/>
                  </a:lnTo>
                  <a:lnTo>
                    <a:pt x="554" y="1114"/>
                  </a:lnTo>
                  <a:lnTo>
                    <a:pt x="555" y="1114"/>
                  </a:lnTo>
                  <a:lnTo>
                    <a:pt x="555" y="1116"/>
                  </a:lnTo>
                  <a:lnTo>
                    <a:pt x="557" y="1119"/>
                  </a:lnTo>
                  <a:lnTo>
                    <a:pt x="557" y="1122"/>
                  </a:lnTo>
                  <a:lnTo>
                    <a:pt x="554" y="1116"/>
                  </a:lnTo>
                  <a:lnTo>
                    <a:pt x="551" y="1113"/>
                  </a:lnTo>
                  <a:lnTo>
                    <a:pt x="551" y="1117"/>
                  </a:lnTo>
                  <a:lnTo>
                    <a:pt x="549" y="1117"/>
                  </a:lnTo>
                  <a:lnTo>
                    <a:pt x="549" y="1114"/>
                  </a:lnTo>
                  <a:lnTo>
                    <a:pt x="548" y="1114"/>
                  </a:lnTo>
                  <a:lnTo>
                    <a:pt x="548" y="1116"/>
                  </a:lnTo>
                  <a:lnTo>
                    <a:pt x="546" y="1117"/>
                  </a:lnTo>
                  <a:lnTo>
                    <a:pt x="546" y="1119"/>
                  </a:lnTo>
                  <a:lnTo>
                    <a:pt x="549" y="1122"/>
                  </a:lnTo>
                  <a:lnTo>
                    <a:pt x="549" y="1123"/>
                  </a:lnTo>
                  <a:lnTo>
                    <a:pt x="555" y="1123"/>
                  </a:lnTo>
                  <a:lnTo>
                    <a:pt x="555" y="1125"/>
                  </a:lnTo>
                  <a:lnTo>
                    <a:pt x="557" y="1125"/>
                  </a:lnTo>
                  <a:lnTo>
                    <a:pt x="557" y="1126"/>
                  </a:lnTo>
                  <a:lnTo>
                    <a:pt x="560" y="1126"/>
                  </a:lnTo>
                  <a:lnTo>
                    <a:pt x="560" y="1135"/>
                  </a:lnTo>
                  <a:lnTo>
                    <a:pt x="558" y="1135"/>
                  </a:lnTo>
                  <a:lnTo>
                    <a:pt x="558" y="1137"/>
                  </a:lnTo>
                  <a:lnTo>
                    <a:pt x="560" y="1137"/>
                  </a:lnTo>
                  <a:lnTo>
                    <a:pt x="560" y="1138"/>
                  </a:lnTo>
                  <a:lnTo>
                    <a:pt x="558" y="1138"/>
                  </a:lnTo>
                  <a:lnTo>
                    <a:pt x="558" y="1143"/>
                  </a:lnTo>
                  <a:lnTo>
                    <a:pt x="557" y="1143"/>
                  </a:lnTo>
                  <a:lnTo>
                    <a:pt x="557" y="1155"/>
                  </a:lnTo>
                  <a:lnTo>
                    <a:pt x="555" y="1158"/>
                  </a:lnTo>
                  <a:lnTo>
                    <a:pt x="555" y="1162"/>
                  </a:lnTo>
                  <a:lnTo>
                    <a:pt x="554" y="1162"/>
                  </a:lnTo>
                  <a:lnTo>
                    <a:pt x="554" y="1165"/>
                  </a:lnTo>
                  <a:lnTo>
                    <a:pt x="552" y="1167"/>
                  </a:lnTo>
                  <a:lnTo>
                    <a:pt x="552" y="1168"/>
                  </a:lnTo>
                  <a:lnTo>
                    <a:pt x="549" y="1174"/>
                  </a:lnTo>
                  <a:lnTo>
                    <a:pt x="549" y="1176"/>
                  </a:lnTo>
                  <a:lnTo>
                    <a:pt x="548" y="1177"/>
                  </a:lnTo>
                  <a:lnTo>
                    <a:pt x="546" y="1177"/>
                  </a:lnTo>
                  <a:lnTo>
                    <a:pt x="545" y="1180"/>
                  </a:lnTo>
                  <a:lnTo>
                    <a:pt x="545" y="1182"/>
                  </a:lnTo>
                  <a:lnTo>
                    <a:pt x="542" y="1183"/>
                  </a:lnTo>
                  <a:lnTo>
                    <a:pt x="543" y="1183"/>
                  </a:lnTo>
                  <a:lnTo>
                    <a:pt x="545" y="1182"/>
                  </a:lnTo>
                  <a:lnTo>
                    <a:pt x="542" y="1186"/>
                  </a:lnTo>
                  <a:lnTo>
                    <a:pt x="540" y="1188"/>
                  </a:lnTo>
                  <a:lnTo>
                    <a:pt x="539" y="1191"/>
                  </a:lnTo>
                  <a:lnTo>
                    <a:pt x="539" y="1192"/>
                  </a:lnTo>
                  <a:lnTo>
                    <a:pt x="537" y="1192"/>
                  </a:lnTo>
                  <a:lnTo>
                    <a:pt x="537" y="1197"/>
                  </a:lnTo>
                  <a:lnTo>
                    <a:pt x="536" y="1200"/>
                  </a:lnTo>
                  <a:lnTo>
                    <a:pt x="536" y="1203"/>
                  </a:lnTo>
                  <a:lnTo>
                    <a:pt x="534" y="1203"/>
                  </a:lnTo>
                  <a:lnTo>
                    <a:pt x="534" y="1204"/>
                  </a:lnTo>
                  <a:lnTo>
                    <a:pt x="533" y="1209"/>
                  </a:lnTo>
                  <a:lnTo>
                    <a:pt x="533" y="1215"/>
                  </a:lnTo>
                  <a:lnTo>
                    <a:pt x="534" y="1218"/>
                  </a:lnTo>
                  <a:lnTo>
                    <a:pt x="534" y="1219"/>
                  </a:lnTo>
                  <a:lnTo>
                    <a:pt x="536" y="1219"/>
                  </a:lnTo>
                  <a:lnTo>
                    <a:pt x="536" y="1222"/>
                  </a:lnTo>
                  <a:lnTo>
                    <a:pt x="533" y="1222"/>
                  </a:lnTo>
                  <a:lnTo>
                    <a:pt x="530" y="1225"/>
                  </a:lnTo>
                  <a:lnTo>
                    <a:pt x="533" y="1224"/>
                  </a:lnTo>
                  <a:lnTo>
                    <a:pt x="536" y="1224"/>
                  </a:lnTo>
                  <a:lnTo>
                    <a:pt x="537" y="1228"/>
                  </a:lnTo>
                  <a:lnTo>
                    <a:pt x="537" y="1273"/>
                  </a:lnTo>
                  <a:lnTo>
                    <a:pt x="536" y="1273"/>
                  </a:lnTo>
                  <a:lnTo>
                    <a:pt x="534" y="1275"/>
                  </a:lnTo>
                  <a:lnTo>
                    <a:pt x="533" y="1275"/>
                  </a:lnTo>
                  <a:lnTo>
                    <a:pt x="525" y="1273"/>
                  </a:lnTo>
                  <a:lnTo>
                    <a:pt x="524" y="1273"/>
                  </a:lnTo>
                  <a:lnTo>
                    <a:pt x="524" y="1272"/>
                  </a:lnTo>
                  <a:lnTo>
                    <a:pt x="525" y="1272"/>
                  </a:lnTo>
                  <a:lnTo>
                    <a:pt x="527" y="1270"/>
                  </a:lnTo>
                  <a:lnTo>
                    <a:pt x="522" y="1270"/>
                  </a:lnTo>
                  <a:lnTo>
                    <a:pt x="522" y="1272"/>
                  </a:lnTo>
                  <a:lnTo>
                    <a:pt x="516" y="1272"/>
                  </a:lnTo>
                  <a:lnTo>
                    <a:pt x="515" y="1273"/>
                  </a:lnTo>
                  <a:lnTo>
                    <a:pt x="512" y="1275"/>
                  </a:lnTo>
                  <a:lnTo>
                    <a:pt x="510" y="1276"/>
                  </a:lnTo>
                  <a:lnTo>
                    <a:pt x="510" y="1278"/>
                  </a:lnTo>
                  <a:lnTo>
                    <a:pt x="509" y="1278"/>
                  </a:lnTo>
                  <a:lnTo>
                    <a:pt x="509" y="1282"/>
                  </a:lnTo>
                  <a:lnTo>
                    <a:pt x="510" y="1283"/>
                  </a:lnTo>
                  <a:lnTo>
                    <a:pt x="510" y="1285"/>
                  </a:lnTo>
                  <a:lnTo>
                    <a:pt x="504" y="1291"/>
                  </a:lnTo>
                  <a:lnTo>
                    <a:pt x="504" y="1294"/>
                  </a:lnTo>
                  <a:lnTo>
                    <a:pt x="503" y="1294"/>
                  </a:lnTo>
                  <a:lnTo>
                    <a:pt x="503" y="1295"/>
                  </a:lnTo>
                  <a:lnTo>
                    <a:pt x="497" y="1301"/>
                  </a:lnTo>
                  <a:lnTo>
                    <a:pt x="497" y="1304"/>
                  </a:lnTo>
                  <a:lnTo>
                    <a:pt x="495" y="1304"/>
                  </a:lnTo>
                  <a:lnTo>
                    <a:pt x="495" y="1309"/>
                  </a:lnTo>
                  <a:lnTo>
                    <a:pt x="494" y="1310"/>
                  </a:lnTo>
                  <a:lnTo>
                    <a:pt x="494" y="1312"/>
                  </a:lnTo>
                  <a:lnTo>
                    <a:pt x="501" y="1319"/>
                  </a:lnTo>
                  <a:lnTo>
                    <a:pt x="506" y="1319"/>
                  </a:lnTo>
                  <a:lnTo>
                    <a:pt x="504" y="1321"/>
                  </a:lnTo>
                  <a:lnTo>
                    <a:pt x="501" y="1321"/>
                  </a:lnTo>
                  <a:lnTo>
                    <a:pt x="500" y="1319"/>
                  </a:lnTo>
                  <a:lnTo>
                    <a:pt x="495" y="1319"/>
                  </a:lnTo>
                  <a:lnTo>
                    <a:pt x="495" y="1321"/>
                  </a:lnTo>
                  <a:lnTo>
                    <a:pt x="491" y="1321"/>
                  </a:lnTo>
                  <a:lnTo>
                    <a:pt x="489" y="1322"/>
                  </a:lnTo>
                  <a:lnTo>
                    <a:pt x="488" y="1322"/>
                  </a:lnTo>
                  <a:lnTo>
                    <a:pt x="486" y="1324"/>
                  </a:lnTo>
                  <a:lnTo>
                    <a:pt x="483" y="1324"/>
                  </a:lnTo>
                  <a:lnTo>
                    <a:pt x="482" y="1325"/>
                  </a:lnTo>
                  <a:lnTo>
                    <a:pt x="480" y="1325"/>
                  </a:lnTo>
                  <a:lnTo>
                    <a:pt x="474" y="1327"/>
                  </a:lnTo>
                  <a:lnTo>
                    <a:pt x="473" y="1327"/>
                  </a:lnTo>
                  <a:lnTo>
                    <a:pt x="471" y="1328"/>
                  </a:lnTo>
                  <a:lnTo>
                    <a:pt x="470" y="1328"/>
                  </a:lnTo>
                  <a:lnTo>
                    <a:pt x="462" y="1336"/>
                  </a:lnTo>
                  <a:lnTo>
                    <a:pt x="461" y="1339"/>
                  </a:lnTo>
                  <a:lnTo>
                    <a:pt x="461" y="1342"/>
                  </a:lnTo>
                  <a:lnTo>
                    <a:pt x="459" y="1343"/>
                  </a:lnTo>
                  <a:lnTo>
                    <a:pt x="461" y="1343"/>
                  </a:lnTo>
                  <a:lnTo>
                    <a:pt x="462" y="1342"/>
                  </a:lnTo>
                  <a:lnTo>
                    <a:pt x="462" y="1343"/>
                  </a:lnTo>
                  <a:lnTo>
                    <a:pt x="461" y="1345"/>
                  </a:lnTo>
                  <a:lnTo>
                    <a:pt x="459" y="1345"/>
                  </a:lnTo>
                  <a:lnTo>
                    <a:pt x="459" y="1348"/>
                  </a:lnTo>
                  <a:lnTo>
                    <a:pt x="458" y="1348"/>
                  </a:lnTo>
                  <a:lnTo>
                    <a:pt x="458" y="1349"/>
                  </a:lnTo>
                  <a:lnTo>
                    <a:pt x="459" y="1351"/>
                  </a:lnTo>
                  <a:lnTo>
                    <a:pt x="458" y="1357"/>
                  </a:lnTo>
                  <a:lnTo>
                    <a:pt x="456" y="1358"/>
                  </a:lnTo>
                  <a:lnTo>
                    <a:pt x="455" y="1361"/>
                  </a:lnTo>
                  <a:lnTo>
                    <a:pt x="453" y="1361"/>
                  </a:lnTo>
                  <a:lnTo>
                    <a:pt x="452" y="1363"/>
                  </a:lnTo>
                  <a:lnTo>
                    <a:pt x="443" y="1369"/>
                  </a:lnTo>
                  <a:lnTo>
                    <a:pt x="442" y="1370"/>
                  </a:lnTo>
                  <a:lnTo>
                    <a:pt x="436" y="1372"/>
                  </a:lnTo>
                  <a:lnTo>
                    <a:pt x="434" y="1372"/>
                  </a:lnTo>
                  <a:lnTo>
                    <a:pt x="433" y="1373"/>
                  </a:lnTo>
                  <a:lnTo>
                    <a:pt x="433" y="1375"/>
                  </a:lnTo>
                  <a:lnTo>
                    <a:pt x="427" y="1375"/>
                  </a:lnTo>
                  <a:lnTo>
                    <a:pt x="421" y="1373"/>
                  </a:lnTo>
                  <a:lnTo>
                    <a:pt x="421" y="1372"/>
                  </a:lnTo>
                  <a:lnTo>
                    <a:pt x="419" y="1372"/>
                  </a:lnTo>
                  <a:lnTo>
                    <a:pt x="419" y="1370"/>
                  </a:lnTo>
                  <a:lnTo>
                    <a:pt x="416" y="1370"/>
                  </a:lnTo>
                  <a:lnTo>
                    <a:pt x="413" y="1366"/>
                  </a:lnTo>
                  <a:lnTo>
                    <a:pt x="412" y="1366"/>
                  </a:lnTo>
                  <a:lnTo>
                    <a:pt x="406" y="1361"/>
                  </a:lnTo>
                  <a:lnTo>
                    <a:pt x="404" y="1360"/>
                  </a:lnTo>
                  <a:lnTo>
                    <a:pt x="401" y="1355"/>
                  </a:lnTo>
                  <a:lnTo>
                    <a:pt x="398" y="1352"/>
                  </a:lnTo>
                  <a:lnTo>
                    <a:pt x="398" y="1351"/>
                  </a:lnTo>
                  <a:lnTo>
                    <a:pt x="392" y="1345"/>
                  </a:lnTo>
                  <a:lnTo>
                    <a:pt x="391" y="1342"/>
                  </a:lnTo>
                  <a:lnTo>
                    <a:pt x="391" y="1340"/>
                  </a:lnTo>
                  <a:lnTo>
                    <a:pt x="386" y="1337"/>
                  </a:lnTo>
                  <a:lnTo>
                    <a:pt x="388" y="1337"/>
                  </a:lnTo>
                  <a:lnTo>
                    <a:pt x="389" y="1336"/>
                  </a:lnTo>
                  <a:lnTo>
                    <a:pt x="386" y="1336"/>
                  </a:lnTo>
                  <a:lnTo>
                    <a:pt x="388" y="1334"/>
                  </a:lnTo>
                  <a:lnTo>
                    <a:pt x="391" y="1334"/>
                  </a:lnTo>
                  <a:lnTo>
                    <a:pt x="391" y="1333"/>
                  </a:lnTo>
                  <a:lnTo>
                    <a:pt x="388" y="1333"/>
                  </a:lnTo>
                  <a:lnTo>
                    <a:pt x="386" y="1334"/>
                  </a:lnTo>
                  <a:lnTo>
                    <a:pt x="386" y="1333"/>
                  </a:lnTo>
                  <a:lnTo>
                    <a:pt x="385" y="1334"/>
                  </a:lnTo>
                  <a:lnTo>
                    <a:pt x="385" y="1333"/>
                  </a:lnTo>
                  <a:lnTo>
                    <a:pt x="383" y="1331"/>
                  </a:lnTo>
                  <a:lnTo>
                    <a:pt x="383" y="1330"/>
                  </a:lnTo>
                  <a:lnTo>
                    <a:pt x="382" y="1327"/>
                  </a:lnTo>
                  <a:lnTo>
                    <a:pt x="383" y="1324"/>
                  </a:lnTo>
                  <a:lnTo>
                    <a:pt x="382" y="1325"/>
                  </a:lnTo>
                  <a:lnTo>
                    <a:pt x="380" y="1325"/>
                  </a:lnTo>
                  <a:lnTo>
                    <a:pt x="374" y="1310"/>
                  </a:lnTo>
                  <a:lnTo>
                    <a:pt x="374" y="1301"/>
                  </a:lnTo>
                  <a:lnTo>
                    <a:pt x="373" y="1295"/>
                  </a:lnTo>
                  <a:lnTo>
                    <a:pt x="373" y="1292"/>
                  </a:lnTo>
                  <a:lnTo>
                    <a:pt x="374" y="1291"/>
                  </a:lnTo>
                  <a:lnTo>
                    <a:pt x="374" y="1292"/>
                  </a:lnTo>
                  <a:lnTo>
                    <a:pt x="376" y="1300"/>
                  </a:lnTo>
                  <a:lnTo>
                    <a:pt x="377" y="1298"/>
                  </a:lnTo>
                  <a:lnTo>
                    <a:pt x="377" y="1300"/>
                  </a:lnTo>
                  <a:lnTo>
                    <a:pt x="379" y="1301"/>
                  </a:lnTo>
                  <a:lnTo>
                    <a:pt x="379" y="1303"/>
                  </a:lnTo>
                  <a:lnTo>
                    <a:pt x="377" y="1303"/>
                  </a:lnTo>
                  <a:lnTo>
                    <a:pt x="377" y="1309"/>
                  </a:lnTo>
                  <a:lnTo>
                    <a:pt x="383" y="1309"/>
                  </a:lnTo>
                  <a:lnTo>
                    <a:pt x="383" y="1307"/>
                  </a:lnTo>
                  <a:lnTo>
                    <a:pt x="382" y="1307"/>
                  </a:lnTo>
                  <a:lnTo>
                    <a:pt x="382" y="1306"/>
                  </a:lnTo>
                  <a:lnTo>
                    <a:pt x="380" y="1307"/>
                  </a:lnTo>
                  <a:lnTo>
                    <a:pt x="380" y="1306"/>
                  </a:lnTo>
                  <a:lnTo>
                    <a:pt x="379" y="1306"/>
                  </a:lnTo>
                  <a:lnTo>
                    <a:pt x="380" y="1304"/>
                  </a:lnTo>
                  <a:lnTo>
                    <a:pt x="380" y="1301"/>
                  </a:lnTo>
                  <a:lnTo>
                    <a:pt x="379" y="1300"/>
                  </a:lnTo>
                  <a:lnTo>
                    <a:pt x="379" y="1292"/>
                  </a:lnTo>
                  <a:lnTo>
                    <a:pt x="377" y="1291"/>
                  </a:lnTo>
                  <a:lnTo>
                    <a:pt x="377" y="1289"/>
                  </a:lnTo>
                  <a:lnTo>
                    <a:pt x="376" y="1288"/>
                  </a:lnTo>
                  <a:lnTo>
                    <a:pt x="373" y="1288"/>
                  </a:lnTo>
                  <a:lnTo>
                    <a:pt x="373" y="1283"/>
                  </a:lnTo>
                  <a:lnTo>
                    <a:pt x="371" y="1282"/>
                  </a:lnTo>
                  <a:lnTo>
                    <a:pt x="371" y="1280"/>
                  </a:lnTo>
                  <a:lnTo>
                    <a:pt x="370" y="1280"/>
                  </a:lnTo>
                  <a:lnTo>
                    <a:pt x="370" y="1279"/>
                  </a:lnTo>
                  <a:lnTo>
                    <a:pt x="368" y="1279"/>
                  </a:lnTo>
                  <a:lnTo>
                    <a:pt x="371" y="1278"/>
                  </a:lnTo>
                  <a:lnTo>
                    <a:pt x="371" y="1276"/>
                  </a:lnTo>
                  <a:lnTo>
                    <a:pt x="370" y="1275"/>
                  </a:lnTo>
                  <a:lnTo>
                    <a:pt x="370" y="1278"/>
                  </a:lnTo>
                  <a:lnTo>
                    <a:pt x="368" y="1278"/>
                  </a:lnTo>
                  <a:lnTo>
                    <a:pt x="368" y="1276"/>
                  </a:lnTo>
                  <a:lnTo>
                    <a:pt x="367" y="1275"/>
                  </a:lnTo>
                  <a:lnTo>
                    <a:pt x="367" y="1270"/>
                  </a:lnTo>
                  <a:lnTo>
                    <a:pt x="365" y="1269"/>
                  </a:lnTo>
                  <a:lnTo>
                    <a:pt x="364" y="1266"/>
                  </a:lnTo>
                  <a:lnTo>
                    <a:pt x="364" y="1264"/>
                  </a:lnTo>
                  <a:lnTo>
                    <a:pt x="362" y="1263"/>
                  </a:lnTo>
                  <a:lnTo>
                    <a:pt x="362" y="1261"/>
                  </a:lnTo>
                  <a:lnTo>
                    <a:pt x="361" y="1261"/>
                  </a:lnTo>
                  <a:lnTo>
                    <a:pt x="361" y="1258"/>
                  </a:lnTo>
                  <a:lnTo>
                    <a:pt x="358" y="1252"/>
                  </a:lnTo>
                  <a:lnTo>
                    <a:pt x="358" y="1249"/>
                  </a:lnTo>
                  <a:lnTo>
                    <a:pt x="356" y="1249"/>
                  </a:lnTo>
                  <a:lnTo>
                    <a:pt x="356" y="1248"/>
                  </a:lnTo>
                  <a:lnTo>
                    <a:pt x="355" y="1243"/>
                  </a:lnTo>
                  <a:lnTo>
                    <a:pt x="353" y="1236"/>
                  </a:lnTo>
                  <a:lnTo>
                    <a:pt x="349" y="1225"/>
                  </a:lnTo>
                  <a:lnTo>
                    <a:pt x="349" y="1222"/>
                  </a:lnTo>
                  <a:lnTo>
                    <a:pt x="347" y="1222"/>
                  </a:lnTo>
                  <a:lnTo>
                    <a:pt x="347" y="1221"/>
                  </a:lnTo>
                  <a:lnTo>
                    <a:pt x="346" y="1219"/>
                  </a:lnTo>
                  <a:lnTo>
                    <a:pt x="346" y="1218"/>
                  </a:lnTo>
                  <a:lnTo>
                    <a:pt x="343" y="1218"/>
                  </a:lnTo>
                  <a:lnTo>
                    <a:pt x="343" y="1216"/>
                  </a:lnTo>
                  <a:lnTo>
                    <a:pt x="341" y="1215"/>
                  </a:lnTo>
                  <a:lnTo>
                    <a:pt x="341" y="1213"/>
                  </a:lnTo>
                  <a:lnTo>
                    <a:pt x="338" y="1207"/>
                  </a:lnTo>
                  <a:lnTo>
                    <a:pt x="338" y="1206"/>
                  </a:lnTo>
                  <a:lnTo>
                    <a:pt x="332" y="1200"/>
                  </a:lnTo>
                  <a:lnTo>
                    <a:pt x="331" y="1200"/>
                  </a:lnTo>
                  <a:lnTo>
                    <a:pt x="329" y="1198"/>
                  </a:lnTo>
                  <a:lnTo>
                    <a:pt x="329" y="1197"/>
                  </a:lnTo>
                  <a:lnTo>
                    <a:pt x="332" y="1197"/>
                  </a:lnTo>
                  <a:lnTo>
                    <a:pt x="332" y="1195"/>
                  </a:lnTo>
                  <a:lnTo>
                    <a:pt x="328" y="1195"/>
                  </a:lnTo>
                  <a:lnTo>
                    <a:pt x="328" y="1192"/>
                  </a:lnTo>
                  <a:lnTo>
                    <a:pt x="329" y="1192"/>
                  </a:lnTo>
                  <a:lnTo>
                    <a:pt x="329" y="1191"/>
                  </a:lnTo>
                  <a:lnTo>
                    <a:pt x="326" y="1192"/>
                  </a:lnTo>
                  <a:lnTo>
                    <a:pt x="323" y="1192"/>
                  </a:lnTo>
                  <a:lnTo>
                    <a:pt x="323" y="1189"/>
                  </a:lnTo>
                  <a:lnTo>
                    <a:pt x="320" y="1183"/>
                  </a:lnTo>
                  <a:lnTo>
                    <a:pt x="319" y="1183"/>
                  </a:lnTo>
                  <a:lnTo>
                    <a:pt x="319" y="1179"/>
                  </a:lnTo>
                  <a:lnTo>
                    <a:pt x="316" y="1174"/>
                  </a:lnTo>
                  <a:lnTo>
                    <a:pt x="316" y="1173"/>
                  </a:lnTo>
                  <a:lnTo>
                    <a:pt x="314" y="1173"/>
                  </a:lnTo>
                  <a:lnTo>
                    <a:pt x="314" y="1170"/>
                  </a:lnTo>
                  <a:lnTo>
                    <a:pt x="313" y="1170"/>
                  </a:lnTo>
                  <a:lnTo>
                    <a:pt x="313" y="1168"/>
                  </a:lnTo>
                  <a:lnTo>
                    <a:pt x="308" y="1159"/>
                  </a:lnTo>
                  <a:lnTo>
                    <a:pt x="308" y="1156"/>
                  </a:lnTo>
                  <a:lnTo>
                    <a:pt x="307" y="1156"/>
                  </a:lnTo>
                  <a:lnTo>
                    <a:pt x="307" y="1155"/>
                  </a:lnTo>
                  <a:lnTo>
                    <a:pt x="308" y="1155"/>
                  </a:lnTo>
                  <a:lnTo>
                    <a:pt x="310" y="1153"/>
                  </a:lnTo>
                  <a:lnTo>
                    <a:pt x="311" y="1153"/>
                  </a:lnTo>
                  <a:lnTo>
                    <a:pt x="311" y="1152"/>
                  </a:lnTo>
                  <a:lnTo>
                    <a:pt x="310" y="1153"/>
                  </a:lnTo>
                  <a:lnTo>
                    <a:pt x="307" y="1153"/>
                  </a:lnTo>
                  <a:lnTo>
                    <a:pt x="304" y="1144"/>
                  </a:lnTo>
                  <a:lnTo>
                    <a:pt x="305" y="1143"/>
                  </a:lnTo>
                  <a:lnTo>
                    <a:pt x="304" y="1143"/>
                  </a:lnTo>
                  <a:lnTo>
                    <a:pt x="304" y="1138"/>
                  </a:lnTo>
                  <a:lnTo>
                    <a:pt x="302" y="1138"/>
                  </a:lnTo>
                  <a:lnTo>
                    <a:pt x="302" y="1134"/>
                  </a:lnTo>
                  <a:lnTo>
                    <a:pt x="301" y="1131"/>
                  </a:lnTo>
                  <a:lnTo>
                    <a:pt x="301" y="1128"/>
                  </a:lnTo>
                  <a:lnTo>
                    <a:pt x="299" y="1126"/>
                  </a:lnTo>
                  <a:lnTo>
                    <a:pt x="299" y="1125"/>
                  </a:lnTo>
                  <a:lnTo>
                    <a:pt x="301" y="1126"/>
                  </a:lnTo>
                  <a:lnTo>
                    <a:pt x="301" y="1125"/>
                  </a:lnTo>
                  <a:lnTo>
                    <a:pt x="299" y="1122"/>
                  </a:lnTo>
                  <a:lnTo>
                    <a:pt x="299" y="1116"/>
                  </a:lnTo>
                  <a:lnTo>
                    <a:pt x="301" y="1116"/>
                  </a:lnTo>
                  <a:lnTo>
                    <a:pt x="301" y="1113"/>
                  </a:lnTo>
                  <a:lnTo>
                    <a:pt x="299" y="1114"/>
                  </a:lnTo>
                  <a:lnTo>
                    <a:pt x="299" y="1116"/>
                  </a:lnTo>
                  <a:lnTo>
                    <a:pt x="298" y="1114"/>
                  </a:lnTo>
                  <a:lnTo>
                    <a:pt x="298" y="1110"/>
                  </a:lnTo>
                  <a:lnTo>
                    <a:pt x="296" y="1107"/>
                  </a:lnTo>
                  <a:lnTo>
                    <a:pt x="296" y="1105"/>
                  </a:lnTo>
                  <a:lnTo>
                    <a:pt x="293" y="1102"/>
                  </a:lnTo>
                  <a:lnTo>
                    <a:pt x="293" y="1101"/>
                  </a:lnTo>
                  <a:lnTo>
                    <a:pt x="292" y="1099"/>
                  </a:lnTo>
                  <a:lnTo>
                    <a:pt x="292" y="1096"/>
                  </a:lnTo>
                  <a:lnTo>
                    <a:pt x="291" y="1095"/>
                  </a:lnTo>
                  <a:lnTo>
                    <a:pt x="291" y="1090"/>
                  </a:lnTo>
                  <a:lnTo>
                    <a:pt x="289" y="1089"/>
                  </a:lnTo>
                  <a:lnTo>
                    <a:pt x="289" y="1087"/>
                  </a:lnTo>
                  <a:lnTo>
                    <a:pt x="292" y="1087"/>
                  </a:lnTo>
                  <a:lnTo>
                    <a:pt x="289" y="1086"/>
                  </a:lnTo>
                  <a:lnTo>
                    <a:pt x="288" y="1086"/>
                  </a:lnTo>
                  <a:lnTo>
                    <a:pt x="288" y="1080"/>
                  </a:lnTo>
                  <a:lnTo>
                    <a:pt x="286" y="1080"/>
                  </a:lnTo>
                  <a:lnTo>
                    <a:pt x="286" y="1078"/>
                  </a:lnTo>
                  <a:lnTo>
                    <a:pt x="288" y="1078"/>
                  </a:lnTo>
                  <a:lnTo>
                    <a:pt x="288" y="1077"/>
                  </a:lnTo>
                  <a:lnTo>
                    <a:pt x="289" y="1077"/>
                  </a:lnTo>
                  <a:lnTo>
                    <a:pt x="286" y="1075"/>
                  </a:lnTo>
                  <a:lnTo>
                    <a:pt x="286" y="1074"/>
                  </a:lnTo>
                  <a:lnTo>
                    <a:pt x="285" y="1074"/>
                  </a:lnTo>
                  <a:lnTo>
                    <a:pt x="286" y="1075"/>
                  </a:lnTo>
                  <a:lnTo>
                    <a:pt x="286" y="1077"/>
                  </a:lnTo>
                  <a:lnTo>
                    <a:pt x="285" y="1075"/>
                  </a:lnTo>
                  <a:lnTo>
                    <a:pt x="283" y="1075"/>
                  </a:lnTo>
                  <a:lnTo>
                    <a:pt x="283" y="1071"/>
                  </a:lnTo>
                  <a:lnTo>
                    <a:pt x="282" y="1071"/>
                  </a:lnTo>
                  <a:lnTo>
                    <a:pt x="282" y="1066"/>
                  </a:lnTo>
                  <a:lnTo>
                    <a:pt x="280" y="1066"/>
                  </a:lnTo>
                  <a:lnTo>
                    <a:pt x="280" y="1065"/>
                  </a:lnTo>
                  <a:lnTo>
                    <a:pt x="279" y="1065"/>
                  </a:lnTo>
                  <a:lnTo>
                    <a:pt x="277" y="1066"/>
                  </a:lnTo>
                  <a:lnTo>
                    <a:pt x="277" y="1065"/>
                  </a:lnTo>
                  <a:lnTo>
                    <a:pt x="276" y="1065"/>
                  </a:lnTo>
                  <a:lnTo>
                    <a:pt x="276" y="1063"/>
                  </a:lnTo>
                  <a:lnTo>
                    <a:pt x="274" y="1063"/>
                  </a:lnTo>
                  <a:lnTo>
                    <a:pt x="273" y="1062"/>
                  </a:lnTo>
                  <a:lnTo>
                    <a:pt x="274" y="1062"/>
                  </a:lnTo>
                  <a:lnTo>
                    <a:pt x="274" y="1060"/>
                  </a:lnTo>
                  <a:lnTo>
                    <a:pt x="277" y="1060"/>
                  </a:lnTo>
                  <a:lnTo>
                    <a:pt x="277" y="1059"/>
                  </a:lnTo>
                  <a:lnTo>
                    <a:pt x="280" y="1059"/>
                  </a:lnTo>
                  <a:lnTo>
                    <a:pt x="280" y="1057"/>
                  </a:lnTo>
                  <a:lnTo>
                    <a:pt x="279" y="1057"/>
                  </a:lnTo>
                  <a:lnTo>
                    <a:pt x="277" y="1059"/>
                  </a:lnTo>
                  <a:lnTo>
                    <a:pt x="276" y="1059"/>
                  </a:lnTo>
                  <a:lnTo>
                    <a:pt x="274" y="1060"/>
                  </a:lnTo>
                  <a:lnTo>
                    <a:pt x="274" y="1059"/>
                  </a:lnTo>
                  <a:lnTo>
                    <a:pt x="271" y="1056"/>
                  </a:lnTo>
                  <a:lnTo>
                    <a:pt x="270" y="1056"/>
                  </a:lnTo>
                  <a:lnTo>
                    <a:pt x="270" y="1054"/>
                  </a:lnTo>
                  <a:lnTo>
                    <a:pt x="271" y="1053"/>
                  </a:lnTo>
                  <a:lnTo>
                    <a:pt x="270" y="1053"/>
                  </a:lnTo>
                  <a:lnTo>
                    <a:pt x="268" y="1051"/>
                  </a:lnTo>
                  <a:lnTo>
                    <a:pt x="268" y="1050"/>
                  </a:lnTo>
                  <a:lnTo>
                    <a:pt x="267" y="1050"/>
                  </a:lnTo>
                  <a:lnTo>
                    <a:pt x="265" y="1048"/>
                  </a:lnTo>
                  <a:lnTo>
                    <a:pt x="265" y="1047"/>
                  </a:lnTo>
                  <a:lnTo>
                    <a:pt x="267" y="1047"/>
                  </a:lnTo>
                  <a:lnTo>
                    <a:pt x="267" y="1045"/>
                  </a:lnTo>
                  <a:lnTo>
                    <a:pt x="264" y="1036"/>
                  </a:lnTo>
                  <a:lnTo>
                    <a:pt x="264" y="1035"/>
                  </a:lnTo>
                  <a:lnTo>
                    <a:pt x="261" y="1035"/>
                  </a:lnTo>
                  <a:lnTo>
                    <a:pt x="259" y="1033"/>
                  </a:lnTo>
                  <a:lnTo>
                    <a:pt x="267" y="1033"/>
                  </a:lnTo>
                  <a:lnTo>
                    <a:pt x="265" y="1032"/>
                  </a:lnTo>
                  <a:lnTo>
                    <a:pt x="262" y="1032"/>
                  </a:lnTo>
                  <a:lnTo>
                    <a:pt x="262" y="1030"/>
                  </a:lnTo>
                  <a:lnTo>
                    <a:pt x="259" y="1030"/>
                  </a:lnTo>
                  <a:lnTo>
                    <a:pt x="261" y="1029"/>
                  </a:lnTo>
                  <a:lnTo>
                    <a:pt x="264" y="1029"/>
                  </a:lnTo>
                  <a:lnTo>
                    <a:pt x="262" y="1027"/>
                  </a:lnTo>
                  <a:lnTo>
                    <a:pt x="259" y="1029"/>
                  </a:lnTo>
                  <a:lnTo>
                    <a:pt x="258" y="1029"/>
                  </a:lnTo>
                  <a:lnTo>
                    <a:pt x="258" y="1026"/>
                  </a:lnTo>
                  <a:lnTo>
                    <a:pt x="256" y="1026"/>
                  </a:lnTo>
                  <a:lnTo>
                    <a:pt x="256" y="1024"/>
                  </a:lnTo>
                  <a:lnTo>
                    <a:pt x="258" y="1024"/>
                  </a:lnTo>
                  <a:lnTo>
                    <a:pt x="258" y="1023"/>
                  </a:lnTo>
                  <a:lnTo>
                    <a:pt x="259" y="1021"/>
                  </a:lnTo>
                  <a:lnTo>
                    <a:pt x="258" y="1021"/>
                  </a:lnTo>
                  <a:lnTo>
                    <a:pt x="256" y="1023"/>
                  </a:lnTo>
                  <a:lnTo>
                    <a:pt x="256" y="1021"/>
                  </a:lnTo>
                  <a:lnTo>
                    <a:pt x="255" y="1021"/>
                  </a:lnTo>
                  <a:lnTo>
                    <a:pt x="255" y="1019"/>
                  </a:lnTo>
                  <a:lnTo>
                    <a:pt x="253" y="1019"/>
                  </a:lnTo>
                  <a:lnTo>
                    <a:pt x="253" y="1016"/>
                  </a:lnTo>
                  <a:lnTo>
                    <a:pt x="252" y="1014"/>
                  </a:lnTo>
                  <a:lnTo>
                    <a:pt x="250" y="1011"/>
                  </a:lnTo>
                  <a:lnTo>
                    <a:pt x="250" y="1010"/>
                  </a:lnTo>
                  <a:lnTo>
                    <a:pt x="247" y="1008"/>
                  </a:lnTo>
                  <a:lnTo>
                    <a:pt x="246" y="1007"/>
                  </a:lnTo>
                  <a:lnTo>
                    <a:pt x="246" y="1005"/>
                  </a:lnTo>
                  <a:lnTo>
                    <a:pt x="247" y="1004"/>
                  </a:lnTo>
                  <a:lnTo>
                    <a:pt x="244" y="1004"/>
                  </a:lnTo>
                  <a:lnTo>
                    <a:pt x="244" y="999"/>
                  </a:lnTo>
                  <a:lnTo>
                    <a:pt x="243" y="998"/>
                  </a:lnTo>
                  <a:lnTo>
                    <a:pt x="243" y="995"/>
                  </a:lnTo>
                  <a:lnTo>
                    <a:pt x="241" y="995"/>
                  </a:lnTo>
                  <a:lnTo>
                    <a:pt x="241" y="993"/>
                  </a:lnTo>
                  <a:lnTo>
                    <a:pt x="240" y="989"/>
                  </a:lnTo>
                  <a:lnTo>
                    <a:pt x="240" y="986"/>
                  </a:lnTo>
                  <a:lnTo>
                    <a:pt x="238" y="984"/>
                  </a:lnTo>
                  <a:lnTo>
                    <a:pt x="238" y="981"/>
                  </a:lnTo>
                  <a:lnTo>
                    <a:pt x="237" y="981"/>
                  </a:lnTo>
                  <a:lnTo>
                    <a:pt x="237" y="978"/>
                  </a:lnTo>
                  <a:lnTo>
                    <a:pt x="240" y="981"/>
                  </a:lnTo>
                  <a:lnTo>
                    <a:pt x="240" y="978"/>
                  </a:lnTo>
                  <a:lnTo>
                    <a:pt x="238" y="978"/>
                  </a:lnTo>
                  <a:lnTo>
                    <a:pt x="238" y="977"/>
                  </a:lnTo>
                  <a:lnTo>
                    <a:pt x="240" y="975"/>
                  </a:lnTo>
                  <a:lnTo>
                    <a:pt x="237" y="975"/>
                  </a:lnTo>
                  <a:lnTo>
                    <a:pt x="237" y="974"/>
                  </a:lnTo>
                  <a:lnTo>
                    <a:pt x="238" y="974"/>
                  </a:lnTo>
                  <a:lnTo>
                    <a:pt x="238" y="972"/>
                  </a:lnTo>
                  <a:lnTo>
                    <a:pt x="237" y="971"/>
                  </a:lnTo>
                  <a:lnTo>
                    <a:pt x="237" y="966"/>
                  </a:lnTo>
                  <a:lnTo>
                    <a:pt x="235" y="965"/>
                  </a:lnTo>
                  <a:lnTo>
                    <a:pt x="235" y="960"/>
                  </a:lnTo>
                  <a:lnTo>
                    <a:pt x="237" y="959"/>
                  </a:lnTo>
                  <a:lnTo>
                    <a:pt x="235" y="957"/>
                  </a:lnTo>
                  <a:lnTo>
                    <a:pt x="235" y="950"/>
                  </a:lnTo>
                  <a:lnTo>
                    <a:pt x="234" y="948"/>
                  </a:lnTo>
                  <a:lnTo>
                    <a:pt x="234" y="945"/>
                  </a:lnTo>
                  <a:lnTo>
                    <a:pt x="232" y="945"/>
                  </a:lnTo>
                  <a:lnTo>
                    <a:pt x="232" y="944"/>
                  </a:lnTo>
                  <a:lnTo>
                    <a:pt x="234" y="944"/>
                  </a:lnTo>
                  <a:lnTo>
                    <a:pt x="232" y="941"/>
                  </a:lnTo>
                  <a:lnTo>
                    <a:pt x="232" y="939"/>
                  </a:lnTo>
                  <a:lnTo>
                    <a:pt x="231" y="939"/>
                  </a:lnTo>
                  <a:lnTo>
                    <a:pt x="231" y="938"/>
                  </a:lnTo>
                  <a:lnTo>
                    <a:pt x="232" y="936"/>
                  </a:lnTo>
                  <a:lnTo>
                    <a:pt x="231" y="936"/>
                  </a:lnTo>
                  <a:lnTo>
                    <a:pt x="231" y="933"/>
                  </a:lnTo>
                  <a:lnTo>
                    <a:pt x="229" y="932"/>
                  </a:lnTo>
                  <a:lnTo>
                    <a:pt x="229" y="930"/>
                  </a:lnTo>
                  <a:lnTo>
                    <a:pt x="231" y="930"/>
                  </a:lnTo>
                  <a:lnTo>
                    <a:pt x="232" y="929"/>
                  </a:lnTo>
                  <a:lnTo>
                    <a:pt x="229" y="929"/>
                  </a:lnTo>
                  <a:lnTo>
                    <a:pt x="229" y="926"/>
                  </a:lnTo>
                  <a:lnTo>
                    <a:pt x="228" y="926"/>
                  </a:lnTo>
                  <a:lnTo>
                    <a:pt x="228" y="923"/>
                  </a:lnTo>
                  <a:lnTo>
                    <a:pt x="229" y="923"/>
                  </a:lnTo>
                  <a:lnTo>
                    <a:pt x="228" y="921"/>
                  </a:lnTo>
                  <a:lnTo>
                    <a:pt x="228" y="920"/>
                  </a:lnTo>
                  <a:lnTo>
                    <a:pt x="226" y="918"/>
                  </a:lnTo>
                  <a:lnTo>
                    <a:pt x="226" y="915"/>
                  </a:lnTo>
                  <a:lnTo>
                    <a:pt x="223" y="912"/>
                  </a:lnTo>
                  <a:lnTo>
                    <a:pt x="223" y="911"/>
                  </a:lnTo>
                  <a:lnTo>
                    <a:pt x="225" y="909"/>
                  </a:lnTo>
                  <a:lnTo>
                    <a:pt x="223" y="909"/>
                  </a:lnTo>
                  <a:lnTo>
                    <a:pt x="223" y="908"/>
                  </a:lnTo>
                  <a:lnTo>
                    <a:pt x="225" y="908"/>
                  </a:lnTo>
                  <a:lnTo>
                    <a:pt x="225" y="906"/>
                  </a:lnTo>
                  <a:lnTo>
                    <a:pt x="223" y="908"/>
                  </a:lnTo>
                  <a:lnTo>
                    <a:pt x="222" y="906"/>
                  </a:lnTo>
                  <a:lnTo>
                    <a:pt x="222" y="900"/>
                  </a:lnTo>
                  <a:lnTo>
                    <a:pt x="220" y="899"/>
                  </a:lnTo>
                  <a:lnTo>
                    <a:pt x="220" y="896"/>
                  </a:lnTo>
                  <a:lnTo>
                    <a:pt x="222" y="896"/>
                  </a:lnTo>
                  <a:lnTo>
                    <a:pt x="222" y="897"/>
                  </a:lnTo>
                  <a:lnTo>
                    <a:pt x="223" y="897"/>
                  </a:lnTo>
                  <a:lnTo>
                    <a:pt x="225" y="899"/>
                  </a:lnTo>
                  <a:lnTo>
                    <a:pt x="226" y="899"/>
                  </a:lnTo>
                  <a:lnTo>
                    <a:pt x="225" y="900"/>
                  </a:lnTo>
                  <a:lnTo>
                    <a:pt x="226" y="900"/>
                  </a:lnTo>
                  <a:lnTo>
                    <a:pt x="226" y="896"/>
                  </a:lnTo>
                  <a:lnTo>
                    <a:pt x="222" y="896"/>
                  </a:lnTo>
                  <a:lnTo>
                    <a:pt x="222" y="894"/>
                  </a:lnTo>
                  <a:lnTo>
                    <a:pt x="220" y="894"/>
                  </a:lnTo>
                  <a:lnTo>
                    <a:pt x="220" y="893"/>
                  </a:lnTo>
                  <a:lnTo>
                    <a:pt x="219" y="893"/>
                  </a:lnTo>
                  <a:lnTo>
                    <a:pt x="219" y="890"/>
                  </a:lnTo>
                  <a:lnTo>
                    <a:pt x="217" y="888"/>
                  </a:lnTo>
                  <a:lnTo>
                    <a:pt x="217" y="887"/>
                  </a:lnTo>
                  <a:lnTo>
                    <a:pt x="219" y="885"/>
                  </a:lnTo>
                  <a:lnTo>
                    <a:pt x="219" y="884"/>
                  </a:lnTo>
                  <a:lnTo>
                    <a:pt x="220" y="884"/>
                  </a:lnTo>
                  <a:lnTo>
                    <a:pt x="222" y="885"/>
                  </a:lnTo>
                  <a:lnTo>
                    <a:pt x="222" y="882"/>
                  </a:lnTo>
                  <a:lnTo>
                    <a:pt x="219" y="882"/>
                  </a:lnTo>
                  <a:lnTo>
                    <a:pt x="217" y="879"/>
                  </a:lnTo>
                  <a:lnTo>
                    <a:pt x="217" y="878"/>
                  </a:lnTo>
                  <a:lnTo>
                    <a:pt x="216" y="876"/>
                  </a:lnTo>
                  <a:lnTo>
                    <a:pt x="216" y="872"/>
                  </a:lnTo>
                  <a:lnTo>
                    <a:pt x="217" y="872"/>
                  </a:lnTo>
                  <a:lnTo>
                    <a:pt x="217" y="870"/>
                  </a:lnTo>
                  <a:lnTo>
                    <a:pt x="219" y="872"/>
                  </a:lnTo>
                  <a:lnTo>
                    <a:pt x="220" y="870"/>
                  </a:lnTo>
                  <a:lnTo>
                    <a:pt x="222" y="872"/>
                  </a:lnTo>
                  <a:lnTo>
                    <a:pt x="222" y="875"/>
                  </a:lnTo>
                  <a:lnTo>
                    <a:pt x="223" y="875"/>
                  </a:lnTo>
                  <a:lnTo>
                    <a:pt x="222" y="873"/>
                  </a:lnTo>
                  <a:lnTo>
                    <a:pt x="223" y="872"/>
                  </a:lnTo>
                  <a:lnTo>
                    <a:pt x="223" y="870"/>
                  </a:lnTo>
                  <a:lnTo>
                    <a:pt x="222" y="870"/>
                  </a:lnTo>
                  <a:lnTo>
                    <a:pt x="222" y="867"/>
                  </a:lnTo>
                  <a:lnTo>
                    <a:pt x="220" y="869"/>
                  </a:lnTo>
                  <a:lnTo>
                    <a:pt x="219" y="867"/>
                  </a:lnTo>
                  <a:lnTo>
                    <a:pt x="219" y="866"/>
                  </a:lnTo>
                  <a:lnTo>
                    <a:pt x="220" y="866"/>
                  </a:lnTo>
                  <a:lnTo>
                    <a:pt x="220" y="864"/>
                  </a:lnTo>
                  <a:lnTo>
                    <a:pt x="222" y="864"/>
                  </a:lnTo>
                  <a:lnTo>
                    <a:pt x="222" y="863"/>
                  </a:lnTo>
                  <a:lnTo>
                    <a:pt x="223" y="863"/>
                  </a:lnTo>
                  <a:lnTo>
                    <a:pt x="225" y="861"/>
                  </a:lnTo>
                  <a:lnTo>
                    <a:pt x="222" y="861"/>
                  </a:lnTo>
                  <a:lnTo>
                    <a:pt x="222" y="860"/>
                  </a:lnTo>
                  <a:lnTo>
                    <a:pt x="223" y="858"/>
                  </a:lnTo>
                  <a:lnTo>
                    <a:pt x="222" y="858"/>
                  </a:lnTo>
                  <a:lnTo>
                    <a:pt x="222" y="854"/>
                  </a:lnTo>
                  <a:lnTo>
                    <a:pt x="220" y="855"/>
                  </a:lnTo>
                  <a:lnTo>
                    <a:pt x="220" y="860"/>
                  </a:lnTo>
                  <a:lnTo>
                    <a:pt x="217" y="861"/>
                  </a:lnTo>
                  <a:lnTo>
                    <a:pt x="216" y="861"/>
                  </a:lnTo>
                  <a:lnTo>
                    <a:pt x="216" y="866"/>
                  </a:lnTo>
                  <a:lnTo>
                    <a:pt x="214" y="866"/>
                  </a:lnTo>
                  <a:lnTo>
                    <a:pt x="214" y="854"/>
                  </a:lnTo>
                  <a:lnTo>
                    <a:pt x="213" y="854"/>
                  </a:lnTo>
                  <a:lnTo>
                    <a:pt x="214" y="851"/>
                  </a:lnTo>
                  <a:lnTo>
                    <a:pt x="214" y="849"/>
                  </a:lnTo>
                  <a:lnTo>
                    <a:pt x="213" y="851"/>
                  </a:lnTo>
                  <a:lnTo>
                    <a:pt x="213" y="846"/>
                  </a:lnTo>
                  <a:lnTo>
                    <a:pt x="217" y="846"/>
                  </a:lnTo>
                  <a:lnTo>
                    <a:pt x="217" y="848"/>
                  </a:lnTo>
                  <a:lnTo>
                    <a:pt x="222" y="848"/>
                  </a:lnTo>
                  <a:lnTo>
                    <a:pt x="223" y="851"/>
                  </a:lnTo>
                  <a:lnTo>
                    <a:pt x="225" y="851"/>
                  </a:lnTo>
                  <a:lnTo>
                    <a:pt x="225" y="849"/>
                  </a:lnTo>
                  <a:lnTo>
                    <a:pt x="222" y="846"/>
                  </a:lnTo>
                  <a:lnTo>
                    <a:pt x="217" y="846"/>
                  </a:lnTo>
                  <a:lnTo>
                    <a:pt x="216" y="845"/>
                  </a:lnTo>
                  <a:lnTo>
                    <a:pt x="213" y="845"/>
                  </a:lnTo>
                  <a:lnTo>
                    <a:pt x="213" y="843"/>
                  </a:lnTo>
                  <a:lnTo>
                    <a:pt x="211" y="843"/>
                  </a:lnTo>
                  <a:lnTo>
                    <a:pt x="211" y="839"/>
                  </a:lnTo>
                  <a:lnTo>
                    <a:pt x="213" y="837"/>
                  </a:lnTo>
                  <a:lnTo>
                    <a:pt x="217" y="836"/>
                  </a:lnTo>
                  <a:lnTo>
                    <a:pt x="213" y="836"/>
                  </a:lnTo>
                  <a:lnTo>
                    <a:pt x="213" y="834"/>
                  </a:lnTo>
                  <a:lnTo>
                    <a:pt x="211" y="834"/>
                  </a:lnTo>
                  <a:lnTo>
                    <a:pt x="211" y="836"/>
                  </a:lnTo>
                  <a:lnTo>
                    <a:pt x="210" y="836"/>
                  </a:lnTo>
                  <a:lnTo>
                    <a:pt x="210" y="830"/>
                  </a:lnTo>
                  <a:lnTo>
                    <a:pt x="208" y="827"/>
                  </a:lnTo>
                  <a:lnTo>
                    <a:pt x="210" y="827"/>
                  </a:lnTo>
                  <a:lnTo>
                    <a:pt x="210" y="825"/>
                  </a:lnTo>
                  <a:lnTo>
                    <a:pt x="211" y="825"/>
                  </a:lnTo>
                  <a:lnTo>
                    <a:pt x="211" y="824"/>
                  </a:lnTo>
                  <a:lnTo>
                    <a:pt x="210" y="822"/>
                  </a:lnTo>
                  <a:lnTo>
                    <a:pt x="208" y="825"/>
                  </a:lnTo>
                  <a:lnTo>
                    <a:pt x="208" y="822"/>
                  </a:lnTo>
                  <a:lnTo>
                    <a:pt x="207" y="821"/>
                  </a:lnTo>
                  <a:lnTo>
                    <a:pt x="207" y="819"/>
                  </a:lnTo>
                  <a:lnTo>
                    <a:pt x="208" y="819"/>
                  </a:lnTo>
                  <a:lnTo>
                    <a:pt x="208" y="816"/>
                  </a:lnTo>
                  <a:lnTo>
                    <a:pt x="207" y="816"/>
                  </a:lnTo>
                  <a:lnTo>
                    <a:pt x="208" y="815"/>
                  </a:lnTo>
                  <a:lnTo>
                    <a:pt x="208" y="813"/>
                  </a:lnTo>
                  <a:lnTo>
                    <a:pt x="210" y="813"/>
                  </a:lnTo>
                  <a:lnTo>
                    <a:pt x="210" y="807"/>
                  </a:lnTo>
                  <a:lnTo>
                    <a:pt x="211" y="804"/>
                  </a:lnTo>
                  <a:lnTo>
                    <a:pt x="211" y="798"/>
                  </a:lnTo>
                  <a:lnTo>
                    <a:pt x="213" y="798"/>
                  </a:lnTo>
                  <a:lnTo>
                    <a:pt x="213" y="795"/>
                  </a:lnTo>
                  <a:lnTo>
                    <a:pt x="214" y="795"/>
                  </a:lnTo>
                  <a:lnTo>
                    <a:pt x="214" y="792"/>
                  </a:lnTo>
                  <a:lnTo>
                    <a:pt x="216" y="791"/>
                  </a:lnTo>
                  <a:lnTo>
                    <a:pt x="217" y="788"/>
                  </a:lnTo>
                  <a:lnTo>
                    <a:pt x="217" y="782"/>
                  </a:lnTo>
                  <a:lnTo>
                    <a:pt x="219" y="782"/>
                  </a:lnTo>
                  <a:lnTo>
                    <a:pt x="219" y="777"/>
                  </a:lnTo>
                  <a:lnTo>
                    <a:pt x="220" y="776"/>
                  </a:lnTo>
                  <a:lnTo>
                    <a:pt x="220" y="774"/>
                  </a:lnTo>
                  <a:lnTo>
                    <a:pt x="219" y="774"/>
                  </a:lnTo>
                  <a:lnTo>
                    <a:pt x="220" y="773"/>
                  </a:lnTo>
                  <a:lnTo>
                    <a:pt x="219" y="773"/>
                  </a:lnTo>
                  <a:lnTo>
                    <a:pt x="219" y="774"/>
                  </a:lnTo>
                  <a:lnTo>
                    <a:pt x="217" y="773"/>
                  </a:lnTo>
                  <a:lnTo>
                    <a:pt x="217" y="771"/>
                  </a:lnTo>
                  <a:lnTo>
                    <a:pt x="216" y="773"/>
                  </a:lnTo>
                  <a:lnTo>
                    <a:pt x="216" y="770"/>
                  </a:lnTo>
                  <a:lnTo>
                    <a:pt x="217" y="770"/>
                  </a:lnTo>
                  <a:lnTo>
                    <a:pt x="216" y="767"/>
                  </a:lnTo>
                  <a:lnTo>
                    <a:pt x="217" y="765"/>
                  </a:lnTo>
                  <a:lnTo>
                    <a:pt x="214" y="765"/>
                  </a:lnTo>
                  <a:lnTo>
                    <a:pt x="214" y="764"/>
                  </a:lnTo>
                  <a:lnTo>
                    <a:pt x="213" y="764"/>
                  </a:lnTo>
                  <a:lnTo>
                    <a:pt x="213" y="762"/>
                  </a:lnTo>
                  <a:lnTo>
                    <a:pt x="216" y="762"/>
                  </a:lnTo>
                  <a:lnTo>
                    <a:pt x="214" y="758"/>
                  </a:lnTo>
                  <a:lnTo>
                    <a:pt x="211" y="759"/>
                  </a:lnTo>
                  <a:lnTo>
                    <a:pt x="210" y="761"/>
                  </a:lnTo>
                  <a:lnTo>
                    <a:pt x="210" y="757"/>
                  </a:lnTo>
                  <a:lnTo>
                    <a:pt x="208" y="757"/>
                  </a:lnTo>
                  <a:lnTo>
                    <a:pt x="208" y="759"/>
                  </a:lnTo>
                  <a:lnTo>
                    <a:pt x="205" y="759"/>
                  </a:lnTo>
                  <a:lnTo>
                    <a:pt x="205" y="758"/>
                  </a:lnTo>
                  <a:lnTo>
                    <a:pt x="208" y="755"/>
                  </a:lnTo>
                  <a:lnTo>
                    <a:pt x="211" y="755"/>
                  </a:lnTo>
                  <a:lnTo>
                    <a:pt x="210" y="754"/>
                  </a:lnTo>
                  <a:lnTo>
                    <a:pt x="208" y="754"/>
                  </a:lnTo>
                  <a:lnTo>
                    <a:pt x="208" y="752"/>
                  </a:lnTo>
                  <a:lnTo>
                    <a:pt x="207" y="752"/>
                  </a:lnTo>
                  <a:lnTo>
                    <a:pt x="207" y="751"/>
                  </a:lnTo>
                  <a:lnTo>
                    <a:pt x="205" y="752"/>
                  </a:lnTo>
                  <a:lnTo>
                    <a:pt x="205" y="751"/>
                  </a:lnTo>
                  <a:lnTo>
                    <a:pt x="204" y="749"/>
                  </a:lnTo>
                  <a:lnTo>
                    <a:pt x="204" y="748"/>
                  </a:lnTo>
                  <a:lnTo>
                    <a:pt x="205" y="748"/>
                  </a:lnTo>
                  <a:lnTo>
                    <a:pt x="207" y="746"/>
                  </a:lnTo>
                  <a:lnTo>
                    <a:pt x="202" y="746"/>
                  </a:lnTo>
                  <a:lnTo>
                    <a:pt x="204" y="745"/>
                  </a:lnTo>
                  <a:lnTo>
                    <a:pt x="207" y="745"/>
                  </a:lnTo>
                  <a:lnTo>
                    <a:pt x="210" y="742"/>
                  </a:lnTo>
                  <a:lnTo>
                    <a:pt x="211" y="742"/>
                  </a:lnTo>
                  <a:lnTo>
                    <a:pt x="211" y="740"/>
                  </a:lnTo>
                  <a:lnTo>
                    <a:pt x="205" y="743"/>
                  </a:lnTo>
                  <a:lnTo>
                    <a:pt x="204" y="743"/>
                  </a:lnTo>
                  <a:lnTo>
                    <a:pt x="205" y="740"/>
                  </a:lnTo>
                  <a:lnTo>
                    <a:pt x="207" y="740"/>
                  </a:lnTo>
                  <a:lnTo>
                    <a:pt x="208" y="737"/>
                  </a:lnTo>
                  <a:lnTo>
                    <a:pt x="211" y="737"/>
                  </a:lnTo>
                  <a:lnTo>
                    <a:pt x="213" y="736"/>
                  </a:lnTo>
                  <a:lnTo>
                    <a:pt x="214" y="733"/>
                  </a:lnTo>
                  <a:lnTo>
                    <a:pt x="220" y="733"/>
                  </a:lnTo>
                  <a:lnTo>
                    <a:pt x="222" y="731"/>
                  </a:lnTo>
                  <a:lnTo>
                    <a:pt x="225" y="730"/>
                  </a:lnTo>
                  <a:lnTo>
                    <a:pt x="226" y="728"/>
                  </a:lnTo>
                  <a:lnTo>
                    <a:pt x="229" y="728"/>
                  </a:lnTo>
                  <a:lnTo>
                    <a:pt x="229" y="727"/>
                  </a:lnTo>
                  <a:lnTo>
                    <a:pt x="228" y="727"/>
                  </a:lnTo>
                  <a:lnTo>
                    <a:pt x="226" y="728"/>
                  </a:lnTo>
                  <a:lnTo>
                    <a:pt x="225" y="728"/>
                  </a:lnTo>
                  <a:lnTo>
                    <a:pt x="225" y="730"/>
                  </a:lnTo>
                  <a:lnTo>
                    <a:pt x="223" y="730"/>
                  </a:lnTo>
                  <a:lnTo>
                    <a:pt x="220" y="731"/>
                  </a:lnTo>
                  <a:lnTo>
                    <a:pt x="217" y="730"/>
                  </a:lnTo>
                  <a:lnTo>
                    <a:pt x="216" y="730"/>
                  </a:lnTo>
                  <a:lnTo>
                    <a:pt x="216" y="731"/>
                  </a:lnTo>
                  <a:lnTo>
                    <a:pt x="202" y="731"/>
                  </a:lnTo>
                  <a:lnTo>
                    <a:pt x="201" y="730"/>
                  </a:lnTo>
                  <a:lnTo>
                    <a:pt x="202" y="728"/>
                  </a:lnTo>
                  <a:lnTo>
                    <a:pt x="202" y="724"/>
                  </a:lnTo>
                  <a:lnTo>
                    <a:pt x="205" y="721"/>
                  </a:lnTo>
                  <a:lnTo>
                    <a:pt x="205" y="719"/>
                  </a:lnTo>
                  <a:lnTo>
                    <a:pt x="207" y="718"/>
                  </a:lnTo>
                  <a:lnTo>
                    <a:pt x="210" y="718"/>
                  </a:lnTo>
                  <a:lnTo>
                    <a:pt x="210" y="716"/>
                  </a:lnTo>
                  <a:lnTo>
                    <a:pt x="211" y="716"/>
                  </a:lnTo>
                  <a:lnTo>
                    <a:pt x="210" y="715"/>
                  </a:lnTo>
                  <a:lnTo>
                    <a:pt x="210" y="716"/>
                  </a:lnTo>
                  <a:lnTo>
                    <a:pt x="205" y="716"/>
                  </a:lnTo>
                  <a:lnTo>
                    <a:pt x="205" y="718"/>
                  </a:lnTo>
                  <a:lnTo>
                    <a:pt x="204" y="719"/>
                  </a:lnTo>
                  <a:lnTo>
                    <a:pt x="202" y="719"/>
                  </a:lnTo>
                  <a:lnTo>
                    <a:pt x="201" y="718"/>
                  </a:lnTo>
                  <a:lnTo>
                    <a:pt x="201" y="710"/>
                  </a:lnTo>
                  <a:lnTo>
                    <a:pt x="202" y="709"/>
                  </a:lnTo>
                  <a:lnTo>
                    <a:pt x="202" y="707"/>
                  </a:lnTo>
                  <a:lnTo>
                    <a:pt x="205" y="704"/>
                  </a:lnTo>
                  <a:lnTo>
                    <a:pt x="207" y="704"/>
                  </a:lnTo>
                  <a:lnTo>
                    <a:pt x="207" y="706"/>
                  </a:lnTo>
                  <a:lnTo>
                    <a:pt x="210" y="706"/>
                  </a:lnTo>
                  <a:lnTo>
                    <a:pt x="211" y="707"/>
                  </a:lnTo>
                  <a:lnTo>
                    <a:pt x="213" y="704"/>
                  </a:lnTo>
                  <a:lnTo>
                    <a:pt x="214" y="704"/>
                  </a:lnTo>
                  <a:lnTo>
                    <a:pt x="216" y="703"/>
                  </a:lnTo>
                  <a:lnTo>
                    <a:pt x="217" y="704"/>
                  </a:lnTo>
                  <a:lnTo>
                    <a:pt x="219" y="704"/>
                  </a:lnTo>
                  <a:lnTo>
                    <a:pt x="219" y="701"/>
                  </a:lnTo>
                  <a:lnTo>
                    <a:pt x="217" y="703"/>
                  </a:lnTo>
                  <a:lnTo>
                    <a:pt x="216" y="701"/>
                  </a:lnTo>
                  <a:lnTo>
                    <a:pt x="214" y="701"/>
                  </a:lnTo>
                  <a:lnTo>
                    <a:pt x="214" y="703"/>
                  </a:lnTo>
                  <a:lnTo>
                    <a:pt x="210" y="703"/>
                  </a:lnTo>
                  <a:lnTo>
                    <a:pt x="207" y="701"/>
                  </a:lnTo>
                  <a:lnTo>
                    <a:pt x="202" y="701"/>
                  </a:lnTo>
                  <a:lnTo>
                    <a:pt x="199" y="704"/>
                  </a:lnTo>
                  <a:lnTo>
                    <a:pt x="198" y="704"/>
                  </a:lnTo>
                  <a:lnTo>
                    <a:pt x="198" y="703"/>
                  </a:lnTo>
                  <a:lnTo>
                    <a:pt x="195" y="703"/>
                  </a:lnTo>
                  <a:lnTo>
                    <a:pt x="195" y="700"/>
                  </a:lnTo>
                  <a:lnTo>
                    <a:pt x="196" y="698"/>
                  </a:lnTo>
                  <a:lnTo>
                    <a:pt x="195" y="697"/>
                  </a:lnTo>
                  <a:lnTo>
                    <a:pt x="195" y="698"/>
                  </a:lnTo>
                  <a:lnTo>
                    <a:pt x="193" y="698"/>
                  </a:lnTo>
                  <a:lnTo>
                    <a:pt x="193" y="700"/>
                  </a:lnTo>
                  <a:lnTo>
                    <a:pt x="192" y="701"/>
                  </a:lnTo>
                  <a:lnTo>
                    <a:pt x="192" y="703"/>
                  </a:lnTo>
                  <a:lnTo>
                    <a:pt x="190" y="703"/>
                  </a:lnTo>
                  <a:lnTo>
                    <a:pt x="189" y="701"/>
                  </a:lnTo>
                  <a:lnTo>
                    <a:pt x="189" y="700"/>
                  </a:lnTo>
                  <a:lnTo>
                    <a:pt x="187" y="700"/>
                  </a:lnTo>
                  <a:lnTo>
                    <a:pt x="186" y="701"/>
                  </a:lnTo>
                  <a:lnTo>
                    <a:pt x="184" y="701"/>
                  </a:lnTo>
                  <a:lnTo>
                    <a:pt x="184" y="703"/>
                  </a:lnTo>
                  <a:lnTo>
                    <a:pt x="187" y="703"/>
                  </a:lnTo>
                  <a:lnTo>
                    <a:pt x="189" y="704"/>
                  </a:lnTo>
                  <a:lnTo>
                    <a:pt x="192" y="704"/>
                  </a:lnTo>
                  <a:lnTo>
                    <a:pt x="192" y="712"/>
                  </a:lnTo>
                  <a:lnTo>
                    <a:pt x="190" y="712"/>
                  </a:lnTo>
                  <a:lnTo>
                    <a:pt x="190" y="713"/>
                  </a:lnTo>
                  <a:lnTo>
                    <a:pt x="189" y="715"/>
                  </a:lnTo>
                  <a:lnTo>
                    <a:pt x="187" y="715"/>
                  </a:lnTo>
                  <a:lnTo>
                    <a:pt x="187" y="716"/>
                  </a:lnTo>
                  <a:lnTo>
                    <a:pt x="184" y="716"/>
                  </a:lnTo>
                  <a:lnTo>
                    <a:pt x="183" y="715"/>
                  </a:lnTo>
                  <a:lnTo>
                    <a:pt x="181" y="715"/>
                  </a:lnTo>
                  <a:lnTo>
                    <a:pt x="183" y="716"/>
                  </a:lnTo>
                  <a:lnTo>
                    <a:pt x="181" y="716"/>
                  </a:lnTo>
                  <a:lnTo>
                    <a:pt x="181" y="718"/>
                  </a:lnTo>
                  <a:lnTo>
                    <a:pt x="178" y="718"/>
                  </a:lnTo>
                  <a:lnTo>
                    <a:pt x="181" y="719"/>
                  </a:lnTo>
                  <a:lnTo>
                    <a:pt x="184" y="719"/>
                  </a:lnTo>
                  <a:lnTo>
                    <a:pt x="184" y="724"/>
                  </a:lnTo>
                  <a:lnTo>
                    <a:pt x="181" y="721"/>
                  </a:lnTo>
                  <a:lnTo>
                    <a:pt x="180" y="721"/>
                  </a:lnTo>
                  <a:lnTo>
                    <a:pt x="180" y="722"/>
                  </a:lnTo>
                  <a:lnTo>
                    <a:pt x="181" y="722"/>
                  </a:lnTo>
                  <a:lnTo>
                    <a:pt x="181" y="724"/>
                  </a:lnTo>
                  <a:lnTo>
                    <a:pt x="180" y="724"/>
                  </a:lnTo>
                  <a:lnTo>
                    <a:pt x="177" y="722"/>
                  </a:lnTo>
                  <a:lnTo>
                    <a:pt x="177" y="725"/>
                  </a:lnTo>
                  <a:lnTo>
                    <a:pt x="178" y="725"/>
                  </a:lnTo>
                  <a:lnTo>
                    <a:pt x="178" y="727"/>
                  </a:lnTo>
                  <a:lnTo>
                    <a:pt x="180" y="725"/>
                  </a:lnTo>
                  <a:lnTo>
                    <a:pt x="181" y="725"/>
                  </a:lnTo>
                  <a:lnTo>
                    <a:pt x="181" y="727"/>
                  </a:lnTo>
                  <a:lnTo>
                    <a:pt x="183" y="727"/>
                  </a:lnTo>
                  <a:lnTo>
                    <a:pt x="184" y="725"/>
                  </a:lnTo>
                  <a:lnTo>
                    <a:pt x="184" y="727"/>
                  </a:lnTo>
                  <a:lnTo>
                    <a:pt x="186" y="727"/>
                  </a:lnTo>
                  <a:lnTo>
                    <a:pt x="186" y="728"/>
                  </a:lnTo>
                  <a:lnTo>
                    <a:pt x="187" y="730"/>
                  </a:lnTo>
                  <a:lnTo>
                    <a:pt x="189" y="730"/>
                  </a:lnTo>
                  <a:lnTo>
                    <a:pt x="189" y="731"/>
                  </a:lnTo>
                  <a:lnTo>
                    <a:pt x="190" y="731"/>
                  </a:lnTo>
                  <a:lnTo>
                    <a:pt x="190" y="736"/>
                  </a:lnTo>
                  <a:lnTo>
                    <a:pt x="189" y="740"/>
                  </a:lnTo>
                  <a:lnTo>
                    <a:pt x="187" y="743"/>
                  </a:lnTo>
                  <a:lnTo>
                    <a:pt x="184" y="745"/>
                  </a:lnTo>
                  <a:lnTo>
                    <a:pt x="184" y="746"/>
                  </a:lnTo>
                  <a:lnTo>
                    <a:pt x="183" y="749"/>
                  </a:lnTo>
                  <a:lnTo>
                    <a:pt x="181" y="751"/>
                  </a:lnTo>
                  <a:lnTo>
                    <a:pt x="181" y="755"/>
                  </a:lnTo>
                  <a:lnTo>
                    <a:pt x="180" y="755"/>
                  </a:lnTo>
                  <a:lnTo>
                    <a:pt x="180" y="757"/>
                  </a:lnTo>
                  <a:lnTo>
                    <a:pt x="177" y="758"/>
                  </a:lnTo>
                  <a:lnTo>
                    <a:pt x="174" y="758"/>
                  </a:lnTo>
                  <a:lnTo>
                    <a:pt x="168" y="761"/>
                  </a:lnTo>
                  <a:lnTo>
                    <a:pt x="168" y="762"/>
                  </a:lnTo>
                  <a:lnTo>
                    <a:pt x="163" y="762"/>
                  </a:lnTo>
                  <a:lnTo>
                    <a:pt x="162" y="764"/>
                  </a:lnTo>
                  <a:lnTo>
                    <a:pt x="160" y="764"/>
                  </a:lnTo>
                  <a:lnTo>
                    <a:pt x="157" y="767"/>
                  </a:lnTo>
                  <a:lnTo>
                    <a:pt x="156" y="767"/>
                  </a:lnTo>
                  <a:lnTo>
                    <a:pt x="157" y="765"/>
                  </a:lnTo>
                  <a:lnTo>
                    <a:pt x="156" y="765"/>
                  </a:lnTo>
                  <a:lnTo>
                    <a:pt x="153" y="768"/>
                  </a:lnTo>
                  <a:lnTo>
                    <a:pt x="153" y="770"/>
                  </a:lnTo>
                  <a:lnTo>
                    <a:pt x="148" y="771"/>
                  </a:lnTo>
                  <a:lnTo>
                    <a:pt x="145" y="771"/>
                  </a:lnTo>
                  <a:lnTo>
                    <a:pt x="138" y="776"/>
                  </a:lnTo>
                  <a:lnTo>
                    <a:pt x="135" y="776"/>
                  </a:lnTo>
                  <a:lnTo>
                    <a:pt x="133" y="777"/>
                  </a:lnTo>
                  <a:lnTo>
                    <a:pt x="132" y="776"/>
                  </a:lnTo>
                  <a:lnTo>
                    <a:pt x="132" y="777"/>
                  </a:lnTo>
                  <a:lnTo>
                    <a:pt x="131" y="777"/>
                  </a:lnTo>
                  <a:lnTo>
                    <a:pt x="131" y="779"/>
                  </a:lnTo>
                  <a:lnTo>
                    <a:pt x="122" y="779"/>
                  </a:lnTo>
                  <a:lnTo>
                    <a:pt x="122" y="777"/>
                  </a:lnTo>
                  <a:lnTo>
                    <a:pt x="119" y="777"/>
                  </a:lnTo>
                  <a:lnTo>
                    <a:pt x="117" y="776"/>
                  </a:lnTo>
                  <a:lnTo>
                    <a:pt x="110" y="773"/>
                  </a:lnTo>
                  <a:lnTo>
                    <a:pt x="108" y="771"/>
                  </a:lnTo>
                  <a:lnTo>
                    <a:pt x="107" y="771"/>
                  </a:lnTo>
                  <a:lnTo>
                    <a:pt x="104" y="768"/>
                  </a:lnTo>
                  <a:lnTo>
                    <a:pt x="101" y="768"/>
                  </a:lnTo>
                  <a:lnTo>
                    <a:pt x="98" y="765"/>
                  </a:lnTo>
                  <a:lnTo>
                    <a:pt x="92" y="761"/>
                  </a:lnTo>
                  <a:lnTo>
                    <a:pt x="89" y="757"/>
                  </a:lnTo>
                  <a:lnTo>
                    <a:pt x="81" y="749"/>
                  </a:lnTo>
                  <a:lnTo>
                    <a:pt x="78" y="745"/>
                  </a:lnTo>
                  <a:lnTo>
                    <a:pt x="77" y="743"/>
                  </a:lnTo>
                  <a:lnTo>
                    <a:pt x="77" y="742"/>
                  </a:lnTo>
                  <a:lnTo>
                    <a:pt x="75" y="742"/>
                  </a:lnTo>
                  <a:lnTo>
                    <a:pt x="75" y="740"/>
                  </a:lnTo>
                  <a:lnTo>
                    <a:pt x="74" y="740"/>
                  </a:lnTo>
                  <a:lnTo>
                    <a:pt x="63" y="730"/>
                  </a:lnTo>
                  <a:lnTo>
                    <a:pt x="62" y="730"/>
                  </a:lnTo>
                  <a:lnTo>
                    <a:pt x="62" y="727"/>
                  </a:lnTo>
                  <a:lnTo>
                    <a:pt x="59" y="727"/>
                  </a:lnTo>
                  <a:lnTo>
                    <a:pt x="57" y="724"/>
                  </a:lnTo>
                  <a:lnTo>
                    <a:pt x="57" y="721"/>
                  </a:lnTo>
                  <a:lnTo>
                    <a:pt x="56" y="722"/>
                  </a:lnTo>
                  <a:lnTo>
                    <a:pt x="54" y="722"/>
                  </a:lnTo>
                  <a:lnTo>
                    <a:pt x="51" y="718"/>
                  </a:lnTo>
                  <a:lnTo>
                    <a:pt x="50" y="716"/>
                  </a:lnTo>
                  <a:lnTo>
                    <a:pt x="48" y="716"/>
                  </a:lnTo>
                  <a:lnTo>
                    <a:pt x="47" y="713"/>
                  </a:lnTo>
                  <a:lnTo>
                    <a:pt x="45" y="712"/>
                  </a:lnTo>
                  <a:lnTo>
                    <a:pt x="44" y="712"/>
                  </a:lnTo>
                  <a:lnTo>
                    <a:pt x="44" y="710"/>
                  </a:lnTo>
                  <a:lnTo>
                    <a:pt x="42" y="707"/>
                  </a:lnTo>
                  <a:lnTo>
                    <a:pt x="39" y="706"/>
                  </a:lnTo>
                  <a:lnTo>
                    <a:pt x="38" y="704"/>
                  </a:lnTo>
                  <a:lnTo>
                    <a:pt x="38" y="701"/>
                  </a:lnTo>
                  <a:lnTo>
                    <a:pt x="36" y="701"/>
                  </a:lnTo>
                  <a:lnTo>
                    <a:pt x="36" y="700"/>
                  </a:lnTo>
                  <a:lnTo>
                    <a:pt x="38" y="698"/>
                  </a:lnTo>
                  <a:lnTo>
                    <a:pt x="38" y="695"/>
                  </a:lnTo>
                  <a:lnTo>
                    <a:pt x="39" y="695"/>
                  </a:lnTo>
                  <a:lnTo>
                    <a:pt x="39" y="694"/>
                  </a:lnTo>
                  <a:lnTo>
                    <a:pt x="42" y="692"/>
                  </a:lnTo>
                  <a:lnTo>
                    <a:pt x="42" y="691"/>
                  </a:lnTo>
                  <a:lnTo>
                    <a:pt x="44" y="692"/>
                  </a:lnTo>
                  <a:lnTo>
                    <a:pt x="42" y="694"/>
                  </a:lnTo>
                  <a:lnTo>
                    <a:pt x="42" y="695"/>
                  </a:lnTo>
                  <a:lnTo>
                    <a:pt x="47" y="695"/>
                  </a:lnTo>
                  <a:lnTo>
                    <a:pt x="47" y="694"/>
                  </a:lnTo>
                  <a:lnTo>
                    <a:pt x="48" y="694"/>
                  </a:lnTo>
                  <a:lnTo>
                    <a:pt x="48" y="698"/>
                  </a:lnTo>
                  <a:lnTo>
                    <a:pt x="47" y="700"/>
                  </a:lnTo>
                  <a:lnTo>
                    <a:pt x="48" y="701"/>
                  </a:lnTo>
                  <a:lnTo>
                    <a:pt x="53" y="701"/>
                  </a:lnTo>
                  <a:lnTo>
                    <a:pt x="54" y="700"/>
                  </a:lnTo>
                  <a:lnTo>
                    <a:pt x="56" y="700"/>
                  </a:lnTo>
                  <a:lnTo>
                    <a:pt x="59" y="698"/>
                  </a:lnTo>
                  <a:lnTo>
                    <a:pt x="62" y="698"/>
                  </a:lnTo>
                  <a:lnTo>
                    <a:pt x="62" y="697"/>
                  </a:lnTo>
                  <a:lnTo>
                    <a:pt x="63" y="697"/>
                  </a:lnTo>
                  <a:lnTo>
                    <a:pt x="63" y="694"/>
                  </a:lnTo>
                  <a:lnTo>
                    <a:pt x="65" y="692"/>
                  </a:lnTo>
                  <a:lnTo>
                    <a:pt x="65" y="697"/>
                  </a:lnTo>
                  <a:lnTo>
                    <a:pt x="69" y="697"/>
                  </a:lnTo>
                  <a:lnTo>
                    <a:pt x="69" y="695"/>
                  </a:lnTo>
                  <a:lnTo>
                    <a:pt x="72" y="695"/>
                  </a:lnTo>
                  <a:lnTo>
                    <a:pt x="72" y="692"/>
                  </a:lnTo>
                  <a:lnTo>
                    <a:pt x="74" y="692"/>
                  </a:lnTo>
                  <a:lnTo>
                    <a:pt x="75" y="694"/>
                  </a:lnTo>
                  <a:lnTo>
                    <a:pt x="75" y="695"/>
                  </a:lnTo>
                  <a:lnTo>
                    <a:pt x="77" y="694"/>
                  </a:lnTo>
                  <a:lnTo>
                    <a:pt x="77" y="692"/>
                  </a:lnTo>
                  <a:lnTo>
                    <a:pt x="80" y="692"/>
                  </a:lnTo>
                  <a:lnTo>
                    <a:pt x="81" y="691"/>
                  </a:lnTo>
                  <a:lnTo>
                    <a:pt x="84" y="689"/>
                  </a:lnTo>
                  <a:lnTo>
                    <a:pt x="86" y="689"/>
                  </a:lnTo>
                  <a:lnTo>
                    <a:pt x="86" y="688"/>
                  </a:lnTo>
                  <a:lnTo>
                    <a:pt x="93" y="688"/>
                  </a:lnTo>
                  <a:lnTo>
                    <a:pt x="95" y="686"/>
                  </a:lnTo>
                  <a:lnTo>
                    <a:pt x="95" y="685"/>
                  </a:lnTo>
                  <a:lnTo>
                    <a:pt x="96" y="683"/>
                  </a:lnTo>
                  <a:lnTo>
                    <a:pt x="98" y="680"/>
                  </a:lnTo>
                  <a:lnTo>
                    <a:pt x="101" y="677"/>
                  </a:lnTo>
                  <a:lnTo>
                    <a:pt x="101" y="674"/>
                  </a:lnTo>
                  <a:lnTo>
                    <a:pt x="102" y="671"/>
                  </a:lnTo>
                  <a:lnTo>
                    <a:pt x="107" y="667"/>
                  </a:lnTo>
                  <a:lnTo>
                    <a:pt x="107" y="668"/>
                  </a:lnTo>
                  <a:lnTo>
                    <a:pt x="108" y="668"/>
                  </a:lnTo>
                  <a:lnTo>
                    <a:pt x="108" y="665"/>
                  </a:lnTo>
                  <a:lnTo>
                    <a:pt x="110" y="665"/>
                  </a:lnTo>
                  <a:lnTo>
                    <a:pt x="110" y="661"/>
                  </a:lnTo>
                  <a:lnTo>
                    <a:pt x="108" y="661"/>
                  </a:lnTo>
                  <a:lnTo>
                    <a:pt x="108" y="659"/>
                  </a:lnTo>
                  <a:lnTo>
                    <a:pt x="107" y="659"/>
                  </a:lnTo>
                  <a:lnTo>
                    <a:pt x="107" y="661"/>
                  </a:lnTo>
                  <a:lnTo>
                    <a:pt x="104" y="661"/>
                  </a:lnTo>
                  <a:lnTo>
                    <a:pt x="104" y="668"/>
                  </a:lnTo>
                  <a:lnTo>
                    <a:pt x="102" y="668"/>
                  </a:lnTo>
                  <a:lnTo>
                    <a:pt x="102" y="670"/>
                  </a:lnTo>
                  <a:lnTo>
                    <a:pt x="101" y="670"/>
                  </a:lnTo>
                  <a:lnTo>
                    <a:pt x="101" y="668"/>
                  </a:lnTo>
                  <a:lnTo>
                    <a:pt x="98" y="668"/>
                  </a:lnTo>
                  <a:lnTo>
                    <a:pt x="98" y="667"/>
                  </a:lnTo>
                  <a:lnTo>
                    <a:pt x="96" y="667"/>
                  </a:lnTo>
                  <a:lnTo>
                    <a:pt x="96" y="668"/>
                  </a:lnTo>
                  <a:lnTo>
                    <a:pt x="92" y="668"/>
                  </a:lnTo>
                  <a:lnTo>
                    <a:pt x="92" y="667"/>
                  </a:lnTo>
                  <a:lnTo>
                    <a:pt x="90" y="668"/>
                  </a:lnTo>
                  <a:lnTo>
                    <a:pt x="92" y="668"/>
                  </a:lnTo>
                  <a:lnTo>
                    <a:pt x="92" y="670"/>
                  </a:lnTo>
                  <a:lnTo>
                    <a:pt x="89" y="670"/>
                  </a:lnTo>
                  <a:lnTo>
                    <a:pt x="86" y="671"/>
                  </a:lnTo>
                  <a:lnTo>
                    <a:pt x="83" y="671"/>
                  </a:lnTo>
                  <a:lnTo>
                    <a:pt x="80" y="673"/>
                  </a:lnTo>
                  <a:lnTo>
                    <a:pt x="77" y="673"/>
                  </a:lnTo>
                  <a:lnTo>
                    <a:pt x="72" y="677"/>
                  </a:lnTo>
                  <a:lnTo>
                    <a:pt x="72" y="679"/>
                  </a:lnTo>
                  <a:lnTo>
                    <a:pt x="71" y="679"/>
                  </a:lnTo>
                  <a:lnTo>
                    <a:pt x="69" y="677"/>
                  </a:lnTo>
                  <a:lnTo>
                    <a:pt x="62" y="677"/>
                  </a:lnTo>
                  <a:lnTo>
                    <a:pt x="62" y="676"/>
                  </a:lnTo>
                  <a:lnTo>
                    <a:pt x="59" y="676"/>
                  </a:lnTo>
                  <a:lnTo>
                    <a:pt x="57" y="674"/>
                  </a:lnTo>
                  <a:lnTo>
                    <a:pt x="50" y="674"/>
                  </a:lnTo>
                  <a:lnTo>
                    <a:pt x="48" y="673"/>
                  </a:lnTo>
                  <a:lnTo>
                    <a:pt x="45" y="671"/>
                  </a:lnTo>
                  <a:lnTo>
                    <a:pt x="41" y="668"/>
                  </a:lnTo>
                  <a:lnTo>
                    <a:pt x="33" y="665"/>
                  </a:lnTo>
                  <a:lnTo>
                    <a:pt x="26" y="659"/>
                  </a:lnTo>
                  <a:lnTo>
                    <a:pt x="24" y="658"/>
                  </a:lnTo>
                  <a:lnTo>
                    <a:pt x="23" y="658"/>
                  </a:lnTo>
                  <a:lnTo>
                    <a:pt x="23" y="656"/>
                  </a:lnTo>
                  <a:lnTo>
                    <a:pt x="21" y="656"/>
                  </a:lnTo>
                  <a:lnTo>
                    <a:pt x="21" y="653"/>
                  </a:lnTo>
                  <a:lnTo>
                    <a:pt x="23" y="653"/>
                  </a:lnTo>
                  <a:lnTo>
                    <a:pt x="23" y="652"/>
                  </a:lnTo>
                  <a:lnTo>
                    <a:pt x="21" y="653"/>
                  </a:lnTo>
                  <a:lnTo>
                    <a:pt x="18" y="653"/>
                  </a:lnTo>
                  <a:lnTo>
                    <a:pt x="18" y="652"/>
                  </a:lnTo>
                  <a:lnTo>
                    <a:pt x="20" y="650"/>
                  </a:lnTo>
                  <a:lnTo>
                    <a:pt x="21" y="650"/>
                  </a:lnTo>
                  <a:lnTo>
                    <a:pt x="21" y="649"/>
                  </a:lnTo>
                  <a:lnTo>
                    <a:pt x="20" y="649"/>
                  </a:lnTo>
                  <a:lnTo>
                    <a:pt x="20" y="647"/>
                  </a:lnTo>
                  <a:lnTo>
                    <a:pt x="17" y="647"/>
                  </a:lnTo>
                  <a:lnTo>
                    <a:pt x="17" y="646"/>
                  </a:lnTo>
                  <a:lnTo>
                    <a:pt x="18" y="646"/>
                  </a:lnTo>
                  <a:lnTo>
                    <a:pt x="18" y="644"/>
                  </a:lnTo>
                  <a:lnTo>
                    <a:pt x="17" y="644"/>
                  </a:lnTo>
                  <a:lnTo>
                    <a:pt x="15" y="646"/>
                  </a:lnTo>
                  <a:lnTo>
                    <a:pt x="14" y="644"/>
                  </a:lnTo>
                  <a:lnTo>
                    <a:pt x="12" y="644"/>
                  </a:lnTo>
                  <a:lnTo>
                    <a:pt x="14" y="643"/>
                  </a:lnTo>
                  <a:lnTo>
                    <a:pt x="14" y="641"/>
                  </a:lnTo>
                  <a:lnTo>
                    <a:pt x="15" y="641"/>
                  </a:lnTo>
                  <a:lnTo>
                    <a:pt x="15" y="640"/>
                  </a:lnTo>
                  <a:lnTo>
                    <a:pt x="14" y="640"/>
                  </a:lnTo>
                  <a:lnTo>
                    <a:pt x="14" y="641"/>
                  </a:lnTo>
                  <a:lnTo>
                    <a:pt x="12" y="641"/>
                  </a:lnTo>
                  <a:lnTo>
                    <a:pt x="12" y="635"/>
                  </a:lnTo>
                  <a:lnTo>
                    <a:pt x="14" y="634"/>
                  </a:lnTo>
                  <a:lnTo>
                    <a:pt x="15" y="635"/>
                  </a:lnTo>
                  <a:lnTo>
                    <a:pt x="17" y="634"/>
                  </a:lnTo>
                  <a:lnTo>
                    <a:pt x="15" y="634"/>
                  </a:lnTo>
                  <a:lnTo>
                    <a:pt x="15" y="632"/>
                  </a:lnTo>
                  <a:lnTo>
                    <a:pt x="18" y="632"/>
                  </a:lnTo>
                  <a:lnTo>
                    <a:pt x="18" y="631"/>
                  </a:lnTo>
                  <a:lnTo>
                    <a:pt x="21" y="628"/>
                  </a:lnTo>
                  <a:lnTo>
                    <a:pt x="23" y="628"/>
                  </a:lnTo>
                  <a:lnTo>
                    <a:pt x="23" y="626"/>
                  </a:lnTo>
                  <a:lnTo>
                    <a:pt x="24" y="625"/>
                  </a:lnTo>
                  <a:lnTo>
                    <a:pt x="23" y="625"/>
                  </a:lnTo>
                  <a:lnTo>
                    <a:pt x="20" y="628"/>
                  </a:lnTo>
                  <a:lnTo>
                    <a:pt x="17" y="628"/>
                  </a:lnTo>
                  <a:lnTo>
                    <a:pt x="17" y="629"/>
                  </a:lnTo>
                  <a:lnTo>
                    <a:pt x="14" y="629"/>
                  </a:lnTo>
                  <a:lnTo>
                    <a:pt x="14" y="631"/>
                  </a:lnTo>
                  <a:lnTo>
                    <a:pt x="12" y="631"/>
                  </a:lnTo>
                  <a:lnTo>
                    <a:pt x="9" y="635"/>
                  </a:lnTo>
                  <a:lnTo>
                    <a:pt x="9" y="637"/>
                  </a:lnTo>
                  <a:lnTo>
                    <a:pt x="2" y="637"/>
                  </a:lnTo>
                  <a:lnTo>
                    <a:pt x="0" y="635"/>
                  </a:lnTo>
                  <a:lnTo>
                    <a:pt x="0" y="634"/>
                  </a:lnTo>
                  <a:lnTo>
                    <a:pt x="2" y="634"/>
                  </a:lnTo>
                  <a:lnTo>
                    <a:pt x="2" y="632"/>
                  </a:lnTo>
                  <a:lnTo>
                    <a:pt x="3" y="632"/>
                  </a:lnTo>
                  <a:lnTo>
                    <a:pt x="5" y="634"/>
                  </a:lnTo>
                  <a:lnTo>
                    <a:pt x="5" y="632"/>
                  </a:lnTo>
                  <a:lnTo>
                    <a:pt x="3" y="632"/>
                  </a:lnTo>
                  <a:lnTo>
                    <a:pt x="3" y="631"/>
                  </a:lnTo>
                  <a:lnTo>
                    <a:pt x="2" y="631"/>
                  </a:lnTo>
                  <a:lnTo>
                    <a:pt x="2" y="628"/>
                  </a:lnTo>
                  <a:lnTo>
                    <a:pt x="0" y="628"/>
                  </a:lnTo>
                  <a:lnTo>
                    <a:pt x="2" y="626"/>
                  </a:lnTo>
                  <a:lnTo>
                    <a:pt x="2" y="623"/>
                  </a:lnTo>
                  <a:lnTo>
                    <a:pt x="3" y="622"/>
                  </a:lnTo>
                  <a:lnTo>
                    <a:pt x="5" y="622"/>
                  </a:lnTo>
                  <a:lnTo>
                    <a:pt x="5" y="619"/>
                  </a:lnTo>
                  <a:lnTo>
                    <a:pt x="6" y="619"/>
                  </a:lnTo>
                  <a:lnTo>
                    <a:pt x="6" y="620"/>
                  </a:lnTo>
                  <a:lnTo>
                    <a:pt x="8" y="620"/>
                  </a:lnTo>
                  <a:lnTo>
                    <a:pt x="8" y="619"/>
                  </a:lnTo>
                  <a:lnTo>
                    <a:pt x="9" y="619"/>
                  </a:lnTo>
                  <a:lnTo>
                    <a:pt x="11" y="617"/>
                  </a:lnTo>
                  <a:lnTo>
                    <a:pt x="27" y="617"/>
                  </a:lnTo>
                  <a:lnTo>
                    <a:pt x="27" y="599"/>
                  </a:lnTo>
                  <a:lnTo>
                    <a:pt x="30" y="599"/>
                  </a:lnTo>
                  <a:lnTo>
                    <a:pt x="30" y="601"/>
                  </a:lnTo>
                  <a:lnTo>
                    <a:pt x="32" y="604"/>
                  </a:lnTo>
                  <a:lnTo>
                    <a:pt x="33" y="601"/>
                  </a:lnTo>
                  <a:lnTo>
                    <a:pt x="35" y="601"/>
                  </a:lnTo>
                  <a:lnTo>
                    <a:pt x="35" y="599"/>
                  </a:lnTo>
                  <a:lnTo>
                    <a:pt x="38" y="602"/>
                  </a:lnTo>
                  <a:lnTo>
                    <a:pt x="38" y="604"/>
                  </a:lnTo>
                  <a:lnTo>
                    <a:pt x="39" y="602"/>
                  </a:lnTo>
                  <a:lnTo>
                    <a:pt x="42" y="602"/>
                  </a:lnTo>
                  <a:lnTo>
                    <a:pt x="42" y="601"/>
                  </a:lnTo>
                  <a:lnTo>
                    <a:pt x="44" y="602"/>
                  </a:lnTo>
                  <a:lnTo>
                    <a:pt x="47" y="602"/>
                  </a:lnTo>
                  <a:lnTo>
                    <a:pt x="47" y="604"/>
                  </a:lnTo>
                  <a:lnTo>
                    <a:pt x="48" y="602"/>
                  </a:lnTo>
                  <a:lnTo>
                    <a:pt x="66" y="602"/>
                  </a:lnTo>
                  <a:lnTo>
                    <a:pt x="71" y="607"/>
                  </a:lnTo>
                  <a:lnTo>
                    <a:pt x="72" y="607"/>
                  </a:lnTo>
                  <a:lnTo>
                    <a:pt x="75" y="608"/>
                  </a:lnTo>
                  <a:lnTo>
                    <a:pt x="84" y="608"/>
                  </a:lnTo>
                  <a:lnTo>
                    <a:pt x="87" y="605"/>
                  </a:lnTo>
                  <a:lnTo>
                    <a:pt x="89" y="605"/>
                  </a:lnTo>
                  <a:lnTo>
                    <a:pt x="89" y="602"/>
                  </a:lnTo>
                  <a:lnTo>
                    <a:pt x="90" y="601"/>
                  </a:lnTo>
                  <a:lnTo>
                    <a:pt x="92" y="601"/>
                  </a:lnTo>
                  <a:lnTo>
                    <a:pt x="95" y="599"/>
                  </a:lnTo>
                  <a:lnTo>
                    <a:pt x="96" y="599"/>
                  </a:lnTo>
                  <a:lnTo>
                    <a:pt x="98" y="598"/>
                  </a:lnTo>
                  <a:lnTo>
                    <a:pt x="102" y="598"/>
                  </a:lnTo>
                  <a:lnTo>
                    <a:pt x="105" y="596"/>
                  </a:lnTo>
                  <a:lnTo>
                    <a:pt x="110" y="595"/>
                  </a:lnTo>
                  <a:lnTo>
                    <a:pt x="111" y="595"/>
                  </a:lnTo>
                  <a:lnTo>
                    <a:pt x="111" y="602"/>
                  </a:lnTo>
                  <a:lnTo>
                    <a:pt x="113" y="602"/>
                  </a:lnTo>
                  <a:lnTo>
                    <a:pt x="114" y="604"/>
                  </a:lnTo>
                  <a:lnTo>
                    <a:pt x="123" y="604"/>
                  </a:lnTo>
                  <a:lnTo>
                    <a:pt x="123" y="602"/>
                  </a:lnTo>
                  <a:lnTo>
                    <a:pt x="125" y="602"/>
                  </a:lnTo>
                  <a:lnTo>
                    <a:pt x="125" y="599"/>
                  </a:lnTo>
                  <a:lnTo>
                    <a:pt x="128" y="598"/>
                  </a:lnTo>
                  <a:lnTo>
                    <a:pt x="132" y="598"/>
                  </a:lnTo>
                  <a:lnTo>
                    <a:pt x="132" y="596"/>
                  </a:lnTo>
                  <a:lnTo>
                    <a:pt x="135" y="596"/>
                  </a:lnTo>
                  <a:lnTo>
                    <a:pt x="135" y="593"/>
                  </a:lnTo>
                  <a:lnTo>
                    <a:pt x="131" y="593"/>
                  </a:lnTo>
                  <a:lnTo>
                    <a:pt x="131" y="589"/>
                  </a:lnTo>
                  <a:lnTo>
                    <a:pt x="129" y="587"/>
                  </a:lnTo>
                  <a:lnTo>
                    <a:pt x="129" y="584"/>
                  </a:lnTo>
                  <a:lnTo>
                    <a:pt x="131" y="584"/>
                  </a:lnTo>
                  <a:lnTo>
                    <a:pt x="133" y="583"/>
                  </a:lnTo>
                  <a:lnTo>
                    <a:pt x="133" y="580"/>
                  </a:lnTo>
                  <a:lnTo>
                    <a:pt x="132" y="575"/>
                  </a:lnTo>
                  <a:lnTo>
                    <a:pt x="129" y="571"/>
                  </a:lnTo>
                  <a:lnTo>
                    <a:pt x="126" y="565"/>
                  </a:lnTo>
                  <a:lnTo>
                    <a:pt x="125" y="559"/>
                  </a:lnTo>
                  <a:lnTo>
                    <a:pt x="125" y="557"/>
                  </a:lnTo>
                  <a:lnTo>
                    <a:pt x="123" y="556"/>
                  </a:lnTo>
                  <a:lnTo>
                    <a:pt x="120" y="554"/>
                  </a:lnTo>
                  <a:lnTo>
                    <a:pt x="119" y="553"/>
                  </a:lnTo>
                  <a:lnTo>
                    <a:pt x="119" y="548"/>
                  </a:lnTo>
                  <a:lnTo>
                    <a:pt x="116" y="547"/>
                  </a:lnTo>
                  <a:lnTo>
                    <a:pt x="116" y="532"/>
                  </a:lnTo>
                  <a:lnTo>
                    <a:pt x="114" y="530"/>
                  </a:lnTo>
                  <a:lnTo>
                    <a:pt x="110" y="530"/>
                  </a:lnTo>
                  <a:lnTo>
                    <a:pt x="107" y="532"/>
                  </a:lnTo>
                  <a:lnTo>
                    <a:pt x="102" y="532"/>
                  </a:lnTo>
                  <a:lnTo>
                    <a:pt x="99" y="530"/>
                  </a:lnTo>
                  <a:lnTo>
                    <a:pt x="96" y="530"/>
                  </a:lnTo>
                  <a:lnTo>
                    <a:pt x="96" y="529"/>
                  </a:lnTo>
                  <a:lnTo>
                    <a:pt x="95" y="526"/>
                  </a:lnTo>
                  <a:lnTo>
                    <a:pt x="95" y="524"/>
                  </a:lnTo>
                  <a:lnTo>
                    <a:pt x="92" y="523"/>
                  </a:lnTo>
                  <a:lnTo>
                    <a:pt x="90" y="521"/>
                  </a:lnTo>
                  <a:lnTo>
                    <a:pt x="89" y="518"/>
                  </a:lnTo>
                  <a:lnTo>
                    <a:pt x="89" y="509"/>
                  </a:lnTo>
                  <a:lnTo>
                    <a:pt x="92" y="506"/>
                  </a:lnTo>
                  <a:lnTo>
                    <a:pt x="92" y="498"/>
                  </a:lnTo>
                  <a:lnTo>
                    <a:pt x="93" y="498"/>
                  </a:lnTo>
                  <a:lnTo>
                    <a:pt x="93" y="489"/>
                  </a:lnTo>
                  <a:lnTo>
                    <a:pt x="90" y="486"/>
                  </a:lnTo>
                  <a:lnTo>
                    <a:pt x="77" y="486"/>
                  </a:lnTo>
                  <a:lnTo>
                    <a:pt x="72" y="481"/>
                  </a:lnTo>
                  <a:lnTo>
                    <a:pt x="69" y="481"/>
                  </a:lnTo>
                  <a:lnTo>
                    <a:pt x="63" y="478"/>
                  </a:lnTo>
                  <a:lnTo>
                    <a:pt x="62" y="477"/>
                  </a:lnTo>
                  <a:lnTo>
                    <a:pt x="60" y="474"/>
                  </a:lnTo>
                  <a:lnTo>
                    <a:pt x="63" y="462"/>
                  </a:lnTo>
                  <a:lnTo>
                    <a:pt x="63" y="457"/>
                  </a:lnTo>
                  <a:lnTo>
                    <a:pt x="72" y="448"/>
                  </a:lnTo>
                  <a:lnTo>
                    <a:pt x="78" y="444"/>
                  </a:lnTo>
                  <a:lnTo>
                    <a:pt x="81" y="439"/>
                  </a:lnTo>
                  <a:lnTo>
                    <a:pt x="86" y="435"/>
                  </a:lnTo>
                  <a:lnTo>
                    <a:pt x="86" y="433"/>
                  </a:lnTo>
                  <a:lnTo>
                    <a:pt x="90" y="423"/>
                  </a:lnTo>
                  <a:lnTo>
                    <a:pt x="101" y="412"/>
                  </a:lnTo>
                  <a:lnTo>
                    <a:pt x="102" y="412"/>
                  </a:lnTo>
                  <a:lnTo>
                    <a:pt x="104" y="411"/>
                  </a:lnTo>
                  <a:lnTo>
                    <a:pt x="108" y="411"/>
                  </a:lnTo>
                  <a:lnTo>
                    <a:pt x="110" y="412"/>
                  </a:lnTo>
                  <a:lnTo>
                    <a:pt x="111" y="412"/>
                  </a:lnTo>
                  <a:lnTo>
                    <a:pt x="114" y="415"/>
                  </a:lnTo>
                  <a:lnTo>
                    <a:pt x="114" y="420"/>
                  </a:lnTo>
                  <a:lnTo>
                    <a:pt x="116" y="423"/>
                  </a:lnTo>
                  <a:lnTo>
                    <a:pt x="120" y="427"/>
                  </a:lnTo>
                  <a:lnTo>
                    <a:pt x="123" y="429"/>
                  </a:lnTo>
                  <a:lnTo>
                    <a:pt x="128" y="427"/>
                  </a:lnTo>
                  <a:lnTo>
                    <a:pt x="132" y="424"/>
                  </a:lnTo>
                  <a:lnTo>
                    <a:pt x="138" y="421"/>
                  </a:lnTo>
                  <a:lnTo>
                    <a:pt x="141" y="421"/>
                  </a:lnTo>
                  <a:lnTo>
                    <a:pt x="145" y="420"/>
                  </a:lnTo>
                  <a:lnTo>
                    <a:pt x="157" y="420"/>
                  </a:lnTo>
                  <a:lnTo>
                    <a:pt x="163" y="417"/>
                  </a:lnTo>
                  <a:lnTo>
                    <a:pt x="171" y="415"/>
                  </a:lnTo>
                  <a:lnTo>
                    <a:pt x="171" y="414"/>
                  </a:lnTo>
                  <a:lnTo>
                    <a:pt x="172" y="408"/>
                  </a:lnTo>
                  <a:lnTo>
                    <a:pt x="172" y="406"/>
                  </a:lnTo>
                  <a:lnTo>
                    <a:pt x="177" y="400"/>
                  </a:lnTo>
                  <a:lnTo>
                    <a:pt x="183" y="396"/>
                  </a:lnTo>
                  <a:lnTo>
                    <a:pt x="184" y="394"/>
                  </a:lnTo>
                  <a:lnTo>
                    <a:pt x="186" y="391"/>
                  </a:lnTo>
                  <a:lnTo>
                    <a:pt x="186" y="390"/>
                  </a:lnTo>
                  <a:lnTo>
                    <a:pt x="189" y="379"/>
                  </a:lnTo>
                  <a:lnTo>
                    <a:pt x="190" y="376"/>
                  </a:lnTo>
                  <a:lnTo>
                    <a:pt x="195" y="372"/>
                  </a:lnTo>
                  <a:lnTo>
                    <a:pt x="219" y="360"/>
                  </a:lnTo>
                  <a:lnTo>
                    <a:pt x="219" y="358"/>
                  </a:lnTo>
                  <a:lnTo>
                    <a:pt x="220" y="358"/>
                  </a:lnTo>
                  <a:lnTo>
                    <a:pt x="222" y="354"/>
                  </a:lnTo>
                  <a:lnTo>
                    <a:pt x="222" y="352"/>
                  </a:lnTo>
                  <a:lnTo>
                    <a:pt x="225" y="348"/>
                  </a:lnTo>
                  <a:lnTo>
                    <a:pt x="229" y="342"/>
                  </a:lnTo>
                  <a:lnTo>
                    <a:pt x="231" y="337"/>
                  </a:lnTo>
                  <a:lnTo>
                    <a:pt x="234" y="333"/>
                  </a:lnTo>
                  <a:lnTo>
                    <a:pt x="237" y="325"/>
                  </a:lnTo>
                  <a:lnTo>
                    <a:pt x="238" y="318"/>
                  </a:lnTo>
                  <a:lnTo>
                    <a:pt x="240" y="312"/>
                  </a:lnTo>
                  <a:lnTo>
                    <a:pt x="241" y="310"/>
                  </a:lnTo>
                  <a:lnTo>
                    <a:pt x="249" y="307"/>
                  </a:lnTo>
                  <a:lnTo>
                    <a:pt x="258" y="306"/>
                  </a:lnTo>
                  <a:lnTo>
                    <a:pt x="259" y="304"/>
                  </a:lnTo>
                  <a:lnTo>
                    <a:pt x="267" y="298"/>
                  </a:lnTo>
                  <a:lnTo>
                    <a:pt x="267" y="297"/>
                  </a:lnTo>
                  <a:lnTo>
                    <a:pt x="265" y="294"/>
                  </a:lnTo>
                  <a:lnTo>
                    <a:pt x="265" y="292"/>
                  </a:lnTo>
                  <a:lnTo>
                    <a:pt x="262" y="289"/>
                  </a:lnTo>
                  <a:lnTo>
                    <a:pt x="262" y="288"/>
                  </a:lnTo>
                  <a:lnTo>
                    <a:pt x="264" y="286"/>
                  </a:lnTo>
                  <a:lnTo>
                    <a:pt x="264" y="285"/>
                  </a:lnTo>
                  <a:lnTo>
                    <a:pt x="265" y="286"/>
                  </a:lnTo>
                  <a:lnTo>
                    <a:pt x="267" y="285"/>
                  </a:lnTo>
                  <a:lnTo>
                    <a:pt x="268" y="282"/>
                  </a:lnTo>
                  <a:lnTo>
                    <a:pt x="270" y="280"/>
                  </a:lnTo>
                  <a:lnTo>
                    <a:pt x="271" y="280"/>
                  </a:lnTo>
                  <a:lnTo>
                    <a:pt x="271" y="276"/>
                  </a:lnTo>
                  <a:lnTo>
                    <a:pt x="273" y="276"/>
                  </a:lnTo>
                  <a:lnTo>
                    <a:pt x="273" y="274"/>
                  </a:lnTo>
                  <a:lnTo>
                    <a:pt x="274" y="274"/>
                  </a:lnTo>
                  <a:lnTo>
                    <a:pt x="276" y="273"/>
                  </a:lnTo>
                  <a:lnTo>
                    <a:pt x="277" y="273"/>
                  </a:lnTo>
                  <a:lnTo>
                    <a:pt x="277" y="270"/>
                  </a:lnTo>
                  <a:lnTo>
                    <a:pt x="279" y="270"/>
                  </a:lnTo>
                  <a:lnTo>
                    <a:pt x="279" y="268"/>
                  </a:lnTo>
                  <a:lnTo>
                    <a:pt x="282" y="265"/>
                  </a:lnTo>
                  <a:lnTo>
                    <a:pt x="280" y="265"/>
                  </a:lnTo>
                  <a:lnTo>
                    <a:pt x="280" y="264"/>
                  </a:lnTo>
                  <a:lnTo>
                    <a:pt x="283" y="264"/>
                  </a:lnTo>
                  <a:lnTo>
                    <a:pt x="283" y="261"/>
                  </a:lnTo>
                  <a:lnTo>
                    <a:pt x="285" y="261"/>
                  </a:lnTo>
                  <a:lnTo>
                    <a:pt x="285" y="259"/>
                  </a:lnTo>
                  <a:lnTo>
                    <a:pt x="286" y="261"/>
                  </a:lnTo>
                  <a:lnTo>
                    <a:pt x="288" y="261"/>
                  </a:lnTo>
                  <a:lnTo>
                    <a:pt x="288" y="259"/>
                  </a:lnTo>
                  <a:lnTo>
                    <a:pt x="289" y="258"/>
                  </a:lnTo>
                  <a:lnTo>
                    <a:pt x="292" y="258"/>
                  </a:lnTo>
                  <a:lnTo>
                    <a:pt x="292" y="256"/>
                  </a:lnTo>
                  <a:lnTo>
                    <a:pt x="293" y="256"/>
                  </a:lnTo>
                  <a:lnTo>
                    <a:pt x="293" y="255"/>
                  </a:lnTo>
                  <a:lnTo>
                    <a:pt x="295" y="255"/>
                  </a:lnTo>
                  <a:lnTo>
                    <a:pt x="295" y="252"/>
                  </a:lnTo>
                  <a:lnTo>
                    <a:pt x="296" y="252"/>
                  </a:lnTo>
                  <a:lnTo>
                    <a:pt x="299" y="250"/>
                  </a:lnTo>
                  <a:lnTo>
                    <a:pt x="298" y="250"/>
                  </a:lnTo>
                  <a:lnTo>
                    <a:pt x="298" y="249"/>
                  </a:lnTo>
                  <a:lnTo>
                    <a:pt x="293" y="249"/>
                  </a:lnTo>
                  <a:lnTo>
                    <a:pt x="293" y="247"/>
                  </a:lnTo>
                  <a:lnTo>
                    <a:pt x="292" y="247"/>
                  </a:lnTo>
                  <a:lnTo>
                    <a:pt x="292" y="244"/>
                  </a:lnTo>
                  <a:lnTo>
                    <a:pt x="293" y="243"/>
                  </a:lnTo>
                  <a:lnTo>
                    <a:pt x="293" y="238"/>
                  </a:lnTo>
                  <a:lnTo>
                    <a:pt x="295" y="234"/>
                  </a:lnTo>
                  <a:lnTo>
                    <a:pt x="295" y="233"/>
                  </a:lnTo>
                  <a:lnTo>
                    <a:pt x="296" y="233"/>
                  </a:lnTo>
                  <a:lnTo>
                    <a:pt x="296" y="230"/>
                  </a:lnTo>
                  <a:lnTo>
                    <a:pt x="295" y="227"/>
                  </a:lnTo>
                  <a:lnTo>
                    <a:pt x="295" y="222"/>
                  </a:lnTo>
                  <a:lnTo>
                    <a:pt x="292" y="218"/>
                  </a:lnTo>
                  <a:lnTo>
                    <a:pt x="292" y="215"/>
                  </a:lnTo>
                  <a:lnTo>
                    <a:pt x="293" y="215"/>
                  </a:lnTo>
                  <a:lnTo>
                    <a:pt x="293" y="210"/>
                  </a:lnTo>
                  <a:lnTo>
                    <a:pt x="295" y="210"/>
                  </a:lnTo>
                  <a:lnTo>
                    <a:pt x="298" y="207"/>
                  </a:lnTo>
                  <a:lnTo>
                    <a:pt x="299" y="207"/>
                  </a:lnTo>
                  <a:lnTo>
                    <a:pt x="301" y="204"/>
                  </a:lnTo>
                  <a:lnTo>
                    <a:pt x="305" y="204"/>
                  </a:lnTo>
                  <a:lnTo>
                    <a:pt x="305" y="201"/>
                  </a:lnTo>
                  <a:lnTo>
                    <a:pt x="307" y="200"/>
                  </a:lnTo>
                  <a:lnTo>
                    <a:pt x="308" y="201"/>
                  </a:lnTo>
                  <a:lnTo>
                    <a:pt x="310" y="200"/>
                  </a:lnTo>
                  <a:lnTo>
                    <a:pt x="313" y="200"/>
                  </a:lnTo>
                  <a:lnTo>
                    <a:pt x="314" y="198"/>
                  </a:lnTo>
                  <a:lnTo>
                    <a:pt x="316" y="198"/>
                  </a:lnTo>
                  <a:lnTo>
                    <a:pt x="316" y="197"/>
                  </a:lnTo>
                  <a:lnTo>
                    <a:pt x="323" y="197"/>
                  </a:lnTo>
                  <a:lnTo>
                    <a:pt x="322" y="195"/>
                  </a:lnTo>
                  <a:lnTo>
                    <a:pt x="323" y="195"/>
                  </a:lnTo>
                  <a:lnTo>
                    <a:pt x="325" y="194"/>
                  </a:lnTo>
                  <a:lnTo>
                    <a:pt x="328" y="194"/>
                  </a:lnTo>
                  <a:lnTo>
                    <a:pt x="328" y="192"/>
                  </a:lnTo>
                  <a:lnTo>
                    <a:pt x="329" y="191"/>
                  </a:lnTo>
                  <a:lnTo>
                    <a:pt x="331" y="188"/>
                  </a:lnTo>
                  <a:lnTo>
                    <a:pt x="331" y="186"/>
                  </a:lnTo>
                  <a:lnTo>
                    <a:pt x="325" y="180"/>
                  </a:lnTo>
                  <a:lnTo>
                    <a:pt x="323" y="180"/>
                  </a:lnTo>
                  <a:lnTo>
                    <a:pt x="320" y="179"/>
                  </a:lnTo>
                  <a:lnTo>
                    <a:pt x="319" y="179"/>
                  </a:lnTo>
                  <a:lnTo>
                    <a:pt x="316" y="176"/>
                  </a:lnTo>
                  <a:lnTo>
                    <a:pt x="314" y="176"/>
                  </a:lnTo>
                  <a:lnTo>
                    <a:pt x="313" y="177"/>
                  </a:lnTo>
                  <a:lnTo>
                    <a:pt x="310" y="177"/>
                  </a:lnTo>
                  <a:lnTo>
                    <a:pt x="307" y="176"/>
                  </a:lnTo>
                  <a:lnTo>
                    <a:pt x="304" y="176"/>
                  </a:lnTo>
                  <a:lnTo>
                    <a:pt x="302" y="177"/>
                  </a:lnTo>
                  <a:lnTo>
                    <a:pt x="299" y="174"/>
                  </a:lnTo>
                  <a:lnTo>
                    <a:pt x="298" y="171"/>
                  </a:lnTo>
                  <a:lnTo>
                    <a:pt x="298" y="168"/>
                  </a:lnTo>
                  <a:lnTo>
                    <a:pt x="299" y="167"/>
                  </a:lnTo>
                  <a:lnTo>
                    <a:pt x="299" y="165"/>
                  </a:lnTo>
                  <a:lnTo>
                    <a:pt x="298" y="164"/>
                  </a:lnTo>
                  <a:lnTo>
                    <a:pt x="298" y="162"/>
                  </a:lnTo>
                  <a:lnTo>
                    <a:pt x="299" y="161"/>
                  </a:lnTo>
                  <a:lnTo>
                    <a:pt x="299" y="159"/>
                  </a:lnTo>
                  <a:lnTo>
                    <a:pt x="301" y="158"/>
                  </a:lnTo>
                  <a:lnTo>
                    <a:pt x="301" y="156"/>
                  </a:lnTo>
                  <a:lnTo>
                    <a:pt x="298" y="156"/>
                  </a:lnTo>
                  <a:lnTo>
                    <a:pt x="298" y="159"/>
                  </a:lnTo>
                  <a:lnTo>
                    <a:pt x="296" y="159"/>
                  </a:lnTo>
                  <a:lnTo>
                    <a:pt x="296" y="161"/>
                  </a:lnTo>
                  <a:lnTo>
                    <a:pt x="291" y="161"/>
                  </a:lnTo>
                  <a:lnTo>
                    <a:pt x="289" y="159"/>
                  </a:lnTo>
                  <a:lnTo>
                    <a:pt x="286" y="159"/>
                  </a:lnTo>
                  <a:lnTo>
                    <a:pt x="286" y="161"/>
                  </a:lnTo>
                  <a:lnTo>
                    <a:pt x="285" y="159"/>
                  </a:lnTo>
                  <a:lnTo>
                    <a:pt x="283" y="159"/>
                  </a:lnTo>
                  <a:lnTo>
                    <a:pt x="283" y="156"/>
                  </a:lnTo>
                  <a:lnTo>
                    <a:pt x="285" y="155"/>
                  </a:lnTo>
                  <a:lnTo>
                    <a:pt x="283" y="152"/>
                  </a:lnTo>
                  <a:lnTo>
                    <a:pt x="283" y="147"/>
                  </a:lnTo>
                  <a:lnTo>
                    <a:pt x="282" y="147"/>
                  </a:lnTo>
                  <a:lnTo>
                    <a:pt x="277" y="146"/>
                  </a:lnTo>
                  <a:lnTo>
                    <a:pt x="276" y="144"/>
                  </a:lnTo>
                  <a:lnTo>
                    <a:pt x="274" y="141"/>
                  </a:lnTo>
                  <a:lnTo>
                    <a:pt x="273" y="140"/>
                  </a:lnTo>
                  <a:lnTo>
                    <a:pt x="270" y="138"/>
                  </a:lnTo>
                  <a:lnTo>
                    <a:pt x="270" y="137"/>
                  </a:lnTo>
                  <a:lnTo>
                    <a:pt x="268" y="135"/>
                  </a:lnTo>
                  <a:lnTo>
                    <a:pt x="268" y="134"/>
                  </a:lnTo>
                  <a:lnTo>
                    <a:pt x="271" y="131"/>
                  </a:lnTo>
                  <a:lnTo>
                    <a:pt x="273" y="131"/>
                  </a:lnTo>
                  <a:lnTo>
                    <a:pt x="273" y="129"/>
                  </a:lnTo>
                  <a:lnTo>
                    <a:pt x="274" y="128"/>
                  </a:lnTo>
                  <a:lnTo>
                    <a:pt x="276" y="125"/>
                  </a:lnTo>
                  <a:lnTo>
                    <a:pt x="276" y="117"/>
                  </a:lnTo>
                  <a:lnTo>
                    <a:pt x="273" y="116"/>
                  </a:lnTo>
                  <a:lnTo>
                    <a:pt x="267" y="110"/>
                  </a:lnTo>
                  <a:lnTo>
                    <a:pt x="267" y="107"/>
                  </a:lnTo>
                  <a:lnTo>
                    <a:pt x="268" y="107"/>
                  </a:lnTo>
                  <a:lnTo>
                    <a:pt x="268" y="105"/>
                  </a:lnTo>
                  <a:lnTo>
                    <a:pt x="270" y="102"/>
                  </a:lnTo>
                  <a:lnTo>
                    <a:pt x="271" y="102"/>
                  </a:lnTo>
                  <a:lnTo>
                    <a:pt x="276" y="101"/>
                  </a:lnTo>
                  <a:lnTo>
                    <a:pt x="277" y="101"/>
                  </a:lnTo>
                  <a:lnTo>
                    <a:pt x="282" y="96"/>
                  </a:lnTo>
                  <a:lnTo>
                    <a:pt x="282" y="95"/>
                  </a:lnTo>
                  <a:lnTo>
                    <a:pt x="280" y="93"/>
                  </a:lnTo>
                  <a:lnTo>
                    <a:pt x="280" y="92"/>
                  </a:lnTo>
                  <a:lnTo>
                    <a:pt x="267" y="92"/>
                  </a:lnTo>
                  <a:lnTo>
                    <a:pt x="264" y="89"/>
                  </a:lnTo>
                  <a:lnTo>
                    <a:pt x="264" y="86"/>
                  </a:lnTo>
                  <a:lnTo>
                    <a:pt x="265" y="84"/>
                  </a:lnTo>
                  <a:lnTo>
                    <a:pt x="268" y="83"/>
                  </a:lnTo>
                  <a:lnTo>
                    <a:pt x="268" y="80"/>
                  </a:lnTo>
                  <a:lnTo>
                    <a:pt x="267" y="77"/>
                  </a:lnTo>
                  <a:lnTo>
                    <a:pt x="267" y="75"/>
                  </a:lnTo>
                  <a:lnTo>
                    <a:pt x="261" y="75"/>
                  </a:lnTo>
                  <a:lnTo>
                    <a:pt x="259" y="74"/>
                  </a:lnTo>
                  <a:lnTo>
                    <a:pt x="259" y="69"/>
                  </a:lnTo>
                  <a:lnTo>
                    <a:pt x="261" y="69"/>
                  </a:lnTo>
                  <a:lnTo>
                    <a:pt x="261" y="68"/>
                  </a:lnTo>
                  <a:lnTo>
                    <a:pt x="262" y="68"/>
                  </a:lnTo>
                  <a:lnTo>
                    <a:pt x="262" y="63"/>
                  </a:lnTo>
                  <a:lnTo>
                    <a:pt x="265" y="62"/>
                  </a:lnTo>
                  <a:lnTo>
                    <a:pt x="265" y="57"/>
                  </a:lnTo>
                  <a:lnTo>
                    <a:pt x="267" y="56"/>
                  </a:lnTo>
                  <a:lnTo>
                    <a:pt x="274" y="54"/>
                  </a:lnTo>
                  <a:lnTo>
                    <a:pt x="276" y="53"/>
                  </a:lnTo>
                  <a:lnTo>
                    <a:pt x="282" y="50"/>
                  </a:lnTo>
                  <a:lnTo>
                    <a:pt x="288" y="50"/>
                  </a:lnTo>
                  <a:lnTo>
                    <a:pt x="299" y="54"/>
                  </a:lnTo>
                  <a:lnTo>
                    <a:pt x="316" y="57"/>
                  </a:lnTo>
                  <a:lnTo>
                    <a:pt x="320" y="57"/>
                  </a:lnTo>
                  <a:lnTo>
                    <a:pt x="323" y="56"/>
                  </a:lnTo>
                  <a:lnTo>
                    <a:pt x="325" y="56"/>
                  </a:lnTo>
                  <a:lnTo>
                    <a:pt x="325" y="57"/>
                  </a:lnTo>
                  <a:lnTo>
                    <a:pt x="326" y="59"/>
                  </a:lnTo>
                  <a:lnTo>
                    <a:pt x="329" y="60"/>
                  </a:lnTo>
                  <a:lnTo>
                    <a:pt x="331" y="62"/>
                  </a:lnTo>
                  <a:lnTo>
                    <a:pt x="343" y="65"/>
                  </a:lnTo>
                  <a:lnTo>
                    <a:pt x="352" y="65"/>
                  </a:lnTo>
                  <a:lnTo>
                    <a:pt x="352" y="63"/>
                  </a:lnTo>
                  <a:lnTo>
                    <a:pt x="355" y="60"/>
                  </a:lnTo>
                  <a:lnTo>
                    <a:pt x="358" y="59"/>
                  </a:lnTo>
                  <a:lnTo>
                    <a:pt x="362" y="54"/>
                  </a:lnTo>
                  <a:lnTo>
                    <a:pt x="364" y="54"/>
                  </a:lnTo>
                  <a:lnTo>
                    <a:pt x="367" y="56"/>
                  </a:lnTo>
                  <a:lnTo>
                    <a:pt x="368" y="56"/>
                  </a:lnTo>
                  <a:lnTo>
                    <a:pt x="373" y="54"/>
                  </a:lnTo>
                  <a:lnTo>
                    <a:pt x="379" y="51"/>
                  </a:lnTo>
                  <a:lnTo>
                    <a:pt x="380" y="50"/>
                  </a:lnTo>
                  <a:lnTo>
                    <a:pt x="382" y="50"/>
                  </a:lnTo>
                  <a:lnTo>
                    <a:pt x="385" y="51"/>
                  </a:lnTo>
                  <a:lnTo>
                    <a:pt x="391" y="51"/>
                  </a:lnTo>
                  <a:lnTo>
                    <a:pt x="395" y="47"/>
                  </a:lnTo>
                  <a:lnTo>
                    <a:pt x="395" y="41"/>
                  </a:lnTo>
                  <a:lnTo>
                    <a:pt x="397" y="41"/>
                  </a:lnTo>
                  <a:lnTo>
                    <a:pt x="398" y="39"/>
                  </a:lnTo>
                  <a:lnTo>
                    <a:pt x="400" y="39"/>
                  </a:lnTo>
                  <a:lnTo>
                    <a:pt x="401" y="41"/>
                  </a:lnTo>
                  <a:lnTo>
                    <a:pt x="404" y="41"/>
                  </a:lnTo>
                  <a:lnTo>
                    <a:pt x="404" y="39"/>
                  </a:lnTo>
                  <a:lnTo>
                    <a:pt x="407" y="38"/>
                  </a:lnTo>
                  <a:lnTo>
                    <a:pt x="407" y="36"/>
                  </a:lnTo>
                  <a:lnTo>
                    <a:pt x="409" y="35"/>
                  </a:lnTo>
                  <a:lnTo>
                    <a:pt x="407" y="33"/>
                  </a:lnTo>
                  <a:lnTo>
                    <a:pt x="407" y="32"/>
                  </a:lnTo>
                  <a:lnTo>
                    <a:pt x="409" y="30"/>
                  </a:lnTo>
                  <a:lnTo>
                    <a:pt x="397" y="0"/>
                  </a:lnTo>
                  <a:close/>
                </a:path>
              </a:pathLst>
            </a:custGeom>
            <a:solidFill>
              <a:schemeClr val="accent2"/>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37">
              <a:extLst>
                <a:ext uri="{FF2B5EF4-FFF2-40B4-BE49-F238E27FC236}">
                  <a16:creationId xmlns:a16="http://schemas.microsoft.com/office/drawing/2014/main" id="{AE7FF638-4D74-4E9A-B9AD-DC205B6D0005}"/>
                </a:ext>
              </a:extLst>
            </p:cNvPr>
            <p:cNvSpPr>
              <a:spLocks/>
            </p:cNvSpPr>
            <p:nvPr/>
          </p:nvSpPr>
          <p:spPr bwMode="auto">
            <a:xfrm>
              <a:off x="2203170" y="3821724"/>
              <a:ext cx="162673" cy="90257"/>
            </a:xfrm>
            <a:custGeom>
              <a:avLst/>
              <a:gdLst/>
              <a:ahLst/>
              <a:cxnLst>
                <a:cxn ang="0">
                  <a:pos x="67" y="2"/>
                </a:cxn>
                <a:cxn ang="0">
                  <a:pos x="70" y="3"/>
                </a:cxn>
                <a:cxn ang="0">
                  <a:pos x="75" y="3"/>
                </a:cxn>
                <a:cxn ang="0">
                  <a:pos x="85" y="6"/>
                </a:cxn>
                <a:cxn ang="0">
                  <a:pos x="82" y="11"/>
                </a:cxn>
                <a:cxn ang="0">
                  <a:pos x="88" y="15"/>
                </a:cxn>
                <a:cxn ang="0">
                  <a:pos x="93" y="15"/>
                </a:cxn>
                <a:cxn ang="0">
                  <a:pos x="100" y="17"/>
                </a:cxn>
                <a:cxn ang="0">
                  <a:pos x="109" y="20"/>
                </a:cxn>
                <a:cxn ang="0">
                  <a:pos x="118" y="14"/>
                </a:cxn>
                <a:cxn ang="0">
                  <a:pos x="126" y="20"/>
                </a:cxn>
                <a:cxn ang="0">
                  <a:pos x="135" y="21"/>
                </a:cxn>
                <a:cxn ang="0">
                  <a:pos x="133" y="27"/>
                </a:cxn>
                <a:cxn ang="0">
                  <a:pos x="132" y="36"/>
                </a:cxn>
                <a:cxn ang="0">
                  <a:pos x="135" y="44"/>
                </a:cxn>
                <a:cxn ang="0">
                  <a:pos x="139" y="48"/>
                </a:cxn>
                <a:cxn ang="0">
                  <a:pos x="149" y="47"/>
                </a:cxn>
                <a:cxn ang="0">
                  <a:pos x="154" y="54"/>
                </a:cxn>
                <a:cxn ang="0">
                  <a:pos x="152" y="57"/>
                </a:cxn>
                <a:cxn ang="0">
                  <a:pos x="151" y="63"/>
                </a:cxn>
                <a:cxn ang="0">
                  <a:pos x="151" y="66"/>
                </a:cxn>
                <a:cxn ang="0">
                  <a:pos x="154" y="75"/>
                </a:cxn>
                <a:cxn ang="0">
                  <a:pos x="148" y="77"/>
                </a:cxn>
                <a:cxn ang="0">
                  <a:pos x="145" y="78"/>
                </a:cxn>
                <a:cxn ang="0">
                  <a:pos x="144" y="78"/>
                </a:cxn>
                <a:cxn ang="0">
                  <a:pos x="139" y="80"/>
                </a:cxn>
                <a:cxn ang="0">
                  <a:pos x="135" y="80"/>
                </a:cxn>
                <a:cxn ang="0">
                  <a:pos x="129" y="81"/>
                </a:cxn>
                <a:cxn ang="0">
                  <a:pos x="127" y="77"/>
                </a:cxn>
                <a:cxn ang="0">
                  <a:pos x="121" y="80"/>
                </a:cxn>
                <a:cxn ang="0">
                  <a:pos x="114" y="80"/>
                </a:cxn>
                <a:cxn ang="0">
                  <a:pos x="102" y="81"/>
                </a:cxn>
                <a:cxn ang="0">
                  <a:pos x="76" y="75"/>
                </a:cxn>
                <a:cxn ang="0">
                  <a:pos x="67" y="78"/>
                </a:cxn>
                <a:cxn ang="0">
                  <a:pos x="63" y="83"/>
                </a:cxn>
                <a:cxn ang="0">
                  <a:pos x="51" y="86"/>
                </a:cxn>
                <a:cxn ang="0">
                  <a:pos x="40" y="84"/>
                </a:cxn>
                <a:cxn ang="0">
                  <a:pos x="39" y="81"/>
                </a:cxn>
                <a:cxn ang="0">
                  <a:pos x="30" y="78"/>
                </a:cxn>
                <a:cxn ang="0">
                  <a:pos x="18" y="80"/>
                </a:cxn>
                <a:cxn ang="0">
                  <a:pos x="15" y="75"/>
                </a:cxn>
                <a:cxn ang="0">
                  <a:pos x="12" y="74"/>
                </a:cxn>
                <a:cxn ang="0">
                  <a:pos x="10" y="74"/>
                </a:cxn>
                <a:cxn ang="0">
                  <a:pos x="9" y="71"/>
                </a:cxn>
                <a:cxn ang="0">
                  <a:pos x="6" y="66"/>
                </a:cxn>
                <a:cxn ang="0">
                  <a:pos x="0" y="62"/>
                </a:cxn>
                <a:cxn ang="0">
                  <a:pos x="3" y="57"/>
                </a:cxn>
                <a:cxn ang="0">
                  <a:pos x="7" y="54"/>
                </a:cxn>
                <a:cxn ang="0">
                  <a:pos x="12" y="54"/>
                </a:cxn>
                <a:cxn ang="0">
                  <a:pos x="12" y="50"/>
                </a:cxn>
                <a:cxn ang="0">
                  <a:pos x="12" y="45"/>
                </a:cxn>
                <a:cxn ang="0">
                  <a:pos x="13" y="41"/>
                </a:cxn>
                <a:cxn ang="0">
                  <a:pos x="16" y="38"/>
                </a:cxn>
                <a:cxn ang="0">
                  <a:pos x="22" y="33"/>
                </a:cxn>
                <a:cxn ang="0">
                  <a:pos x="27" y="27"/>
                </a:cxn>
                <a:cxn ang="0">
                  <a:pos x="33" y="20"/>
                </a:cxn>
                <a:cxn ang="0">
                  <a:pos x="34" y="15"/>
                </a:cxn>
                <a:cxn ang="0">
                  <a:pos x="46" y="9"/>
                </a:cxn>
                <a:cxn ang="0">
                  <a:pos x="49" y="6"/>
                </a:cxn>
                <a:cxn ang="0">
                  <a:pos x="52" y="3"/>
                </a:cxn>
                <a:cxn ang="0">
                  <a:pos x="57" y="3"/>
                </a:cxn>
              </a:cxnLst>
              <a:rect l="0" t="0" r="r" b="b"/>
              <a:pathLst>
                <a:path w="155" h="86">
                  <a:moveTo>
                    <a:pt x="63" y="0"/>
                  </a:moveTo>
                  <a:lnTo>
                    <a:pt x="64" y="2"/>
                  </a:lnTo>
                  <a:lnTo>
                    <a:pt x="67" y="2"/>
                  </a:lnTo>
                  <a:lnTo>
                    <a:pt x="69" y="0"/>
                  </a:lnTo>
                  <a:lnTo>
                    <a:pt x="70" y="2"/>
                  </a:lnTo>
                  <a:lnTo>
                    <a:pt x="70" y="3"/>
                  </a:lnTo>
                  <a:lnTo>
                    <a:pt x="72" y="5"/>
                  </a:lnTo>
                  <a:lnTo>
                    <a:pt x="75" y="5"/>
                  </a:lnTo>
                  <a:lnTo>
                    <a:pt x="75" y="3"/>
                  </a:lnTo>
                  <a:lnTo>
                    <a:pt x="79" y="3"/>
                  </a:lnTo>
                  <a:lnTo>
                    <a:pt x="82" y="6"/>
                  </a:lnTo>
                  <a:lnTo>
                    <a:pt x="85" y="6"/>
                  </a:lnTo>
                  <a:lnTo>
                    <a:pt x="87" y="8"/>
                  </a:lnTo>
                  <a:lnTo>
                    <a:pt x="84" y="11"/>
                  </a:lnTo>
                  <a:lnTo>
                    <a:pt x="82" y="11"/>
                  </a:lnTo>
                  <a:lnTo>
                    <a:pt x="81" y="12"/>
                  </a:lnTo>
                  <a:lnTo>
                    <a:pt x="81" y="15"/>
                  </a:lnTo>
                  <a:lnTo>
                    <a:pt x="88" y="15"/>
                  </a:lnTo>
                  <a:lnTo>
                    <a:pt x="88" y="14"/>
                  </a:lnTo>
                  <a:lnTo>
                    <a:pt x="90" y="14"/>
                  </a:lnTo>
                  <a:lnTo>
                    <a:pt x="93" y="15"/>
                  </a:lnTo>
                  <a:lnTo>
                    <a:pt x="94" y="15"/>
                  </a:lnTo>
                  <a:lnTo>
                    <a:pt x="96" y="17"/>
                  </a:lnTo>
                  <a:lnTo>
                    <a:pt x="100" y="17"/>
                  </a:lnTo>
                  <a:lnTo>
                    <a:pt x="103" y="18"/>
                  </a:lnTo>
                  <a:lnTo>
                    <a:pt x="103" y="20"/>
                  </a:lnTo>
                  <a:lnTo>
                    <a:pt x="109" y="20"/>
                  </a:lnTo>
                  <a:lnTo>
                    <a:pt x="114" y="15"/>
                  </a:lnTo>
                  <a:lnTo>
                    <a:pt x="117" y="15"/>
                  </a:lnTo>
                  <a:lnTo>
                    <a:pt x="118" y="14"/>
                  </a:lnTo>
                  <a:lnTo>
                    <a:pt x="121" y="17"/>
                  </a:lnTo>
                  <a:lnTo>
                    <a:pt x="124" y="18"/>
                  </a:lnTo>
                  <a:lnTo>
                    <a:pt x="126" y="20"/>
                  </a:lnTo>
                  <a:lnTo>
                    <a:pt x="132" y="20"/>
                  </a:lnTo>
                  <a:lnTo>
                    <a:pt x="133" y="21"/>
                  </a:lnTo>
                  <a:lnTo>
                    <a:pt x="135" y="21"/>
                  </a:lnTo>
                  <a:lnTo>
                    <a:pt x="135" y="24"/>
                  </a:lnTo>
                  <a:lnTo>
                    <a:pt x="133" y="26"/>
                  </a:lnTo>
                  <a:lnTo>
                    <a:pt x="133" y="27"/>
                  </a:lnTo>
                  <a:lnTo>
                    <a:pt x="135" y="32"/>
                  </a:lnTo>
                  <a:lnTo>
                    <a:pt x="133" y="33"/>
                  </a:lnTo>
                  <a:lnTo>
                    <a:pt x="132" y="36"/>
                  </a:lnTo>
                  <a:lnTo>
                    <a:pt x="132" y="42"/>
                  </a:lnTo>
                  <a:lnTo>
                    <a:pt x="133" y="42"/>
                  </a:lnTo>
                  <a:lnTo>
                    <a:pt x="135" y="44"/>
                  </a:lnTo>
                  <a:lnTo>
                    <a:pt x="135" y="45"/>
                  </a:lnTo>
                  <a:lnTo>
                    <a:pt x="136" y="45"/>
                  </a:lnTo>
                  <a:lnTo>
                    <a:pt x="139" y="48"/>
                  </a:lnTo>
                  <a:lnTo>
                    <a:pt x="141" y="48"/>
                  </a:lnTo>
                  <a:lnTo>
                    <a:pt x="144" y="47"/>
                  </a:lnTo>
                  <a:lnTo>
                    <a:pt x="149" y="47"/>
                  </a:lnTo>
                  <a:lnTo>
                    <a:pt x="149" y="45"/>
                  </a:lnTo>
                  <a:lnTo>
                    <a:pt x="151" y="47"/>
                  </a:lnTo>
                  <a:lnTo>
                    <a:pt x="154" y="54"/>
                  </a:lnTo>
                  <a:lnTo>
                    <a:pt x="155" y="56"/>
                  </a:lnTo>
                  <a:lnTo>
                    <a:pt x="154" y="56"/>
                  </a:lnTo>
                  <a:lnTo>
                    <a:pt x="152" y="57"/>
                  </a:lnTo>
                  <a:lnTo>
                    <a:pt x="152" y="60"/>
                  </a:lnTo>
                  <a:lnTo>
                    <a:pt x="151" y="60"/>
                  </a:lnTo>
                  <a:lnTo>
                    <a:pt x="151" y="63"/>
                  </a:lnTo>
                  <a:lnTo>
                    <a:pt x="149" y="63"/>
                  </a:lnTo>
                  <a:lnTo>
                    <a:pt x="149" y="65"/>
                  </a:lnTo>
                  <a:lnTo>
                    <a:pt x="151" y="66"/>
                  </a:lnTo>
                  <a:lnTo>
                    <a:pt x="152" y="69"/>
                  </a:lnTo>
                  <a:lnTo>
                    <a:pt x="154" y="71"/>
                  </a:lnTo>
                  <a:lnTo>
                    <a:pt x="154" y="75"/>
                  </a:lnTo>
                  <a:lnTo>
                    <a:pt x="152" y="78"/>
                  </a:lnTo>
                  <a:lnTo>
                    <a:pt x="149" y="78"/>
                  </a:lnTo>
                  <a:lnTo>
                    <a:pt x="148" y="77"/>
                  </a:lnTo>
                  <a:lnTo>
                    <a:pt x="147" y="77"/>
                  </a:lnTo>
                  <a:lnTo>
                    <a:pt x="147" y="78"/>
                  </a:lnTo>
                  <a:lnTo>
                    <a:pt x="145" y="78"/>
                  </a:lnTo>
                  <a:lnTo>
                    <a:pt x="145" y="80"/>
                  </a:lnTo>
                  <a:lnTo>
                    <a:pt x="144" y="80"/>
                  </a:lnTo>
                  <a:lnTo>
                    <a:pt x="144" y="78"/>
                  </a:lnTo>
                  <a:lnTo>
                    <a:pt x="142" y="77"/>
                  </a:lnTo>
                  <a:lnTo>
                    <a:pt x="142" y="78"/>
                  </a:lnTo>
                  <a:lnTo>
                    <a:pt x="139" y="80"/>
                  </a:lnTo>
                  <a:lnTo>
                    <a:pt x="138" y="80"/>
                  </a:lnTo>
                  <a:lnTo>
                    <a:pt x="135" y="81"/>
                  </a:lnTo>
                  <a:lnTo>
                    <a:pt x="135" y="80"/>
                  </a:lnTo>
                  <a:lnTo>
                    <a:pt x="132" y="80"/>
                  </a:lnTo>
                  <a:lnTo>
                    <a:pt x="130" y="81"/>
                  </a:lnTo>
                  <a:lnTo>
                    <a:pt x="129" y="81"/>
                  </a:lnTo>
                  <a:lnTo>
                    <a:pt x="129" y="80"/>
                  </a:lnTo>
                  <a:lnTo>
                    <a:pt x="127" y="78"/>
                  </a:lnTo>
                  <a:lnTo>
                    <a:pt x="127" y="77"/>
                  </a:lnTo>
                  <a:lnTo>
                    <a:pt x="123" y="77"/>
                  </a:lnTo>
                  <a:lnTo>
                    <a:pt x="123" y="78"/>
                  </a:lnTo>
                  <a:lnTo>
                    <a:pt x="121" y="80"/>
                  </a:lnTo>
                  <a:lnTo>
                    <a:pt x="121" y="81"/>
                  </a:lnTo>
                  <a:lnTo>
                    <a:pt x="115" y="81"/>
                  </a:lnTo>
                  <a:lnTo>
                    <a:pt x="114" y="80"/>
                  </a:lnTo>
                  <a:lnTo>
                    <a:pt x="108" y="80"/>
                  </a:lnTo>
                  <a:lnTo>
                    <a:pt x="106" y="81"/>
                  </a:lnTo>
                  <a:lnTo>
                    <a:pt x="102" y="81"/>
                  </a:lnTo>
                  <a:lnTo>
                    <a:pt x="91" y="83"/>
                  </a:lnTo>
                  <a:lnTo>
                    <a:pt x="85" y="81"/>
                  </a:lnTo>
                  <a:lnTo>
                    <a:pt x="76" y="75"/>
                  </a:lnTo>
                  <a:lnTo>
                    <a:pt x="75" y="75"/>
                  </a:lnTo>
                  <a:lnTo>
                    <a:pt x="72" y="78"/>
                  </a:lnTo>
                  <a:lnTo>
                    <a:pt x="67" y="78"/>
                  </a:lnTo>
                  <a:lnTo>
                    <a:pt x="66" y="81"/>
                  </a:lnTo>
                  <a:lnTo>
                    <a:pt x="64" y="83"/>
                  </a:lnTo>
                  <a:lnTo>
                    <a:pt x="63" y="83"/>
                  </a:lnTo>
                  <a:lnTo>
                    <a:pt x="58" y="84"/>
                  </a:lnTo>
                  <a:lnTo>
                    <a:pt x="51" y="84"/>
                  </a:lnTo>
                  <a:lnTo>
                    <a:pt x="51" y="86"/>
                  </a:lnTo>
                  <a:lnTo>
                    <a:pt x="46" y="86"/>
                  </a:lnTo>
                  <a:lnTo>
                    <a:pt x="45" y="84"/>
                  </a:lnTo>
                  <a:lnTo>
                    <a:pt x="40" y="84"/>
                  </a:lnTo>
                  <a:lnTo>
                    <a:pt x="42" y="83"/>
                  </a:lnTo>
                  <a:lnTo>
                    <a:pt x="40" y="81"/>
                  </a:lnTo>
                  <a:lnTo>
                    <a:pt x="39" y="81"/>
                  </a:lnTo>
                  <a:lnTo>
                    <a:pt x="36" y="80"/>
                  </a:lnTo>
                  <a:lnTo>
                    <a:pt x="33" y="81"/>
                  </a:lnTo>
                  <a:lnTo>
                    <a:pt x="30" y="78"/>
                  </a:lnTo>
                  <a:lnTo>
                    <a:pt x="25" y="78"/>
                  </a:lnTo>
                  <a:lnTo>
                    <a:pt x="25" y="80"/>
                  </a:lnTo>
                  <a:lnTo>
                    <a:pt x="18" y="80"/>
                  </a:lnTo>
                  <a:lnTo>
                    <a:pt x="16" y="78"/>
                  </a:lnTo>
                  <a:lnTo>
                    <a:pt x="16" y="77"/>
                  </a:lnTo>
                  <a:lnTo>
                    <a:pt x="15" y="75"/>
                  </a:lnTo>
                  <a:lnTo>
                    <a:pt x="13" y="75"/>
                  </a:lnTo>
                  <a:lnTo>
                    <a:pt x="13" y="74"/>
                  </a:lnTo>
                  <a:lnTo>
                    <a:pt x="12" y="74"/>
                  </a:lnTo>
                  <a:lnTo>
                    <a:pt x="12" y="75"/>
                  </a:lnTo>
                  <a:lnTo>
                    <a:pt x="10" y="75"/>
                  </a:lnTo>
                  <a:lnTo>
                    <a:pt x="10" y="74"/>
                  </a:lnTo>
                  <a:lnTo>
                    <a:pt x="9" y="74"/>
                  </a:lnTo>
                  <a:lnTo>
                    <a:pt x="10" y="72"/>
                  </a:lnTo>
                  <a:lnTo>
                    <a:pt x="9" y="71"/>
                  </a:lnTo>
                  <a:lnTo>
                    <a:pt x="7" y="71"/>
                  </a:lnTo>
                  <a:lnTo>
                    <a:pt x="6" y="72"/>
                  </a:lnTo>
                  <a:lnTo>
                    <a:pt x="6" y="66"/>
                  </a:lnTo>
                  <a:lnTo>
                    <a:pt x="4" y="65"/>
                  </a:lnTo>
                  <a:lnTo>
                    <a:pt x="1" y="63"/>
                  </a:lnTo>
                  <a:lnTo>
                    <a:pt x="0" y="62"/>
                  </a:lnTo>
                  <a:lnTo>
                    <a:pt x="1" y="60"/>
                  </a:lnTo>
                  <a:lnTo>
                    <a:pt x="1" y="59"/>
                  </a:lnTo>
                  <a:lnTo>
                    <a:pt x="3" y="57"/>
                  </a:lnTo>
                  <a:lnTo>
                    <a:pt x="4" y="57"/>
                  </a:lnTo>
                  <a:lnTo>
                    <a:pt x="7" y="56"/>
                  </a:lnTo>
                  <a:lnTo>
                    <a:pt x="7" y="54"/>
                  </a:lnTo>
                  <a:lnTo>
                    <a:pt x="9" y="53"/>
                  </a:lnTo>
                  <a:lnTo>
                    <a:pt x="10" y="53"/>
                  </a:lnTo>
                  <a:lnTo>
                    <a:pt x="12" y="54"/>
                  </a:lnTo>
                  <a:lnTo>
                    <a:pt x="13" y="53"/>
                  </a:lnTo>
                  <a:lnTo>
                    <a:pt x="12" y="51"/>
                  </a:lnTo>
                  <a:lnTo>
                    <a:pt x="12" y="50"/>
                  </a:lnTo>
                  <a:lnTo>
                    <a:pt x="10" y="48"/>
                  </a:lnTo>
                  <a:lnTo>
                    <a:pt x="10" y="47"/>
                  </a:lnTo>
                  <a:lnTo>
                    <a:pt x="12" y="45"/>
                  </a:lnTo>
                  <a:lnTo>
                    <a:pt x="12" y="42"/>
                  </a:lnTo>
                  <a:lnTo>
                    <a:pt x="13" y="42"/>
                  </a:lnTo>
                  <a:lnTo>
                    <a:pt x="13" y="41"/>
                  </a:lnTo>
                  <a:lnTo>
                    <a:pt x="15" y="41"/>
                  </a:lnTo>
                  <a:lnTo>
                    <a:pt x="15" y="39"/>
                  </a:lnTo>
                  <a:lnTo>
                    <a:pt x="16" y="38"/>
                  </a:lnTo>
                  <a:lnTo>
                    <a:pt x="19" y="38"/>
                  </a:lnTo>
                  <a:lnTo>
                    <a:pt x="21" y="36"/>
                  </a:lnTo>
                  <a:lnTo>
                    <a:pt x="22" y="33"/>
                  </a:lnTo>
                  <a:lnTo>
                    <a:pt x="22" y="30"/>
                  </a:lnTo>
                  <a:lnTo>
                    <a:pt x="25" y="27"/>
                  </a:lnTo>
                  <a:lnTo>
                    <a:pt x="27" y="27"/>
                  </a:lnTo>
                  <a:lnTo>
                    <a:pt x="28" y="26"/>
                  </a:lnTo>
                  <a:lnTo>
                    <a:pt x="30" y="23"/>
                  </a:lnTo>
                  <a:lnTo>
                    <a:pt x="33" y="20"/>
                  </a:lnTo>
                  <a:lnTo>
                    <a:pt x="33" y="17"/>
                  </a:lnTo>
                  <a:lnTo>
                    <a:pt x="34" y="17"/>
                  </a:lnTo>
                  <a:lnTo>
                    <a:pt x="34" y="15"/>
                  </a:lnTo>
                  <a:lnTo>
                    <a:pt x="36" y="15"/>
                  </a:lnTo>
                  <a:lnTo>
                    <a:pt x="40" y="11"/>
                  </a:lnTo>
                  <a:lnTo>
                    <a:pt x="46" y="9"/>
                  </a:lnTo>
                  <a:lnTo>
                    <a:pt x="48" y="9"/>
                  </a:lnTo>
                  <a:lnTo>
                    <a:pt x="49" y="8"/>
                  </a:lnTo>
                  <a:lnTo>
                    <a:pt x="49" y="6"/>
                  </a:lnTo>
                  <a:lnTo>
                    <a:pt x="51" y="5"/>
                  </a:lnTo>
                  <a:lnTo>
                    <a:pt x="52" y="5"/>
                  </a:lnTo>
                  <a:lnTo>
                    <a:pt x="52" y="3"/>
                  </a:lnTo>
                  <a:lnTo>
                    <a:pt x="54" y="3"/>
                  </a:lnTo>
                  <a:lnTo>
                    <a:pt x="55" y="2"/>
                  </a:lnTo>
                  <a:lnTo>
                    <a:pt x="57" y="3"/>
                  </a:lnTo>
                  <a:lnTo>
                    <a:pt x="58" y="2"/>
                  </a:lnTo>
                  <a:lnTo>
                    <a:pt x="63" y="0"/>
                  </a:lnTo>
                  <a:close/>
                </a:path>
              </a:pathLst>
            </a:custGeom>
            <a:solidFill>
              <a:schemeClr val="accent3">
                <a:lumMod val="60000"/>
                <a:lumOff val="40000"/>
              </a:schemeClr>
            </a:solidFill>
            <a:ln w="3175">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aphicFrame>
        <p:nvGraphicFramePr>
          <p:cNvPr id="5" name="Tableau 4">
            <a:extLst>
              <a:ext uri="{FF2B5EF4-FFF2-40B4-BE49-F238E27FC236}">
                <a16:creationId xmlns:a16="http://schemas.microsoft.com/office/drawing/2014/main" id="{193F606F-309D-DE93-8151-6C48BD9D0AD8}"/>
              </a:ext>
            </a:extLst>
          </p:cNvPr>
          <p:cNvGraphicFramePr>
            <a:graphicFrameLocks noGrp="1"/>
          </p:cNvGraphicFramePr>
          <p:nvPr/>
        </p:nvGraphicFramePr>
        <p:xfrm>
          <a:off x="3862316" y="4189924"/>
          <a:ext cx="208280" cy="365760"/>
        </p:xfrm>
        <a:graphic>
          <a:graphicData uri="http://schemas.openxmlformats.org/drawingml/2006/table">
            <a:tbl>
              <a:tblPr/>
              <a:tblGrid>
                <a:gridCol w="208280">
                  <a:extLst>
                    <a:ext uri="{9D8B030D-6E8A-4147-A177-3AD203B41FA5}">
                      <a16:colId xmlns:a16="http://schemas.microsoft.com/office/drawing/2014/main" val="3566803066"/>
                    </a:ext>
                  </a:extLst>
                </a:gridCol>
              </a:tblGrid>
              <a:tr h="0">
                <a:tc>
                  <a:txBody>
                    <a:bodyPr/>
                    <a:lstStyle/>
                    <a:p>
                      <a:endParaRPr lang="en-GB"/>
                    </a:p>
                  </a:txBody>
                  <a:tcPr>
                    <a:lnL w="12700" cmpd="sng">
                      <a:solidFill>
                        <a:schemeClr val="bg1"/>
                      </a:solidFill>
                      <a:prstDash val="solid"/>
                    </a:lnL>
                    <a:lnR w="12700" cmpd="sng">
                      <a:solidFill>
                        <a:schemeClr val="bg1"/>
                      </a:solidFill>
                      <a:prstDash val="solid"/>
                    </a:lnR>
                    <a:lnT w="12700" cmpd="sng">
                      <a:solidFill>
                        <a:schemeClr val="bg1"/>
                      </a:solidFill>
                      <a:prstDash val="solid"/>
                    </a:lnT>
                    <a:lnB w="12700" cmpd="sng">
                      <a:solidFill>
                        <a:schemeClr val="bg1"/>
                      </a:solidFill>
                      <a:prstDash val="solid"/>
                    </a:lnB>
                  </a:tcPr>
                </a:tc>
                <a:extLst>
                  <a:ext uri="{0D108BD9-81ED-4DB2-BD59-A6C34878D82A}">
                    <a16:rowId xmlns:a16="http://schemas.microsoft.com/office/drawing/2014/main" val="2273278019"/>
                  </a:ext>
                </a:extLst>
              </a:tr>
            </a:tbl>
          </a:graphicData>
        </a:graphic>
      </p:graphicFrame>
      <p:sp>
        <p:nvSpPr>
          <p:cNvPr id="75" name="Ellipse 74">
            <a:extLst>
              <a:ext uri="{FF2B5EF4-FFF2-40B4-BE49-F238E27FC236}">
                <a16:creationId xmlns:a16="http://schemas.microsoft.com/office/drawing/2014/main" id="{E412042A-84E7-D2FD-BD7E-0E2794B29B5A}"/>
              </a:ext>
            </a:extLst>
          </p:cNvPr>
          <p:cNvSpPr/>
          <p:nvPr/>
        </p:nvSpPr>
        <p:spPr>
          <a:xfrm>
            <a:off x="1518985" y="3507024"/>
            <a:ext cx="108000" cy="108000"/>
          </a:xfrm>
          <a:prstGeom prst="ellipse">
            <a:avLst/>
          </a:prstGeom>
          <a:solidFill>
            <a:srgbClr val="FFC00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GB" sz="1100" err="1">
              <a:solidFill>
                <a:schemeClr val="bg1"/>
              </a:solidFill>
              <a:latin typeface="Raleway" pitchFamily="2" charset="0"/>
            </a:endParaRPr>
          </a:p>
        </p:txBody>
      </p:sp>
      <p:sp>
        <p:nvSpPr>
          <p:cNvPr id="76" name="Triangle isocèle 75">
            <a:extLst>
              <a:ext uri="{FF2B5EF4-FFF2-40B4-BE49-F238E27FC236}">
                <a16:creationId xmlns:a16="http://schemas.microsoft.com/office/drawing/2014/main" id="{1DC8269C-194A-DA7E-D484-E6983DBEAFBF}"/>
              </a:ext>
            </a:extLst>
          </p:cNvPr>
          <p:cNvSpPr/>
          <p:nvPr/>
        </p:nvSpPr>
        <p:spPr>
          <a:xfrm flipH="1">
            <a:off x="1665385" y="3546444"/>
            <a:ext cx="108000" cy="144000"/>
          </a:xfrm>
          <a:prstGeom prst="triangle">
            <a:avLst/>
          </a:prstGeom>
          <a:solidFill>
            <a:schemeClr val="accent5">
              <a:lumMod val="20000"/>
              <a:lumOff val="8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a:solidFill>
                <a:schemeClr val="bg1"/>
              </a:solidFill>
              <a:latin typeface="Raleway" pitchFamily="2" charset="0"/>
            </a:endParaRPr>
          </a:p>
        </p:txBody>
      </p:sp>
      <p:sp>
        <p:nvSpPr>
          <p:cNvPr id="13" name="ZoneTexte 12">
            <a:extLst>
              <a:ext uri="{FF2B5EF4-FFF2-40B4-BE49-F238E27FC236}">
                <a16:creationId xmlns:a16="http://schemas.microsoft.com/office/drawing/2014/main" id="{A1FDBEAD-41B6-7C4B-81AA-4A03851D5F66}"/>
              </a:ext>
            </a:extLst>
          </p:cNvPr>
          <p:cNvSpPr txBox="1"/>
          <p:nvPr/>
        </p:nvSpPr>
        <p:spPr>
          <a:xfrm>
            <a:off x="3038210" y="4402480"/>
            <a:ext cx="1498710" cy="261610"/>
          </a:xfrm>
          <a:prstGeom prst="rect">
            <a:avLst/>
          </a:prstGeom>
          <a:noFill/>
        </p:spPr>
        <p:txBody>
          <a:bodyPr wrap="square">
            <a:spAutoFit/>
          </a:bodyPr>
          <a:lstStyle/>
          <a:p>
            <a:pPr marL="0" algn="l" defTabSz="914400" rtl="0" eaLnBrk="1" latinLnBrk="0" hangingPunct="1"/>
            <a:r>
              <a:rPr kumimoji="0" lang="en-GB" sz="1100" b="1" i="1" u="none" strike="noStrike" kern="1200" cap="none" spc="0" normalizeH="0" baseline="0">
                <a:ln>
                  <a:noFill/>
                </a:ln>
                <a:solidFill>
                  <a:srgbClr val="E86A28"/>
                </a:solidFill>
                <a:effectLst/>
                <a:uLnTx/>
                <a:uFillTx/>
                <a:latin typeface="Raleway" pitchFamily="2" charset="0"/>
              </a:rPr>
              <a:t>Biological E</a:t>
            </a:r>
            <a:r>
              <a:rPr kumimoji="0" lang="en-GB" sz="1100" b="1" u="none" strike="noStrike" kern="1200" cap="none" spc="0" normalizeH="0" baseline="0">
                <a:ln>
                  <a:noFill/>
                </a:ln>
                <a:effectLst/>
                <a:uLnTx/>
                <a:uFillTx/>
                <a:latin typeface="Raleway" pitchFamily="2" charset="0"/>
              </a:rPr>
              <a:t> </a:t>
            </a:r>
          </a:p>
        </p:txBody>
      </p:sp>
      <p:graphicFrame>
        <p:nvGraphicFramePr>
          <p:cNvPr id="12" name="Table 5">
            <a:extLst>
              <a:ext uri="{FF2B5EF4-FFF2-40B4-BE49-F238E27FC236}">
                <a16:creationId xmlns:a16="http://schemas.microsoft.com/office/drawing/2014/main" id="{4B20B7B2-B7B8-8173-F541-C29DB8CADFBD}"/>
              </a:ext>
            </a:extLst>
          </p:cNvPr>
          <p:cNvGraphicFramePr>
            <a:graphicFrameLocks noGrp="1"/>
          </p:cNvGraphicFramePr>
          <p:nvPr>
            <p:extLst>
              <p:ext uri="{D42A27DB-BD31-4B8C-83A1-F6EECF244321}">
                <p14:modId xmlns:p14="http://schemas.microsoft.com/office/powerpoint/2010/main" val="1773156394"/>
              </p:ext>
            </p:extLst>
          </p:nvPr>
        </p:nvGraphicFramePr>
        <p:xfrm>
          <a:off x="5074524" y="364196"/>
          <a:ext cx="6915093" cy="4954564"/>
        </p:xfrm>
        <a:graphic>
          <a:graphicData uri="http://schemas.openxmlformats.org/drawingml/2006/table">
            <a:tbl>
              <a:tblPr firstRow="1" bandRow="1">
                <a:tableStyleId>{9D7B26C5-4107-4FEC-AEDC-1716B250A1EF}</a:tableStyleId>
              </a:tblPr>
              <a:tblGrid>
                <a:gridCol w="1224785">
                  <a:extLst>
                    <a:ext uri="{9D8B030D-6E8A-4147-A177-3AD203B41FA5}">
                      <a16:colId xmlns:a16="http://schemas.microsoft.com/office/drawing/2014/main" val="1971178031"/>
                    </a:ext>
                  </a:extLst>
                </a:gridCol>
                <a:gridCol w="1068533">
                  <a:extLst>
                    <a:ext uri="{9D8B030D-6E8A-4147-A177-3AD203B41FA5}">
                      <a16:colId xmlns:a16="http://schemas.microsoft.com/office/drawing/2014/main" val="4106639385"/>
                    </a:ext>
                  </a:extLst>
                </a:gridCol>
                <a:gridCol w="975982">
                  <a:extLst>
                    <a:ext uri="{9D8B030D-6E8A-4147-A177-3AD203B41FA5}">
                      <a16:colId xmlns:a16="http://schemas.microsoft.com/office/drawing/2014/main" val="1505498681"/>
                    </a:ext>
                  </a:extLst>
                </a:gridCol>
                <a:gridCol w="948941">
                  <a:extLst>
                    <a:ext uri="{9D8B030D-6E8A-4147-A177-3AD203B41FA5}">
                      <a16:colId xmlns:a16="http://schemas.microsoft.com/office/drawing/2014/main" val="845154092"/>
                    </a:ext>
                  </a:extLst>
                </a:gridCol>
                <a:gridCol w="2696852">
                  <a:extLst>
                    <a:ext uri="{9D8B030D-6E8A-4147-A177-3AD203B41FA5}">
                      <a16:colId xmlns:a16="http://schemas.microsoft.com/office/drawing/2014/main" val="4158918225"/>
                    </a:ext>
                  </a:extLst>
                </a:gridCol>
              </a:tblGrid>
              <a:tr h="415742">
                <a:tc>
                  <a:txBody>
                    <a:bodyPr/>
                    <a:lstStyle/>
                    <a:p>
                      <a:pPr algn="l"/>
                      <a:r>
                        <a:rPr lang="en-US" sz="900">
                          <a:solidFill>
                            <a:schemeClr val="bg1"/>
                          </a:solidFill>
                          <a:latin typeface="Raleway" pitchFamily="2" charset="0"/>
                        </a:rPr>
                        <a:t>State/ City</a:t>
                      </a:r>
                    </a:p>
                  </a:txBody>
                  <a:tcPr>
                    <a:solidFill>
                      <a:schemeClr val="tx1"/>
                    </a:solidFill>
                  </a:tcPr>
                </a:tc>
                <a:tc>
                  <a:txBody>
                    <a:bodyPr/>
                    <a:lstStyle/>
                    <a:p>
                      <a:pPr algn="l"/>
                      <a:r>
                        <a:rPr lang="en-US" sz="900">
                          <a:solidFill>
                            <a:schemeClr val="bg1"/>
                          </a:solidFill>
                          <a:latin typeface="Raleway" pitchFamily="2" charset="0"/>
                        </a:rPr>
                        <a:t>Recipient company</a:t>
                      </a:r>
                    </a:p>
                  </a:txBody>
                  <a:tcPr>
                    <a:solidFill>
                      <a:schemeClr val="tx1"/>
                    </a:solidFill>
                  </a:tcPr>
                </a:tc>
                <a:tc>
                  <a:txBody>
                    <a:bodyPr/>
                    <a:lstStyle/>
                    <a:p>
                      <a:pPr algn="l"/>
                      <a:r>
                        <a:rPr lang="en-US" sz="900">
                          <a:solidFill>
                            <a:schemeClr val="bg1"/>
                          </a:solidFill>
                          <a:latin typeface="Raleway" pitchFamily="2" charset="0"/>
                        </a:rPr>
                        <a:t>Developer</a:t>
                      </a:r>
                    </a:p>
                  </a:txBody>
                  <a:tcPr>
                    <a:solidFill>
                      <a:schemeClr val="tx1"/>
                    </a:solidFill>
                  </a:tcPr>
                </a:tc>
                <a:tc>
                  <a:txBody>
                    <a:bodyPr/>
                    <a:lstStyle/>
                    <a:p>
                      <a:pPr algn="l"/>
                      <a:r>
                        <a:rPr lang="en-US" sz="900">
                          <a:solidFill>
                            <a:schemeClr val="bg1"/>
                          </a:solidFill>
                          <a:latin typeface="Raleway" pitchFamily="2" charset="0"/>
                        </a:rPr>
                        <a:t>Production type</a:t>
                      </a:r>
                    </a:p>
                  </a:txBody>
                  <a:tcPr>
                    <a:solidFill>
                      <a:schemeClr val="tx1"/>
                    </a:solidFill>
                  </a:tcPr>
                </a:tc>
                <a:tc>
                  <a:txBody>
                    <a:bodyPr/>
                    <a:lstStyle/>
                    <a:p>
                      <a:pPr algn="l"/>
                      <a:r>
                        <a:rPr lang="en-US" sz="900">
                          <a:solidFill>
                            <a:schemeClr val="bg1"/>
                          </a:solidFill>
                          <a:latin typeface="Raleway" pitchFamily="2" charset="0"/>
                        </a:rPr>
                        <a:t>Status</a:t>
                      </a:r>
                    </a:p>
                  </a:txBody>
                  <a:tcPr>
                    <a:solidFill>
                      <a:schemeClr val="tx1"/>
                    </a:solidFill>
                  </a:tcPr>
                </a:tc>
                <a:extLst>
                  <a:ext uri="{0D108BD9-81ED-4DB2-BD59-A6C34878D82A}">
                    <a16:rowId xmlns:a16="http://schemas.microsoft.com/office/drawing/2014/main" val="3036631337"/>
                  </a:ext>
                </a:extLst>
              </a:tr>
              <a:tr h="566766">
                <a:tc>
                  <a:txBody>
                    <a:bodyPr/>
                    <a:lstStyle/>
                    <a:p>
                      <a:pPr algn="l"/>
                      <a:r>
                        <a:rPr lang="en-US" sz="900" b="1" dirty="0">
                          <a:latin typeface="Raleway" pitchFamily="2" charset="0"/>
                        </a:rPr>
                        <a:t>Maharashtra (Pune)</a:t>
                      </a:r>
                    </a:p>
                  </a:txBody>
                  <a:tcPr anchor="ctr"/>
                </a:tc>
                <a:tc>
                  <a:txBody>
                    <a:bodyPr/>
                    <a:lstStyle/>
                    <a:p>
                      <a:pPr algn="l"/>
                      <a:r>
                        <a:rPr lang="en-US" sz="900" dirty="0" err="1">
                          <a:latin typeface="Raleway" pitchFamily="2" charset="0"/>
                        </a:rPr>
                        <a:t>Gennova</a:t>
                      </a:r>
                      <a:r>
                        <a:rPr lang="en-US" sz="900" dirty="0">
                          <a:latin typeface="Raleway" pitchFamily="2" charset="0"/>
                        </a:rPr>
                        <a:t> Biopharmaceuticals</a:t>
                      </a:r>
                    </a:p>
                  </a:txBody>
                  <a:tcPr anchor="ctr"/>
                </a:tc>
                <a:tc>
                  <a:txBody>
                    <a:bodyPr/>
                    <a:lstStyle/>
                    <a:p>
                      <a:pPr algn="l"/>
                      <a:r>
                        <a:rPr lang="en-US" sz="900" dirty="0" err="1">
                          <a:latin typeface="Raleway" pitchFamily="2" charset="0"/>
                        </a:rPr>
                        <a:t>Gennova</a:t>
                      </a:r>
                      <a:r>
                        <a:rPr lang="en-US" sz="900" dirty="0">
                          <a:latin typeface="Raleway" pitchFamily="2" charset="0"/>
                        </a:rPr>
                        <a:t> Biopharmaceuticals</a:t>
                      </a:r>
                    </a:p>
                  </a:txBody>
                  <a:tcPr anchor="ctr"/>
                </a:tc>
                <a:tc>
                  <a:txBody>
                    <a:bodyPr/>
                    <a:lstStyle/>
                    <a:p>
                      <a:pPr algn="l"/>
                      <a:r>
                        <a:rPr lang="en-US" sz="900" dirty="0">
                          <a:latin typeface="Raleway" pitchFamily="2" charset="0"/>
                        </a:rPr>
                        <a:t>End-to-end</a:t>
                      </a:r>
                    </a:p>
                  </a:txBody>
                  <a:tcPr anchor="ctr"/>
                </a:tc>
                <a:tc>
                  <a:txBody>
                    <a:bodyPr/>
                    <a:lstStyle/>
                    <a:p>
                      <a:pPr algn="l" fontAlgn="ctr"/>
                      <a:r>
                        <a:rPr lang="en-US" sz="700" b="0" i="0" u="none" strike="noStrike" dirty="0">
                          <a:solidFill>
                            <a:srgbClr val="000000"/>
                          </a:solidFill>
                          <a:effectLst/>
                          <a:latin typeface="Raleway" pitchFamily="2" charset="0"/>
                        </a:rPr>
                        <a:t>On April 2023. </a:t>
                      </a:r>
                      <a:r>
                        <a:rPr lang="en-US" sz="700" b="0" i="0" u="none" strike="noStrike" dirty="0" err="1">
                          <a:solidFill>
                            <a:srgbClr val="000000"/>
                          </a:solidFill>
                          <a:effectLst/>
                          <a:latin typeface="Raleway" pitchFamily="2" charset="0"/>
                        </a:rPr>
                        <a:t>Gennova</a:t>
                      </a:r>
                      <a:r>
                        <a:rPr lang="en-US" sz="700" b="0" i="0" u="none" strike="noStrike" dirty="0">
                          <a:solidFill>
                            <a:srgbClr val="000000"/>
                          </a:solidFill>
                          <a:effectLst/>
                          <a:latin typeface="Raleway" pitchFamily="2" charset="0"/>
                        </a:rPr>
                        <a:t> seeks EUA for 1</a:t>
                      </a:r>
                      <a:r>
                        <a:rPr lang="en-US" sz="700" b="0" i="0" u="none" strike="noStrike" baseline="30000" dirty="0">
                          <a:solidFill>
                            <a:srgbClr val="000000"/>
                          </a:solidFill>
                          <a:effectLst/>
                          <a:latin typeface="Raleway" pitchFamily="2" charset="0"/>
                        </a:rPr>
                        <a:t>st</a:t>
                      </a:r>
                      <a:r>
                        <a:rPr lang="en-US" sz="700" b="0" i="0" u="none" strike="noStrike" dirty="0">
                          <a:solidFill>
                            <a:srgbClr val="000000"/>
                          </a:solidFill>
                          <a:effectLst/>
                          <a:latin typeface="Raleway" pitchFamily="2" charset="0"/>
                        </a:rPr>
                        <a:t> needle-free, thermostable mRNA vaccine as a booster for Omicron variant.</a:t>
                      </a:r>
                    </a:p>
                  </a:txBody>
                  <a:tcPr marL="0" marR="0" marT="0" marB="0" anchor="ctr"/>
                </a:tc>
                <a:extLst>
                  <a:ext uri="{0D108BD9-81ED-4DB2-BD59-A6C34878D82A}">
                    <a16:rowId xmlns:a16="http://schemas.microsoft.com/office/drawing/2014/main" val="3801935204"/>
                  </a:ext>
                </a:extLst>
              </a:tr>
              <a:tr h="7868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solidFill>
                            <a:schemeClr val="accent1">
                              <a:lumMod val="75000"/>
                            </a:schemeClr>
                          </a:solidFill>
                          <a:latin typeface="Raleway" pitchFamily="2" charset="0"/>
                        </a:rPr>
                        <a:t>Maharashtra (Pun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err="1">
                          <a:solidFill>
                            <a:schemeClr val="accent1">
                              <a:lumMod val="75000"/>
                            </a:schemeClr>
                          </a:solidFill>
                          <a:latin typeface="Raleway" pitchFamily="2" charset="0"/>
                        </a:rPr>
                        <a:t>Gennova</a:t>
                      </a:r>
                      <a:r>
                        <a:rPr lang="en-US" sz="900" dirty="0">
                          <a:solidFill>
                            <a:schemeClr val="accent1">
                              <a:lumMod val="75000"/>
                            </a:schemeClr>
                          </a:solidFill>
                          <a:latin typeface="Raleway" pitchFamily="2" charset="0"/>
                        </a:rPr>
                        <a:t> Biopharmaceuticals</a:t>
                      </a:r>
                    </a:p>
                    <a:p>
                      <a:pPr algn="l"/>
                      <a:endParaRPr lang="en-US" sz="900" dirty="0">
                        <a:solidFill>
                          <a:schemeClr val="accent1">
                            <a:lumMod val="75000"/>
                          </a:schemeClr>
                        </a:solidFill>
                        <a:latin typeface="Raleway" pitchFamily="2"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err="1">
                          <a:solidFill>
                            <a:schemeClr val="accent1">
                              <a:lumMod val="75000"/>
                            </a:schemeClr>
                          </a:solidFill>
                          <a:latin typeface="Raleway" pitchFamily="2" charset="0"/>
                        </a:rPr>
                        <a:t>Gennova</a:t>
                      </a:r>
                      <a:r>
                        <a:rPr lang="en-US" sz="900" dirty="0">
                          <a:solidFill>
                            <a:schemeClr val="accent1">
                              <a:lumMod val="75000"/>
                            </a:schemeClr>
                          </a:solidFill>
                          <a:latin typeface="Raleway" pitchFamily="2" charset="0"/>
                        </a:rPr>
                        <a:t> Biopharmaceuticals</a:t>
                      </a:r>
                    </a:p>
                    <a:p>
                      <a:pPr algn="l"/>
                      <a:endParaRPr lang="en-US" sz="900" dirty="0">
                        <a:solidFill>
                          <a:schemeClr val="accent1">
                            <a:lumMod val="75000"/>
                          </a:schemeClr>
                        </a:solidFill>
                        <a:latin typeface="Raleway" pitchFamily="2" charset="0"/>
                      </a:endParaRPr>
                    </a:p>
                  </a:txBody>
                  <a:tcPr anchor="ctr"/>
                </a:tc>
                <a:tc>
                  <a:txBody>
                    <a:bodyPr/>
                    <a:lstStyle/>
                    <a:p>
                      <a:pPr algn="l"/>
                      <a:r>
                        <a:rPr lang="en-US" sz="900" dirty="0">
                          <a:solidFill>
                            <a:schemeClr val="accent1">
                              <a:lumMod val="75000"/>
                            </a:schemeClr>
                          </a:solidFill>
                          <a:latin typeface="Raleway" pitchFamily="2" charset="0"/>
                        </a:rPr>
                        <a:t>End-to-end</a:t>
                      </a:r>
                    </a:p>
                  </a:txBody>
                  <a:tcPr anchor="ctr"/>
                </a:tc>
                <a:tc>
                  <a:txBody>
                    <a:bodyPr/>
                    <a:lstStyle/>
                    <a:p>
                      <a:pPr marL="0" algn="l" defTabSz="914400" rtl="0" eaLnBrk="1" fontAlgn="ctr" latinLnBrk="0" hangingPunct="1"/>
                      <a:r>
                        <a:rPr lang="en-US" sz="700" kern="1200" dirty="0">
                          <a:solidFill>
                            <a:schemeClr val="accent1">
                              <a:lumMod val="75000"/>
                            </a:schemeClr>
                          </a:solidFill>
                          <a:latin typeface="Raleway" pitchFamily="2" charset="0"/>
                          <a:ea typeface="+mn-ea"/>
                          <a:cs typeface="+mn-cs"/>
                        </a:rPr>
                        <a:t>In March 2025, </a:t>
                      </a:r>
                      <a:r>
                        <a:rPr lang="en-US" sz="700" kern="1200" dirty="0" err="1">
                          <a:solidFill>
                            <a:schemeClr val="accent1">
                              <a:lumMod val="75000"/>
                            </a:schemeClr>
                          </a:solidFill>
                          <a:latin typeface="Raleway" pitchFamily="2" charset="0"/>
                          <a:ea typeface="+mn-ea"/>
                          <a:cs typeface="+mn-cs"/>
                        </a:rPr>
                        <a:t>Gennova</a:t>
                      </a:r>
                      <a:r>
                        <a:rPr lang="en-US" sz="700" kern="1200" dirty="0">
                          <a:solidFill>
                            <a:schemeClr val="accent1">
                              <a:lumMod val="75000"/>
                            </a:schemeClr>
                          </a:solidFill>
                          <a:latin typeface="Raleway" pitchFamily="2" charset="0"/>
                          <a:ea typeface="+mn-ea"/>
                          <a:cs typeface="+mn-cs"/>
                        </a:rPr>
                        <a:t> Biopharmaceuticals partnered with CEPI to develop a self-amplifying mRNA (</a:t>
                      </a:r>
                      <a:r>
                        <a:rPr lang="en-US" sz="700" kern="1200" dirty="0" err="1">
                          <a:solidFill>
                            <a:schemeClr val="accent1">
                              <a:lumMod val="75000"/>
                            </a:schemeClr>
                          </a:solidFill>
                          <a:latin typeface="Raleway" pitchFamily="2" charset="0"/>
                          <a:ea typeface="+mn-ea"/>
                          <a:cs typeface="+mn-cs"/>
                        </a:rPr>
                        <a:t>saRNA</a:t>
                      </a:r>
                      <a:r>
                        <a:rPr lang="en-US" sz="700" kern="1200" dirty="0">
                          <a:solidFill>
                            <a:schemeClr val="accent1">
                              <a:lumMod val="75000"/>
                            </a:schemeClr>
                          </a:solidFill>
                          <a:latin typeface="Raleway" pitchFamily="2" charset="0"/>
                          <a:ea typeface="+mn-ea"/>
                          <a:cs typeface="+mn-cs"/>
                        </a:rPr>
                        <a:t>) Nipah virus vaccine, with up to $13.38 million in funding for preclinical and phase 1 trials in India. The project, involving Houston Methodist Research Institute, uses AI to optimize vaccine design and strengthens CEPI’s global Nipah portfolio.</a:t>
                      </a:r>
                    </a:p>
                  </a:txBody>
                  <a:tcPr marL="0" marR="0" marT="0" marB="0" anchor="ctr"/>
                </a:tc>
                <a:extLst>
                  <a:ext uri="{0D108BD9-81ED-4DB2-BD59-A6C34878D82A}">
                    <a16:rowId xmlns:a16="http://schemas.microsoft.com/office/drawing/2014/main" val="516593454"/>
                  </a:ext>
                </a:extLst>
              </a:tr>
              <a:tr h="813818">
                <a:tc>
                  <a:txBody>
                    <a:bodyPr/>
                    <a:lstStyle/>
                    <a:p>
                      <a:pPr algn="l"/>
                      <a:r>
                        <a:rPr lang="en-US" sz="900" b="1" dirty="0">
                          <a:latin typeface="Raleway" pitchFamily="2" charset="0"/>
                        </a:rPr>
                        <a:t>Maharashtra (Mumbai)</a:t>
                      </a:r>
                    </a:p>
                  </a:txBody>
                  <a:tcPr anchor="ctr"/>
                </a:tc>
                <a:tc>
                  <a:txBody>
                    <a:bodyPr/>
                    <a:lstStyle/>
                    <a:p>
                      <a:pPr algn="l"/>
                      <a:r>
                        <a:rPr lang="en-US" sz="900">
                          <a:latin typeface="Raleway" pitchFamily="2" charset="0"/>
                        </a:rPr>
                        <a:t>VAV Lifesciences</a:t>
                      </a:r>
                    </a:p>
                  </a:txBody>
                  <a:tcPr anchor="ctr"/>
                </a:tc>
                <a:tc>
                  <a:txBody>
                    <a:bodyPr/>
                    <a:lstStyle/>
                    <a:p>
                      <a:pPr algn="l" fontAlgn="ctr"/>
                      <a:r>
                        <a:rPr lang="en-US" sz="900" b="0" i="0" u="none" strike="noStrike">
                          <a:solidFill>
                            <a:srgbClr val="000000"/>
                          </a:solidFill>
                          <a:effectLst/>
                          <a:latin typeface="Raleway" pitchFamily="2" charset="0"/>
                        </a:rPr>
                        <a:t>BioNTech</a:t>
                      </a:r>
                    </a:p>
                  </a:txBody>
                  <a:tcPr marL="0" marR="0" marT="0" marB="0" anchor="ctr"/>
                </a:tc>
                <a:tc>
                  <a:txBody>
                    <a:bodyPr/>
                    <a:lstStyle/>
                    <a:p>
                      <a:pPr algn="l"/>
                      <a:r>
                        <a:rPr lang="en-US" sz="900">
                          <a:latin typeface="Raleway" pitchFamily="2" charset="0"/>
                        </a:rPr>
                        <a:t>Drug substance</a:t>
                      </a:r>
                    </a:p>
                  </a:txBody>
                  <a:tcPr anchor="ctr"/>
                </a:tc>
                <a:tc>
                  <a:txBody>
                    <a:bodyPr/>
                    <a:lstStyle/>
                    <a:p>
                      <a:pPr algn="l"/>
                      <a:r>
                        <a:rPr lang="en-US" sz="700" dirty="0">
                          <a:latin typeface="Raleway" pitchFamily="2" charset="0"/>
                        </a:rPr>
                        <a:t>Agreed with a US-based multinational contract development and manufacturing organization (CDMO) to manufacture and supply highly purified gene-based lipid nanoparticles (LNPs) for BioNTech</a:t>
                      </a:r>
                    </a:p>
                  </a:txBody>
                  <a:tcPr anchor="ctr"/>
                </a:tc>
                <a:extLst>
                  <a:ext uri="{0D108BD9-81ED-4DB2-BD59-A6C34878D82A}">
                    <a16:rowId xmlns:a16="http://schemas.microsoft.com/office/drawing/2014/main" val="423017230"/>
                  </a:ext>
                </a:extLst>
              </a:tr>
              <a:tr h="813818">
                <a:tc>
                  <a:txBody>
                    <a:bodyPr/>
                    <a:lstStyle/>
                    <a:p>
                      <a:pPr algn="l"/>
                      <a:r>
                        <a:rPr lang="en-US" sz="900" b="1" dirty="0">
                          <a:latin typeface="Raleway" pitchFamily="2" charset="0"/>
                        </a:rPr>
                        <a:t>Maharashtra (Mumbai)</a:t>
                      </a:r>
                    </a:p>
                  </a:txBody>
                  <a:tcPr anchor="ctr"/>
                </a:tc>
                <a:tc>
                  <a:txBody>
                    <a:bodyPr/>
                    <a:lstStyle/>
                    <a:p>
                      <a:pPr algn="l"/>
                      <a:r>
                        <a:rPr lang="en-US" sz="900">
                          <a:latin typeface="Raleway" pitchFamily="2" charset="0"/>
                        </a:rPr>
                        <a:t>VAV Lifesciences</a:t>
                      </a:r>
                    </a:p>
                  </a:txBody>
                  <a:tcPr anchor="ctr"/>
                </a:tc>
                <a:tc>
                  <a:txBody>
                    <a:bodyPr/>
                    <a:lstStyle/>
                    <a:p>
                      <a:pPr algn="l" fontAlgn="ctr"/>
                      <a:r>
                        <a:rPr lang="en-US" sz="900" b="0" i="0" u="none" strike="noStrike">
                          <a:solidFill>
                            <a:srgbClr val="000000"/>
                          </a:solidFill>
                          <a:effectLst/>
                          <a:latin typeface="Raleway" pitchFamily="2" charset="0"/>
                        </a:rPr>
                        <a:t>Moderna</a:t>
                      </a:r>
                    </a:p>
                  </a:txBody>
                  <a:tcPr marL="0" marR="0" marT="0" marB="0" anchor="ctr"/>
                </a:tc>
                <a:tc>
                  <a:txBody>
                    <a:bodyPr/>
                    <a:lstStyle/>
                    <a:p>
                      <a:pPr algn="l"/>
                      <a:r>
                        <a:rPr lang="en-US" sz="900">
                          <a:latin typeface="Raleway" pitchFamily="2" charset="0"/>
                        </a:rPr>
                        <a:t>Drug substance</a:t>
                      </a:r>
                    </a:p>
                  </a:txBody>
                  <a:tcPr anchor="ctr"/>
                </a:tc>
                <a:tc>
                  <a:txBody>
                    <a:bodyPr/>
                    <a:lstStyle/>
                    <a:p>
                      <a:pPr algn="l"/>
                      <a:r>
                        <a:rPr lang="en-US" sz="700" dirty="0">
                          <a:latin typeface="Raleway" pitchFamily="2" charset="0"/>
                        </a:rPr>
                        <a:t>Agreed with a US-based multinational contract development and manufacturing organization (CDMO) to manufacture and supply highly purified gene-based lipid nanoparticles (LNPs) for Moderna</a:t>
                      </a:r>
                    </a:p>
                  </a:txBody>
                  <a:tcPr anchor="ctr"/>
                </a:tc>
                <a:extLst>
                  <a:ext uri="{0D108BD9-81ED-4DB2-BD59-A6C34878D82A}">
                    <a16:rowId xmlns:a16="http://schemas.microsoft.com/office/drawing/2014/main" val="4114079512"/>
                  </a:ext>
                </a:extLst>
              </a:tr>
              <a:tr h="8260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solidFill>
                            <a:schemeClr val="accent1">
                              <a:lumMod val="75000"/>
                            </a:schemeClr>
                          </a:solidFill>
                          <a:latin typeface="Raleway" pitchFamily="2" charset="0"/>
                        </a:rPr>
                        <a:t>Maharashtra (Mumbai)</a:t>
                      </a:r>
                    </a:p>
                  </a:txBody>
                  <a:tcPr anchor="ctr"/>
                </a:tc>
                <a:tc>
                  <a:txBody>
                    <a:bodyPr/>
                    <a:lstStyle/>
                    <a:p>
                      <a:pPr algn="l"/>
                      <a:r>
                        <a:rPr lang="en-US" sz="900" dirty="0" err="1">
                          <a:solidFill>
                            <a:schemeClr val="accent1">
                              <a:lumMod val="75000"/>
                            </a:schemeClr>
                          </a:solidFill>
                          <a:latin typeface="Raleway" pitchFamily="2" charset="0"/>
                        </a:rPr>
                        <a:t>TechInvention</a:t>
                      </a:r>
                      <a:r>
                        <a:rPr lang="en-US" sz="900" dirty="0">
                          <a:solidFill>
                            <a:schemeClr val="accent1">
                              <a:lumMod val="75000"/>
                            </a:schemeClr>
                          </a:solidFill>
                          <a:latin typeface="Raleway" pitchFamily="2" charset="0"/>
                        </a:rPr>
                        <a:t> Lifecare</a:t>
                      </a:r>
                    </a:p>
                  </a:txBody>
                  <a:tcPr anchor="ctr"/>
                </a:tc>
                <a:tc>
                  <a:txBody>
                    <a:bodyPr/>
                    <a:lstStyle/>
                    <a:p>
                      <a:pPr algn="l" fontAlgn="ctr"/>
                      <a:r>
                        <a:rPr lang="en-US" sz="900" b="0" i="0" u="none" strike="noStrike" dirty="0" err="1">
                          <a:solidFill>
                            <a:schemeClr val="accent1">
                              <a:lumMod val="75000"/>
                            </a:schemeClr>
                          </a:solidFill>
                          <a:effectLst/>
                          <a:latin typeface="Raleway" pitchFamily="2" charset="0"/>
                        </a:rPr>
                        <a:t>TechInvention</a:t>
                      </a:r>
                      <a:r>
                        <a:rPr lang="en-US" sz="900" b="0" i="0" u="none" strike="noStrike" dirty="0">
                          <a:solidFill>
                            <a:schemeClr val="accent1">
                              <a:lumMod val="75000"/>
                            </a:schemeClr>
                          </a:solidFill>
                          <a:effectLst/>
                          <a:latin typeface="Raleway" pitchFamily="2" charset="0"/>
                        </a:rPr>
                        <a:t>, </a:t>
                      </a:r>
                      <a:r>
                        <a:rPr lang="en-US" sz="900" b="0" i="0" u="none" strike="noStrike" dirty="0" err="1">
                          <a:solidFill>
                            <a:schemeClr val="accent1">
                              <a:lumMod val="75000"/>
                            </a:schemeClr>
                          </a:solidFill>
                          <a:effectLst/>
                          <a:latin typeface="Raleway" pitchFamily="2" charset="0"/>
                        </a:rPr>
                        <a:t>Quantoom</a:t>
                      </a:r>
                      <a:r>
                        <a:rPr lang="en-US" sz="900" b="0" i="0" u="none" strike="noStrike" dirty="0">
                          <a:solidFill>
                            <a:schemeClr val="accent1">
                              <a:lumMod val="75000"/>
                            </a:schemeClr>
                          </a:solidFill>
                          <a:effectLst/>
                          <a:latin typeface="Raleway" pitchFamily="2" charset="0"/>
                        </a:rPr>
                        <a:t> Biosciences</a:t>
                      </a:r>
                    </a:p>
                  </a:txBody>
                  <a:tcPr marL="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accent1">
                              <a:lumMod val="75000"/>
                            </a:schemeClr>
                          </a:solidFill>
                          <a:latin typeface="Raleway" pitchFamily="2" charset="0"/>
                        </a:rPr>
                        <a:t>End-to-end</a:t>
                      </a:r>
                    </a:p>
                  </a:txBody>
                  <a:tcPr anchor="ctr"/>
                </a:tc>
                <a:tc>
                  <a:txBody>
                    <a:bodyPr/>
                    <a:lstStyle/>
                    <a:p>
                      <a:pPr algn="l"/>
                      <a:r>
                        <a:rPr lang="en-US" sz="700" dirty="0">
                          <a:solidFill>
                            <a:schemeClr val="accent1">
                              <a:lumMod val="75000"/>
                            </a:schemeClr>
                          </a:solidFill>
                          <a:latin typeface="Raleway" pitchFamily="2" charset="0"/>
                        </a:rPr>
                        <a:t>In March 2025, </a:t>
                      </a:r>
                      <a:r>
                        <a:rPr lang="en-US" sz="700" dirty="0" err="1">
                          <a:solidFill>
                            <a:schemeClr val="accent1">
                              <a:lumMod val="75000"/>
                            </a:schemeClr>
                          </a:solidFill>
                          <a:latin typeface="Raleway" pitchFamily="2" charset="0"/>
                        </a:rPr>
                        <a:t>TechInvention</a:t>
                      </a:r>
                      <a:r>
                        <a:rPr lang="en-US" sz="700" dirty="0">
                          <a:solidFill>
                            <a:schemeClr val="accent1">
                              <a:lumMod val="75000"/>
                            </a:schemeClr>
                          </a:solidFill>
                          <a:latin typeface="Raleway" pitchFamily="2" charset="0"/>
                        </a:rPr>
                        <a:t> (India) and </a:t>
                      </a:r>
                      <a:r>
                        <a:rPr lang="en-US" sz="700" dirty="0" err="1">
                          <a:solidFill>
                            <a:schemeClr val="accent1">
                              <a:lumMod val="75000"/>
                            </a:schemeClr>
                          </a:solidFill>
                          <a:latin typeface="Raleway" pitchFamily="2" charset="0"/>
                        </a:rPr>
                        <a:t>Quantoom</a:t>
                      </a:r>
                      <a:r>
                        <a:rPr lang="en-US" sz="700" dirty="0">
                          <a:solidFill>
                            <a:schemeClr val="accent1">
                              <a:lumMod val="75000"/>
                            </a:schemeClr>
                          </a:solidFill>
                          <a:latin typeface="Raleway" pitchFamily="2" charset="0"/>
                        </a:rPr>
                        <a:t> (Belgium) signed an MoU to build a GMP-ready RNA vaccine facility in Navi Mumbai using </a:t>
                      </a:r>
                      <a:r>
                        <a:rPr lang="en-US" sz="700" dirty="0" err="1">
                          <a:solidFill>
                            <a:schemeClr val="accent1">
                              <a:lumMod val="75000"/>
                            </a:schemeClr>
                          </a:solidFill>
                          <a:latin typeface="Raleway" pitchFamily="2" charset="0"/>
                        </a:rPr>
                        <a:t>Quantoom’s</a:t>
                      </a:r>
                      <a:r>
                        <a:rPr lang="en-US" sz="700" dirty="0">
                          <a:solidFill>
                            <a:schemeClr val="accent1">
                              <a:lumMod val="75000"/>
                            </a:schemeClr>
                          </a:solidFill>
                          <a:latin typeface="Raleway" pitchFamily="2" charset="0"/>
                        </a:rPr>
                        <a:t> N-Force toolbox. Part of </a:t>
                      </a:r>
                      <a:r>
                        <a:rPr lang="en-US" sz="700" dirty="0" err="1">
                          <a:solidFill>
                            <a:schemeClr val="accent1">
                              <a:lumMod val="75000"/>
                            </a:schemeClr>
                          </a:solidFill>
                          <a:latin typeface="Raleway" pitchFamily="2" charset="0"/>
                        </a:rPr>
                        <a:t>TechInvention’s</a:t>
                      </a:r>
                      <a:r>
                        <a:rPr lang="en-US" sz="700" dirty="0">
                          <a:solidFill>
                            <a:schemeClr val="accent1">
                              <a:lumMod val="75000"/>
                            </a:schemeClr>
                          </a:solidFill>
                          <a:latin typeface="Raleway" pitchFamily="2" charset="0"/>
                        </a:rPr>
                        <a:t> GCMC, the project aims to democratize RNA technology for India and other LMICs, with operations expected by late 2025.</a:t>
                      </a:r>
                    </a:p>
                  </a:txBody>
                  <a:tcPr anchor="ctr"/>
                </a:tc>
                <a:extLst>
                  <a:ext uri="{0D108BD9-81ED-4DB2-BD59-A6C34878D82A}">
                    <a16:rowId xmlns:a16="http://schemas.microsoft.com/office/drawing/2014/main" val="3537290981"/>
                  </a:ext>
                </a:extLst>
              </a:tr>
              <a:tr h="6248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solidFill>
                            <a:schemeClr val="accent1">
                              <a:lumMod val="75000"/>
                            </a:schemeClr>
                          </a:solidFill>
                          <a:latin typeface="Raleway" pitchFamily="2" charset="0"/>
                        </a:rPr>
                        <a:t>Telangana (Hyderabad)</a:t>
                      </a:r>
                    </a:p>
                  </a:txBody>
                  <a:tcPr anchor="ctr"/>
                </a:tc>
                <a:tc>
                  <a:txBody>
                    <a:bodyPr/>
                    <a:lstStyle/>
                    <a:p>
                      <a:pPr algn="l"/>
                      <a:r>
                        <a:rPr lang="en-US" sz="900" dirty="0">
                          <a:solidFill>
                            <a:schemeClr val="accent1">
                              <a:lumMod val="75000"/>
                            </a:schemeClr>
                          </a:solidFill>
                          <a:latin typeface="Raleway" pitchFamily="2" charset="0"/>
                        </a:rPr>
                        <a:t>PopVax Biologics</a:t>
                      </a:r>
                    </a:p>
                  </a:txBody>
                  <a:tcPr anchor="ctr"/>
                </a:tc>
                <a:tc>
                  <a:txBody>
                    <a:bodyPr/>
                    <a:lstStyle/>
                    <a:p>
                      <a:pPr algn="l" fontAlgn="ctr"/>
                      <a:r>
                        <a:rPr lang="en-US" sz="900" b="0" i="0" u="none" strike="noStrike" dirty="0">
                          <a:solidFill>
                            <a:schemeClr val="accent1">
                              <a:lumMod val="75000"/>
                            </a:schemeClr>
                          </a:solidFill>
                          <a:effectLst/>
                          <a:latin typeface="Raleway" pitchFamily="2" charset="0"/>
                        </a:rPr>
                        <a:t>PopVax Biologics</a:t>
                      </a:r>
                    </a:p>
                  </a:txBody>
                  <a:tcPr marL="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accent1">
                              <a:lumMod val="75000"/>
                            </a:schemeClr>
                          </a:solidFill>
                          <a:latin typeface="Raleway" pitchFamily="2" charset="0"/>
                        </a:rPr>
                        <a:t>End-to-en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dirty="0">
                        <a:solidFill>
                          <a:schemeClr val="accent1">
                            <a:lumMod val="75000"/>
                          </a:schemeClr>
                        </a:solidFill>
                        <a:latin typeface="Raleway" pitchFamily="2" charset="0"/>
                      </a:endParaRPr>
                    </a:p>
                  </a:txBody>
                  <a:tcPr anchor="ctr"/>
                </a:tc>
                <a:tc>
                  <a:txBody>
                    <a:bodyPr/>
                    <a:lstStyle/>
                    <a:p>
                      <a:pPr algn="l"/>
                      <a:r>
                        <a:rPr lang="en-US" sz="700" dirty="0">
                          <a:solidFill>
                            <a:schemeClr val="accent1">
                              <a:lumMod val="75000"/>
                            </a:schemeClr>
                          </a:solidFill>
                          <a:latin typeface="Raleway" pitchFamily="2" charset="0"/>
                        </a:rPr>
                        <a:t>PopVax is an Indian biotech developing novel mRNA vaccines and delivery systems. In 2023–2025, it secured funding from the Gates Foundation, NIH, and BARDA for thermostable and patch-delivered mRNA vaccines, and operates a GMP-ready RNA Foundry in Hyderabad for clinical production.</a:t>
                      </a:r>
                    </a:p>
                  </a:txBody>
                  <a:tcPr anchor="ctr"/>
                </a:tc>
                <a:extLst>
                  <a:ext uri="{0D108BD9-81ED-4DB2-BD59-A6C34878D82A}">
                    <a16:rowId xmlns:a16="http://schemas.microsoft.com/office/drawing/2014/main" val="2050930313"/>
                  </a:ext>
                </a:extLst>
              </a:tr>
            </a:tbl>
          </a:graphicData>
        </a:graphic>
      </p:graphicFrame>
      <p:sp>
        <p:nvSpPr>
          <p:cNvPr id="17" name="Title 1">
            <a:extLst>
              <a:ext uri="{FF2B5EF4-FFF2-40B4-BE49-F238E27FC236}">
                <a16:creationId xmlns:a16="http://schemas.microsoft.com/office/drawing/2014/main" id="{12E07B06-9E80-4409-95A9-71224155189C}"/>
              </a:ext>
            </a:extLst>
          </p:cNvPr>
          <p:cNvSpPr>
            <a:spLocks noGrp="1"/>
          </p:cNvSpPr>
          <p:nvPr>
            <p:ph type="title"/>
          </p:nvPr>
        </p:nvSpPr>
        <p:spPr>
          <a:xfrm>
            <a:off x="823228" y="188944"/>
            <a:ext cx="10515600" cy="630298"/>
          </a:xfrm>
        </p:spPr>
        <p:txBody>
          <a:bodyPr>
            <a:noAutofit/>
          </a:bodyPr>
          <a:lstStyle/>
          <a:p>
            <a:pPr>
              <a:lnSpc>
                <a:spcPct val="150000"/>
              </a:lnSpc>
            </a:pPr>
            <a:r>
              <a:rPr lang="en-US" sz="3600">
                <a:solidFill>
                  <a:srgbClr val="0070C0"/>
                </a:solidFill>
              </a:rPr>
              <a:t>India</a:t>
            </a:r>
          </a:p>
        </p:txBody>
      </p:sp>
      <p:grpSp>
        <p:nvGrpSpPr>
          <p:cNvPr id="18" name="Group 17">
            <a:extLst>
              <a:ext uri="{FF2B5EF4-FFF2-40B4-BE49-F238E27FC236}">
                <a16:creationId xmlns:a16="http://schemas.microsoft.com/office/drawing/2014/main" id="{0146EC46-12EA-E2CF-3984-C3917AE129EE}"/>
              </a:ext>
            </a:extLst>
          </p:cNvPr>
          <p:cNvGrpSpPr/>
          <p:nvPr/>
        </p:nvGrpSpPr>
        <p:grpSpPr>
          <a:xfrm>
            <a:off x="7941271" y="6105545"/>
            <a:ext cx="1640641" cy="179501"/>
            <a:chOff x="9823279" y="6105545"/>
            <a:chExt cx="1640641" cy="179501"/>
          </a:xfrm>
        </p:grpSpPr>
        <p:sp>
          <p:nvSpPr>
            <p:cNvPr id="19" name="Ellipse 48">
              <a:extLst>
                <a:ext uri="{FF2B5EF4-FFF2-40B4-BE49-F238E27FC236}">
                  <a16:creationId xmlns:a16="http://schemas.microsoft.com/office/drawing/2014/main" id="{26DA24E3-B94E-30BE-4DE0-67C86CA6C2C8}"/>
                </a:ext>
              </a:extLst>
            </p:cNvPr>
            <p:cNvSpPr/>
            <p:nvPr/>
          </p:nvSpPr>
          <p:spPr>
            <a:xfrm>
              <a:off x="9823279" y="6105545"/>
              <a:ext cx="178157" cy="179501"/>
            </a:xfrm>
            <a:prstGeom prst="ellipse">
              <a:avLst/>
            </a:prstGeom>
            <a:solidFill>
              <a:srgbClr val="FFC00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
          <p:nvSpPr>
            <p:cNvPr id="20" name="ZoneTexte 50">
              <a:extLst>
                <a:ext uri="{FF2B5EF4-FFF2-40B4-BE49-F238E27FC236}">
                  <a16:creationId xmlns:a16="http://schemas.microsoft.com/office/drawing/2014/main" id="{3202F721-044C-D651-3D25-907E33F082A0}"/>
                </a:ext>
              </a:extLst>
            </p:cNvPr>
            <p:cNvSpPr txBox="1"/>
            <p:nvPr/>
          </p:nvSpPr>
          <p:spPr>
            <a:xfrm>
              <a:off x="10090542" y="6105545"/>
              <a:ext cx="1373378" cy="129743"/>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Drug substance </a:t>
              </a:r>
            </a:p>
          </p:txBody>
        </p:sp>
      </p:grpSp>
      <p:sp>
        <p:nvSpPr>
          <p:cNvPr id="21" name="Ellipse 74">
            <a:extLst>
              <a:ext uri="{FF2B5EF4-FFF2-40B4-BE49-F238E27FC236}">
                <a16:creationId xmlns:a16="http://schemas.microsoft.com/office/drawing/2014/main" id="{63929D40-DF55-27BA-43DB-AF4A65DFD91D}"/>
              </a:ext>
            </a:extLst>
          </p:cNvPr>
          <p:cNvSpPr/>
          <p:nvPr/>
        </p:nvSpPr>
        <p:spPr>
          <a:xfrm>
            <a:off x="1475442" y="3365510"/>
            <a:ext cx="108000" cy="108000"/>
          </a:xfrm>
          <a:prstGeom prst="ellipse">
            <a:avLst/>
          </a:prstGeom>
          <a:solidFill>
            <a:srgbClr val="FFC000"/>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GB" sz="1100" err="1">
              <a:solidFill>
                <a:schemeClr val="bg1"/>
              </a:solidFill>
              <a:latin typeface="Raleway" pitchFamily="2" charset="0"/>
            </a:endParaRPr>
          </a:p>
        </p:txBody>
      </p:sp>
      <p:sp>
        <p:nvSpPr>
          <p:cNvPr id="22" name="ZoneTexte 12">
            <a:extLst>
              <a:ext uri="{FF2B5EF4-FFF2-40B4-BE49-F238E27FC236}">
                <a16:creationId xmlns:a16="http://schemas.microsoft.com/office/drawing/2014/main" id="{E7CD04C2-62AA-F703-BC44-3410ABF98C59}"/>
              </a:ext>
            </a:extLst>
          </p:cNvPr>
          <p:cNvSpPr txBox="1"/>
          <p:nvPr/>
        </p:nvSpPr>
        <p:spPr>
          <a:xfrm>
            <a:off x="1806096" y="3192094"/>
            <a:ext cx="931082" cy="261610"/>
          </a:xfrm>
          <a:prstGeom prst="rect">
            <a:avLst/>
          </a:prstGeom>
          <a:noFill/>
        </p:spPr>
        <p:txBody>
          <a:bodyPr wrap="square">
            <a:spAutoFit/>
          </a:bodyPr>
          <a:lstStyle/>
          <a:p>
            <a:pPr marL="0" algn="l" defTabSz="914400" rtl="0" eaLnBrk="1" latinLnBrk="0" hangingPunct="1"/>
            <a:r>
              <a:rPr lang="en-GB" sz="1100" b="1" dirty="0" err="1">
                <a:latin typeface="Raleway" pitchFamily="2" charset="0"/>
              </a:rPr>
              <a:t>Gennova</a:t>
            </a:r>
            <a:r>
              <a:rPr kumimoji="0" lang="en-GB" sz="1100" b="1" u="none" strike="noStrike" kern="1200" cap="none" spc="0" normalizeH="0" baseline="0" dirty="0">
                <a:ln>
                  <a:noFill/>
                </a:ln>
                <a:effectLst/>
                <a:uLnTx/>
                <a:uFillTx/>
                <a:latin typeface="Raleway" pitchFamily="2" charset="0"/>
              </a:rPr>
              <a:t> </a:t>
            </a:r>
          </a:p>
        </p:txBody>
      </p:sp>
      <p:sp>
        <p:nvSpPr>
          <p:cNvPr id="23" name="ZoneTexte 12">
            <a:extLst>
              <a:ext uri="{FF2B5EF4-FFF2-40B4-BE49-F238E27FC236}">
                <a16:creationId xmlns:a16="http://schemas.microsoft.com/office/drawing/2014/main" id="{41B3D128-849B-2694-D474-65003760585D}"/>
              </a:ext>
            </a:extLst>
          </p:cNvPr>
          <p:cNvSpPr txBox="1"/>
          <p:nvPr/>
        </p:nvSpPr>
        <p:spPr>
          <a:xfrm>
            <a:off x="614885" y="3711712"/>
            <a:ext cx="931082" cy="430887"/>
          </a:xfrm>
          <a:prstGeom prst="rect">
            <a:avLst/>
          </a:prstGeom>
          <a:noFill/>
        </p:spPr>
        <p:txBody>
          <a:bodyPr wrap="square">
            <a:spAutoFit/>
          </a:bodyPr>
          <a:lstStyle/>
          <a:p>
            <a:pPr marL="0" algn="l" defTabSz="914400" rtl="0" eaLnBrk="1" latinLnBrk="0" hangingPunct="1"/>
            <a:r>
              <a:rPr lang="en-GB" sz="1100" b="1" dirty="0">
                <a:latin typeface="Raleway" pitchFamily="2" charset="0"/>
              </a:rPr>
              <a:t>VAV + BioNTech</a:t>
            </a:r>
            <a:endParaRPr kumimoji="0" lang="en-GB" sz="1100" b="1" u="none" strike="noStrike" kern="1200" cap="none" spc="0" normalizeH="0" baseline="0" dirty="0">
              <a:ln>
                <a:noFill/>
              </a:ln>
              <a:effectLst/>
              <a:uLnTx/>
              <a:uFillTx/>
              <a:latin typeface="Raleway" pitchFamily="2" charset="0"/>
            </a:endParaRPr>
          </a:p>
        </p:txBody>
      </p:sp>
      <p:sp>
        <p:nvSpPr>
          <p:cNvPr id="24" name="ZoneTexte 12">
            <a:extLst>
              <a:ext uri="{FF2B5EF4-FFF2-40B4-BE49-F238E27FC236}">
                <a16:creationId xmlns:a16="http://schemas.microsoft.com/office/drawing/2014/main" id="{853107E4-48E3-1AF3-C742-047B9BD2589B}"/>
              </a:ext>
            </a:extLst>
          </p:cNvPr>
          <p:cNvSpPr txBox="1"/>
          <p:nvPr/>
        </p:nvSpPr>
        <p:spPr>
          <a:xfrm>
            <a:off x="767285" y="4412400"/>
            <a:ext cx="931082" cy="430887"/>
          </a:xfrm>
          <a:prstGeom prst="rect">
            <a:avLst/>
          </a:prstGeom>
          <a:noFill/>
        </p:spPr>
        <p:txBody>
          <a:bodyPr wrap="square">
            <a:spAutoFit/>
          </a:bodyPr>
          <a:lstStyle/>
          <a:p>
            <a:pPr marL="0" algn="l" defTabSz="914400" rtl="0" eaLnBrk="1" latinLnBrk="0" hangingPunct="1"/>
            <a:r>
              <a:rPr lang="en-GB" sz="1100" b="1">
                <a:latin typeface="Raleway" pitchFamily="2" charset="0"/>
              </a:rPr>
              <a:t>VAV + BioNTech</a:t>
            </a:r>
            <a:endParaRPr kumimoji="0" lang="en-GB" sz="1100" b="1" u="none" strike="noStrike" kern="1200" cap="none" spc="0" normalizeH="0" baseline="0">
              <a:ln>
                <a:noFill/>
              </a:ln>
              <a:effectLst/>
              <a:uLnTx/>
              <a:uFillTx/>
              <a:latin typeface="Raleway" pitchFamily="2" charset="0"/>
            </a:endParaRPr>
          </a:p>
        </p:txBody>
      </p:sp>
      <p:cxnSp>
        <p:nvCxnSpPr>
          <p:cNvPr id="26" name="Straight Connector 25">
            <a:extLst>
              <a:ext uri="{FF2B5EF4-FFF2-40B4-BE49-F238E27FC236}">
                <a16:creationId xmlns:a16="http://schemas.microsoft.com/office/drawing/2014/main" id="{FC87661F-BE94-A51B-B7FE-19B3D030709A}"/>
              </a:ext>
            </a:extLst>
          </p:cNvPr>
          <p:cNvCxnSpPr>
            <a:cxnSpLocks/>
          </p:cNvCxnSpPr>
          <p:nvPr/>
        </p:nvCxnSpPr>
        <p:spPr>
          <a:xfrm flipV="1">
            <a:off x="1816736" y="3457694"/>
            <a:ext cx="422190" cy="146524"/>
          </a:xfrm>
          <a:prstGeom prst="line">
            <a:avLst/>
          </a:prstGeom>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A0F8ECAB-5D65-80C3-1E80-CD760B6C4C85}"/>
              </a:ext>
            </a:extLst>
          </p:cNvPr>
          <p:cNvCxnSpPr>
            <a:cxnSpLocks/>
            <a:stCxn id="24" idx="0"/>
          </p:cNvCxnSpPr>
          <p:nvPr/>
        </p:nvCxnSpPr>
        <p:spPr>
          <a:xfrm flipV="1">
            <a:off x="1232826" y="3635589"/>
            <a:ext cx="313141" cy="776811"/>
          </a:xfrm>
          <a:prstGeom prst="line">
            <a:avLst/>
          </a:prstGeom>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B2E2D5C7-293E-EC91-91C6-546D2F5CAA1E}"/>
              </a:ext>
            </a:extLst>
          </p:cNvPr>
          <p:cNvCxnSpPr>
            <a:cxnSpLocks/>
          </p:cNvCxnSpPr>
          <p:nvPr/>
        </p:nvCxnSpPr>
        <p:spPr>
          <a:xfrm flipH="1" flipV="1">
            <a:off x="2730449" y="4157394"/>
            <a:ext cx="435778" cy="261610"/>
          </a:xfrm>
          <a:prstGeom prst="line">
            <a:avLst/>
          </a:prstGeom>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8AF7B9CC-85C5-C35A-FBE7-4FCB5D0AEED6}"/>
              </a:ext>
            </a:extLst>
          </p:cNvPr>
          <p:cNvCxnSpPr>
            <a:cxnSpLocks/>
            <a:endCxn id="21" idx="3"/>
          </p:cNvCxnSpPr>
          <p:nvPr/>
        </p:nvCxnSpPr>
        <p:spPr>
          <a:xfrm flipV="1">
            <a:off x="1129644" y="3457694"/>
            <a:ext cx="361614" cy="431400"/>
          </a:xfrm>
          <a:prstGeom prst="line">
            <a:avLst/>
          </a:prstGeom>
        </p:spPr>
        <p:style>
          <a:lnRef idx="1">
            <a:schemeClr val="dk1"/>
          </a:lnRef>
          <a:fillRef idx="0">
            <a:schemeClr val="dk1"/>
          </a:fillRef>
          <a:effectRef idx="0">
            <a:schemeClr val="dk1"/>
          </a:effectRef>
          <a:fontRef idx="minor">
            <a:schemeClr val="tx1"/>
          </a:fontRef>
        </p:style>
      </p:cxnSp>
      <p:sp>
        <p:nvSpPr>
          <p:cNvPr id="25" name="ZoneTexte 161">
            <a:extLst>
              <a:ext uri="{FF2B5EF4-FFF2-40B4-BE49-F238E27FC236}">
                <a16:creationId xmlns:a16="http://schemas.microsoft.com/office/drawing/2014/main" id="{5D4849F8-149D-5926-8C16-AD5B836FE537}"/>
              </a:ext>
            </a:extLst>
          </p:cNvPr>
          <p:cNvSpPr txBox="1"/>
          <p:nvPr/>
        </p:nvSpPr>
        <p:spPr>
          <a:xfrm>
            <a:off x="7059044" y="6129159"/>
            <a:ext cx="1373378" cy="18096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End-to-End</a:t>
            </a:r>
          </a:p>
        </p:txBody>
      </p:sp>
      <p:sp>
        <p:nvSpPr>
          <p:cNvPr id="30" name="Rectangle 29">
            <a:extLst>
              <a:ext uri="{FF2B5EF4-FFF2-40B4-BE49-F238E27FC236}">
                <a16:creationId xmlns:a16="http://schemas.microsoft.com/office/drawing/2014/main" id="{84E69687-45F8-70A8-D77C-1124F51451BF}"/>
              </a:ext>
            </a:extLst>
          </p:cNvPr>
          <p:cNvSpPr/>
          <p:nvPr/>
        </p:nvSpPr>
        <p:spPr>
          <a:xfrm>
            <a:off x="4565400" y="6143343"/>
            <a:ext cx="299221" cy="131853"/>
          </a:xfrm>
          <a:prstGeom prst="rect">
            <a:avLst/>
          </a:prstGeom>
          <a:solidFill>
            <a:schemeClr val="accent2"/>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err="1">
              <a:solidFill>
                <a:schemeClr val="bg1"/>
              </a:solidFill>
              <a:latin typeface="Raleway" pitchFamily="2" charset="0"/>
            </a:endParaRPr>
          </a:p>
        </p:txBody>
      </p:sp>
      <p:sp>
        <p:nvSpPr>
          <p:cNvPr id="31" name="ZoneTexte 2">
            <a:extLst>
              <a:ext uri="{FF2B5EF4-FFF2-40B4-BE49-F238E27FC236}">
                <a16:creationId xmlns:a16="http://schemas.microsoft.com/office/drawing/2014/main" id="{D55D045A-B5F8-E39D-A18B-85B73A0B5B4F}"/>
              </a:ext>
            </a:extLst>
          </p:cNvPr>
          <p:cNvSpPr txBox="1"/>
          <p:nvPr/>
        </p:nvSpPr>
        <p:spPr>
          <a:xfrm>
            <a:off x="4948256" y="6129159"/>
            <a:ext cx="2110733" cy="18526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i="1">
                <a:solidFill>
                  <a:srgbClr val="E86A28"/>
                </a:solidFill>
                <a:latin typeface="Raleway" pitchFamily="2" charset="0"/>
              </a:rPr>
              <a:t>mRNA </a:t>
            </a:r>
            <a:r>
              <a:rPr lang="en-US" sz="1050" b="1" i="1" err="1">
                <a:solidFill>
                  <a:srgbClr val="E86A28"/>
                </a:solidFill>
                <a:latin typeface="Raleway" pitchFamily="2" charset="0"/>
              </a:rPr>
              <a:t>programme</a:t>
            </a:r>
            <a:r>
              <a:rPr lang="en-US" sz="1050" b="1" i="1">
                <a:solidFill>
                  <a:srgbClr val="E86A28"/>
                </a:solidFill>
                <a:latin typeface="Raleway" pitchFamily="2" charset="0"/>
              </a:rPr>
              <a:t> partner</a:t>
            </a:r>
          </a:p>
        </p:txBody>
      </p:sp>
      <p:sp>
        <p:nvSpPr>
          <p:cNvPr id="32" name="Triangle isocèle 203">
            <a:extLst>
              <a:ext uri="{FF2B5EF4-FFF2-40B4-BE49-F238E27FC236}">
                <a16:creationId xmlns:a16="http://schemas.microsoft.com/office/drawing/2014/main" id="{860A79A6-241D-D2E7-EE4F-0531814F380B}"/>
              </a:ext>
            </a:extLst>
          </p:cNvPr>
          <p:cNvSpPr/>
          <p:nvPr/>
        </p:nvSpPr>
        <p:spPr>
          <a:xfrm flipH="1">
            <a:off x="6790359" y="6076217"/>
            <a:ext cx="184002" cy="196472"/>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
        <p:nvSpPr>
          <p:cNvPr id="2" name="Slide Number Placeholder 1">
            <a:extLst>
              <a:ext uri="{FF2B5EF4-FFF2-40B4-BE49-F238E27FC236}">
                <a16:creationId xmlns:a16="http://schemas.microsoft.com/office/drawing/2014/main" id="{19514A4E-8A2C-F3AC-696C-48E612A12BFD}"/>
              </a:ext>
            </a:extLst>
          </p:cNvPr>
          <p:cNvSpPr>
            <a:spLocks noGrp="1"/>
          </p:cNvSpPr>
          <p:nvPr>
            <p:ph type="sldNum" sz="quarter" idx="12"/>
          </p:nvPr>
        </p:nvSpPr>
        <p:spPr/>
        <p:txBody>
          <a:bodyPr/>
          <a:lstStyle/>
          <a:p>
            <a:fld id="{1D1C8182-8BBE-B542-ADE5-8820B104469B}" type="slidenum">
              <a:rPr lang="en-RO" smtClean="0"/>
              <a:pPr/>
              <a:t>5</a:t>
            </a:fld>
            <a:endParaRPr lang="en-RO"/>
          </a:p>
        </p:txBody>
      </p:sp>
      <p:sp>
        <p:nvSpPr>
          <p:cNvPr id="4" name="Triangle isocèle 75">
            <a:extLst>
              <a:ext uri="{FF2B5EF4-FFF2-40B4-BE49-F238E27FC236}">
                <a16:creationId xmlns:a16="http://schemas.microsoft.com/office/drawing/2014/main" id="{6178B519-CB0E-7D7B-2E43-BB1AA86BBC67}"/>
              </a:ext>
            </a:extLst>
          </p:cNvPr>
          <p:cNvSpPr/>
          <p:nvPr/>
        </p:nvSpPr>
        <p:spPr>
          <a:xfrm flipH="1">
            <a:off x="1708736" y="3563589"/>
            <a:ext cx="108000" cy="144000"/>
          </a:xfrm>
          <a:prstGeom prst="triangle">
            <a:avLst/>
          </a:prstGeom>
          <a:solidFill>
            <a:schemeClr val="accent5">
              <a:lumMod val="20000"/>
              <a:lumOff val="8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a:solidFill>
                <a:schemeClr val="bg1"/>
              </a:solidFill>
              <a:latin typeface="Raleway" pitchFamily="2" charset="0"/>
            </a:endParaRPr>
          </a:p>
        </p:txBody>
      </p:sp>
      <p:sp>
        <p:nvSpPr>
          <p:cNvPr id="3" name="Triangle isocèle 75">
            <a:extLst>
              <a:ext uri="{FF2B5EF4-FFF2-40B4-BE49-F238E27FC236}">
                <a16:creationId xmlns:a16="http://schemas.microsoft.com/office/drawing/2014/main" id="{6A04FD26-CF1E-D1E5-51D1-013C0D660FEA}"/>
              </a:ext>
            </a:extLst>
          </p:cNvPr>
          <p:cNvSpPr/>
          <p:nvPr/>
        </p:nvSpPr>
        <p:spPr>
          <a:xfrm flipH="1">
            <a:off x="1328457" y="3702044"/>
            <a:ext cx="108000" cy="144000"/>
          </a:xfrm>
          <a:prstGeom prst="triangle">
            <a:avLst/>
          </a:prstGeom>
          <a:solidFill>
            <a:schemeClr val="accent5">
              <a:lumMod val="20000"/>
              <a:lumOff val="8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a:solidFill>
                <a:schemeClr val="bg1"/>
              </a:solidFill>
              <a:latin typeface="Raleway" pitchFamily="2" charset="0"/>
            </a:endParaRPr>
          </a:p>
        </p:txBody>
      </p:sp>
      <p:cxnSp>
        <p:nvCxnSpPr>
          <p:cNvPr id="6" name="Straight Connector 5">
            <a:extLst>
              <a:ext uri="{FF2B5EF4-FFF2-40B4-BE49-F238E27FC236}">
                <a16:creationId xmlns:a16="http://schemas.microsoft.com/office/drawing/2014/main" id="{0A337EB1-ACA4-966F-10B0-93E05EE056BF}"/>
              </a:ext>
            </a:extLst>
          </p:cNvPr>
          <p:cNvCxnSpPr>
            <a:cxnSpLocks/>
          </p:cNvCxnSpPr>
          <p:nvPr/>
        </p:nvCxnSpPr>
        <p:spPr>
          <a:xfrm flipV="1">
            <a:off x="632368" y="3844678"/>
            <a:ext cx="732032" cy="526432"/>
          </a:xfrm>
          <a:prstGeom prst="line">
            <a:avLst/>
          </a:prstGeom>
        </p:spPr>
        <p:style>
          <a:lnRef idx="1">
            <a:schemeClr val="dk1"/>
          </a:lnRef>
          <a:fillRef idx="0">
            <a:schemeClr val="dk1"/>
          </a:fillRef>
          <a:effectRef idx="0">
            <a:schemeClr val="dk1"/>
          </a:effectRef>
          <a:fontRef idx="minor">
            <a:schemeClr val="tx1"/>
          </a:fontRef>
        </p:style>
      </p:cxnSp>
      <p:sp>
        <p:nvSpPr>
          <p:cNvPr id="8" name="ZoneTexte 12">
            <a:extLst>
              <a:ext uri="{FF2B5EF4-FFF2-40B4-BE49-F238E27FC236}">
                <a16:creationId xmlns:a16="http://schemas.microsoft.com/office/drawing/2014/main" id="{04FC7CEC-D75E-C1C8-217B-307AEE4D575C}"/>
              </a:ext>
            </a:extLst>
          </p:cNvPr>
          <p:cNvSpPr txBox="1"/>
          <p:nvPr/>
        </p:nvSpPr>
        <p:spPr>
          <a:xfrm>
            <a:off x="-64866" y="4265812"/>
            <a:ext cx="1203206" cy="261610"/>
          </a:xfrm>
          <a:prstGeom prst="rect">
            <a:avLst/>
          </a:prstGeom>
          <a:noFill/>
        </p:spPr>
        <p:txBody>
          <a:bodyPr wrap="square">
            <a:spAutoFit/>
          </a:bodyPr>
          <a:lstStyle/>
          <a:p>
            <a:pPr marL="0" algn="l" defTabSz="914400" rtl="0" eaLnBrk="1" latinLnBrk="0" hangingPunct="1"/>
            <a:r>
              <a:rPr lang="en-GB" sz="1100" b="1" dirty="0" err="1">
                <a:latin typeface="Raleway" pitchFamily="2" charset="0"/>
              </a:rPr>
              <a:t>TechInvention</a:t>
            </a:r>
            <a:endParaRPr kumimoji="0" lang="en-GB" sz="1100" b="1" u="none" strike="noStrike" kern="1200" cap="none" spc="0" normalizeH="0" baseline="0" dirty="0">
              <a:ln>
                <a:noFill/>
              </a:ln>
              <a:effectLst/>
              <a:uLnTx/>
              <a:uFillTx/>
              <a:latin typeface="Raleway" pitchFamily="2" charset="0"/>
            </a:endParaRPr>
          </a:p>
        </p:txBody>
      </p:sp>
      <p:cxnSp>
        <p:nvCxnSpPr>
          <p:cNvPr id="14" name="Straight Connector 13">
            <a:extLst>
              <a:ext uri="{FF2B5EF4-FFF2-40B4-BE49-F238E27FC236}">
                <a16:creationId xmlns:a16="http://schemas.microsoft.com/office/drawing/2014/main" id="{FC45378A-6220-CB2E-0D67-3CC7E15DCEA8}"/>
              </a:ext>
            </a:extLst>
          </p:cNvPr>
          <p:cNvCxnSpPr>
            <a:cxnSpLocks/>
            <a:endCxn id="22" idx="1"/>
          </p:cNvCxnSpPr>
          <p:nvPr/>
        </p:nvCxnSpPr>
        <p:spPr>
          <a:xfrm flipV="1">
            <a:off x="1753383" y="3322899"/>
            <a:ext cx="52713" cy="248150"/>
          </a:xfrm>
          <a:prstGeom prst="line">
            <a:avLst/>
          </a:prstGeom>
        </p:spPr>
        <p:style>
          <a:lnRef idx="1">
            <a:schemeClr val="dk1"/>
          </a:lnRef>
          <a:fillRef idx="0">
            <a:schemeClr val="dk1"/>
          </a:fillRef>
          <a:effectRef idx="0">
            <a:schemeClr val="dk1"/>
          </a:effectRef>
          <a:fontRef idx="minor">
            <a:schemeClr val="tx1"/>
          </a:fontRef>
        </p:style>
      </p:cxnSp>
      <p:sp>
        <p:nvSpPr>
          <p:cNvPr id="16" name="ZoneTexte 12">
            <a:extLst>
              <a:ext uri="{FF2B5EF4-FFF2-40B4-BE49-F238E27FC236}">
                <a16:creationId xmlns:a16="http://schemas.microsoft.com/office/drawing/2014/main" id="{A4B1824C-6F4C-AB56-C33D-A99B6256601D}"/>
              </a:ext>
            </a:extLst>
          </p:cNvPr>
          <p:cNvSpPr txBox="1"/>
          <p:nvPr/>
        </p:nvSpPr>
        <p:spPr>
          <a:xfrm>
            <a:off x="1529442" y="3059294"/>
            <a:ext cx="931082" cy="261610"/>
          </a:xfrm>
          <a:prstGeom prst="rect">
            <a:avLst/>
          </a:prstGeom>
          <a:noFill/>
        </p:spPr>
        <p:txBody>
          <a:bodyPr wrap="square">
            <a:spAutoFit/>
          </a:bodyPr>
          <a:lstStyle/>
          <a:p>
            <a:pPr marL="0" algn="l" defTabSz="914400" rtl="0" eaLnBrk="1" latinLnBrk="0" hangingPunct="1"/>
            <a:r>
              <a:rPr lang="en-GB" sz="1100" b="1" dirty="0" err="1">
                <a:latin typeface="Raleway" pitchFamily="2" charset="0"/>
              </a:rPr>
              <a:t>Gennova</a:t>
            </a:r>
            <a:r>
              <a:rPr kumimoji="0" lang="en-GB" sz="1100" b="1" u="none" strike="noStrike" kern="1200" cap="none" spc="0" normalizeH="0" baseline="0" dirty="0">
                <a:ln>
                  <a:noFill/>
                </a:ln>
                <a:effectLst/>
                <a:uLnTx/>
                <a:uFillTx/>
                <a:latin typeface="Raleway" pitchFamily="2" charset="0"/>
              </a:rPr>
              <a:t> </a:t>
            </a:r>
          </a:p>
        </p:txBody>
      </p:sp>
      <p:sp>
        <p:nvSpPr>
          <p:cNvPr id="7" name="Triangle isocèle 75">
            <a:extLst>
              <a:ext uri="{FF2B5EF4-FFF2-40B4-BE49-F238E27FC236}">
                <a16:creationId xmlns:a16="http://schemas.microsoft.com/office/drawing/2014/main" id="{982990CC-6E8A-CC99-A722-A9EA95BF4CC6}"/>
              </a:ext>
            </a:extLst>
          </p:cNvPr>
          <p:cNvSpPr/>
          <p:nvPr/>
        </p:nvSpPr>
        <p:spPr>
          <a:xfrm flipH="1">
            <a:off x="2184926" y="3983203"/>
            <a:ext cx="108000" cy="144000"/>
          </a:xfrm>
          <a:prstGeom prst="triangle">
            <a:avLst/>
          </a:prstGeom>
          <a:solidFill>
            <a:schemeClr val="accent5">
              <a:lumMod val="20000"/>
              <a:lumOff val="8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100">
              <a:solidFill>
                <a:schemeClr val="bg1"/>
              </a:solidFill>
              <a:latin typeface="Raleway" pitchFamily="2" charset="0"/>
            </a:endParaRPr>
          </a:p>
        </p:txBody>
      </p:sp>
      <p:cxnSp>
        <p:nvCxnSpPr>
          <p:cNvPr id="9" name="Straight Connector 8">
            <a:extLst>
              <a:ext uri="{FF2B5EF4-FFF2-40B4-BE49-F238E27FC236}">
                <a16:creationId xmlns:a16="http://schemas.microsoft.com/office/drawing/2014/main" id="{C4F59C27-01D7-1689-643B-E130C3AECE04}"/>
              </a:ext>
            </a:extLst>
          </p:cNvPr>
          <p:cNvCxnSpPr>
            <a:cxnSpLocks/>
          </p:cNvCxnSpPr>
          <p:nvPr/>
        </p:nvCxnSpPr>
        <p:spPr>
          <a:xfrm flipH="1" flipV="1">
            <a:off x="2243201" y="4093059"/>
            <a:ext cx="400477" cy="580673"/>
          </a:xfrm>
          <a:prstGeom prst="line">
            <a:avLst/>
          </a:prstGeom>
        </p:spPr>
        <p:style>
          <a:lnRef idx="1">
            <a:schemeClr val="dk1"/>
          </a:lnRef>
          <a:fillRef idx="0">
            <a:schemeClr val="dk1"/>
          </a:fillRef>
          <a:effectRef idx="0">
            <a:schemeClr val="dk1"/>
          </a:effectRef>
          <a:fontRef idx="minor">
            <a:schemeClr val="tx1"/>
          </a:fontRef>
        </p:style>
      </p:cxnSp>
      <p:sp>
        <p:nvSpPr>
          <p:cNvPr id="15" name="ZoneTexte 12">
            <a:extLst>
              <a:ext uri="{FF2B5EF4-FFF2-40B4-BE49-F238E27FC236}">
                <a16:creationId xmlns:a16="http://schemas.microsoft.com/office/drawing/2014/main" id="{EAAB16B0-B5CE-7604-6BA8-909C46CDAD42}"/>
              </a:ext>
            </a:extLst>
          </p:cNvPr>
          <p:cNvSpPr txBox="1"/>
          <p:nvPr/>
        </p:nvSpPr>
        <p:spPr>
          <a:xfrm>
            <a:off x="2072036" y="4647566"/>
            <a:ext cx="1699864" cy="261610"/>
          </a:xfrm>
          <a:prstGeom prst="rect">
            <a:avLst/>
          </a:prstGeom>
          <a:noFill/>
        </p:spPr>
        <p:txBody>
          <a:bodyPr wrap="square">
            <a:spAutoFit/>
          </a:bodyPr>
          <a:lstStyle/>
          <a:p>
            <a:pPr marL="0" algn="l" defTabSz="914400" rtl="0" eaLnBrk="1" latinLnBrk="0" hangingPunct="1"/>
            <a:r>
              <a:rPr lang="en-GB" sz="1100" b="1" dirty="0">
                <a:latin typeface="Raleway" pitchFamily="2" charset="0"/>
              </a:rPr>
              <a:t>PopVax Biologics</a:t>
            </a:r>
            <a:endParaRPr kumimoji="0" lang="en-GB" sz="1100" b="1" u="none" strike="noStrike" kern="1200" cap="none" spc="0" normalizeH="0" baseline="0" dirty="0">
              <a:ln>
                <a:noFill/>
              </a:ln>
              <a:effectLst/>
              <a:uLnTx/>
              <a:uFillTx/>
              <a:latin typeface="Raleway" pitchFamily="2" charset="0"/>
            </a:endParaRPr>
          </a:p>
        </p:txBody>
      </p:sp>
      <p:sp>
        <p:nvSpPr>
          <p:cNvPr id="27" name="TextBox 26">
            <a:extLst>
              <a:ext uri="{FF2B5EF4-FFF2-40B4-BE49-F238E27FC236}">
                <a16:creationId xmlns:a16="http://schemas.microsoft.com/office/drawing/2014/main" id="{137BC61F-AD0C-C516-6265-A4816728D5E2}"/>
              </a:ext>
            </a:extLst>
          </p:cNvPr>
          <p:cNvSpPr txBox="1"/>
          <p:nvPr/>
        </p:nvSpPr>
        <p:spPr>
          <a:xfrm>
            <a:off x="8761719" y="5691292"/>
            <a:ext cx="2965187" cy="338554"/>
          </a:xfrm>
          <a:prstGeom prst="rect">
            <a:avLst/>
          </a:prstGeom>
          <a:noFill/>
        </p:spPr>
        <p:txBody>
          <a:bodyPr wrap="square" rtlCol="0">
            <a:spAutoFit/>
          </a:bodyPr>
          <a:lstStyle/>
          <a:p>
            <a:r>
              <a:rPr lang="en-US" sz="800" b="1" dirty="0">
                <a:solidFill>
                  <a:schemeClr val="accent1">
                    <a:lumMod val="75000"/>
                  </a:schemeClr>
                </a:solidFill>
                <a:latin typeface="Raleway" pitchFamily="2" charset="0"/>
              </a:rPr>
              <a:t>Blue – New or updated entries (added at the bottom)</a:t>
            </a:r>
          </a:p>
          <a:p>
            <a:r>
              <a:rPr lang="en-US" sz="800" b="1" dirty="0">
                <a:latin typeface="Raleway" pitchFamily="2" charset="0"/>
              </a:rPr>
              <a:t>Black – No update (existing entries)</a:t>
            </a:r>
          </a:p>
        </p:txBody>
      </p:sp>
    </p:spTree>
    <p:extLst>
      <p:ext uri="{BB962C8B-B14F-4D97-AF65-F5344CB8AC3E}">
        <p14:creationId xmlns:p14="http://schemas.microsoft.com/office/powerpoint/2010/main" val="32570999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1" name="Title 1">
            <a:extLst>
              <a:ext uri="{FF2B5EF4-FFF2-40B4-BE49-F238E27FC236}">
                <a16:creationId xmlns:a16="http://schemas.microsoft.com/office/drawing/2014/main" id="{80A79E22-4166-FE7D-D511-809B216323C0}"/>
              </a:ext>
            </a:extLst>
          </p:cNvPr>
          <p:cNvSpPr>
            <a:spLocks noGrp="1"/>
          </p:cNvSpPr>
          <p:nvPr>
            <p:ph type="title"/>
          </p:nvPr>
        </p:nvSpPr>
        <p:spPr>
          <a:xfrm>
            <a:off x="838200" y="222075"/>
            <a:ext cx="10515600" cy="630298"/>
          </a:xfrm>
        </p:spPr>
        <p:txBody>
          <a:bodyPr>
            <a:noAutofit/>
          </a:bodyPr>
          <a:lstStyle/>
          <a:p>
            <a:pPr>
              <a:lnSpc>
                <a:spcPct val="150000"/>
              </a:lnSpc>
            </a:pPr>
            <a:r>
              <a:rPr lang="en-US" sz="3600">
                <a:solidFill>
                  <a:srgbClr val="0070C0"/>
                </a:solidFill>
              </a:rPr>
              <a:t>China</a:t>
            </a:r>
            <a:endParaRPr lang="en-US" sz="3200">
              <a:solidFill>
                <a:srgbClr val="0070C0"/>
              </a:solidFill>
            </a:endParaRPr>
          </a:p>
        </p:txBody>
      </p:sp>
      <p:graphicFrame>
        <p:nvGraphicFramePr>
          <p:cNvPr id="22" name="Table 5">
            <a:extLst>
              <a:ext uri="{FF2B5EF4-FFF2-40B4-BE49-F238E27FC236}">
                <a16:creationId xmlns:a16="http://schemas.microsoft.com/office/drawing/2014/main" id="{DA3C978E-42D5-18F3-5BAE-FB3CFD2FC67E}"/>
              </a:ext>
            </a:extLst>
          </p:cNvPr>
          <p:cNvGraphicFramePr>
            <a:graphicFrameLocks noGrp="1"/>
          </p:cNvGraphicFramePr>
          <p:nvPr>
            <p:extLst>
              <p:ext uri="{D42A27DB-BD31-4B8C-83A1-F6EECF244321}">
                <p14:modId xmlns:p14="http://schemas.microsoft.com/office/powerpoint/2010/main" val="3159109116"/>
              </p:ext>
            </p:extLst>
          </p:nvPr>
        </p:nvGraphicFramePr>
        <p:xfrm>
          <a:off x="4974053" y="126219"/>
          <a:ext cx="7234216" cy="6181287"/>
        </p:xfrm>
        <a:graphic>
          <a:graphicData uri="http://schemas.openxmlformats.org/drawingml/2006/table">
            <a:tbl>
              <a:tblPr firstRow="1" bandRow="1">
                <a:tableStyleId>{9D7B26C5-4107-4FEC-AEDC-1716B250A1EF}</a:tableStyleId>
              </a:tblPr>
              <a:tblGrid>
                <a:gridCol w="643016">
                  <a:extLst>
                    <a:ext uri="{9D8B030D-6E8A-4147-A177-3AD203B41FA5}">
                      <a16:colId xmlns:a16="http://schemas.microsoft.com/office/drawing/2014/main" val="1971178031"/>
                    </a:ext>
                  </a:extLst>
                </a:gridCol>
                <a:gridCol w="981355">
                  <a:extLst>
                    <a:ext uri="{9D8B030D-6E8A-4147-A177-3AD203B41FA5}">
                      <a16:colId xmlns:a16="http://schemas.microsoft.com/office/drawing/2014/main" val="4106639385"/>
                    </a:ext>
                  </a:extLst>
                </a:gridCol>
                <a:gridCol w="847725">
                  <a:extLst>
                    <a:ext uri="{9D8B030D-6E8A-4147-A177-3AD203B41FA5}">
                      <a16:colId xmlns:a16="http://schemas.microsoft.com/office/drawing/2014/main" val="1505498681"/>
                    </a:ext>
                  </a:extLst>
                </a:gridCol>
                <a:gridCol w="3755984">
                  <a:extLst>
                    <a:ext uri="{9D8B030D-6E8A-4147-A177-3AD203B41FA5}">
                      <a16:colId xmlns:a16="http://schemas.microsoft.com/office/drawing/2014/main" val="4158918225"/>
                    </a:ext>
                  </a:extLst>
                </a:gridCol>
                <a:gridCol w="1006136">
                  <a:extLst>
                    <a:ext uri="{9D8B030D-6E8A-4147-A177-3AD203B41FA5}">
                      <a16:colId xmlns:a16="http://schemas.microsoft.com/office/drawing/2014/main" val="1198020565"/>
                    </a:ext>
                  </a:extLst>
                </a:gridCol>
              </a:tblGrid>
              <a:tr h="351262">
                <a:tc>
                  <a:txBody>
                    <a:bodyPr/>
                    <a:lstStyle/>
                    <a:p>
                      <a:pPr algn="l"/>
                      <a:r>
                        <a:rPr lang="en-US" sz="600">
                          <a:solidFill>
                            <a:schemeClr val="bg1"/>
                          </a:solidFill>
                          <a:latin typeface="Raleway" pitchFamily="2" charset="0"/>
                        </a:rPr>
                        <a:t>Provinces</a:t>
                      </a:r>
                    </a:p>
                  </a:txBody>
                  <a:tcPr>
                    <a:solidFill>
                      <a:schemeClr val="tx1"/>
                    </a:solidFill>
                  </a:tcPr>
                </a:tc>
                <a:tc>
                  <a:txBody>
                    <a:bodyPr/>
                    <a:lstStyle/>
                    <a:p>
                      <a:pPr algn="l"/>
                      <a:r>
                        <a:rPr lang="en-US" sz="600" dirty="0">
                          <a:solidFill>
                            <a:schemeClr val="bg1"/>
                          </a:solidFill>
                          <a:latin typeface="Raleway" pitchFamily="2" charset="0"/>
                        </a:rPr>
                        <a:t>Recipient company</a:t>
                      </a:r>
                    </a:p>
                  </a:txBody>
                  <a:tcPr>
                    <a:solidFill>
                      <a:schemeClr val="tx1"/>
                    </a:solidFill>
                  </a:tcPr>
                </a:tc>
                <a:tc>
                  <a:txBody>
                    <a:bodyPr/>
                    <a:lstStyle/>
                    <a:p>
                      <a:pPr algn="l"/>
                      <a:r>
                        <a:rPr lang="en-US" sz="600" dirty="0">
                          <a:solidFill>
                            <a:schemeClr val="bg1"/>
                          </a:solidFill>
                          <a:latin typeface="Raleway" pitchFamily="2" charset="0"/>
                        </a:rPr>
                        <a:t>Developer</a:t>
                      </a:r>
                    </a:p>
                  </a:txBody>
                  <a:tcPr>
                    <a:solidFill>
                      <a:schemeClr val="tx1"/>
                    </a:solidFill>
                  </a:tcPr>
                </a:tc>
                <a:tc>
                  <a:txBody>
                    <a:bodyPr/>
                    <a:lstStyle/>
                    <a:p>
                      <a:pPr algn="l"/>
                      <a:r>
                        <a:rPr lang="en-US" sz="600" dirty="0">
                          <a:solidFill>
                            <a:schemeClr val="bg1"/>
                          </a:solidFill>
                          <a:latin typeface="Raleway" pitchFamily="2" charset="0"/>
                        </a:rPr>
                        <a:t>Status</a:t>
                      </a:r>
                    </a:p>
                  </a:txBody>
                  <a:tcPr>
                    <a:solidFill>
                      <a:schemeClr val="tx1"/>
                    </a:solidFill>
                  </a:tcPr>
                </a:tc>
                <a:tc>
                  <a:txBody>
                    <a:bodyPr/>
                    <a:lstStyle/>
                    <a:p>
                      <a:pPr algn="l"/>
                      <a:r>
                        <a:rPr lang="en-US" sz="600" dirty="0">
                          <a:solidFill>
                            <a:schemeClr val="bg1"/>
                          </a:solidFill>
                          <a:latin typeface="Raleway" pitchFamily="2" charset="0"/>
                        </a:rPr>
                        <a:t>Production type</a:t>
                      </a:r>
                    </a:p>
                  </a:txBody>
                  <a:tcPr>
                    <a:solidFill>
                      <a:schemeClr val="tx1"/>
                    </a:solidFill>
                  </a:tcPr>
                </a:tc>
                <a:extLst>
                  <a:ext uri="{0D108BD9-81ED-4DB2-BD59-A6C34878D82A}">
                    <a16:rowId xmlns:a16="http://schemas.microsoft.com/office/drawing/2014/main" val="3036631337"/>
                  </a:ext>
                </a:extLst>
              </a:tr>
              <a:tr h="369499">
                <a:tc>
                  <a:txBody>
                    <a:bodyPr/>
                    <a:lstStyle/>
                    <a:p>
                      <a:pPr algn="l"/>
                      <a:r>
                        <a:rPr lang="en-US" sz="600" b="1" dirty="0">
                          <a:latin typeface="Raleway" pitchFamily="2" charset="0"/>
                        </a:rPr>
                        <a:t>Shanghai</a:t>
                      </a:r>
                    </a:p>
                  </a:txBody>
                  <a:tcPr anchor="ctr"/>
                </a:tc>
                <a:tc>
                  <a:txBody>
                    <a:bodyPr/>
                    <a:lstStyle/>
                    <a:p>
                      <a:pPr algn="l"/>
                      <a:r>
                        <a:rPr lang="en-US" sz="600">
                          <a:latin typeface="Raleway" pitchFamily="2" charset="0"/>
                        </a:rPr>
                        <a:t>Shanghai Fosun Pharma</a:t>
                      </a:r>
                    </a:p>
                  </a:txBody>
                  <a:tcPr anchor="ctr"/>
                </a:tc>
                <a:tc>
                  <a:txBody>
                    <a:bodyPr/>
                    <a:lstStyle/>
                    <a:p>
                      <a:pPr algn="l"/>
                      <a:r>
                        <a:rPr lang="en-US" sz="600">
                          <a:latin typeface="Raleway" pitchFamily="2" charset="0"/>
                        </a:rPr>
                        <a:t>BioNTech</a:t>
                      </a:r>
                    </a:p>
                  </a:txBody>
                  <a:tcPr anchor="ctr"/>
                </a:tc>
                <a:tc>
                  <a:txBody>
                    <a:bodyPr/>
                    <a:lstStyle/>
                    <a:p>
                      <a:pPr algn="l" fontAlgn="ctr"/>
                      <a:r>
                        <a:rPr lang="en-US" sz="600" b="0" i="0" u="none" strike="noStrike" dirty="0">
                          <a:solidFill>
                            <a:schemeClr val="tx1"/>
                          </a:solidFill>
                          <a:effectLst/>
                          <a:latin typeface="Raleway" pitchFamily="2" charset="0"/>
                        </a:rPr>
                        <a:t>Had a Joint venture agreement with BioNTech in May 2021 to produce mRNA-based vaccines starting with COVID but may expand to other infectious diseases and therapeutics.</a:t>
                      </a:r>
                    </a:p>
                  </a:txBody>
                  <a:tcPr marL="0" marR="0" marT="0" marB="0" anchor="ctr"/>
                </a:tc>
                <a:tc>
                  <a:txBody>
                    <a:bodyPr/>
                    <a:lstStyle/>
                    <a:p>
                      <a:pPr algn="l"/>
                      <a:r>
                        <a:rPr lang="en-US" sz="600" dirty="0">
                          <a:latin typeface="Raleway" pitchFamily="2" charset="0"/>
                        </a:rPr>
                        <a:t>End-to-End</a:t>
                      </a:r>
                    </a:p>
                  </a:txBody>
                  <a:tcPr/>
                </a:tc>
                <a:extLst>
                  <a:ext uri="{0D108BD9-81ED-4DB2-BD59-A6C34878D82A}">
                    <a16:rowId xmlns:a16="http://schemas.microsoft.com/office/drawing/2014/main" val="2859557857"/>
                  </a:ext>
                </a:extLst>
              </a:tr>
              <a:tr h="261171">
                <a:tc>
                  <a:txBody>
                    <a:bodyPr/>
                    <a:lstStyle/>
                    <a:p>
                      <a:pPr algn="l"/>
                      <a:r>
                        <a:rPr lang="en-US" sz="600" b="1" dirty="0">
                          <a:latin typeface="Raleway" pitchFamily="2" charset="0"/>
                        </a:rPr>
                        <a:t>Beijing</a:t>
                      </a:r>
                    </a:p>
                  </a:txBody>
                  <a:tcPr anchor="ctr"/>
                </a:tc>
                <a:tc>
                  <a:txBody>
                    <a:bodyPr/>
                    <a:lstStyle/>
                    <a:p>
                      <a:pPr algn="l"/>
                      <a:r>
                        <a:rPr lang="en-US" sz="600">
                          <a:latin typeface="Raleway" pitchFamily="2" charset="0"/>
                        </a:rPr>
                        <a:t>Sinopharm</a:t>
                      </a:r>
                    </a:p>
                  </a:txBody>
                  <a:tcPr anchor="ctr"/>
                </a:tc>
                <a:tc>
                  <a:txBody>
                    <a:bodyPr/>
                    <a:lstStyle/>
                    <a:p>
                      <a:pPr algn="l"/>
                      <a:r>
                        <a:rPr lang="en-US" sz="600">
                          <a:latin typeface="Raleway" pitchFamily="2" charset="0"/>
                        </a:rPr>
                        <a:t>Sinopharm</a:t>
                      </a:r>
                    </a:p>
                  </a:txBody>
                  <a:tcPr anchor="ctr"/>
                </a:tc>
                <a:tc>
                  <a:txBody>
                    <a:bodyPr/>
                    <a:lstStyle/>
                    <a:p>
                      <a:pPr algn="l" fontAlgn="ctr"/>
                      <a:r>
                        <a:rPr lang="en-US" sz="600" b="0" i="0" u="none" strike="noStrike">
                          <a:solidFill>
                            <a:srgbClr val="000000"/>
                          </a:solidFill>
                          <a:effectLst/>
                          <a:latin typeface="Raleway" pitchFamily="2" charset="0"/>
                        </a:rPr>
                        <a:t>The application for clinical trials of a domestic Omicron-specific mRNA COVID-19 vaccine has been submitted for approval</a:t>
                      </a:r>
                    </a:p>
                  </a:txBody>
                  <a:tcPr marL="0" marR="0" marT="0" marB="0" anchor="ctr"/>
                </a:tc>
                <a:tc>
                  <a:txBody>
                    <a:bodyPr/>
                    <a:lstStyle/>
                    <a:p>
                      <a:pPr algn="l"/>
                      <a:r>
                        <a:rPr lang="en-US" sz="600" dirty="0">
                          <a:latin typeface="Raleway" pitchFamily="2" charset="0"/>
                        </a:rPr>
                        <a:t>End-to-End</a:t>
                      </a:r>
                    </a:p>
                  </a:txBody>
                  <a:tcPr/>
                </a:tc>
                <a:extLst>
                  <a:ext uri="{0D108BD9-81ED-4DB2-BD59-A6C34878D82A}">
                    <a16:rowId xmlns:a16="http://schemas.microsoft.com/office/drawing/2014/main" val="3801935204"/>
                  </a:ext>
                </a:extLst>
              </a:tr>
              <a:tr h="455450">
                <a:tc>
                  <a:txBody>
                    <a:bodyPr/>
                    <a:lstStyle/>
                    <a:p>
                      <a:pPr algn="l"/>
                      <a:r>
                        <a:rPr lang="en-US" sz="600" b="1">
                          <a:latin typeface="Raleway" pitchFamily="2" charset="0"/>
                        </a:rPr>
                        <a:t>Shanghai</a:t>
                      </a:r>
                    </a:p>
                  </a:txBody>
                  <a:tcPr anchor="ctr"/>
                </a:tc>
                <a:tc>
                  <a:txBody>
                    <a:bodyPr/>
                    <a:lstStyle/>
                    <a:p>
                      <a:pPr algn="l"/>
                      <a:r>
                        <a:rPr lang="en-US" sz="600">
                          <a:latin typeface="Raleway" pitchFamily="2" charset="0"/>
                        </a:rPr>
                        <a:t>Everest Medicines</a:t>
                      </a:r>
                    </a:p>
                  </a:txBody>
                  <a:tcPr anchor="ctr"/>
                </a:tc>
                <a:tc>
                  <a:txBody>
                    <a:bodyPr/>
                    <a:lstStyle/>
                    <a:p>
                      <a:pPr algn="l" fontAlgn="ctr"/>
                      <a:r>
                        <a:rPr lang="en-US" sz="600" b="0" i="0" u="none" strike="noStrike">
                          <a:solidFill>
                            <a:srgbClr val="000000"/>
                          </a:solidFill>
                          <a:effectLst/>
                          <a:latin typeface="Raleway" pitchFamily="2" charset="0"/>
                        </a:rPr>
                        <a:t>Providence</a:t>
                      </a:r>
                    </a:p>
                  </a:txBody>
                  <a:tcPr marL="0" marR="0" marT="0" marB="0" anchor="ctr"/>
                </a:tc>
                <a:tc>
                  <a:txBody>
                    <a:bodyPr/>
                    <a:lstStyle/>
                    <a:p>
                      <a:pPr algn="l"/>
                      <a:r>
                        <a:rPr lang="en-US" sz="600" dirty="0">
                          <a:latin typeface="Raleway" pitchFamily="2" charset="0"/>
                        </a:rPr>
                        <a:t>Signed an agreement with Providence on mRNA vaccines and cancer therapeutics. mRNA rabies vaccine program has achieved preclinical proof-of-concept, according to the press release in Feb 2023.</a:t>
                      </a:r>
                    </a:p>
                  </a:txBody>
                  <a:tcPr anchor="ctr"/>
                </a:tc>
                <a:tc>
                  <a:txBody>
                    <a:bodyPr/>
                    <a:lstStyle/>
                    <a:p>
                      <a:pPr algn="l"/>
                      <a:r>
                        <a:rPr lang="en-US" sz="600" dirty="0">
                          <a:latin typeface="Raleway" pitchFamily="2" charset="0"/>
                        </a:rPr>
                        <a:t>End-to-End</a:t>
                      </a:r>
                    </a:p>
                  </a:txBody>
                  <a:tcPr/>
                </a:tc>
                <a:extLst>
                  <a:ext uri="{0D108BD9-81ED-4DB2-BD59-A6C34878D82A}">
                    <a16:rowId xmlns:a16="http://schemas.microsoft.com/office/drawing/2014/main" val="423017230"/>
                  </a:ext>
                </a:extLst>
              </a:tr>
              <a:tr h="337371">
                <a:tc>
                  <a:txBody>
                    <a:bodyPr/>
                    <a:lstStyle/>
                    <a:p>
                      <a:pPr algn="l"/>
                      <a:r>
                        <a:rPr lang="en-US" sz="600" b="1">
                          <a:solidFill>
                            <a:schemeClr val="accent1">
                              <a:lumMod val="75000"/>
                            </a:schemeClr>
                          </a:solidFill>
                          <a:latin typeface="Raleway" pitchFamily="2" charset="0"/>
                        </a:rPr>
                        <a:t>Hong Kong</a:t>
                      </a:r>
                    </a:p>
                  </a:txBody>
                  <a:tcPr anchor="ctr"/>
                </a:tc>
                <a:tc>
                  <a:txBody>
                    <a:bodyPr/>
                    <a:lstStyle/>
                    <a:p>
                      <a:pPr algn="l"/>
                      <a:r>
                        <a:rPr lang="en-US" sz="600">
                          <a:solidFill>
                            <a:schemeClr val="accent1">
                              <a:lumMod val="75000"/>
                            </a:schemeClr>
                          </a:solidFill>
                          <a:latin typeface="Raleway" pitchFamily="2" charset="0"/>
                        </a:rPr>
                        <a:t>China Resources Pharmaceutical</a:t>
                      </a:r>
                    </a:p>
                  </a:txBody>
                  <a:tcPr anchor="ctr"/>
                </a:tc>
                <a:tc>
                  <a:txBody>
                    <a:bodyPr/>
                    <a:lstStyle/>
                    <a:p>
                      <a:pPr algn="l" fontAlgn="ctr"/>
                      <a:r>
                        <a:rPr lang="en-US" sz="600" b="0" i="0" u="none" strike="noStrike">
                          <a:solidFill>
                            <a:schemeClr val="accent1">
                              <a:lumMod val="75000"/>
                            </a:schemeClr>
                          </a:solidFill>
                          <a:effectLst/>
                          <a:latin typeface="Raleway" pitchFamily="2" charset="0"/>
                        </a:rPr>
                        <a:t>Everest Medicines</a:t>
                      </a:r>
                    </a:p>
                  </a:txBody>
                  <a:tcPr marL="0" marR="0" marT="0" marB="0" anchor="ctr"/>
                </a:tc>
                <a:tc>
                  <a:txBody>
                    <a:bodyPr/>
                    <a:lstStyle/>
                    <a:p>
                      <a:pPr algn="l"/>
                      <a:r>
                        <a:rPr lang="en-US" sz="600" dirty="0">
                          <a:solidFill>
                            <a:schemeClr val="accent1">
                              <a:lumMod val="75000"/>
                            </a:schemeClr>
                          </a:solidFill>
                          <a:latin typeface="Raleway" pitchFamily="2" charset="0"/>
                        </a:rPr>
                        <a:t>In March 2025, Everest advanced its mRNA platform to cancer vaccines, with FDA clearance for EVM14 and first dosing of EVM16 in China. Its GMP-compliant mRNA facility in </a:t>
                      </a:r>
                      <a:r>
                        <a:rPr lang="en-US" sz="600" dirty="0" err="1">
                          <a:solidFill>
                            <a:schemeClr val="accent1">
                              <a:lumMod val="75000"/>
                            </a:schemeClr>
                          </a:solidFill>
                          <a:latin typeface="Raleway" pitchFamily="2" charset="0"/>
                        </a:rPr>
                        <a:t>Jiashan</a:t>
                      </a:r>
                      <a:r>
                        <a:rPr lang="en-US" sz="600" dirty="0">
                          <a:solidFill>
                            <a:schemeClr val="accent1">
                              <a:lumMod val="75000"/>
                            </a:schemeClr>
                          </a:solidFill>
                          <a:latin typeface="Raleway" pitchFamily="2" charset="0"/>
                        </a:rPr>
                        <a:t> is operational for clinical and commercial production.</a:t>
                      </a:r>
                    </a:p>
                  </a:txBody>
                  <a:tcPr anchor="ctr"/>
                </a:tc>
                <a:tc>
                  <a:txBody>
                    <a:bodyPr/>
                    <a:lstStyle/>
                    <a:p>
                      <a:pPr algn="l"/>
                      <a:r>
                        <a:rPr lang="en-US" sz="600" dirty="0">
                          <a:latin typeface="Raleway" pitchFamily="2" charset="0"/>
                        </a:rPr>
                        <a:t>End-to-End</a:t>
                      </a:r>
                    </a:p>
                  </a:txBody>
                  <a:tcPr/>
                </a:tc>
                <a:extLst>
                  <a:ext uri="{0D108BD9-81ED-4DB2-BD59-A6C34878D82A}">
                    <a16:rowId xmlns:a16="http://schemas.microsoft.com/office/drawing/2014/main" val="4114079512"/>
                  </a:ext>
                </a:extLst>
              </a:tr>
              <a:tr h="219291">
                <a:tc>
                  <a:txBody>
                    <a:bodyPr/>
                    <a:lstStyle/>
                    <a:p>
                      <a:pPr algn="l"/>
                      <a:r>
                        <a:rPr lang="en-US" sz="600" b="1">
                          <a:latin typeface="Raleway" pitchFamily="2" charset="0"/>
                        </a:rPr>
                        <a:t>Shanghai</a:t>
                      </a:r>
                    </a:p>
                  </a:txBody>
                  <a:tcPr anchor="ctr"/>
                </a:tc>
                <a:tc>
                  <a:txBody>
                    <a:bodyPr/>
                    <a:lstStyle/>
                    <a:p>
                      <a:pPr algn="l"/>
                      <a:r>
                        <a:rPr lang="en-US" sz="600" err="1">
                          <a:latin typeface="Raleway" pitchFamily="2" charset="0"/>
                        </a:rPr>
                        <a:t>Stemirna</a:t>
                      </a:r>
                      <a:r>
                        <a:rPr lang="en-US" sz="600">
                          <a:latin typeface="Raleway" pitchFamily="2" charset="0"/>
                        </a:rPr>
                        <a:t> Therapeutics</a:t>
                      </a:r>
                    </a:p>
                  </a:txBody>
                  <a:tcPr anchor="ctr"/>
                </a:tc>
                <a:tc>
                  <a:txBody>
                    <a:bodyPr/>
                    <a:lstStyle/>
                    <a:p>
                      <a:pPr algn="l" fontAlgn="ctr"/>
                      <a:r>
                        <a:rPr lang="en-US" sz="600" b="0" i="0" u="none" strike="noStrike" err="1">
                          <a:solidFill>
                            <a:srgbClr val="000000"/>
                          </a:solidFill>
                          <a:effectLst/>
                          <a:latin typeface="Raleway" pitchFamily="2" charset="0"/>
                        </a:rPr>
                        <a:t>Stemirna</a:t>
                      </a:r>
                      <a:r>
                        <a:rPr lang="en-US" sz="600" b="0" i="0" u="none" strike="noStrike">
                          <a:solidFill>
                            <a:srgbClr val="000000"/>
                          </a:solidFill>
                          <a:effectLst/>
                          <a:latin typeface="Raleway" pitchFamily="2" charset="0"/>
                        </a:rPr>
                        <a:t> Therapeutics</a:t>
                      </a:r>
                    </a:p>
                  </a:txBody>
                  <a:tcPr marL="0" marR="0" marT="0" marB="0" anchor="ctr"/>
                </a:tc>
                <a:tc>
                  <a:txBody>
                    <a:bodyPr/>
                    <a:lstStyle/>
                    <a:p>
                      <a:pPr algn="l"/>
                      <a:r>
                        <a:rPr lang="en-US" sz="600">
                          <a:latin typeface="Raleway" pitchFamily="2" charset="0"/>
                        </a:rPr>
                        <a:t>No update</a:t>
                      </a:r>
                    </a:p>
                  </a:txBody>
                  <a:tcPr anchor="ctr"/>
                </a:tc>
                <a:tc>
                  <a:txBody>
                    <a:bodyPr/>
                    <a:lstStyle/>
                    <a:p>
                      <a:pPr algn="l"/>
                      <a:r>
                        <a:rPr lang="en-US" sz="600" dirty="0">
                          <a:latin typeface="Raleway" pitchFamily="2" charset="0"/>
                        </a:rPr>
                        <a:t>End-to-End</a:t>
                      </a:r>
                    </a:p>
                  </a:txBody>
                  <a:tcPr/>
                </a:tc>
                <a:extLst>
                  <a:ext uri="{0D108BD9-81ED-4DB2-BD59-A6C34878D82A}">
                    <a16:rowId xmlns:a16="http://schemas.microsoft.com/office/drawing/2014/main" val="529381199"/>
                  </a:ext>
                </a:extLst>
              </a:tr>
              <a:tr h="219291">
                <a:tc>
                  <a:txBody>
                    <a:bodyPr/>
                    <a:lstStyle/>
                    <a:p>
                      <a:pPr algn="l"/>
                      <a:r>
                        <a:rPr lang="en-US" sz="600" b="1" err="1">
                          <a:latin typeface="Raleway" pitchFamily="2" charset="0"/>
                        </a:rPr>
                        <a:t>Tianjing</a:t>
                      </a:r>
                      <a:endParaRPr lang="en-US" sz="600" b="1">
                        <a:latin typeface="Raleway" pitchFamily="2" charset="0"/>
                      </a:endParaRPr>
                    </a:p>
                  </a:txBody>
                  <a:tcPr anchor="ctr"/>
                </a:tc>
                <a:tc>
                  <a:txBody>
                    <a:bodyPr/>
                    <a:lstStyle/>
                    <a:p>
                      <a:pPr algn="l"/>
                      <a:r>
                        <a:rPr lang="en-US" sz="600">
                          <a:latin typeface="Raleway" pitchFamily="2" charset="0"/>
                        </a:rPr>
                        <a:t>CanSino</a:t>
                      </a:r>
                    </a:p>
                  </a:txBody>
                  <a:tcPr anchor="ctr"/>
                </a:tc>
                <a:tc>
                  <a:txBody>
                    <a:bodyPr/>
                    <a:lstStyle/>
                    <a:p>
                      <a:pPr algn="l" fontAlgn="ctr"/>
                      <a:r>
                        <a:rPr lang="en-US" sz="600" b="0" i="0" u="none" strike="noStrike">
                          <a:solidFill>
                            <a:srgbClr val="000000"/>
                          </a:solidFill>
                          <a:effectLst/>
                          <a:latin typeface="Raleway" pitchFamily="2" charset="0"/>
                        </a:rPr>
                        <a:t>CanSino</a:t>
                      </a:r>
                    </a:p>
                  </a:txBody>
                  <a:tcPr marL="0" marR="0" marT="0" marB="0" anchor="ctr"/>
                </a:tc>
                <a:tc>
                  <a:txBody>
                    <a:bodyPr/>
                    <a:lstStyle/>
                    <a:p>
                      <a:pPr algn="l"/>
                      <a:r>
                        <a:rPr lang="en-US" sz="600">
                          <a:latin typeface="Raleway" pitchFamily="2" charset="0"/>
                        </a:rPr>
                        <a:t>COVID-19 &amp; other prophylactic vaccines</a:t>
                      </a:r>
                    </a:p>
                  </a:txBody>
                  <a:tcPr anchor="ctr"/>
                </a:tc>
                <a:tc>
                  <a:txBody>
                    <a:bodyPr/>
                    <a:lstStyle/>
                    <a:p>
                      <a:pPr algn="l"/>
                      <a:r>
                        <a:rPr lang="en-US" sz="600" dirty="0">
                          <a:latin typeface="Raleway" pitchFamily="2" charset="0"/>
                        </a:rPr>
                        <a:t>End-to-End</a:t>
                      </a:r>
                    </a:p>
                  </a:txBody>
                  <a:tcPr/>
                </a:tc>
                <a:extLst>
                  <a:ext uri="{0D108BD9-81ED-4DB2-BD59-A6C34878D82A}">
                    <a16:rowId xmlns:a16="http://schemas.microsoft.com/office/drawing/2014/main" val="2121041782"/>
                  </a:ext>
                </a:extLst>
              </a:tr>
              <a:tr h="286202">
                <a:tc>
                  <a:txBody>
                    <a:bodyPr/>
                    <a:lstStyle/>
                    <a:p>
                      <a:pPr algn="l"/>
                      <a:r>
                        <a:rPr lang="en-US" sz="600" b="1">
                          <a:latin typeface="Raleway" pitchFamily="2" charset="0"/>
                        </a:rPr>
                        <a:t>Jiangsu</a:t>
                      </a:r>
                    </a:p>
                  </a:txBody>
                  <a:tcPr anchor="ctr"/>
                </a:tc>
                <a:tc>
                  <a:txBody>
                    <a:bodyPr/>
                    <a:lstStyle/>
                    <a:p>
                      <a:pPr algn="l"/>
                      <a:r>
                        <a:rPr lang="en-US" sz="600" dirty="0" err="1">
                          <a:latin typeface="Raleway" pitchFamily="2" charset="0"/>
                        </a:rPr>
                        <a:t>Walvax</a:t>
                      </a:r>
                      <a:endParaRPr lang="en-US" sz="600" dirty="0">
                        <a:latin typeface="Raleway" pitchFamily="2" charset="0"/>
                      </a:endParaRPr>
                    </a:p>
                  </a:txBody>
                  <a:tcPr anchor="ctr"/>
                </a:tc>
                <a:tc>
                  <a:txBody>
                    <a:bodyPr/>
                    <a:lstStyle/>
                    <a:p>
                      <a:pPr algn="l" fontAlgn="ctr"/>
                      <a:r>
                        <a:rPr lang="en-US" sz="600" b="0" i="0" u="none" strike="noStrike">
                          <a:solidFill>
                            <a:srgbClr val="000000"/>
                          </a:solidFill>
                          <a:effectLst/>
                          <a:latin typeface="Raleway" pitchFamily="2" charset="0"/>
                        </a:rPr>
                        <a:t>Suzhou </a:t>
                      </a:r>
                      <a:r>
                        <a:rPr lang="en-US" sz="600" b="0" i="0" u="none" strike="noStrike" err="1">
                          <a:solidFill>
                            <a:srgbClr val="000000"/>
                          </a:solidFill>
                          <a:effectLst/>
                          <a:latin typeface="Raleway" pitchFamily="2" charset="0"/>
                        </a:rPr>
                        <a:t>Abogen</a:t>
                      </a:r>
                      <a:r>
                        <a:rPr lang="en-US" sz="600" b="0" i="0" u="none" strike="noStrike">
                          <a:solidFill>
                            <a:srgbClr val="000000"/>
                          </a:solidFill>
                          <a:effectLst/>
                          <a:latin typeface="Raleway" pitchFamily="2" charset="0"/>
                        </a:rPr>
                        <a:t> Biosciences</a:t>
                      </a:r>
                    </a:p>
                  </a:txBody>
                  <a:tcPr marL="0" marR="0" marT="0" marB="0" anchor="ctr"/>
                </a:tc>
                <a:tc>
                  <a:txBody>
                    <a:bodyPr/>
                    <a:lstStyle/>
                    <a:p>
                      <a:pPr algn="l"/>
                      <a:r>
                        <a:rPr lang="en-US" sz="600">
                          <a:latin typeface="Raleway" pitchFamily="2" charset="0"/>
                        </a:rPr>
                        <a:t>Only COVID-19 vaccines (Phase-3 Clinical Trial)</a:t>
                      </a:r>
                    </a:p>
                  </a:txBody>
                  <a:tcPr anchor="ctr"/>
                </a:tc>
                <a:tc>
                  <a:txBody>
                    <a:bodyPr/>
                    <a:lstStyle/>
                    <a:p>
                      <a:pPr algn="l"/>
                      <a:r>
                        <a:rPr lang="en-US" sz="600" dirty="0">
                          <a:latin typeface="Raleway" pitchFamily="2" charset="0"/>
                        </a:rPr>
                        <a:t>End-to-End</a:t>
                      </a:r>
                    </a:p>
                  </a:txBody>
                  <a:tcPr/>
                </a:tc>
                <a:extLst>
                  <a:ext uri="{0D108BD9-81ED-4DB2-BD59-A6C34878D82A}">
                    <a16:rowId xmlns:a16="http://schemas.microsoft.com/office/drawing/2014/main" val="2569066204"/>
                  </a:ext>
                </a:extLst>
              </a:tr>
              <a:tr h="337371">
                <a:tc>
                  <a:txBody>
                    <a:bodyPr/>
                    <a:lstStyle/>
                    <a:p>
                      <a:pPr algn="l"/>
                      <a:r>
                        <a:rPr lang="en-US" sz="600" b="1">
                          <a:latin typeface="Raleway" pitchFamily="2" charset="0"/>
                        </a:rPr>
                        <a:t>Beijing</a:t>
                      </a:r>
                    </a:p>
                  </a:txBody>
                  <a:tcPr anchor="ctr"/>
                </a:tc>
                <a:tc>
                  <a:txBody>
                    <a:bodyPr/>
                    <a:lstStyle/>
                    <a:p>
                      <a:pPr algn="l"/>
                      <a:r>
                        <a:rPr lang="en-US" sz="600">
                          <a:latin typeface="Raleway" pitchFamily="2" charset="0"/>
                        </a:rPr>
                        <a:t>AIM Vaccine</a:t>
                      </a:r>
                    </a:p>
                  </a:txBody>
                  <a:tcPr anchor="ctr"/>
                </a:tc>
                <a:tc>
                  <a:txBody>
                    <a:bodyPr/>
                    <a:lstStyle/>
                    <a:p>
                      <a:pPr algn="l" fontAlgn="ctr"/>
                      <a:r>
                        <a:rPr lang="en-US" sz="600" b="0" i="0" u="none" strike="noStrike">
                          <a:solidFill>
                            <a:srgbClr val="000000"/>
                          </a:solidFill>
                          <a:effectLst/>
                          <a:latin typeface="Raleway" pitchFamily="2" charset="0"/>
                        </a:rPr>
                        <a:t>AIM vaccine</a:t>
                      </a:r>
                    </a:p>
                  </a:txBody>
                  <a:tcPr marL="0" marR="0" marT="0" marB="0" anchor="ctr"/>
                </a:tc>
                <a:tc>
                  <a:txBody>
                    <a:bodyPr/>
                    <a:lstStyle/>
                    <a:p>
                      <a:pPr algn="l"/>
                      <a:r>
                        <a:rPr lang="en-US" sz="600" dirty="0">
                          <a:latin typeface="Raleway" pitchFamily="2" charset="0"/>
                        </a:rPr>
                        <a:t>COVID-19 vaccines (Phase-1, clinical trial), Human rabies vaccine (Preclinical), shingles vaccine got FDA IND approval in March 2025 after strong preclinical results, outperforming Shingrix. Built on its AI-driven platform, AIM is also developing RSV and COVID-19 mRNA vaccines.</a:t>
                      </a:r>
                    </a:p>
                  </a:txBody>
                  <a:tcPr anchor="ctr"/>
                </a:tc>
                <a:tc>
                  <a:txBody>
                    <a:bodyPr/>
                    <a:lstStyle/>
                    <a:p>
                      <a:pPr algn="l"/>
                      <a:r>
                        <a:rPr lang="en-US" sz="600" dirty="0">
                          <a:latin typeface="Raleway" pitchFamily="2" charset="0"/>
                        </a:rPr>
                        <a:t>End-to-End</a:t>
                      </a:r>
                    </a:p>
                  </a:txBody>
                  <a:tcPr/>
                </a:tc>
                <a:extLst>
                  <a:ext uri="{0D108BD9-81ED-4DB2-BD59-A6C34878D82A}">
                    <a16:rowId xmlns:a16="http://schemas.microsoft.com/office/drawing/2014/main" val="2875299620"/>
                  </a:ext>
                </a:extLst>
              </a:tr>
              <a:tr h="337371">
                <a:tc>
                  <a:txBody>
                    <a:bodyPr/>
                    <a:lstStyle/>
                    <a:p>
                      <a:pPr algn="l"/>
                      <a:r>
                        <a:rPr lang="en-US" sz="600" b="1">
                          <a:latin typeface="Raleway" pitchFamily="2" charset="0"/>
                        </a:rPr>
                        <a:t>Suzhou</a:t>
                      </a:r>
                    </a:p>
                  </a:txBody>
                  <a:tcPr anchor="ctr"/>
                </a:tc>
                <a:tc>
                  <a:txBody>
                    <a:bodyPr/>
                    <a:lstStyle/>
                    <a:p>
                      <a:pPr algn="l"/>
                      <a:r>
                        <a:rPr lang="en-US" sz="600" err="1">
                          <a:latin typeface="Raleway" pitchFamily="2" charset="0"/>
                        </a:rPr>
                        <a:t>Abogen</a:t>
                      </a:r>
                      <a:r>
                        <a:rPr lang="en-US" sz="600">
                          <a:latin typeface="Raleway" pitchFamily="2" charset="0"/>
                        </a:rPr>
                        <a:t> Biosciences</a:t>
                      </a:r>
                    </a:p>
                  </a:txBody>
                  <a:tcPr anchor="ctr"/>
                </a:tc>
                <a:tc>
                  <a:txBody>
                    <a:bodyPr/>
                    <a:lstStyle/>
                    <a:p>
                      <a:pPr algn="l" fontAlgn="ctr"/>
                      <a:r>
                        <a:rPr lang="en-US" sz="600" b="0" i="0" u="none" strike="noStrike" err="1">
                          <a:solidFill>
                            <a:srgbClr val="000000"/>
                          </a:solidFill>
                          <a:effectLst/>
                          <a:latin typeface="Raleway" pitchFamily="2" charset="0"/>
                        </a:rPr>
                        <a:t>Abogen</a:t>
                      </a:r>
                      <a:r>
                        <a:rPr lang="en-US" sz="600" b="0" i="0" u="none" strike="noStrike">
                          <a:solidFill>
                            <a:srgbClr val="000000"/>
                          </a:solidFill>
                          <a:effectLst/>
                          <a:latin typeface="Raleway" pitchFamily="2" charset="0"/>
                        </a:rPr>
                        <a:t> Biosciences</a:t>
                      </a:r>
                    </a:p>
                  </a:txBody>
                  <a:tcPr marL="0" marR="0" marT="0" marB="0" anchor="ctr"/>
                </a:tc>
                <a:tc>
                  <a:txBody>
                    <a:bodyPr/>
                    <a:lstStyle/>
                    <a:p>
                      <a:pPr algn="l"/>
                      <a:r>
                        <a:rPr lang="en-US" sz="600">
                          <a:latin typeface="Raleway" pitchFamily="2" charset="0"/>
                        </a:rPr>
                        <a:t>COVID-19 (Phase-3 CT overseas), Rabies (Preclinical), RSV (Preclinical), Varicella Zoster (Preclinical)</a:t>
                      </a:r>
                    </a:p>
                  </a:txBody>
                  <a:tcPr anchor="ctr"/>
                </a:tc>
                <a:tc>
                  <a:txBody>
                    <a:bodyPr/>
                    <a:lstStyle/>
                    <a:p>
                      <a:pPr algn="l"/>
                      <a:r>
                        <a:rPr lang="en-US" sz="600" dirty="0">
                          <a:latin typeface="Raleway" pitchFamily="2" charset="0"/>
                        </a:rPr>
                        <a:t>End-to-End</a:t>
                      </a:r>
                    </a:p>
                  </a:txBody>
                  <a:tcPr/>
                </a:tc>
                <a:extLst>
                  <a:ext uri="{0D108BD9-81ED-4DB2-BD59-A6C34878D82A}">
                    <a16:rowId xmlns:a16="http://schemas.microsoft.com/office/drawing/2014/main" val="681317782"/>
                  </a:ext>
                </a:extLst>
              </a:tr>
              <a:tr h="337371">
                <a:tc>
                  <a:txBody>
                    <a:bodyPr/>
                    <a:lstStyle/>
                    <a:p>
                      <a:pPr algn="l"/>
                      <a:r>
                        <a:rPr lang="en-US" sz="600" b="1">
                          <a:latin typeface="Raleway" pitchFamily="2" charset="0"/>
                        </a:rPr>
                        <a:t>Wuhan</a:t>
                      </a:r>
                    </a:p>
                  </a:txBody>
                  <a:tcPr anchor="ctr"/>
                </a:tc>
                <a:tc>
                  <a:txBody>
                    <a:bodyPr/>
                    <a:lstStyle/>
                    <a:p>
                      <a:pPr algn="l"/>
                      <a:r>
                        <a:rPr lang="en-US" sz="600">
                          <a:latin typeface="Raleway" pitchFamily="2" charset="0"/>
                        </a:rPr>
                        <a:t>Wuhan </a:t>
                      </a:r>
                      <a:r>
                        <a:rPr lang="en-US" sz="600" err="1">
                          <a:latin typeface="Raleway" pitchFamily="2" charset="0"/>
                        </a:rPr>
                        <a:t>Recogen</a:t>
                      </a:r>
                      <a:r>
                        <a:rPr lang="en-US" sz="600">
                          <a:latin typeface="Raleway" pitchFamily="2" charset="0"/>
                        </a:rPr>
                        <a:t> </a:t>
                      </a:r>
                      <a:r>
                        <a:rPr lang="en-US" sz="600" err="1">
                          <a:latin typeface="Raleway" pitchFamily="2" charset="0"/>
                        </a:rPr>
                        <a:t>Biotechology</a:t>
                      </a:r>
                      <a:endParaRPr lang="en-US" sz="600">
                        <a:latin typeface="Raleway" pitchFamily="2" charset="0"/>
                      </a:endParaRPr>
                    </a:p>
                  </a:txBody>
                  <a:tcPr anchor="ctr"/>
                </a:tc>
                <a:tc>
                  <a:txBody>
                    <a:bodyPr/>
                    <a:lstStyle/>
                    <a:p>
                      <a:pPr algn="l" fontAlgn="ctr"/>
                      <a:endParaRPr lang="en-US" sz="600" b="0" i="0" u="none" strike="noStrike">
                        <a:solidFill>
                          <a:srgbClr val="000000"/>
                        </a:solidFill>
                        <a:effectLst/>
                        <a:latin typeface="Raleway" pitchFamily="2" charset="0"/>
                      </a:endParaRPr>
                    </a:p>
                  </a:txBody>
                  <a:tcPr marL="0" marR="0" marT="0" marB="0" anchor="ctr"/>
                </a:tc>
                <a:tc>
                  <a:txBody>
                    <a:bodyPr/>
                    <a:lstStyle/>
                    <a:p>
                      <a:pPr algn="l"/>
                      <a:r>
                        <a:rPr lang="en-US" sz="600">
                          <a:latin typeface="Raleway" pitchFamily="2" charset="0"/>
                        </a:rPr>
                        <a:t>COVID-19 vaccines (Pre-clinical)</a:t>
                      </a:r>
                    </a:p>
                  </a:txBody>
                  <a:tcPr anchor="ctr"/>
                </a:tc>
                <a:tc>
                  <a:txBody>
                    <a:bodyPr/>
                    <a:lstStyle/>
                    <a:p>
                      <a:pPr algn="l"/>
                      <a:r>
                        <a:rPr lang="en-US" sz="600" dirty="0">
                          <a:latin typeface="Raleway" pitchFamily="2" charset="0"/>
                        </a:rPr>
                        <a:t>End-to-End</a:t>
                      </a:r>
                    </a:p>
                  </a:txBody>
                  <a:tcPr/>
                </a:tc>
                <a:extLst>
                  <a:ext uri="{0D108BD9-81ED-4DB2-BD59-A6C34878D82A}">
                    <a16:rowId xmlns:a16="http://schemas.microsoft.com/office/drawing/2014/main" val="3419986139"/>
                  </a:ext>
                </a:extLst>
              </a:tr>
              <a:tr h="455450">
                <a:tc>
                  <a:txBody>
                    <a:bodyPr/>
                    <a:lstStyle/>
                    <a:p>
                      <a:pPr algn="l"/>
                      <a:r>
                        <a:rPr lang="en-US" sz="600" b="1" dirty="0">
                          <a:latin typeface="Raleway" pitchFamily="2" charset="0"/>
                        </a:rPr>
                        <a:t>Hong Kong</a:t>
                      </a:r>
                    </a:p>
                  </a:txBody>
                  <a:tcPr anchor="ctr"/>
                </a:tc>
                <a:tc>
                  <a:txBody>
                    <a:bodyPr/>
                    <a:lstStyle/>
                    <a:p>
                      <a:pPr algn="l"/>
                      <a:r>
                        <a:rPr lang="en-US" sz="600" dirty="0">
                          <a:latin typeface="Raleway" pitchFamily="2" charset="0"/>
                        </a:rPr>
                        <a:t>CSPC </a:t>
                      </a:r>
                      <a:r>
                        <a:rPr lang="en-US" sz="600" dirty="0" err="1">
                          <a:latin typeface="Raleway" pitchFamily="2" charset="0"/>
                        </a:rPr>
                        <a:t>ZhongQi</a:t>
                      </a:r>
                      <a:r>
                        <a:rPr lang="en-US" sz="600" dirty="0">
                          <a:latin typeface="Raleway" pitchFamily="2" charset="0"/>
                        </a:rPr>
                        <a:t> Pharmaceutical Technology</a:t>
                      </a:r>
                    </a:p>
                  </a:txBody>
                  <a:tcPr anchor="ctr"/>
                </a:tc>
                <a:tc>
                  <a:txBody>
                    <a:bodyPr/>
                    <a:lstStyle/>
                    <a:p>
                      <a:pPr algn="l" fontAlgn="ctr"/>
                      <a:r>
                        <a:rPr lang="en-US" sz="600" b="0" i="0" u="none" strike="noStrike">
                          <a:solidFill>
                            <a:srgbClr val="000000"/>
                          </a:solidFill>
                          <a:effectLst/>
                          <a:latin typeface="Raleway" pitchFamily="2" charset="0"/>
                        </a:rPr>
                        <a:t>CSPC </a:t>
                      </a:r>
                      <a:r>
                        <a:rPr lang="en-US" sz="600" b="0" i="0" u="none" strike="noStrike" err="1">
                          <a:solidFill>
                            <a:srgbClr val="000000"/>
                          </a:solidFill>
                          <a:effectLst/>
                          <a:latin typeface="Raleway" pitchFamily="2" charset="0"/>
                        </a:rPr>
                        <a:t>ZhongQi</a:t>
                      </a:r>
                      <a:r>
                        <a:rPr lang="en-US" sz="600" b="0" i="0" u="none" strike="noStrike">
                          <a:solidFill>
                            <a:srgbClr val="000000"/>
                          </a:solidFill>
                          <a:effectLst/>
                          <a:latin typeface="Raleway" pitchFamily="2" charset="0"/>
                        </a:rPr>
                        <a:t> Pharmaceutical Technology</a:t>
                      </a:r>
                    </a:p>
                  </a:txBody>
                  <a:tcPr marL="0" marR="0" marT="0" marB="0" anchor="ctr"/>
                </a:tc>
                <a:tc>
                  <a:txBody>
                    <a:bodyPr/>
                    <a:lstStyle/>
                    <a:p>
                      <a:pPr algn="l"/>
                      <a:r>
                        <a:rPr lang="en-US" sz="600" dirty="0">
                          <a:latin typeface="Raleway" pitchFamily="2" charset="0"/>
                        </a:rPr>
                        <a:t>Animal data published, but no new clinical or regulatory milestone.</a:t>
                      </a:r>
                    </a:p>
                    <a:p>
                      <a:pPr algn="l"/>
                      <a:r>
                        <a:rPr lang="en-US" sz="600" dirty="0">
                          <a:latin typeface="Raleway" pitchFamily="2" charset="0"/>
                        </a:rPr>
                        <a:t>Ongoing Phase 2, new animal data, no new approvals.</a:t>
                      </a:r>
                    </a:p>
                  </a:txBody>
                  <a:tcPr anchor="ctr"/>
                </a:tc>
                <a:tc>
                  <a:txBody>
                    <a:bodyPr/>
                    <a:lstStyle/>
                    <a:p>
                      <a:pPr algn="l"/>
                      <a:r>
                        <a:rPr lang="en-US" sz="600" dirty="0">
                          <a:latin typeface="Raleway" pitchFamily="2" charset="0"/>
                        </a:rPr>
                        <a:t>End-to-End</a:t>
                      </a:r>
                    </a:p>
                  </a:txBody>
                  <a:tcPr/>
                </a:tc>
                <a:extLst>
                  <a:ext uri="{0D108BD9-81ED-4DB2-BD59-A6C34878D82A}">
                    <a16:rowId xmlns:a16="http://schemas.microsoft.com/office/drawing/2014/main" val="624606155"/>
                  </a:ext>
                </a:extLst>
              </a:tr>
              <a:tr h="328609">
                <a:tc>
                  <a:txBody>
                    <a:bodyPr/>
                    <a:lstStyle/>
                    <a:p>
                      <a:pPr algn="l"/>
                      <a:r>
                        <a:rPr lang="en-US" sz="600" b="1" dirty="0">
                          <a:latin typeface="Raleway" pitchFamily="2" charset="0"/>
                        </a:rPr>
                        <a:t>Hong Kong</a:t>
                      </a:r>
                    </a:p>
                  </a:txBody>
                  <a:tcPr anchor="ctr"/>
                </a:tc>
                <a:tc>
                  <a:txBody>
                    <a:bodyPr/>
                    <a:lstStyle/>
                    <a:p>
                      <a:pPr algn="l"/>
                      <a:r>
                        <a:rPr lang="en-US" sz="600" dirty="0">
                          <a:latin typeface="Raleway" pitchFamily="2" charset="0"/>
                        </a:rPr>
                        <a:t>CanSino</a:t>
                      </a:r>
                    </a:p>
                  </a:txBody>
                  <a:tcPr anchor="ctr"/>
                </a:tc>
                <a:tc>
                  <a:txBody>
                    <a:bodyPr/>
                    <a:lstStyle/>
                    <a:p>
                      <a:pPr algn="l" fontAlgn="ctr"/>
                      <a:r>
                        <a:rPr lang="en-US" sz="600" b="0" i="0" u="none" strike="noStrike" dirty="0">
                          <a:solidFill>
                            <a:srgbClr val="000000"/>
                          </a:solidFill>
                          <a:effectLst/>
                          <a:latin typeface="Raleway" pitchFamily="2" charset="0"/>
                        </a:rPr>
                        <a:t>AstraZeneca</a:t>
                      </a:r>
                    </a:p>
                  </a:txBody>
                  <a:tcPr marL="0" marR="0" marT="0" marB="0" anchor="ctr"/>
                </a:tc>
                <a:tc>
                  <a:txBody>
                    <a:bodyPr/>
                    <a:lstStyle/>
                    <a:p>
                      <a:pPr algn="l"/>
                      <a:r>
                        <a:rPr lang="en-US" sz="600" dirty="0">
                          <a:latin typeface="Raleway" pitchFamily="2" charset="0"/>
                        </a:rPr>
                        <a:t>A 10-year framework agreement in which CanSino will use its mRNA manufacturing platform to support AZ on the R&amp;D of certain vaccines. Further collaborate on R&amp;D &amp; </a:t>
                      </a:r>
                      <a:r>
                        <a:rPr lang="en-US" sz="600" dirty="0" err="1">
                          <a:latin typeface="Raleway" pitchFamily="2" charset="0"/>
                        </a:rPr>
                        <a:t>commercialisation</a:t>
                      </a:r>
                      <a:r>
                        <a:rPr lang="en-US" sz="600" dirty="0">
                          <a:latin typeface="Raleway" pitchFamily="2" charset="0"/>
                        </a:rPr>
                        <a:t> in future.</a:t>
                      </a:r>
                    </a:p>
                  </a:txBody>
                  <a:tcPr anchor="ctr"/>
                </a:tc>
                <a:tc>
                  <a:txBody>
                    <a:bodyPr/>
                    <a:lstStyle/>
                    <a:p>
                      <a:pPr algn="l"/>
                      <a:r>
                        <a:rPr lang="en-US" sz="600" dirty="0">
                          <a:latin typeface="Raleway" pitchFamily="2" charset="0"/>
                        </a:rPr>
                        <a:t>End-to-End</a:t>
                      </a:r>
                    </a:p>
                  </a:txBody>
                  <a:tcPr/>
                </a:tc>
                <a:extLst>
                  <a:ext uri="{0D108BD9-81ED-4DB2-BD59-A6C34878D82A}">
                    <a16:rowId xmlns:a16="http://schemas.microsoft.com/office/drawing/2014/main" val="1236495045"/>
                  </a:ext>
                </a:extLst>
              </a:tr>
              <a:tr h="0">
                <a:tc>
                  <a:txBody>
                    <a:bodyPr/>
                    <a:lstStyle/>
                    <a:p>
                      <a:pPr algn="l"/>
                      <a:r>
                        <a:rPr lang="en-US" sz="600" b="1" dirty="0">
                          <a:latin typeface="Raleway" pitchFamily="2" charset="0"/>
                        </a:rPr>
                        <a:t>Shanghai</a:t>
                      </a:r>
                    </a:p>
                  </a:txBody>
                  <a:tcPr/>
                </a:tc>
                <a:tc>
                  <a:txBody>
                    <a:bodyPr/>
                    <a:lstStyle/>
                    <a:p>
                      <a:pPr algn="l"/>
                      <a:r>
                        <a:rPr lang="en-US" sz="600" b="0" dirty="0">
                          <a:latin typeface="Raleway" pitchFamily="2" charset="0"/>
                        </a:rPr>
                        <a:t>the local government and associated entities in Shanghai, </a:t>
                      </a:r>
                    </a:p>
                  </a:txBody>
                  <a:tcPr/>
                </a:tc>
                <a:tc>
                  <a:txBody>
                    <a:bodyPr/>
                    <a:lstStyle/>
                    <a:p>
                      <a:pPr algn="l"/>
                      <a:r>
                        <a:rPr lang="en-US" sz="600" b="0" dirty="0">
                          <a:latin typeface="Raleway" pitchFamily="2" charset="0"/>
                        </a:rPr>
                        <a:t>Moderna</a:t>
                      </a:r>
                    </a:p>
                  </a:txBody>
                  <a:tcPr/>
                </a:tc>
                <a:tc>
                  <a:txBody>
                    <a:bodyPr/>
                    <a:lstStyle/>
                    <a:p>
                      <a:pPr algn="l"/>
                      <a:r>
                        <a:rPr lang="en-US" sz="600" dirty="0">
                          <a:latin typeface="Raleway" pitchFamily="2" charset="0"/>
                        </a:rPr>
                        <a:t>Moderna's deal in Shanghai involves a strategic partnership to build its first pharmaceutical plant in China, It focuses on developing and producing mRNA-based medicines and vaccines. Minhang district has set up a dedicated 24/7 team to facilitate this investment efficiently, showcasing Shanghai's commitment to enhancing its business environment to attract high-tech foreign investmen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latin typeface="Raleway" pitchFamily="2" charset="0"/>
                        </a:rPr>
                        <a:t>End-to-End</a:t>
                      </a:r>
                    </a:p>
                    <a:p>
                      <a:pPr algn="l"/>
                      <a:endParaRPr lang="en-US" sz="600" dirty="0">
                        <a:latin typeface="Raleway" pitchFamily="2" charset="0"/>
                      </a:endParaRPr>
                    </a:p>
                  </a:txBody>
                  <a:tcPr/>
                </a:tc>
                <a:extLst>
                  <a:ext uri="{0D108BD9-81ED-4DB2-BD59-A6C34878D82A}">
                    <a16:rowId xmlns:a16="http://schemas.microsoft.com/office/drawing/2014/main" val="3514228915"/>
                  </a:ext>
                </a:extLst>
              </a:tr>
              <a:tr h="312420">
                <a:tc>
                  <a:txBody>
                    <a:bodyPr/>
                    <a:lstStyle/>
                    <a:p>
                      <a:pPr algn="l"/>
                      <a:r>
                        <a:rPr lang="en-US" sz="600" b="1" dirty="0">
                          <a:latin typeface="Raleway" pitchFamily="2" charset="0"/>
                        </a:rPr>
                        <a:t>Shanghai</a:t>
                      </a:r>
                    </a:p>
                  </a:txBody>
                  <a:tcPr/>
                </a:tc>
                <a:tc>
                  <a:txBody>
                    <a:bodyPr/>
                    <a:lstStyle/>
                    <a:p>
                      <a:pPr algn="l"/>
                      <a:r>
                        <a:rPr lang="en-US" sz="600" dirty="0">
                          <a:latin typeface="Raleway" pitchFamily="2" charset="0"/>
                        </a:rPr>
                        <a:t>Fudan University / Shanghai Bluebird Bio / </a:t>
                      </a:r>
                      <a:r>
                        <a:rPr lang="en-US" sz="600" dirty="0" err="1">
                          <a:latin typeface="Raleway" pitchFamily="2" charset="0"/>
                        </a:rPr>
                        <a:t>Walvax</a:t>
                      </a:r>
                      <a:r>
                        <a:rPr lang="en-US" sz="600" dirty="0">
                          <a:latin typeface="Raleway" pitchFamily="2" charset="0"/>
                        </a:rPr>
                        <a:t> Biotechnology.</a:t>
                      </a:r>
                      <a:endParaRPr lang="en-US" sz="600" b="0" dirty="0">
                        <a:latin typeface="Raleway" pitchFamily="2" charset="0"/>
                      </a:endParaRPr>
                    </a:p>
                  </a:txBody>
                  <a:tcPr/>
                </a:tc>
                <a:tc>
                  <a:txBody>
                    <a:bodyPr/>
                    <a:lstStyle/>
                    <a:p>
                      <a:pPr algn="l"/>
                      <a:r>
                        <a:rPr lang="en-US" sz="600" dirty="0">
                          <a:latin typeface="Raleway" pitchFamily="2" charset="0"/>
                        </a:rPr>
                        <a:t>Fudan University </a:t>
                      </a:r>
                      <a:endParaRPr lang="en-US" sz="600" b="0" dirty="0">
                        <a:latin typeface="Raleway" pitchFamily="2" charset="0"/>
                      </a:endParaRPr>
                    </a:p>
                  </a:txBody>
                  <a:tcPr/>
                </a:tc>
                <a:tc>
                  <a:txBody>
                    <a:bodyPr/>
                    <a:lstStyle/>
                    <a:p>
                      <a:pPr algn="l"/>
                      <a:r>
                        <a:rPr lang="en-US" sz="600" dirty="0">
                          <a:latin typeface="Raleway" pitchFamily="2" charset="0"/>
                        </a:rPr>
                        <a:t>On December 1, 2023, Fudan University, Shanghai Bluebird Bio, and </a:t>
                      </a:r>
                      <a:r>
                        <a:rPr lang="en-US" sz="600" dirty="0" err="1">
                          <a:latin typeface="Raleway" pitchFamily="2" charset="0"/>
                        </a:rPr>
                        <a:t>Walvax</a:t>
                      </a:r>
                      <a:r>
                        <a:rPr lang="en-US" sz="600" dirty="0">
                          <a:latin typeface="Raleway" pitchFamily="2" charset="0"/>
                        </a:rPr>
                        <a:t> Biotechnology's jointly developed mRNA vaccine for the Omicron XBB.1.5 variant, RQ3033 vaccine (Wal-An Vaccine®), was approved for emergency use. This approval represents a significant achievement in China's independent development of mRNA vaccine technology against current variants like XBB.</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latin typeface="Raleway" pitchFamily="2" charset="0"/>
                        </a:rPr>
                        <a:t>End-to-End</a:t>
                      </a:r>
                    </a:p>
                    <a:p>
                      <a:pPr algn="l"/>
                      <a:endParaRPr lang="en-US" sz="600" dirty="0">
                        <a:latin typeface="Raleway" pitchFamily="2" charset="0"/>
                      </a:endParaRPr>
                    </a:p>
                  </a:txBody>
                  <a:tcPr/>
                </a:tc>
                <a:extLst>
                  <a:ext uri="{0D108BD9-81ED-4DB2-BD59-A6C34878D82A}">
                    <a16:rowId xmlns:a16="http://schemas.microsoft.com/office/drawing/2014/main" val="2430056361"/>
                  </a:ext>
                </a:extLst>
              </a:tr>
              <a:tr h="259080">
                <a:tc>
                  <a:txBody>
                    <a:bodyPr/>
                    <a:lstStyle/>
                    <a:p>
                      <a:pPr algn="l"/>
                      <a:r>
                        <a:rPr lang="en-US" sz="600" b="1" dirty="0">
                          <a:solidFill>
                            <a:schemeClr val="accent1">
                              <a:lumMod val="75000"/>
                            </a:schemeClr>
                          </a:solidFill>
                          <a:latin typeface="Raleway" pitchFamily="2" charset="0"/>
                        </a:rPr>
                        <a:t>Hangzhou</a:t>
                      </a:r>
                    </a:p>
                  </a:txBody>
                  <a:tcPr/>
                </a:tc>
                <a:tc>
                  <a:txBody>
                    <a:bodyPr/>
                    <a:lstStyle/>
                    <a:p>
                      <a:pPr algn="l"/>
                      <a:r>
                        <a:rPr lang="en-US" sz="600" b="0" dirty="0" err="1">
                          <a:solidFill>
                            <a:schemeClr val="accent1">
                              <a:lumMod val="75000"/>
                            </a:schemeClr>
                          </a:solidFill>
                          <a:latin typeface="Raleway" pitchFamily="2" charset="0"/>
                        </a:rPr>
                        <a:t>Immorna</a:t>
                      </a:r>
                      <a:r>
                        <a:rPr lang="en-US" sz="600" b="0" dirty="0">
                          <a:solidFill>
                            <a:schemeClr val="accent1">
                              <a:lumMod val="75000"/>
                            </a:schemeClr>
                          </a:solidFill>
                          <a:latin typeface="Raleway" pitchFamily="2" charset="0"/>
                        </a:rPr>
                        <a:t> Biotherapeutics</a:t>
                      </a:r>
                    </a:p>
                  </a:txBody>
                  <a:tcPr/>
                </a:tc>
                <a:tc>
                  <a:txBody>
                    <a:bodyPr/>
                    <a:lstStyle/>
                    <a:p>
                      <a:pPr algn="l"/>
                      <a:r>
                        <a:rPr lang="en-US" sz="600" b="0" dirty="0" err="1">
                          <a:solidFill>
                            <a:schemeClr val="accent1">
                              <a:lumMod val="75000"/>
                            </a:schemeClr>
                          </a:solidFill>
                          <a:latin typeface="Raleway" pitchFamily="2" charset="0"/>
                        </a:rPr>
                        <a:t>Immorna</a:t>
                      </a:r>
                      <a:r>
                        <a:rPr lang="en-US" sz="600" b="0" dirty="0">
                          <a:solidFill>
                            <a:schemeClr val="accent1">
                              <a:lumMod val="75000"/>
                            </a:schemeClr>
                          </a:solidFill>
                          <a:latin typeface="Raleway" pitchFamily="2" charset="0"/>
                        </a:rPr>
                        <a:t> Biotherapeutics</a:t>
                      </a:r>
                    </a:p>
                  </a:txBody>
                  <a:tcPr/>
                </a:tc>
                <a:tc>
                  <a:txBody>
                    <a:bodyPr/>
                    <a:lstStyle/>
                    <a:p>
                      <a:pPr algn="l"/>
                      <a:r>
                        <a:rPr lang="en-US" sz="600" dirty="0">
                          <a:solidFill>
                            <a:schemeClr val="accent1">
                              <a:lumMod val="75000"/>
                            </a:schemeClr>
                          </a:solidFill>
                          <a:latin typeface="Raleway" pitchFamily="2" charset="0"/>
                        </a:rPr>
                        <a:t>Gates Foundation grant ($3.8M) supports clinical trials, multi-dose vial development, US marketing, and WHO PQ; </a:t>
                      </a:r>
                      <a:r>
                        <a:rPr lang="en-US" sz="600" dirty="0" err="1">
                          <a:solidFill>
                            <a:schemeClr val="accent1">
                              <a:lumMod val="75000"/>
                            </a:schemeClr>
                          </a:solidFill>
                          <a:latin typeface="Raleway" pitchFamily="2" charset="0"/>
                        </a:rPr>
                        <a:t>Immorna</a:t>
                      </a:r>
                      <a:r>
                        <a:rPr lang="en-US" sz="600" dirty="0">
                          <a:solidFill>
                            <a:schemeClr val="accent1">
                              <a:lumMod val="75000"/>
                            </a:schemeClr>
                          </a:solidFill>
                          <a:latin typeface="Raleway" pitchFamily="2" charset="0"/>
                        </a:rPr>
                        <a:t> will supply JCXH-108 to LMICs at set prices. The vaccine is stable 18 months at 2–8°C, over 2 months at room temperature, and covers RSV A and B.</a:t>
                      </a:r>
                    </a:p>
                  </a:txBody>
                  <a:tcPr/>
                </a:tc>
                <a:tc>
                  <a:txBody>
                    <a:bodyPr/>
                    <a:lstStyle/>
                    <a:p>
                      <a:pPr algn="l"/>
                      <a:r>
                        <a:rPr lang="en-US" sz="600" dirty="0">
                          <a:latin typeface="Raleway" pitchFamily="2" charset="0"/>
                        </a:rPr>
                        <a:t>End-to-End</a:t>
                      </a:r>
                    </a:p>
                    <a:p>
                      <a:pPr algn="l"/>
                      <a:endParaRPr lang="en-US" sz="600" dirty="0">
                        <a:latin typeface="Raleway" pitchFamily="2" charset="0"/>
                      </a:endParaRPr>
                    </a:p>
                  </a:txBody>
                  <a:tcPr/>
                </a:tc>
                <a:extLst>
                  <a:ext uri="{0D108BD9-81ED-4DB2-BD59-A6C34878D82A}">
                    <a16:rowId xmlns:a16="http://schemas.microsoft.com/office/drawing/2014/main" val="3330921477"/>
                  </a:ext>
                </a:extLst>
              </a:tr>
              <a:tr h="259080">
                <a:tc>
                  <a:txBody>
                    <a:bodyPr/>
                    <a:lstStyle/>
                    <a:p>
                      <a:pPr algn="l"/>
                      <a:r>
                        <a:rPr lang="en-US" sz="600" b="1" dirty="0">
                          <a:solidFill>
                            <a:schemeClr val="accent1">
                              <a:lumMod val="75000"/>
                            </a:schemeClr>
                          </a:solidFill>
                          <a:latin typeface="Raleway" pitchFamily="2" charset="0"/>
                        </a:rPr>
                        <a:t>Beijing</a:t>
                      </a:r>
                    </a:p>
                  </a:txBody>
                  <a:tcPr/>
                </a:tc>
                <a:tc>
                  <a:txBody>
                    <a:bodyPr/>
                    <a:lstStyle/>
                    <a:p>
                      <a:pPr algn="l"/>
                      <a:r>
                        <a:rPr lang="en-US" sz="600" b="0" dirty="0" err="1">
                          <a:solidFill>
                            <a:schemeClr val="accent1">
                              <a:lumMod val="75000"/>
                            </a:schemeClr>
                          </a:solidFill>
                          <a:latin typeface="Raleway" pitchFamily="2" charset="0"/>
                        </a:rPr>
                        <a:t>Likang</a:t>
                      </a:r>
                      <a:r>
                        <a:rPr lang="en-US" sz="600" b="0" dirty="0">
                          <a:solidFill>
                            <a:schemeClr val="accent1">
                              <a:lumMod val="75000"/>
                            </a:schemeClr>
                          </a:solidFill>
                          <a:latin typeface="Raleway" pitchFamily="2" charset="0"/>
                        </a:rPr>
                        <a:t> Life Sciences (Beijing E-Town)</a:t>
                      </a:r>
                    </a:p>
                  </a:txBody>
                  <a:tcPr/>
                </a:tc>
                <a:tc>
                  <a:txBody>
                    <a:bodyPr/>
                    <a:lstStyle/>
                    <a:p>
                      <a:pPr algn="l"/>
                      <a:r>
                        <a:rPr lang="en-US" sz="600" b="0" dirty="0" err="1">
                          <a:solidFill>
                            <a:schemeClr val="accent1">
                              <a:lumMod val="75000"/>
                            </a:schemeClr>
                          </a:solidFill>
                          <a:latin typeface="Raleway" pitchFamily="2" charset="0"/>
                        </a:rPr>
                        <a:t>Likang</a:t>
                      </a:r>
                      <a:r>
                        <a:rPr lang="en-US" sz="600" b="0" dirty="0">
                          <a:solidFill>
                            <a:schemeClr val="accent1">
                              <a:lumMod val="75000"/>
                            </a:schemeClr>
                          </a:solidFill>
                          <a:latin typeface="Raleway" pitchFamily="2" charset="0"/>
                        </a:rPr>
                        <a:t> Life Sciences </a:t>
                      </a:r>
                    </a:p>
                  </a:txBody>
                  <a:tcPr/>
                </a:tc>
                <a:tc>
                  <a:txBody>
                    <a:bodyPr/>
                    <a:lstStyle/>
                    <a:p>
                      <a:pPr algn="l"/>
                      <a:r>
                        <a:rPr lang="en-US" sz="600" dirty="0" err="1">
                          <a:solidFill>
                            <a:schemeClr val="accent1">
                              <a:lumMod val="75000"/>
                            </a:schemeClr>
                          </a:solidFill>
                          <a:latin typeface="Raleway" pitchFamily="2" charset="0"/>
                        </a:rPr>
                        <a:t>Likang’s</a:t>
                      </a:r>
                      <a:r>
                        <a:rPr lang="en-US" sz="600" dirty="0">
                          <a:solidFill>
                            <a:schemeClr val="accent1">
                              <a:lumMod val="75000"/>
                            </a:schemeClr>
                          </a:solidFill>
                          <a:latin typeface="Raleway" pitchFamily="2" charset="0"/>
                        </a:rPr>
                        <a:t> LK101 is China’s first mRNA neoantigen cancer vaccine to enter U.S. trials. AI-driven and personalized, it targets tumor mutations to trigger immune responses. After Chinese regulatory clearance in 2023, the vaccine was approved by the FDA for Phase I trials in the U.S. in early 2025—marking a milestone in China's mRNA oncology innov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chemeClr val="accent1">
                              <a:lumMod val="75000"/>
                            </a:schemeClr>
                          </a:solidFill>
                          <a:latin typeface="Raleway" pitchFamily="2" charset="0"/>
                        </a:rPr>
                        <a:t>End-to-End</a:t>
                      </a:r>
                    </a:p>
                    <a:p>
                      <a:pPr algn="l"/>
                      <a:endParaRPr lang="en-US" sz="600" dirty="0">
                        <a:solidFill>
                          <a:schemeClr val="accent1">
                            <a:lumMod val="75000"/>
                          </a:schemeClr>
                        </a:solidFill>
                        <a:latin typeface="Raleway" pitchFamily="2" charset="0"/>
                      </a:endParaRPr>
                    </a:p>
                  </a:txBody>
                  <a:tcPr/>
                </a:tc>
                <a:extLst>
                  <a:ext uri="{0D108BD9-81ED-4DB2-BD59-A6C34878D82A}">
                    <a16:rowId xmlns:a16="http://schemas.microsoft.com/office/drawing/2014/main" val="2449003232"/>
                  </a:ext>
                </a:extLst>
              </a:tr>
            </a:tbl>
          </a:graphicData>
        </a:graphic>
      </p:graphicFrame>
      <p:sp>
        <p:nvSpPr>
          <p:cNvPr id="19" name="Triangle isocèle 203">
            <a:extLst>
              <a:ext uri="{FF2B5EF4-FFF2-40B4-BE49-F238E27FC236}">
                <a16:creationId xmlns:a16="http://schemas.microsoft.com/office/drawing/2014/main" id="{19E8F246-AD36-A097-DAE4-868A701E4FCC}"/>
              </a:ext>
            </a:extLst>
          </p:cNvPr>
          <p:cNvSpPr/>
          <p:nvPr/>
        </p:nvSpPr>
        <p:spPr>
          <a:xfrm flipH="1">
            <a:off x="1982798" y="5596253"/>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
        <p:nvSpPr>
          <p:cNvPr id="20" name="ZoneTexte 161">
            <a:extLst>
              <a:ext uri="{FF2B5EF4-FFF2-40B4-BE49-F238E27FC236}">
                <a16:creationId xmlns:a16="http://schemas.microsoft.com/office/drawing/2014/main" id="{C7AB2D60-8C8E-A0CC-1FD9-8A03AC21A0D4}"/>
              </a:ext>
            </a:extLst>
          </p:cNvPr>
          <p:cNvSpPr txBox="1"/>
          <p:nvPr/>
        </p:nvSpPr>
        <p:spPr>
          <a:xfrm>
            <a:off x="2166800" y="5611764"/>
            <a:ext cx="1373378" cy="18096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50" b="1">
                <a:latin typeface="Raleway" pitchFamily="2" charset="0"/>
              </a:rPr>
              <a:t>End-to-End</a:t>
            </a:r>
          </a:p>
        </p:txBody>
      </p:sp>
      <p:sp>
        <p:nvSpPr>
          <p:cNvPr id="2" name="Slide Number Placeholder 1">
            <a:extLst>
              <a:ext uri="{FF2B5EF4-FFF2-40B4-BE49-F238E27FC236}">
                <a16:creationId xmlns:a16="http://schemas.microsoft.com/office/drawing/2014/main" id="{14E0BFE6-FB80-AA04-BFF1-140B5AE6A6C4}"/>
              </a:ext>
            </a:extLst>
          </p:cNvPr>
          <p:cNvSpPr>
            <a:spLocks noGrp="1"/>
          </p:cNvSpPr>
          <p:nvPr>
            <p:ph type="sldNum" sz="quarter" idx="12"/>
          </p:nvPr>
        </p:nvSpPr>
        <p:spPr/>
        <p:txBody>
          <a:bodyPr/>
          <a:lstStyle/>
          <a:p>
            <a:fld id="{1D1C8182-8BBE-B542-ADE5-8820B104469B}" type="slidenum">
              <a:rPr lang="en-RO" smtClean="0"/>
              <a:pPr/>
              <a:t>6</a:t>
            </a:fld>
            <a:endParaRPr lang="en-RO"/>
          </a:p>
        </p:txBody>
      </p:sp>
      <p:sp>
        <p:nvSpPr>
          <p:cNvPr id="8" name="Google Shape;228;p29">
            <a:extLst>
              <a:ext uri="{FF2B5EF4-FFF2-40B4-BE49-F238E27FC236}">
                <a16:creationId xmlns:a16="http://schemas.microsoft.com/office/drawing/2014/main" id="{059B7BCB-7C8E-AF98-A101-C2895F51C6DF}"/>
              </a:ext>
            </a:extLst>
          </p:cNvPr>
          <p:cNvSpPr/>
          <p:nvPr/>
        </p:nvSpPr>
        <p:spPr>
          <a:xfrm>
            <a:off x="2313864" y="3272973"/>
            <a:ext cx="157758" cy="102909"/>
          </a:xfrm>
          <a:custGeom>
            <a:avLst/>
            <a:gdLst/>
            <a:ahLst/>
            <a:cxnLst/>
            <a:rect l="l" t="t" r="r" b="b"/>
            <a:pathLst>
              <a:path w="3483" h="2667" extrusionOk="0">
                <a:moveTo>
                  <a:pt x="2945" y="1"/>
                </a:moveTo>
                <a:cubicBezTo>
                  <a:pt x="2885" y="60"/>
                  <a:pt x="2627" y="199"/>
                  <a:pt x="2328" y="239"/>
                </a:cubicBezTo>
                <a:cubicBezTo>
                  <a:pt x="2179" y="249"/>
                  <a:pt x="1990" y="254"/>
                  <a:pt x="1834" y="254"/>
                </a:cubicBezTo>
                <a:cubicBezTo>
                  <a:pt x="1677" y="254"/>
                  <a:pt x="1553" y="249"/>
                  <a:pt x="1533" y="239"/>
                </a:cubicBezTo>
                <a:cubicBezTo>
                  <a:pt x="1499" y="217"/>
                  <a:pt x="1361" y="189"/>
                  <a:pt x="1224" y="189"/>
                </a:cubicBezTo>
                <a:cubicBezTo>
                  <a:pt x="1116" y="189"/>
                  <a:pt x="1008" y="206"/>
                  <a:pt x="956" y="259"/>
                </a:cubicBezTo>
                <a:cubicBezTo>
                  <a:pt x="836" y="379"/>
                  <a:pt x="558" y="756"/>
                  <a:pt x="478" y="856"/>
                </a:cubicBezTo>
                <a:cubicBezTo>
                  <a:pt x="379" y="955"/>
                  <a:pt x="80" y="1055"/>
                  <a:pt x="61" y="1095"/>
                </a:cubicBezTo>
                <a:cubicBezTo>
                  <a:pt x="61" y="1174"/>
                  <a:pt x="1" y="1691"/>
                  <a:pt x="61" y="1851"/>
                </a:cubicBezTo>
                <a:cubicBezTo>
                  <a:pt x="100" y="1990"/>
                  <a:pt x="439" y="2288"/>
                  <a:pt x="478" y="2348"/>
                </a:cubicBezTo>
                <a:cubicBezTo>
                  <a:pt x="518" y="2388"/>
                  <a:pt x="836" y="2368"/>
                  <a:pt x="936" y="2408"/>
                </a:cubicBezTo>
                <a:cubicBezTo>
                  <a:pt x="1035" y="2467"/>
                  <a:pt x="1453" y="2666"/>
                  <a:pt x="1453" y="2666"/>
                </a:cubicBezTo>
                <a:cubicBezTo>
                  <a:pt x="1453" y="2666"/>
                  <a:pt x="1672" y="2507"/>
                  <a:pt x="1692" y="2467"/>
                </a:cubicBezTo>
                <a:cubicBezTo>
                  <a:pt x="1732" y="2408"/>
                  <a:pt x="1931" y="2328"/>
                  <a:pt x="2050" y="2268"/>
                </a:cubicBezTo>
                <a:cubicBezTo>
                  <a:pt x="2189" y="2229"/>
                  <a:pt x="2647" y="1970"/>
                  <a:pt x="2667" y="1890"/>
                </a:cubicBezTo>
                <a:cubicBezTo>
                  <a:pt x="2686" y="1831"/>
                  <a:pt x="2726" y="1572"/>
                  <a:pt x="2766" y="1433"/>
                </a:cubicBezTo>
                <a:cubicBezTo>
                  <a:pt x="2846" y="1274"/>
                  <a:pt x="3064" y="1035"/>
                  <a:pt x="3184" y="896"/>
                </a:cubicBezTo>
                <a:cubicBezTo>
                  <a:pt x="3323" y="796"/>
                  <a:pt x="3482" y="697"/>
                  <a:pt x="3462" y="478"/>
                </a:cubicBezTo>
                <a:cubicBezTo>
                  <a:pt x="3442" y="279"/>
                  <a:pt x="3243" y="40"/>
                  <a:pt x="3243" y="40"/>
                </a:cubicBezTo>
                <a:lnTo>
                  <a:pt x="2945" y="40"/>
                </a:lnTo>
                <a:lnTo>
                  <a:pt x="2945" y="1"/>
                </a:lnTo>
                <a:close/>
              </a:path>
            </a:pathLst>
          </a:custGeom>
          <a:solidFill>
            <a:schemeClr val="accent2"/>
          </a:solidFill>
          <a:ln>
            <a:noFill/>
          </a:ln>
        </p:spPr>
        <p:txBody>
          <a:bodyPr spcFirstLastPara="1" wrap="square" lIns="121900" tIns="121900" rIns="121900" bIns="121900" anchor="ctr" anchorCtr="0">
            <a:noAutofit/>
          </a:bodyPr>
          <a:lstStyle/>
          <a:p>
            <a:endParaRPr sz="800">
              <a:latin typeface="Raleway" pitchFamily="2" charset="0"/>
            </a:endParaRPr>
          </a:p>
        </p:txBody>
      </p:sp>
      <p:sp>
        <p:nvSpPr>
          <p:cNvPr id="15" name="Triangle isocèle 68">
            <a:extLst>
              <a:ext uri="{FF2B5EF4-FFF2-40B4-BE49-F238E27FC236}">
                <a16:creationId xmlns:a16="http://schemas.microsoft.com/office/drawing/2014/main" id="{8698CEDF-A8EE-6349-528A-1EF8F6C3D9D7}"/>
              </a:ext>
            </a:extLst>
          </p:cNvPr>
          <p:cNvSpPr/>
          <p:nvPr/>
        </p:nvSpPr>
        <p:spPr>
          <a:xfrm flipH="1">
            <a:off x="3353170" y="2688514"/>
            <a:ext cx="108000" cy="144000"/>
          </a:xfrm>
          <a:prstGeom prst="triangle">
            <a:avLst/>
          </a:prstGeom>
          <a:solidFill>
            <a:schemeClr val="accent1"/>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a:solidFill>
                <a:schemeClr val="bg1"/>
              </a:solidFill>
              <a:latin typeface="Raleway" pitchFamily="2" charset="0"/>
            </a:endParaRPr>
          </a:p>
        </p:txBody>
      </p:sp>
      <p:sp>
        <p:nvSpPr>
          <p:cNvPr id="16" name="Triangle isocèle 94">
            <a:extLst>
              <a:ext uri="{FF2B5EF4-FFF2-40B4-BE49-F238E27FC236}">
                <a16:creationId xmlns:a16="http://schemas.microsoft.com/office/drawing/2014/main" id="{FAF68483-D345-07D9-6D5B-118D045B20C1}"/>
              </a:ext>
            </a:extLst>
          </p:cNvPr>
          <p:cNvSpPr/>
          <p:nvPr/>
        </p:nvSpPr>
        <p:spPr>
          <a:xfrm flipH="1">
            <a:off x="3339843" y="3227358"/>
            <a:ext cx="108000" cy="144000"/>
          </a:xfrm>
          <a:prstGeom prst="triangle">
            <a:avLst/>
          </a:prstGeom>
          <a:solidFill>
            <a:schemeClr val="accent1"/>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a:solidFill>
                <a:schemeClr val="bg1"/>
              </a:solidFill>
              <a:latin typeface="Raleway" pitchFamily="2" charset="0"/>
            </a:endParaRPr>
          </a:p>
        </p:txBody>
      </p:sp>
      <p:grpSp>
        <p:nvGrpSpPr>
          <p:cNvPr id="17" name="Group 16">
            <a:extLst>
              <a:ext uri="{FF2B5EF4-FFF2-40B4-BE49-F238E27FC236}">
                <a16:creationId xmlns:a16="http://schemas.microsoft.com/office/drawing/2014/main" id="{57A3531C-274E-7B97-86EF-0B884F6A9CA5}"/>
              </a:ext>
            </a:extLst>
          </p:cNvPr>
          <p:cNvGrpSpPr/>
          <p:nvPr/>
        </p:nvGrpSpPr>
        <p:grpSpPr>
          <a:xfrm>
            <a:off x="136982" y="1364848"/>
            <a:ext cx="4576837" cy="3449855"/>
            <a:chOff x="230195" y="1887815"/>
            <a:chExt cx="2881205" cy="2075898"/>
          </a:xfrm>
        </p:grpSpPr>
        <p:sp>
          <p:nvSpPr>
            <p:cNvPr id="18" name="Google Shape;227;p29">
              <a:extLst>
                <a:ext uri="{FF2B5EF4-FFF2-40B4-BE49-F238E27FC236}">
                  <a16:creationId xmlns:a16="http://schemas.microsoft.com/office/drawing/2014/main" id="{84775DCC-A616-86AA-9949-7877E420E7FA}"/>
                </a:ext>
              </a:extLst>
            </p:cNvPr>
            <p:cNvSpPr/>
            <p:nvPr/>
          </p:nvSpPr>
          <p:spPr>
            <a:xfrm>
              <a:off x="230195" y="1887815"/>
              <a:ext cx="2881205" cy="2056254"/>
            </a:xfrm>
            <a:custGeom>
              <a:avLst/>
              <a:gdLst/>
              <a:ahLst/>
              <a:cxnLst/>
              <a:rect l="l" t="t" r="r" b="b"/>
              <a:pathLst>
                <a:path w="93318" h="66669" extrusionOk="0">
                  <a:moveTo>
                    <a:pt x="76090" y="0"/>
                  </a:moveTo>
                  <a:lnTo>
                    <a:pt x="72490" y="239"/>
                  </a:lnTo>
                  <a:cubicBezTo>
                    <a:pt x="72171" y="279"/>
                    <a:pt x="71873" y="398"/>
                    <a:pt x="71654" y="597"/>
                  </a:cubicBezTo>
                  <a:lnTo>
                    <a:pt x="70779" y="1373"/>
                  </a:lnTo>
                  <a:cubicBezTo>
                    <a:pt x="70699" y="1433"/>
                    <a:pt x="70659" y="1532"/>
                    <a:pt x="70620" y="1631"/>
                  </a:cubicBezTo>
                  <a:lnTo>
                    <a:pt x="70620" y="1671"/>
                  </a:lnTo>
                  <a:cubicBezTo>
                    <a:pt x="70603" y="1755"/>
                    <a:pt x="70671" y="1839"/>
                    <a:pt x="70753" y="1839"/>
                  </a:cubicBezTo>
                  <a:cubicBezTo>
                    <a:pt x="70768" y="1839"/>
                    <a:pt x="70783" y="1837"/>
                    <a:pt x="70799" y="1830"/>
                  </a:cubicBezTo>
                  <a:lnTo>
                    <a:pt x="71435" y="1771"/>
                  </a:lnTo>
                  <a:cubicBezTo>
                    <a:pt x="71454" y="1766"/>
                    <a:pt x="71473" y="1764"/>
                    <a:pt x="71492" y="1764"/>
                  </a:cubicBezTo>
                  <a:cubicBezTo>
                    <a:pt x="71634" y="1764"/>
                    <a:pt x="71776" y="1889"/>
                    <a:pt x="71793" y="2029"/>
                  </a:cubicBezTo>
                  <a:lnTo>
                    <a:pt x="71933" y="2686"/>
                  </a:lnTo>
                  <a:cubicBezTo>
                    <a:pt x="71972" y="2905"/>
                    <a:pt x="71873" y="3104"/>
                    <a:pt x="71674" y="3203"/>
                  </a:cubicBezTo>
                  <a:lnTo>
                    <a:pt x="71296" y="3382"/>
                  </a:lnTo>
                  <a:cubicBezTo>
                    <a:pt x="71077" y="3481"/>
                    <a:pt x="70898" y="3661"/>
                    <a:pt x="70779" y="3859"/>
                  </a:cubicBezTo>
                  <a:lnTo>
                    <a:pt x="69585" y="5749"/>
                  </a:lnTo>
                  <a:cubicBezTo>
                    <a:pt x="69466" y="5908"/>
                    <a:pt x="69506" y="6147"/>
                    <a:pt x="69685" y="6266"/>
                  </a:cubicBezTo>
                  <a:cubicBezTo>
                    <a:pt x="69804" y="6366"/>
                    <a:pt x="69884" y="6505"/>
                    <a:pt x="69864" y="6664"/>
                  </a:cubicBezTo>
                  <a:lnTo>
                    <a:pt x="69864" y="6684"/>
                  </a:lnTo>
                  <a:cubicBezTo>
                    <a:pt x="69804" y="6863"/>
                    <a:pt x="69665" y="7003"/>
                    <a:pt x="69486" y="7003"/>
                  </a:cubicBezTo>
                  <a:lnTo>
                    <a:pt x="68849" y="7062"/>
                  </a:lnTo>
                  <a:cubicBezTo>
                    <a:pt x="68710" y="7062"/>
                    <a:pt x="68571" y="7102"/>
                    <a:pt x="68471" y="7182"/>
                  </a:cubicBezTo>
                  <a:lnTo>
                    <a:pt x="67676" y="7739"/>
                  </a:lnTo>
                  <a:cubicBezTo>
                    <a:pt x="67576" y="7801"/>
                    <a:pt x="67461" y="7832"/>
                    <a:pt x="67345" y="7832"/>
                  </a:cubicBezTo>
                  <a:cubicBezTo>
                    <a:pt x="67276" y="7832"/>
                    <a:pt x="67206" y="7821"/>
                    <a:pt x="67138" y="7798"/>
                  </a:cubicBezTo>
                  <a:lnTo>
                    <a:pt x="66323" y="7540"/>
                  </a:lnTo>
                  <a:cubicBezTo>
                    <a:pt x="66250" y="7517"/>
                    <a:pt x="66173" y="7505"/>
                    <a:pt x="66098" y="7505"/>
                  </a:cubicBezTo>
                  <a:cubicBezTo>
                    <a:pt x="65844" y="7505"/>
                    <a:pt x="65595" y="7633"/>
                    <a:pt x="65487" y="7878"/>
                  </a:cubicBezTo>
                  <a:lnTo>
                    <a:pt x="64035" y="10722"/>
                  </a:lnTo>
                  <a:cubicBezTo>
                    <a:pt x="63936" y="10882"/>
                    <a:pt x="63975" y="11140"/>
                    <a:pt x="64115" y="11279"/>
                  </a:cubicBezTo>
                  <a:lnTo>
                    <a:pt x="64393" y="11558"/>
                  </a:lnTo>
                  <a:cubicBezTo>
                    <a:pt x="64437" y="11611"/>
                    <a:pt x="64501" y="11636"/>
                    <a:pt x="64565" y="11636"/>
                  </a:cubicBezTo>
                  <a:cubicBezTo>
                    <a:pt x="64645" y="11636"/>
                    <a:pt x="64727" y="11596"/>
                    <a:pt x="64771" y="11518"/>
                  </a:cubicBezTo>
                  <a:lnTo>
                    <a:pt x="64831" y="11359"/>
                  </a:lnTo>
                  <a:cubicBezTo>
                    <a:pt x="64891" y="11240"/>
                    <a:pt x="65010" y="11140"/>
                    <a:pt x="65149" y="11140"/>
                  </a:cubicBezTo>
                  <a:lnTo>
                    <a:pt x="65786" y="11081"/>
                  </a:lnTo>
                  <a:cubicBezTo>
                    <a:pt x="65845" y="11081"/>
                    <a:pt x="65965" y="11120"/>
                    <a:pt x="66024" y="11160"/>
                  </a:cubicBezTo>
                  <a:lnTo>
                    <a:pt x="66402" y="11458"/>
                  </a:lnTo>
                  <a:cubicBezTo>
                    <a:pt x="66474" y="11530"/>
                    <a:pt x="66566" y="11564"/>
                    <a:pt x="66657" y="11564"/>
                  </a:cubicBezTo>
                  <a:cubicBezTo>
                    <a:pt x="66792" y="11564"/>
                    <a:pt x="66928" y="11490"/>
                    <a:pt x="66999" y="11359"/>
                  </a:cubicBezTo>
                  <a:lnTo>
                    <a:pt x="67119" y="11140"/>
                  </a:lnTo>
                  <a:cubicBezTo>
                    <a:pt x="67210" y="10976"/>
                    <a:pt x="67367" y="10879"/>
                    <a:pt x="67546" y="10879"/>
                  </a:cubicBezTo>
                  <a:cubicBezTo>
                    <a:pt x="67562" y="10879"/>
                    <a:pt x="67579" y="10880"/>
                    <a:pt x="67596" y="10882"/>
                  </a:cubicBezTo>
                  <a:lnTo>
                    <a:pt x="68034" y="10921"/>
                  </a:lnTo>
                  <a:cubicBezTo>
                    <a:pt x="68133" y="10941"/>
                    <a:pt x="68233" y="10961"/>
                    <a:pt x="68312" y="11021"/>
                  </a:cubicBezTo>
                  <a:lnTo>
                    <a:pt x="70281" y="12214"/>
                  </a:lnTo>
                  <a:cubicBezTo>
                    <a:pt x="70480" y="12334"/>
                    <a:pt x="70620" y="12533"/>
                    <a:pt x="70679" y="12771"/>
                  </a:cubicBezTo>
                  <a:lnTo>
                    <a:pt x="70719" y="13110"/>
                  </a:lnTo>
                  <a:cubicBezTo>
                    <a:pt x="70759" y="13328"/>
                    <a:pt x="70659" y="13567"/>
                    <a:pt x="70461" y="13706"/>
                  </a:cubicBezTo>
                  <a:lnTo>
                    <a:pt x="70202" y="13865"/>
                  </a:lnTo>
                  <a:cubicBezTo>
                    <a:pt x="70089" y="13928"/>
                    <a:pt x="69959" y="13968"/>
                    <a:pt x="69829" y="13968"/>
                  </a:cubicBezTo>
                  <a:cubicBezTo>
                    <a:pt x="69754" y="13968"/>
                    <a:pt x="69678" y="13954"/>
                    <a:pt x="69605" y="13925"/>
                  </a:cubicBezTo>
                  <a:lnTo>
                    <a:pt x="68610" y="13527"/>
                  </a:lnTo>
                  <a:cubicBezTo>
                    <a:pt x="68495" y="13475"/>
                    <a:pt x="68363" y="13450"/>
                    <a:pt x="68232" y="13450"/>
                  </a:cubicBezTo>
                  <a:cubicBezTo>
                    <a:pt x="68114" y="13450"/>
                    <a:pt x="67998" y="13470"/>
                    <a:pt x="67894" y="13507"/>
                  </a:cubicBezTo>
                  <a:lnTo>
                    <a:pt x="66044" y="14164"/>
                  </a:lnTo>
                  <a:cubicBezTo>
                    <a:pt x="65806" y="14263"/>
                    <a:pt x="65587" y="14422"/>
                    <a:pt x="65408" y="14641"/>
                  </a:cubicBezTo>
                  <a:lnTo>
                    <a:pt x="64353" y="15994"/>
                  </a:lnTo>
                  <a:cubicBezTo>
                    <a:pt x="64183" y="16199"/>
                    <a:pt x="63939" y="16301"/>
                    <a:pt x="63685" y="16301"/>
                  </a:cubicBezTo>
                  <a:cubicBezTo>
                    <a:pt x="63643" y="16301"/>
                    <a:pt x="63600" y="16298"/>
                    <a:pt x="63558" y="16292"/>
                  </a:cubicBezTo>
                  <a:lnTo>
                    <a:pt x="63100" y="16193"/>
                  </a:lnTo>
                  <a:cubicBezTo>
                    <a:pt x="63045" y="16179"/>
                    <a:pt x="62991" y="16173"/>
                    <a:pt x="62936" y="16173"/>
                  </a:cubicBezTo>
                  <a:cubicBezTo>
                    <a:pt x="62754" y="16173"/>
                    <a:pt x="62577" y="16245"/>
                    <a:pt x="62424" y="16352"/>
                  </a:cubicBezTo>
                  <a:lnTo>
                    <a:pt x="61151" y="17406"/>
                  </a:lnTo>
                  <a:cubicBezTo>
                    <a:pt x="61068" y="17490"/>
                    <a:pt x="60946" y="17524"/>
                    <a:pt x="60819" y="17524"/>
                  </a:cubicBezTo>
                  <a:cubicBezTo>
                    <a:pt x="60764" y="17524"/>
                    <a:pt x="60708" y="17518"/>
                    <a:pt x="60653" y="17506"/>
                  </a:cubicBezTo>
                  <a:lnTo>
                    <a:pt x="58684" y="16830"/>
                  </a:lnTo>
                  <a:cubicBezTo>
                    <a:pt x="58637" y="16811"/>
                    <a:pt x="58589" y="16802"/>
                    <a:pt x="58540" y="16802"/>
                  </a:cubicBezTo>
                  <a:cubicBezTo>
                    <a:pt x="58381" y="16802"/>
                    <a:pt x="58223" y="16896"/>
                    <a:pt x="58147" y="17048"/>
                  </a:cubicBezTo>
                  <a:lnTo>
                    <a:pt x="57689" y="17924"/>
                  </a:lnTo>
                  <a:cubicBezTo>
                    <a:pt x="57570" y="18142"/>
                    <a:pt x="57630" y="18441"/>
                    <a:pt x="57789" y="18620"/>
                  </a:cubicBezTo>
                  <a:lnTo>
                    <a:pt x="58227" y="19038"/>
                  </a:lnTo>
                  <a:cubicBezTo>
                    <a:pt x="58425" y="19276"/>
                    <a:pt x="58425" y="19595"/>
                    <a:pt x="58187" y="19794"/>
                  </a:cubicBezTo>
                  <a:lnTo>
                    <a:pt x="55859" y="21882"/>
                  </a:lnTo>
                  <a:cubicBezTo>
                    <a:pt x="55613" y="22094"/>
                    <a:pt x="55319" y="22227"/>
                    <a:pt x="54992" y="22227"/>
                  </a:cubicBezTo>
                  <a:cubicBezTo>
                    <a:pt x="54950" y="22227"/>
                    <a:pt x="54908" y="22225"/>
                    <a:pt x="54865" y="22220"/>
                  </a:cubicBezTo>
                  <a:lnTo>
                    <a:pt x="51881" y="22101"/>
                  </a:lnTo>
                  <a:cubicBezTo>
                    <a:pt x="51662" y="22101"/>
                    <a:pt x="51423" y="22161"/>
                    <a:pt x="51224" y="22260"/>
                  </a:cubicBezTo>
                  <a:lnTo>
                    <a:pt x="48121" y="23911"/>
                  </a:lnTo>
                  <a:cubicBezTo>
                    <a:pt x="48041" y="23964"/>
                    <a:pt x="47935" y="23991"/>
                    <a:pt x="47832" y="23991"/>
                  </a:cubicBezTo>
                  <a:cubicBezTo>
                    <a:pt x="47781" y="23991"/>
                    <a:pt x="47730" y="23984"/>
                    <a:pt x="47683" y="23971"/>
                  </a:cubicBezTo>
                  <a:cubicBezTo>
                    <a:pt x="47524" y="23951"/>
                    <a:pt x="47385" y="23891"/>
                    <a:pt x="47246" y="23872"/>
                  </a:cubicBezTo>
                  <a:cubicBezTo>
                    <a:pt x="47126" y="23852"/>
                    <a:pt x="47027" y="23712"/>
                    <a:pt x="47027" y="23593"/>
                  </a:cubicBezTo>
                  <a:cubicBezTo>
                    <a:pt x="47027" y="23454"/>
                    <a:pt x="46908" y="23295"/>
                    <a:pt x="46729" y="23275"/>
                  </a:cubicBezTo>
                  <a:lnTo>
                    <a:pt x="43745" y="22917"/>
                  </a:lnTo>
                  <a:cubicBezTo>
                    <a:pt x="43566" y="22917"/>
                    <a:pt x="43446" y="22817"/>
                    <a:pt x="43347" y="22678"/>
                  </a:cubicBezTo>
                  <a:lnTo>
                    <a:pt x="43128" y="22320"/>
                  </a:lnTo>
                  <a:cubicBezTo>
                    <a:pt x="43029" y="22161"/>
                    <a:pt x="42849" y="22061"/>
                    <a:pt x="42670" y="22061"/>
                  </a:cubicBezTo>
                  <a:lnTo>
                    <a:pt x="35071" y="21723"/>
                  </a:lnTo>
                  <a:cubicBezTo>
                    <a:pt x="34853" y="21723"/>
                    <a:pt x="34674" y="21604"/>
                    <a:pt x="34574" y="21405"/>
                  </a:cubicBezTo>
                  <a:lnTo>
                    <a:pt x="33321" y="18680"/>
                  </a:lnTo>
                  <a:cubicBezTo>
                    <a:pt x="33281" y="18540"/>
                    <a:pt x="33162" y="18441"/>
                    <a:pt x="33003" y="18441"/>
                  </a:cubicBezTo>
                  <a:lnTo>
                    <a:pt x="32565" y="18421"/>
                  </a:lnTo>
                  <a:cubicBezTo>
                    <a:pt x="32485" y="18421"/>
                    <a:pt x="32386" y="18401"/>
                    <a:pt x="32306" y="18341"/>
                  </a:cubicBezTo>
                  <a:lnTo>
                    <a:pt x="30277" y="17108"/>
                  </a:lnTo>
                  <a:cubicBezTo>
                    <a:pt x="30178" y="17048"/>
                    <a:pt x="30078" y="17009"/>
                    <a:pt x="29939" y="17009"/>
                  </a:cubicBezTo>
                  <a:lnTo>
                    <a:pt x="26697" y="16849"/>
                  </a:lnTo>
                  <a:cubicBezTo>
                    <a:pt x="26518" y="16849"/>
                    <a:pt x="26398" y="16750"/>
                    <a:pt x="26299" y="16631"/>
                  </a:cubicBezTo>
                  <a:lnTo>
                    <a:pt x="26040" y="16292"/>
                  </a:lnTo>
                  <a:cubicBezTo>
                    <a:pt x="25941" y="16153"/>
                    <a:pt x="25941" y="15994"/>
                    <a:pt x="26040" y="15855"/>
                  </a:cubicBezTo>
                  <a:lnTo>
                    <a:pt x="26498" y="15238"/>
                  </a:lnTo>
                  <a:cubicBezTo>
                    <a:pt x="26537" y="15159"/>
                    <a:pt x="26557" y="15059"/>
                    <a:pt x="26557" y="14960"/>
                  </a:cubicBezTo>
                  <a:lnTo>
                    <a:pt x="26438" y="13269"/>
                  </a:lnTo>
                  <a:cubicBezTo>
                    <a:pt x="26418" y="13149"/>
                    <a:pt x="26339" y="13070"/>
                    <a:pt x="26239" y="13070"/>
                  </a:cubicBezTo>
                  <a:cubicBezTo>
                    <a:pt x="26120" y="13070"/>
                    <a:pt x="26000" y="13010"/>
                    <a:pt x="25921" y="12911"/>
                  </a:cubicBezTo>
                  <a:lnTo>
                    <a:pt x="25105" y="11657"/>
                  </a:lnTo>
                  <a:cubicBezTo>
                    <a:pt x="25046" y="11558"/>
                    <a:pt x="24946" y="11518"/>
                    <a:pt x="24847" y="11478"/>
                  </a:cubicBezTo>
                  <a:lnTo>
                    <a:pt x="24727" y="11458"/>
                  </a:lnTo>
                  <a:cubicBezTo>
                    <a:pt x="24628" y="11439"/>
                    <a:pt x="24548" y="11379"/>
                    <a:pt x="24508" y="11319"/>
                  </a:cubicBezTo>
                  <a:lnTo>
                    <a:pt x="24429" y="11160"/>
                  </a:lnTo>
                  <a:cubicBezTo>
                    <a:pt x="24369" y="11081"/>
                    <a:pt x="24270" y="11041"/>
                    <a:pt x="24170" y="11041"/>
                  </a:cubicBezTo>
                  <a:lnTo>
                    <a:pt x="23494" y="11120"/>
                  </a:lnTo>
                  <a:cubicBezTo>
                    <a:pt x="23394" y="11120"/>
                    <a:pt x="23275" y="11081"/>
                    <a:pt x="23215" y="11021"/>
                  </a:cubicBezTo>
                  <a:lnTo>
                    <a:pt x="21584" y="9469"/>
                  </a:lnTo>
                  <a:cubicBezTo>
                    <a:pt x="21505" y="9390"/>
                    <a:pt x="21525" y="9270"/>
                    <a:pt x="21624" y="9230"/>
                  </a:cubicBezTo>
                  <a:lnTo>
                    <a:pt x="21644" y="9191"/>
                  </a:lnTo>
                  <a:cubicBezTo>
                    <a:pt x="21723" y="9151"/>
                    <a:pt x="21763" y="9051"/>
                    <a:pt x="21723" y="8952"/>
                  </a:cubicBezTo>
                  <a:lnTo>
                    <a:pt x="21684" y="8872"/>
                  </a:lnTo>
                  <a:cubicBezTo>
                    <a:pt x="21668" y="8795"/>
                    <a:pt x="21605" y="8766"/>
                    <a:pt x="21531" y="8766"/>
                  </a:cubicBezTo>
                  <a:cubicBezTo>
                    <a:pt x="21510" y="8766"/>
                    <a:pt x="21487" y="8768"/>
                    <a:pt x="21465" y="8773"/>
                  </a:cubicBezTo>
                  <a:lnTo>
                    <a:pt x="21087" y="8932"/>
                  </a:lnTo>
                  <a:cubicBezTo>
                    <a:pt x="21062" y="8949"/>
                    <a:pt x="21033" y="8955"/>
                    <a:pt x="21002" y="8955"/>
                  </a:cubicBezTo>
                  <a:cubicBezTo>
                    <a:pt x="20960" y="8955"/>
                    <a:pt x="20914" y="8944"/>
                    <a:pt x="20868" y="8932"/>
                  </a:cubicBezTo>
                  <a:lnTo>
                    <a:pt x="20649" y="8833"/>
                  </a:lnTo>
                  <a:cubicBezTo>
                    <a:pt x="20609" y="8803"/>
                    <a:pt x="20565" y="8788"/>
                    <a:pt x="20517" y="8788"/>
                  </a:cubicBezTo>
                  <a:cubicBezTo>
                    <a:pt x="20470" y="8788"/>
                    <a:pt x="20421" y="8803"/>
                    <a:pt x="20371" y="8833"/>
                  </a:cubicBezTo>
                  <a:lnTo>
                    <a:pt x="20033" y="8992"/>
                  </a:lnTo>
                  <a:cubicBezTo>
                    <a:pt x="19953" y="9051"/>
                    <a:pt x="19913" y="9171"/>
                    <a:pt x="19953" y="9270"/>
                  </a:cubicBezTo>
                  <a:lnTo>
                    <a:pt x="19973" y="9330"/>
                  </a:lnTo>
                  <a:cubicBezTo>
                    <a:pt x="20072" y="9549"/>
                    <a:pt x="19973" y="9728"/>
                    <a:pt x="19774" y="9887"/>
                  </a:cubicBezTo>
                  <a:lnTo>
                    <a:pt x="19615" y="10066"/>
                  </a:lnTo>
                  <a:cubicBezTo>
                    <a:pt x="19535" y="10146"/>
                    <a:pt x="19456" y="10165"/>
                    <a:pt x="19356" y="10165"/>
                  </a:cubicBezTo>
                  <a:lnTo>
                    <a:pt x="18958" y="10146"/>
                  </a:lnTo>
                  <a:cubicBezTo>
                    <a:pt x="18680" y="10146"/>
                    <a:pt x="18421" y="10325"/>
                    <a:pt x="18322" y="10583"/>
                  </a:cubicBezTo>
                  <a:lnTo>
                    <a:pt x="18183" y="10941"/>
                  </a:lnTo>
                  <a:cubicBezTo>
                    <a:pt x="18143" y="11061"/>
                    <a:pt x="18143" y="11180"/>
                    <a:pt x="18163" y="11319"/>
                  </a:cubicBezTo>
                  <a:lnTo>
                    <a:pt x="18342" y="12115"/>
                  </a:lnTo>
                  <a:cubicBezTo>
                    <a:pt x="18421" y="12374"/>
                    <a:pt x="18282" y="12652"/>
                    <a:pt x="18043" y="12811"/>
                  </a:cubicBezTo>
                  <a:lnTo>
                    <a:pt x="17327" y="13229"/>
                  </a:lnTo>
                  <a:cubicBezTo>
                    <a:pt x="17291" y="13247"/>
                    <a:pt x="17252" y="13257"/>
                    <a:pt x="17211" y="13257"/>
                  </a:cubicBezTo>
                  <a:cubicBezTo>
                    <a:pt x="17162" y="13257"/>
                    <a:pt x="17112" y="13242"/>
                    <a:pt x="17069" y="13209"/>
                  </a:cubicBezTo>
                  <a:cubicBezTo>
                    <a:pt x="16964" y="13087"/>
                    <a:pt x="16814" y="13026"/>
                    <a:pt x="16658" y="13026"/>
                  </a:cubicBezTo>
                  <a:cubicBezTo>
                    <a:pt x="16636" y="13026"/>
                    <a:pt x="16614" y="13028"/>
                    <a:pt x="16591" y="13030"/>
                  </a:cubicBezTo>
                  <a:lnTo>
                    <a:pt x="15795" y="13129"/>
                  </a:lnTo>
                  <a:lnTo>
                    <a:pt x="15000" y="12771"/>
                  </a:lnTo>
                  <a:cubicBezTo>
                    <a:pt x="14917" y="12735"/>
                    <a:pt x="14830" y="12718"/>
                    <a:pt x="14745" y="12718"/>
                  </a:cubicBezTo>
                  <a:cubicBezTo>
                    <a:pt x="14503" y="12718"/>
                    <a:pt x="14273" y="12859"/>
                    <a:pt x="14184" y="13110"/>
                  </a:cubicBezTo>
                  <a:cubicBezTo>
                    <a:pt x="13866" y="13865"/>
                    <a:pt x="13309" y="15218"/>
                    <a:pt x="13090" y="15716"/>
                  </a:cubicBezTo>
                  <a:cubicBezTo>
                    <a:pt x="13050" y="15835"/>
                    <a:pt x="13090" y="15954"/>
                    <a:pt x="13209" y="16014"/>
                  </a:cubicBezTo>
                  <a:cubicBezTo>
                    <a:pt x="13468" y="16133"/>
                    <a:pt x="13607" y="16412"/>
                    <a:pt x="13548" y="16690"/>
                  </a:cubicBezTo>
                  <a:lnTo>
                    <a:pt x="13508" y="16810"/>
                  </a:lnTo>
                  <a:cubicBezTo>
                    <a:pt x="13496" y="16858"/>
                    <a:pt x="13462" y="16884"/>
                    <a:pt x="13428" y="16884"/>
                  </a:cubicBezTo>
                  <a:cubicBezTo>
                    <a:pt x="13406" y="16884"/>
                    <a:pt x="13384" y="16873"/>
                    <a:pt x="13369" y="16849"/>
                  </a:cubicBezTo>
                  <a:cubicBezTo>
                    <a:pt x="13243" y="16738"/>
                    <a:pt x="13068" y="16675"/>
                    <a:pt x="12893" y="16675"/>
                  </a:cubicBezTo>
                  <a:cubicBezTo>
                    <a:pt x="12818" y="16675"/>
                    <a:pt x="12744" y="16686"/>
                    <a:pt x="12672" y="16710"/>
                  </a:cubicBezTo>
                  <a:lnTo>
                    <a:pt x="12633" y="16730"/>
                  </a:lnTo>
                  <a:lnTo>
                    <a:pt x="12613" y="16710"/>
                  </a:lnTo>
                  <a:cubicBezTo>
                    <a:pt x="12465" y="16563"/>
                    <a:pt x="12263" y="16481"/>
                    <a:pt x="12055" y="16481"/>
                  </a:cubicBezTo>
                  <a:cubicBezTo>
                    <a:pt x="11982" y="16481"/>
                    <a:pt x="11909" y="16491"/>
                    <a:pt x="11837" y="16511"/>
                  </a:cubicBezTo>
                  <a:lnTo>
                    <a:pt x="9649" y="17108"/>
                  </a:lnTo>
                  <a:cubicBezTo>
                    <a:pt x="9509" y="17128"/>
                    <a:pt x="9410" y="17307"/>
                    <a:pt x="9470" y="17446"/>
                  </a:cubicBezTo>
                  <a:lnTo>
                    <a:pt x="10464" y="17585"/>
                  </a:lnTo>
                  <a:cubicBezTo>
                    <a:pt x="10305" y="17725"/>
                    <a:pt x="10245" y="17944"/>
                    <a:pt x="10305" y="18142"/>
                  </a:cubicBezTo>
                  <a:lnTo>
                    <a:pt x="10902" y="20609"/>
                  </a:lnTo>
                  <a:cubicBezTo>
                    <a:pt x="10902" y="20689"/>
                    <a:pt x="10862" y="20728"/>
                    <a:pt x="10802" y="20728"/>
                  </a:cubicBezTo>
                  <a:cubicBezTo>
                    <a:pt x="10564" y="20728"/>
                    <a:pt x="10405" y="21027"/>
                    <a:pt x="10584" y="21206"/>
                  </a:cubicBezTo>
                  <a:lnTo>
                    <a:pt x="10603" y="21226"/>
                  </a:lnTo>
                  <a:cubicBezTo>
                    <a:pt x="10683" y="21266"/>
                    <a:pt x="10226" y="21365"/>
                    <a:pt x="10086" y="21385"/>
                  </a:cubicBezTo>
                  <a:lnTo>
                    <a:pt x="10007" y="21465"/>
                  </a:lnTo>
                  <a:cubicBezTo>
                    <a:pt x="9927" y="21604"/>
                    <a:pt x="9907" y="21803"/>
                    <a:pt x="9967" y="22061"/>
                  </a:cubicBezTo>
                  <a:lnTo>
                    <a:pt x="10086" y="22678"/>
                  </a:lnTo>
                  <a:cubicBezTo>
                    <a:pt x="10122" y="22858"/>
                    <a:pt x="9995" y="23022"/>
                    <a:pt x="9823" y="23022"/>
                  </a:cubicBezTo>
                  <a:cubicBezTo>
                    <a:pt x="9805" y="23022"/>
                    <a:pt x="9787" y="23020"/>
                    <a:pt x="9768" y="23016"/>
                  </a:cubicBezTo>
                  <a:cubicBezTo>
                    <a:pt x="9748" y="23014"/>
                    <a:pt x="9728" y="23013"/>
                    <a:pt x="9708" y="23013"/>
                  </a:cubicBezTo>
                  <a:cubicBezTo>
                    <a:pt x="9523" y="23013"/>
                    <a:pt x="9320" y="23096"/>
                    <a:pt x="9231" y="23275"/>
                  </a:cubicBezTo>
                  <a:lnTo>
                    <a:pt x="9211" y="23295"/>
                  </a:lnTo>
                  <a:cubicBezTo>
                    <a:pt x="9131" y="23454"/>
                    <a:pt x="9012" y="23573"/>
                    <a:pt x="8873" y="23613"/>
                  </a:cubicBezTo>
                  <a:cubicBezTo>
                    <a:pt x="8395" y="23812"/>
                    <a:pt x="7381" y="24210"/>
                    <a:pt x="7321" y="24250"/>
                  </a:cubicBezTo>
                  <a:cubicBezTo>
                    <a:pt x="7301" y="24269"/>
                    <a:pt x="7222" y="24369"/>
                    <a:pt x="7142" y="24508"/>
                  </a:cubicBezTo>
                  <a:cubicBezTo>
                    <a:pt x="7003" y="24806"/>
                    <a:pt x="6705" y="24986"/>
                    <a:pt x="6366" y="24986"/>
                  </a:cubicBezTo>
                  <a:lnTo>
                    <a:pt x="5471" y="24986"/>
                  </a:lnTo>
                  <a:cubicBezTo>
                    <a:pt x="5113" y="24986"/>
                    <a:pt x="4775" y="25204"/>
                    <a:pt x="4656" y="25543"/>
                  </a:cubicBezTo>
                  <a:lnTo>
                    <a:pt x="4516" y="25881"/>
                  </a:lnTo>
                  <a:cubicBezTo>
                    <a:pt x="4377" y="26179"/>
                    <a:pt x="4118" y="26378"/>
                    <a:pt x="3820" y="26438"/>
                  </a:cubicBezTo>
                  <a:lnTo>
                    <a:pt x="3223" y="26537"/>
                  </a:lnTo>
                  <a:cubicBezTo>
                    <a:pt x="3144" y="26537"/>
                    <a:pt x="3064" y="26477"/>
                    <a:pt x="3223" y="26398"/>
                  </a:cubicBezTo>
                  <a:cubicBezTo>
                    <a:pt x="3192" y="26160"/>
                    <a:pt x="2982" y="25985"/>
                    <a:pt x="2747" y="25985"/>
                  </a:cubicBezTo>
                  <a:cubicBezTo>
                    <a:pt x="2688" y="25985"/>
                    <a:pt x="2627" y="25996"/>
                    <a:pt x="2567" y="26020"/>
                  </a:cubicBezTo>
                  <a:lnTo>
                    <a:pt x="2030" y="26259"/>
                  </a:lnTo>
                  <a:cubicBezTo>
                    <a:pt x="1930" y="26298"/>
                    <a:pt x="1831" y="26358"/>
                    <a:pt x="1751" y="26458"/>
                  </a:cubicBezTo>
                  <a:lnTo>
                    <a:pt x="1672" y="26557"/>
                  </a:lnTo>
                  <a:cubicBezTo>
                    <a:pt x="1612" y="26676"/>
                    <a:pt x="1453" y="26716"/>
                    <a:pt x="1333" y="26756"/>
                  </a:cubicBezTo>
                  <a:lnTo>
                    <a:pt x="1035" y="26776"/>
                  </a:lnTo>
                  <a:cubicBezTo>
                    <a:pt x="677" y="26796"/>
                    <a:pt x="438" y="27114"/>
                    <a:pt x="498" y="27472"/>
                  </a:cubicBezTo>
                  <a:lnTo>
                    <a:pt x="578" y="27810"/>
                  </a:lnTo>
                  <a:cubicBezTo>
                    <a:pt x="637" y="27989"/>
                    <a:pt x="498" y="28168"/>
                    <a:pt x="339" y="28208"/>
                  </a:cubicBezTo>
                  <a:cubicBezTo>
                    <a:pt x="140" y="28288"/>
                    <a:pt x="1" y="28467"/>
                    <a:pt x="40" y="28666"/>
                  </a:cubicBezTo>
                  <a:lnTo>
                    <a:pt x="160" y="29660"/>
                  </a:lnTo>
                  <a:cubicBezTo>
                    <a:pt x="180" y="29740"/>
                    <a:pt x="239" y="29800"/>
                    <a:pt x="299" y="29859"/>
                  </a:cubicBezTo>
                  <a:lnTo>
                    <a:pt x="478" y="29959"/>
                  </a:lnTo>
                  <a:cubicBezTo>
                    <a:pt x="515" y="29983"/>
                    <a:pt x="557" y="29994"/>
                    <a:pt x="600" y="29994"/>
                  </a:cubicBezTo>
                  <a:cubicBezTo>
                    <a:pt x="698" y="29994"/>
                    <a:pt x="801" y="29936"/>
                    <a:pt x="856" y="29839"/>
                  </a:cubicBezTo>
                  <a:cubicBezTo>
                    <a:pt x="886" y="29734"/>
                    <a:pt x="996" y="29685"/>
                    <a:pt x="1100" y="29685"/>
                  </a:cubicBezTo>
                  <a:cubicBezTo>
                    <a:pt x="1133" y="29685"/>
                    <a:pt x="1165" y="29690"/>
                    <a:pt x="1194" y="29700"/>
                  </a:cubicBezTo>
                  <a:lnTo>
                    <a:pt x="1791" y="29979"/>
                  </a:lnTo>
                  <a:cubicBezTo>
                    <a:pt x="1871" y="29998"/>
                    <a:pt x="1930" y="30078"/>
                    <a:pt x="1950" y="30158"/>
                  </a:cubicBezTo>
                  <a:lnTo>
                    <a:pt x="2348" y="31451"/>
                  </a:lnTo>
                  <a:cubicBezTo>
                    <a:pt x="2477" y="31911"/>
                    <a:pt x="2128" y="32355"/>
                    <a:pt x="1681" y="32355"/>
                  </a:cubicBezTo>
                  <a:cubicBezTo>
                    <a:pt x="1645" y="32355"/>
                    <a:pt x="1609" y="32352"/>
                    <a:pt x="1572" y="32346"/>
                  </a:cubicBezTo>
                  <a:lnTo>
                    <a:pt x="1552" y="32346"/>
                  </a:lnTo>
                  <a:cubicBezTo>
                    <a:pt x="1537" y="32344"/>
                    <a:pt x="1522" y="32343"/>
                    <a:pt x="1508" y="32343"/>
                  </a:cubicBezTo>
                  <a:cubicBezTo>
                    <a:pt x="1350" y="32343"/>
                    <a:pt x="1231" y="32441"/>
                    <a:pt x="1194" y="32604"/>
                  </a:cubicBezTo>
                  <a:cubicBezTo>
                    <a:pt x="1174" y="32744"/>
                    <a:pt x="1254" y="32883"/>
                    <a:pt x="1393" y="32943"/>
                  </a:cubicBezTo>
                  <a:lnTo>
                    <a:pt x="3223" y="33559"/>
                  </a:lnTo>
                  <a:cubicBezTo>
                    <a:pt x="3482" y="33659"/>
                    <a:pt x="3681" y="33917"/>
                    <a:pt x="3681" y="34216"/>
                  </a:cubicBezTo>
                  <a:lnTo>
                    <a:pt x="3681" y="34554"/>
                  </a:lnTo>
                  <a:cubicBezTo>
                    <a:pt x="3681" y="35051"/>
                    <a:pt x="4039" y="35509"/>
                    <a:pt x="4536" y="35608"/>
                  </a:cubicBezTo>
                  <a:lnTo>
                    <a:pt x="6227" y="36006"/>
                  </a:lnTo>
                  <a:cubicBezTo>
                    <a:pt x="6545" y="36125"/>
                    <a:pt x="6744" y="36404"/>
                    <a:pt x="6804" y="36722"/>
                  </a:cubicBezTo>
                  <a:lnTo>
                    <a:pt x="6864" y="37299"/>
                  </a:lnTo>
                  <a:cubicBezTo>
                    <a:pt x="6903" y="37498"/>
                    <a:pt x="7023" y="37657"/>
                    <a:pt x="7222" y="37757"/>
                  </a:cubicBezTo>
                  <a:lnTo>
                    <a:pt x="8037" y="38155"/>
                  </a:lnTo>
                  <a:cubicBezTo>
                    <a:pt x="8216" y="38254"/>
                    <a:pt x="8256" y="38513"/>
                    <a:pt x="8117" y="38632"/>
                  </a:cubicBezTo>
                  <a:lnTo>
                    <a:pt x="8057" y="38692"/>
                  </a:lnTo>
                  <a:cubicBezTo>
                    <a:pt x="7838" y="38910"/>
                    <a:pt x="7739" y="39249"/>
                    <a:pt x="7818" y="39567"/>
                  </a:cubicBezTo>
                  <a:lnTo>
                    <a:pt x="8037" y="40422"/>
                  </a:lnTo>
                  <a:cubicBezTo>
                    <a:pt x="8097" y="40601"/>
                    <a:pt x="8236" y="40741"/>
                    <a:pt x="8435" y="40800"/>
                  </a:cubicBezTo>
                  <a:lnTo>
                    <a:pt x="8614" y="40860"/>
                  </a:lnTo>
                  <a:cubicBezTo>
                    <a:pt x="8793" y="40900"/>
                    <a:pt x="8913" y="41059"/>
                    <a:pt x="8952" y="41198"/>
                  </a:cubicBezTo>
                  <a:lnTo>
                    <a:pt x="9131" y="41636"/>
                  </a:lnTo>
                  <a:cubicBezTo>
                    <a:pt x="9191" y="41795"/>
                    <a:pt x="9112" y="41974"/>
                    <a:pt x="8952" y="42014"/>
                  </a:cubicBezTo>
                  <a:lnTo>
                    <a:pt x="8555" y="42173"/>
                  </a:lnTo>
                  <a:cubicBezTo>
                    <a:pt x="8488" y="42206"/>
                    <a:pt x="8420" y="42221"/>
                    <a:pt x="8353" y="42221"/>
                  </a:cubicBezTo>
                  <a:cubicBezTo>
                    <a:pt x="8219" y="42221"/>
                    <a:pt x="8090" y="42160"/>
                    <a:pt x="7998" y="42053"/>
                  </a:cubicBezTo>
                  <a:lnTo>
                    <a:pt x="7898" y="41954"/>
                  </a:lnTo>
                  <a:cubicBezTo>
                    <a:pt x="7830" y="41886"/>
                    <a:pt x="7745" y="41846"/>
                    <a:pt x="7659" y="41846"/>
                  </a:cubicBezTo>
                  <a:cubicBezTo>
                    <a:pt x="7619" y="41846"/>
                    <a:pt x="7578" y="41855"/>
                    <a:pt x="7540" y="41874"/>
                  </a:cubicBezTo>
                  <a:cubicBezTo>
                    <a:pt x="7361" y="41914"/>
                    <a:pt x="7301" y="42153"/>
                    <a:pt x="7401" y="42292"/>
                  </a:cubicBezTo>
                  <a:lnTo>
                    <a:pt x="7799" y="43008"/>
                  </a:lnTo>
                  <a:cubicBezTo>
                    <a:pt x="7838" y="43108"/>
                    <a:pt x="7858" y="43207"/>
                    <a:pt x="7838" y="43307"/>
                  </a:cubicBezTo>
                  <a:lnTo>
                    <a:pt x="7818" y="43486"/>
                  </a:lnTo>
                  <a:cubicBezTo>
                    <a:pt x="7799" y="43645"/>
                    <a:pt x="7838" y="43784"/>
                    <a:pt x="7958" y="43884"/>
                  </a:cubicBezTo>
                  <a:lnTo>
                    <a:pt x="11101" y="46688"/>
                  </a:lnTo>
                  <a:cubicBezTo>
                    <a:pt x="11196" y="46784"/>
                    <a:pt x="11317" y="46829"/>
                    <a:pt x="11438" y="46829"/>
                  </a:cubicBezTo>
                  <a:cubicBezTo>
                    <a:pt x="11620" y="46829"/>
                    <a:pt x="11801" y="46728"/>
                    <a:pt x="11896" y="46549"/>
                  </a:cubicBezTo>
                  <a:cubicBezTo>
                    <a:pt x="11990" y="46332"/>
                    <a:pt x="12205" y="46199"/>
                    <a:pt x="12437" y="46199"/>
                  </a:cubicBezTo>
                  <a:cubicBezTo>
                    <a:pt x="12501" y="46199"/>
                    <a:pt x="12567" y="46209"/>
                    <a:pt x="12633" y="46231"/>
                  </a:cubicBezTo>
                  <a:cubicBezTo>
                    <a:pt x="12732" y="46251"/>
                    <a:pt x="12812" y="46271"/>
                    <a:pt x="12891" y="46291"/>
                  </a:cubicBezTo>
                  <a:cubicBezTo>
                    <a:pt x="13030" y="46350"/>
                    <a:pt x="13130" y="46490"/>
                    <a:pt x="13110" y="46649"/>
                  </a:cubicBezTo>
                  <a:cubicBezTo>
                    <a:pt x="13090" y="46828"/>
                    <a:pt x="13190" y="46987"/>
                    <a:pt x="13329" y="47066"/>
                  </a:cubicBezTo>
                  <a:cubicBezTo>
                    <a:pt x="13727" y="47265"/>
                    <a:pt x="14562" y="47683"/>
                    <a:pt x="14920" y="47882"/>
                  </a:cubicBezTo>
                  <a:cubicBezTo>
                    <a:pt x="15059" y="47962"/>
                    <a:pt x="15119" y="48081"/>
                    <a:pt x="15159" y="48220"/>
                  </a:cubicBezTo>
                  <a:cubicBezTo>
                    <a:pt x="15173" y="48389"/>
                    <a:pt x="15337" y="48498"/>
                    <a:pt x="15501" y="48498"/>
                  </a:cubicBezTo>
                  <a:cubicBezTo>
                    <a:pt x="15570" y="48498"/>
                    <a:pt x="15638" y="48480"/>
                    <a:pt x="15696" y="48439"/>
                  </a:cubicBezTo>
                  <a:cubicBezTo>
                    <a:pt x="15749" y="48386"/>
                    <a:pt x="15811" y="48368"/>
                    <a:pt x="15876" y="48368"/>
                  </a:cubicBezTo>
                  <a:cubicBezTo>
                    <a:pt x="15908" y="48368"/>
                    <a:pt x="15941" y="48373"/>
                    <a:pt x="15974" y="48379"/>
                  </a:cubicBezTo>
                  <a:cubicBezTo>
                    <a:pt x="16074" y="48439"/>
                    <a:pt x="16154" y="48539"/>
                    <a:pt x="16154" y="48658"/>
                  </a:cubicBezTo>
                  <a:lnTo>
                    <a:pt x="16154" y="48956"/>
                  </a:lnTo>
                  <a:cubicBezTo>
                    <a:pt x="16154" y="49275"/>
                    <a:pt x="16293" y="49573"/>
                    <a:pt x="16571" y="49752"/>
                  </a:cubicBezTo>
                  <a:cubicBezTo>
                    <a:pt x="16671" y="49832"/>
                    <a:pt x="16770" y="49891"/>
                    <a:pt x="16870" y="49951"/>
                  </a:cubicBezTo>
                  <a:cubicBezTo>
                    <a:pt x="16939" y="49991"/>
                    <a:pt x="17019" y="50011"/>
                    <a:pt x="17096" y="50011"/>
                  </a:cubicBezTo>
                  <a:cubicBezTo>
                    <a:pt x="17173" y="50011"/>
                    <a:pt x="17248" y="49991"/>
                    <a:pt x="17307" y="49951"/>
                  </a:cubicBezTo>
                  <a:cubicBezTo>
                    <a:pt x="17341" y="49932"/>
                    <a:pt x="17376" y="49923"/>
                    <a:pt x="17409" y="49923"/>
                  </a:cubicBezTo>
                  <a:cubicBezTo>
                    <a:pt x="17513" y="49923"/>
                    <a:pt x="17601" y="50009"/>
                    <a:pt x="17586" y="50130"/>
                  </a:cubicBezTo>
                  <a:cubicBezTo>
                    <a:pt x="17568" y="50322"/>
                    <a:pt x="17719" y="50499"/>
                    <a:pt x="17905" y="50499"/>
                  </a:cubicBezTo>
                  <a:cubicBezTo>
                    <a:pt x="17930" y="50499"/>
                    <a:pt x="17957" y="50495"/>
                    <a:pt x="17984" y="50488"/>
                  </a:cubicBezTo>
                  <a:lnTo>
                    <a:pt x="18103" y="50468"/>
                  </a:lnTo>
                  <a:cubicBezTo>
                    <a:pt x="18130" y="50464"/>
                    <a:pt x="18158" y="50461"/>
                    <a:pt x="18184" y="50461"/>
                  </a:cubicBezTo>
                  <a:cubicBezTo>
                    <a:pt x="18390" y="50461"/>
                    <a:pt x="18565" y="50593"/>
                    <a:pt x="18600" y="50786"/>
                  </a:cubicBezTo>
                  <a:lnTo>
                    <a:pt x="18700" y="51244"/>
                  </a:lnTo>
                  <a:cubicBezTo>
                    <a:pt x="18740" y="51324"/>
                    <a:pt x="18779" y="51363"/>
                    <a:pt x="18839" y="51363"/>
                  </a:cubicBezTo>
                  <a:cubicBezTo>
                    <a:pt x="18899" y="51363"/>
                    <a:pt x="18998" y="51324"/>
                    <a:pt x="18998" y="51224"/>
                  </a:cubicBezTo>
                  <a:cubicBezTo>
                    <a:pt x="18998" y="51065"/>
                    <a:pt x="19058" y="50846"/>
                    <a:pt x="19177" y="50826"/>
                  </a:cubicBezTo>
                  <a:lnTo>
                    <a:pt x="19197" y="51065"/>
                  </a:lnTo>
                  <a:cubicBezTo>
                    <a:pt x="19237" y="51184"/>
                    <a:pt x="19297" y="51284"/>
                    <a:pt x="19436" y="51324"/>
                  </a:cubicBezTo>
                  <a:cubicBezTo>
                    <a:pt x="19449" y="51326"/>
                    <a:pt x="19462" y="51327"/>
                    <a:pt x="19475" y="51327"/>
                  </a:cubicBezTo>
                  <a:cubicBezTo>
                    <a:pt x="19565" y="51327"/>
                    <a:pt x="19660" y="51271"/>
                    <a:pt x="19694" y="51184"/>
                  </a:cubicBezTo>
                  <a:cubicBezTo>
                    <a:pt x="19754" y="51125"/>
                    <a:pt x="19834" y="51025"/>
                    <a:pt x="19893" y="50985"/>
                  </a:cubicBezTo>
                  <a:cubicBezTo>
                    <a:pt x="19896" y="50985"/>
                    <a:pt x="19899" y="50984"/>
                    <a:pt x="19902" y="50984"/>
                  </a:cubicBezTo>
                  <a:cubicBezTo>
                    <a:pt x="19992" y="50984"/>
                    <a:pt x="20278" y="51272"/>
                    <a:pt x="20490" y="51522"/>
                  </a:cubicBezTo>
                  <a:cubicBezTo>
                    <a:pt x="20620" y="51652"/>
                    <a:pt x="20792" y="51714"/>
                    <a:pt x="20967" y="51714"/>
                  </a:cubicBezTo>
                  <a:cubicBezTo>
                    <a:pt x="21061" y="51714"/>
                    <a:pt x="21156" y="51696"/>
                    <a:pt x="21246" y="51662"/>
                  </a:cubicBezTo>
                  <a:cubicBezTo>
                    <a:pt x="21723" y="51483"/>
                    <a:pt x="22440" y="51184"/>
                    <a:pt x="22837" y="51025"/>
                  </a:cubicBezTo>
                  <a:cubicBezTo>
                    <a:pt x="22883" y="51010"/>
                    <a:pt x="22930" y="51002"/>
                    <a:pt x="22976" y="51002"/>
                  </a:cubicBezTo>
                  <a:cubicBezTo>
                    <a:pt x="23109" y="51002"/>
                    <a:pt x="23231" y="51066"/>
                    <a:pt x="23275" y="51184"/>
                  </a:cubicBezTo>
                  <a:cubicBezTo>
                    <a:pt x="23335" y="51284"/>
                    <a:pt x="23335" y="51383"/>
                    <a:pt x="23315" y="51483"/>
                  </a:cubicBezTo>
                  <a:cubicBezTo>
                    <a:pt x="23235" y="51622"/>
                    <a:pt x="23156" y="51841"/>
                    <a:pt x="23116" y="52020"/>
                  </a:cubicBezTo>
                  <a:cubicBezTo>
                    <a:pt x="23036" y="52159"/>
                    <a:pt x="23076" y="52338"/>
                    <a:pt x="23176" y="52457"/>
                  </a:cubicBezTo>
                  <a:cubicBezTo>
                    <a:pt x="23233" y="52521"/>
                    <a:pt x="23300" y="52550"/>
                    <a:pt x="23363" y="52550"/>
                  </a:cubicBezTo>
                  <a:cubicBezTo>
                    <a:pt x="23475" y="52550"/>
                    <a:pt x="23573" y="52459"/>
                    <a:pt x="23573" y="52318"/>
                  </a:cubicBezTo>
                  <a:lnTo>
                    <a:pt x="23573" y="52239"/>
                  </a:lnTo>
                  <a:cubicBezTo>
                    <a:pt x="23573" y="52159"/>
                    <a:pt x="23573" y="52060"/>
                    <a:pt x="23633" y="51980"/>
                  </a:cubicBezTo>
                  <a:lnTo>
                    <a:pt x="24031" y="51224"/>
                  </a:lnTo>
                  <a:cubicBezTo>
                    <a:pt x="24071" y="51125"/>
                    <a:pt x="24170" y="51025"/>
                    <a:pt x="24270" y="50965"/>
                  </a:cubicBezTo>
                  <a:lnTo>
                    <a:pt x="24528" y="50826"/>
                  </a:lnTo>
                  <a:cubicBezTo>
                    <a:pt x="24611" y="50757"/>
                    <a:pt x="24722" y="50736"/>
                    <a:pt x="24828" y="50736"/>
                  </a:cubicBezTo>
                  <a:cubicBezTo>
                    <a:pt x="24876" y="50736"/>
                    <a:pt x="24923" y="50740"/>
                    <a:pt x="24966" y="50747"/>
                  </a:cubicBezTo>
                  <a:lnTo>
                    <a:pt x="26915" y="51184"/>
                  </a:lnTo>
                  <a:cubicBezTo>
                    <a:pt x="26995" y="51184"/>
                    <a:pt x="27035" y="51224"/>
                    <a:pt x="27094" y="51264"/>
                  </a:cubicBezTo>
                  <a:cubicBezTo>
                    <a:pt x="27246" y="51415"/>
                    <a:pt x="27741" y="51784"/>
                    <a:pt x="27822" y="51784"/>
                  </a:cubicBezTo>
                  <a:cubicBezTo>
                    <a:pt x="27826" y="51784"/>
                    <a:pt x="27829" y="51783"/>
                    <a:pt x="27831" y="51781"/>
                  </a:cubicBezTo>
                  <a:cubicBezTo>
                    <a:pt x="27910" y="51761"/>
                    <a:pt x="28885" y="51642"/>
                    <a:pt x="28885" y="51642"/>
                  </a:cubicBezTo>
                  <a:lnTo>
                    <a:pt x="29223" y="51343"/>
                  </a:lnTo>
                  <a:lnTo>
                    <a:pt x="29183" y="51224"/>
                  </a:lnTo>
                  <a:cubicBezTo>
                    <a:pt x="29044" y="51085"/>
                    <a:pt x="29084" y="50866"/>
                    <a:pt x="29243" y="50767"/>
                  </a:cubicBezTo>
                  <a:cubicBezTo>
                    <a:pt x="29243" y="50767"/>
                    <a:pt x="29521" y="50627"/>
                    <a:pt x="29700" y="50528"/>
                  </a:cubicBezTo>
                  <a:cubicBezTo>
                    <a:pt x="29800" y="50468"/>
                    <a:pt x="29840" y="50369"/>
                    <a:pt x="29879" y="50269"/>
                  </a:cubicBezTo>
                  <a:cubicBezTo>
                    <a:pt x="29899" y="50070"/>
                    <a:pt x="30039" y="49951"/>
                    <a:pt x="30218" y="49931"/>
                  </a:cubicBezTo>
                  <a:lnTo>
                    <a:pt x="30615" y="49871"/>
                  </a:lnTo>
                  <a:cubicBezTo>
                    <a:pt x="30874" y="49851"/>
                    <a:pt x="31073" y="49672"/>
                    <a:pt x="31133" y="49454"/>
                  </a:cubicBezTo>
                  <a:lnTo>
                    <a:pt x="31232" y="49135"/>
                  </a:lnTo>
                  <a:cubicBezTo>
                    <a:pt x="31292" y="49036"/>
                    <a:pt x="31332" y="48936"/>
                    <a:pt x="31431" y="48857"/>
                  </a:cubicBezTo>
                  <a:lnTo>
                    <a:pt x="31590" y="48737"/>
                  </a:lnTo>
                  <a:cubicBezTo>
                    <a:pt x="31697" y="48642"/>
                    <a:pt x="31825" y="48597"/>
                    <a:pt x="31953" y="48597"/>
                  </a:cubicBezTo>
                  <a:cubicBezTo>
                    <a:pt x="32040" y="48597"/>
                    <a:pt x="32127" y="48618"/>
                    <a:pt x="32207" y="48658"/>
                  </a:cubicBezTo>
                  <a:lnTo>
                    <a:pt x="32883" y="48996"/>
                  </a:lnTo>
                  <a:cubicBezTo>
                    <a:pt x="32931" y="49023"/>
                    <a:pt x="32983" y="49035"/>
                    <a:pt x="33036" y="49035"/>
                  </a:cubicBezTo>
                  <a:cubicBezTo>
                    <a:pt x="33179" y="49035"/>
                    <a:pt x="33322" y="48943"/>
                    <a:pt x="33381" y="48797"/>
                  </a:cubicBezTo>
                  <a:lnTo>
                    <a:pt x="33400" y="48757"/>
                  </a:lnTo>
                  <a:cubicBezTo>
                    <a:pt x="33420" y="48658"/>
                    <a:pt x="33500" y="48598"/>
                    <a:pt x="33580" y="48558"/>
                  </a:cubicBezTo>
                  <a:lnTo>
                    <a:pt x="34017" y="48359"/>
                  </a:lnTo>
                  <a:cubicBezTo>
                    <a:pt x="34066" y="48338"/>
                    <a:pt x="34117" y="48328"/>
                    <a:pt x="34166" y="48328"/>
                  </a:cubicBezTo>
                  <a:cubicBezTo>
                    <a:pt x="34296" y="48328"/>
                    <a:pt x="34417" y="48398"/>
                    <a:pt x="34475" y="48499"/>
                  </a:cubicBezTo>
                  <a:lnTo>
                    <a:pt x="34514" y="48578"/>
                  </a:lnTo>
                  <a:cubicBezTo>
                    <a:pt x="34574" y="48678"/>
                    <a:pt x="34554" y="48777"/>
                    <a:pt x="34475" y="48857"/>
                  </a:cubicBezTo>
                  <a:lnTo>
                    <a:pt x="34355" y="48956"/>
                  </a:lnTo>
                  <a:cubicBezTo>
                    <a:pt x="34276" y="48996"/>
                    <a:pt x="34256" y="49076"/>
                    <a:pt x="34216" y="49155"/>
                  </a:cubicBezTo>
                  <a:lnTo>
                    <a:pt x="34196" y="49255"/>
                  </a:lnTo>
                  <a:cubicBezTo>
                    <a:pt x="34182" y="49341"/>
                    <a:pt x="34240" y="49406"/>
                    <a:pt x="34311" y="49406"/>
                  </a:cubicBezTo>
                  <a:cubicBezTo>
                    <a:pt x="34338" y="49406"/>
                    <a:pt x="34367" y="49396"/>
                    <a:pt x="34395" y="49374"/>
                  </a:cubicBezTo>
                  <a:lnTo>
                    <a:pt x="34674" y="49155"/>
                  </a:lnTo>
                  <a:cubicBezTo>
                    <a:pt x="34704" y="49124"/>
                    <a:pt x="34743" y="49111"/>
                    <a:pt x="34782" y="49111"/>
                  </a:cubicBezTo>
                  <a:cubicBezTo>
                    <a:pt x="34869" y="49111"/>
                    <a:pt x="34958" y="49178"/>
                    <a:pt x="34972" y="49275"/>
                  </a:cubicBezTo>
                  <a:lnTo>
                    <a:pt x="34992" y="49454"/>
                  </a:lnTo>
                  <a:cubicBezTo>
                    <a:pt x="34992" y="49533"/>
                    <a:pt x="34992" y="49573"/>
                    <a:pt x="34952" y="49633"/>
                  </a:cubicBezTo>
                  <a:lnTo>
                    <a:pt x="34554" y="50090"/>
                  </a:lnTo>
                  <a:cubicBezTo>
                    <a:pt x="34475" y="50190"/>
                    <a:pt x="34475" y="50329"/>
                    <a:pt x="34574" y="50389"/>
                  </a:cubicBezTo>
                  <a:cubicBezTo>
                    <a:pt x="34614" y="50428"/>
                    <a:pt x="34664" y="50448"/>
                    <a:pt x="34713" y="50448"/>
                  </a:cubicBezTo>
                  <a:cubicBezTo>
                    <a:pt x="34763" y="50448"/>
                    <a:pt x="34813" y="50428"/>
                    <a:pt x="34853" y="50389"/>
                  </a:cubicBezTo>
                  <a:lnTo>
                    <a:pt x="34892" y="50349"/>
                  </a:lnTo>
                  <a:cubicBezTo>
                    <a:pt x="35002" y="50267"/>
                    <a:pt x="35130" y="50213"/>
                    <a:pt x="35250" y="50213"/>
                  </a:cubicBezTo>
                  <a:cubicBezTo>
                    <a:pt x="35306" y="50213"/>
                    <a:pt x="35360" y="50224"/>
                    <a:pt x="35410" y="50249"/>
                  </a:cubicBezTo>
                  <a:lnTo>
                    <a:pt x="36046" y="50488"/>
                  </a:lnTo>
                  <a:cubicBezTo>
                    <a:pt x="36074" y="50502"/>
                    <a:pt x="36102" y="50508"/>
                    <a:pt x="36129" y="50508"/>
                  </a:cubicBezTo>
                  <a:cubicBezTo>
                    <a:pt x="36216" y="50508"/>
                    <a:pt x="36290" y="50440"/>
                    <a:pt x="36305" y="50349"/>
                  </a:cubicBezTo>
                  <a:cubicBezTo>
                    <a:pt x="36346" y="50199"/>
                    <a:pt x="36471" y="50114"/>
                    <a:pt x="36603" y="50114"/>
                  </a:cubicBezTo>
                  <a:cubicBezTo>
                    <a:pt x="36664" y="50114"/>
                    <a:pt x="36726" y="50132"/>
                    <a:pt x="36782" y="50170"/>
                  </a:cubicBezTo>
                  <a:lnTo>
                    <a:pt x="37240" y="50528"/>
                  </a:lnTo>
                  <a:cubicBezTo>
                    <a:pt x="37299" y="50587"/>
                    <a:pt x="37359" y="50687"/>
                    <a:pt x="37379" y="50786"/>
                  </a:cubicBezTo>
                  <a:lnTo>
                    <a:pt x="37538" y="51781"/>
                  </a:lnTo>
                  <a:cubicBezTo>
                    <a:pt x="37550" y="51877"/>
                    <a:pt x="37621" y="51930"/>
                    <a:pt x="37696" y="51930"/>
                  </a:cubicBezTo>
                  <a:cubicBezTo>
                    <a:pt x="37746" y="51930"/>
                    <a:pt x="37797" y="51908"/>
                    <a:pt x="37837" y="51861"/>
                  </a:cubicBezTo>
                  <a:cubicBezTo>
                    <a:pt x="37870" y="51778"/>
                    <a:pt x="37958" y="51736"/>
                    <a:pt x="38044" y="51736"/>
                  </a:cubicBezTo>
                  <a:cubicBezTo>
                    <a:pt x="38061" y="51736"/>
                    <a:pt x="38079" y="51738"/>
                    <a:pt x="38095" y="51741"/>
                  </a:cubicBezTo>
                  <a:cubicBezTo>
                    <a:pt x="38234" y="51761"/>
                    <a:pt x="38294" y="51861"/>
                    <a:pt x="38294" y="51980"/>
                  </a:cubicBezTo>
                  <a:lnTo>
                    <a:pt x="38254" y="54924"/>
                  </a:lnTo>
                  <a:cubicBezTo>
                    <a:pt x="38254" y="55242"/>
                    <a:pt x="38095" y="55541"/>
                    <a:pt x="37876" y="55740"/>
                  </a:cubicBezTo>
                  <a:lnTo>
                    <a:pt x="37140" y="56396"/>
                  </a:lnTo>
                  <a:cubicBezTo>
                    <a:pt x="37041" y="56456"/>
                    <a:pt x="36961" y="56555"/>
                    <a:pt x="36902" y="56655"/>
                  </a:cubicBezTo>
                  <a:lnTo>
                    <a:pt x="36504" y="57311"/>
                  </a:lnTo>
                  <a:cubicBezTo>
                    <a:pt x="36404" y="57450"/>
                    <a:pt x="36404" y="57649"/>
                    <a:pt x="36484" y="57828"/>
                  </a:cubicBezTo>
                  <a:lnTo>
                    <a:pt x="36782" y="58525"/>
                  </a:lnTo>
                  <a:cubicBezTo>
                    <a:pt x="36842" y="58684"/>
                    <a:pt x="36802" y="58823"/>
                    <a:pt x="36683" y="58923"/>
                  </a:cubicBezTo>
                  <a:lnTo>
                    <a:pt x="36384" y="59141"/>
                  </a:lnTo>
                  <a:cubicBezTo>
                    <a:pt x="36285" y="59241"/>
                    <a:pt x="36305" y="59420"/>
                    <a:pt x="36444" y="59480"/>
                  </a:cubicBezTo>
                  <a:cubicBezTo>
                    <a:pt x="36477" y="59493"/>
                    <a:pt x="36513" y="59499"/>
                    <a:pt x="36548" y="59499"/>
                  </a:cubicBezTo>
                  <a:cubicBezTo>
                    <a:pt x="36619" y="59499"/>
                    <a:pt x="36689" y="59473"/>
                    <a:pt x="36742" y="59420"/>
                  </a:cubicBezTo>
                  <a:lnTo>
                    <a:pt x="37180" y="59022"/>
                  </a:lnTo>
                  <a:cubicBezTo>
                    <a:pt x="37280" y="58942"/>
                    <a:pt x="37379" y="58903"/>
                    <a:pt x="37498" y="58903"/>
                  </a:cubicBezTo>
                  <a:lnTo>
                    <a:pt x="38155" y="58883"/>
                  </a:lnTo>
                  <a:cubicBezTo>
                    <a:pt x="38294" y="58883"/>
                    <a:pt x="38394" y="59022"/>
                    <a:pt x="38294" y="59141"/>
                  </a:cubicBezTo>
                  <a:lnTo>
                    <a:pt x="38274" y="59181"/>
                  </a:lnTo>
                  <a:cubicBezTo>
                    <a:pt x="38175" y="59320"/>
                    <a:pt x="38155" y="59480"/>
                    <a:pt x="38175" y="59639"/>
                  </a:cubicBezTo>
                  <a:lnTo>
                    <a:pt x="38354" y="60474"/>
                  </a:lnTo>
                  <a:cubicBezTo>
                    <a:pt x="38394" y="60633"/>
                    <a:pt x="38533" y="60792"/>
                    <a:pt x="38692" y="60812"/>
                  </a:cubicBezTo>
                  <a:lnTo>
                    <a:pt x="39050" y="60892"/>
                  </a:lnTo>
                  <a:cubicBezTo>
                    <a:pt x="39249" y="60912"/>
                    <a:pt x="39388" y="61131"/>
                    <a:pt x="39328" y="61330"/>
                  </a:cubicBezTo>
                  <a:lnTo>
                    <a:pt x="39030" y="62284"/>
                  </a:lnTo>
                  <a:cubicBezTo>
                    <a:pt x="38931" y="62603"/>
                    <a:pt x="39130" y="62901"/>
                    <a:pt x="39448" y="62961"/>
                  </a:cubicBezTo>
                  <a:lnTo>
                    <a:pt x="39826" y="63001"/>
                  </a:lnTo>
                  <a:cubicBezTo>
                    <a:pt x="40025" y="63020"/>
                    <a:pt x="40164" y="63180"/>
                    <a:pt x="40224" y="63378"/>
                  </a:cubicBezTo>
                  <a:lnTo>
                    <a:pt x="40363" y="63995"/>
                  </a:lnTo>
                  <a:cubicBezTo>
                    <a:pt x="40404" y="64145"/>
                    <a:pt x="40529" y="64230"/>
                    <a:pt x="40661" y="64230"/>
                  </a:cubicBezTo>
                  <a:cubicBezTo>
                    <a:pt x="40722" y="64230"/>
                    <a:pt x="40784" y="64212"/>
                    <a:pt x="40840" y="64174"/>
                  </a:cubicBezTo>
                  <a:lnTo>
                    <a:pt x="41318" y="63816"/>
                  </a:lnTo>
                  <a:cubicBezTo>
                    <a:pt x="41385" y="63767"/>
                    <a:pt x="41461" y="63745"/>
                    <a:pt x="41537" y="63745"/>
                  </a:cubicBezTo>
                  <a:cubicBezTo>
                    <a:pt x="41709" y="63745"/>
                    <a:pt x="41879" y="63862"/>
                    <a:pt x="41934" y="64055"/>
                  </a:cubicBezTo>
                  <a:lnTo>
                    <a:pt x="42034" y="64453"/>
                  </a:lnTo>
                  <a:cubicBezTo>
                    <a:pt x="42074" y="64592"/>
                    <a:pt x="42213" y="64751"/>
                    <a:pt x="42372" y="64771"/>
                  </a:cubicBezTo>
                  <a:lnTo>
                    <a:pt x="42511" y="64791"/>
                  </a:lnTo>
                  <a:cubicBezTo>
                    <a:pt x="42543" y="64799"/>
                    <a:pt x="42574" y="64804"/>
                    <a:pt x="42604" y="64804"/>
                  </a:cubicBezTo>
                  <a:cubicBezTo>
                    <a:pt x="42783" y="64804"/>
                    <a:pt x="42929" y="64660"/>
                    <a:pt x="42929" y="64473"/>
                  </a:cubicBezTo>
                  <a:lnTo>
                    <a:pt x="42949" y="63657"/>
                  </a:lnTo>
                  <a:cubicBezTo>
                    <a:pt x="42949" y="63577"/>
                    <a:pt x="42929" y="63498"/>
                    <a:pt x="42909" y="63418"/>
                  </a:cubicBezTo>
                  <a:lnTo>
                    <a:pt x="42571" y="62861"/>
                  </a:lnTo>
                  <a:cubicBezTo>
                    <a:pt x="42511" y="62722"/>
                    <a:pt x="42511" y="62583"/>
                    <a:pt x="42571" y="62463"/>
                  </a:cubicBezTo>
                  <a:lnTo>
                    <a:pt x="42611" y="62404"/>
                  </a:lnTo>
                  <a:cubicBezTo>
                    <a:pt x="42664" y="62279"/>
                    <a:pt x="42798" y="62202"/>
                    <a:pt x="42926" y="62202"/>
                  </a:cubicBezTo>
                  <a:cubicBezTo>
                    <a:pt x="42940" y="62202"/>
                    <a:pt x="42955" y="62203"/>
                    <a:pt x="42969" y="62205"/>
                  </a:cubicBezTo>
                  <a:lnTo>
                    <a:pt x="43168" y="62225"/>
                  </a:lnTo>
                  <a:cubicBezTo>
                    <a:pt x="43198" y="62231"/>
                    <a:pt x="43228" y="62235"/>
                    <a:pt x="43258" y="62235"/>
                  </a:cubicBezTo>
                  <a:cubicBezTo>
                    <a:pt x="43404" y="62235"/>
                    <a:pt x="43539" y="62155"/>
                    <a:pt x="43605" y="62006"/>
                  </a:cubicBezTo>
                  <a:lnTo>
                    <a:pt x="43645" y="61926"/>
                  </a:lnTo>
                  <a:cubicBezTo>
                    <a:pt x="43709" y="61786"/>
                    <a:pt x="43846" y="61703"/>
                    <a:pt x="43988" y="61703"/>
                  </a:cubicBezTo>
                  <a:cubicBezTo>
                    <a:pt x="44068" y="61703"/>
                    <a:pt x="44150" y="61730"/>
                    <a:pt x="44222" y="61787"/>
                  </a:cubicBezTo>
                  <a:lnTo>
                    <a:pt x="44361" y="61887"/>
                  </a:lnTo>
                  <a:cubicBezTo>
                    <a:pt x="44440" y="61942"/>
                    <a:pt x="44532" y="61969"/>
                    <a:pt x="44621" y="61969"/>
                  </a:cubicBezTo>
                  <a:cubicBezTo>
                    <a:pt x="44757" y="61969"/>
                    <a:pt x="44886" y="61907"/>
                    <a:pt x="44958" y="61787"/>
                  </a:cubicBezTo>
                  <a:lnTo>
                    <a:pt x="44958" y="61767"/>
                  </a:lnTo>
                  <a:cubicBezTo>
                    <a:pt x="45000" y="61700"/>
                    <a:pt x="45059" y="61672"/>
                    <a:pt x="45118" y="61672"/>
                  </a:cubicBezTo>
                  <a:cubicBezTo>
                    <a:pt x="45200" y="61672"/>
                    <a:pt x="45282" y="61726"/>
                    <a:pt x="45316" y="61807"/>
                  </a:cubicBezTo>
                  <a:lnTo>
                    <a:pt x="45396" y="62105"/>
                  </a:lnTo>
                  <a:lnTo>
                    <a:pt x="45455" y="61767"/>
                  </a:lnTo>
                  <a:cubicBezTo>
                    <a:pt x="45501" y="61676"/>
                    <a:pt x="45585" y="61631"/>
                    <a:pt x="45668" y="61631"/>
                  </a:cubicBezTo>
                  <a:cubicBezTo>
                    <a:pt x="45730" y="61631"/>
                    <a:pt x="45791" y="61656"/>
                    <a:pt x="45833" y="61708"/>
                  </a:cubicBezTo>
                  <a:lnTo>
                    <a:pt x="45913" y="61807"/>
                  </a:lnTo>
                  <a:cubicBezTo>
                    <a:pt x="45950" y="61867"/>
                    <a:pt x="46007" y="61893"/>
                    <a:pt x="46063" y="61893"/>
                  </a:cubicBezTo>
                  <a:cubicBezTo>
                    <a:pt x="46158" y="61893"/>
                    <a:pt x="46251" y="61820"/>
                    <a:pt x="46251" y="61708"/>
                  </a:cubicBezTo>
                  <a:lnTo>
                    <a:pt x="46251" y="61668"/>
                  </a:lnTo>
                  <a:cubicBezTo>
                    <a:pt x="46251" y="61608"/>
                    <a:pt x="46291" y="61568"/>
                    <a:pt x="46331" y="61509"/>
                  </a:cubicBezTo>
                  <a:lnTo>
                    <a:pt x="46351" y="61489"/>
                  </a:lnTo>
                  <a:cubicBezTo>
                    <a:pt x="46392" y="61455"/>
                    <a:pt x="46441" y="61440"/>
                    <a:pt x="46487" y="61440"/>
                  </a:cubicBezTo>
                  <a:cubicBezTo>
                    <a:pt x="46552" y="61440"/>
                    <a:pt x="46614" y="61471"/>
                    <a:pt x="46649" y="61528"/>
                  </a:cubicBezTo>
                  <a:cubicBezTo>
                    <a:pt x="46709" y="61634"/>
                    <a:pt x="46827" y="61682"/>
                    <a:pt x="46932" y="61682"/>
                  </a:cubicBezTo>
                  <a:cubicBezTo>
                    <a:pt x="46966" y="61682"/>
                    <a:pt x="46998" y="61677"/>
                    <a:pt x="47027" y="61668"/>
                  </a:cubicBezTo>
                  <a:lnTo>
                    <a:pt x="47385" y="61509"/>
                  </a:lnTo>
                  <a:cubicBezTo>
                    <a:pt x="47484" y="61469"/>
                    <a:pt x="47544" y="61369"/>
                    <a:pt x="47544" y="61230"/>
                  </a:cubicBezTo>
                  <a:lnTo>
                    <a:pt x="47544" y="61031"/>
                  </a:lnTo>
                  <a:cubicBezTo>
                    <a:pt x="47544" y="60832"/>
                    <a:pt x="47624" y="60633"/>
                    <a:pt x="47803" y="60534"/>
                  </a:cubicBezTo>
                  <a:lnTo>
                    <a:pt x="48002" y="60395"/>
                  </a:lnTo>
                  <a:cubicBezTo>
                    <a:pt x="48039" y="60370"/>
                    <a:pt x="48082" y="60358"/>
                    <a:pt x="48127" y="60358"/>
                  </a:cubicBezTo>
                  <a:cubicBezTo>
                    <a:pt x="48224" y="60358"/>
                    <a:pt x="48325" y="60412"/>
                    <a:pt x="48380" y="60494"/>
                  </a:cubicBezTo>
                  <a:lnTo>
                    <a:pt x="48519" y="60733"/>
                  </a:lnTo>
                  <a:cubicBezTo>
                    <a:pt x="48539" y="60792"/>
                    <a:pt x="48598" y="60832"/>
                    <a:pt x="48638" y="60892"/>
                  </a:cubicBezTo>
                  <a:lnTo>
                    <a:pt x="48837" y="61071"/>
                  </a:lnTo>
                  <a:cubicBezTo>
                    <a:pt x="48958" y="61158"/>
                    <a:pt x="49080" y="61214"/>
                    <a:pt x="49227" y="61214"/>
                  </a:cubicBezTo>
                  <a:cubicBezTo>
                    <a:pt x="49249" y="61214"/>
                    <a:pt x="49272" y="61213"/>
                    <a:pt x="49295" y="61210"/>
                  </a:cubicBezTo>
                  <a:lnTo>
                    <a:pt x="49971" y="61170"/>
                  </a:lnTo>
                  <a:cubicBezTo>
                    <a:pt x="49993" y="61162"/>
                    <a:pt x="50016" y="61158"/>
                    <a:pt x="50039" y="61158"/>
                  </a:cubicBezTo>
                  <a:cubicBezTo>
                    <a:pt x="50121" y="61158"/>
                    <a:pt x="50207" y="61208"/>
                    <a:pt x="50269" y="61270"/>
                  </a:cubicBezTo>
                  <a:lnTo>
                    <a:pt x="50389" y="61389"/>
                  </a:lnTo>
                  <a:cubicBezTo>
                    <a:pt x="50488" y="61489"/>
                    <a:pt x="50488" y="61668"/>
                    <a:pt x="50369" y="61727"/>
                  </a:cubicBezTo>
                  <a:lnTo>
                    <a:pt x="50170" y="61887"/>
                  </a:lnTo>
                  <a:cubicBezTo>
                    <a:pt x="50170" y="61887"/>
                    <a:pt x="50130" y="61966"/>
                    <a:pt x="50110" y="62066"/>
                  </a:cubicBezTo>
                  <a:cubicBezTo>
                    <a:pt x="50090" y="62185"/>
                    <a:pt x="50110" y="62304"/>
                    <a:pt x="50210" y="62384"/>
                  </a:cubicBezTo>
                  <a:cubicBezTo>
                    <a:pt x="50329" y="62483"/>
                    <a:pt x="50389" y="62623"/>
                    <a:pt x="50369" y="62782"/>
                  </a:cubicBezTo>
                  <a:lnTo>
                    <a:pt x="50329" y="62901"/>
                  </a:lnTo>
                  <a:cubicBezTo>
                    <a:pt x="50329" y="63020"/>
                    <a:pt x="50409" y="63160"/>
                    <a:pt x="50508" y="63219"/>
                  </a:cubicBezTo>
                  <a:lnTo>
                    <a:pt x="51403" y="63856"/>
                  </a:lnTo>
                  <a:cubicBezTo>
                    <a:pt x="51459" y="63912"/>
                    <a:pt x="51534" y="63936"/>
                    <a:pt x="51611" y="63936"/>
                  </a:cubicBezTo>
                  <a:cubicBezTo>
                    <a:pt x="51670" y="63936"/>
                    <a:pt x="51729" y="63922"/>
                    <a:pt x="51781" y="63896"/>
                  </a:cubicBezTo>
                  <a:lnTo>
                    <a:pt x="51861" y="63876"/>
                  </a:lnTo>
                  <a:cubicBezTo>
                    <a:pt x="51916" y="63848"/>
                    <a:pt x="51976" y="63833"/>
                    <a:pt x="52038" y="63833"/>
                  </a:cubicBezTo>
                  <a:cubicBezTo>
                    <a:pt x="52109" y="63833"/>
                    <a:pt x="52184" y="63853"/>
                    <a:pt x="52259" y="63896"/>
                  </a:cubicBezTo>
                  <a:lnTo>
                    <a:pt x="52378" y="63975"/>
                  </a:lnTo>
                  <a:cubicBezTo>
                    <a:pt x="52434" y="64007"/>
                    <a:pt x="52493" y="64020"/>
                    <a:pt x="52551" y="64020"/>
                  </a:cubicBezTo>
                  <a:cubicBezTo>
                    <a:pt x="52638" y="64020"/>
                    <a:pt x="52724" y="63991"/>
                    <a:pt x="52796" y="63955"/>
                  </a:cubicBezTo>
                  <a:lnTo>
                    <a:pt x="53015" y="63796"/>
                  </a:lnTo>
                  <a:cubicBezTo>
                    <a:pt x="53089" y="63755"/>
                    <a:pt x="53167" y="63734"/>
                    <a:pt x="53242" y="63734"/>
                  </a:cubicBezTo>
                  <a:cubicBezTo>
                    <a:pt x="53346" y="63734"/>
                    <a:pt x="53442" y="63775"/>
                    <a:pt x="53512" y="63856"/>
                  </a:cubicBezTo>
                  <a:lnTo>
                    <a:pt x="53691" y="64015"/>
                  </a:lnTo>
                  <a:cubicBezTo>
                    <a:pt x="53818" y="64128"/>
                    <a:pt x="53995" y="64181"/>
                    <a:pt x="54165" y="64181"/>
                  </a:cubicBezTo>
                  <a:cubicBezTo>
                    <a:pt x="54235" y="64181"/>
                    <a:pt x="54304" y="64172"/>
                    <a:pt x="54367" y="64154"/>
                  </a:cubicBezTo>
                  <a:lnTo>
                    <a:pt x="54706" y="64015"/>
                  </a:lnTo>
                  <a:cubicBezTo>
                    <a:pt x="54775" y="64005"/>
                    <a:pt x="54840" y="64000"/>
                    <a:pt x="54899" y="64000"/>
                  </a:cubicBezTo>
                  <a:cubicBezTo>
                    <a:pt x="54959" y="64000"/>
                    <a:pt x="55014" y="64005"/>
                    <a:pt x="55064" y="64015"/>
                  </a:cubicBezTo>
                  <a:lnTo>
                    <a:pt x="55083" y="64015"/>
                  </a:lnTo>
                  <a:cubicBezTo>
                    <a:pt x="55243" y="64095"/>
                    <a:pt x="55203" y="64274"/>
                    <a:pt x="55143" y="64453"/>
                  </a:cubicBezTo>
                  <a:lnTo>
                    <a:pt x="54944" y="64851"/>
                  </a:lnTo>
                  <a:cubicBezTo>
                    <a:pt x="54865" y="64950"/>
                    <a:pt x="54865" y="65069"/>
                    <a:pt x="54885" y="65189"/>
                  </a:cubicBezTo>
                  <a:lnTo>
                    <a:pt x="55203" y="66382"/>
                  </a:lnTo>
                  <a:cubicBezTo>
                    <a:pt x="55255" y="66556"/>
                    <a:pt x="55412" y="66668"/>
                    <a:pt x="55584" y="66668"/>
                  </a:cubicBezTo>
                  <a:cubicBezTo>
                    <a:pt x="55609" y="66668"/>
                    <a:pt x="55635" y="66666"/>
                    <a:pt x="55660" y="66661"/>
                  </a:cubicBezTo>
                  <a:lnTo>
                    <a:pt x="55800" y="66641"/>
                  </a:lnTo>
                  <a:cubicBezTo>
                    <a:pt x="55939" y="66601"/>
                    <a:pt x="56058" y="66502"/>
                    <a:pt x="56098" y="66382"/>
                  </a:cubicBezTo>
                  <a:lnTo>
                    <a:pt x="56138" y="66303"/>
                  </a:lnTo>
                  <a:cubicBezTo>
                    <a:pt x="56197" y="66163"/>
                    <a:pt x="56178" y="65965"/>
                    <a:pt x="56058" y="65845"/>
                  </a:cubicBezTo>
                  <a:lnTo>
                    <a:pt x="55800" y="65567"/>
                  </a:lnTo>
                  <a:cubicBezTo>
                    <a:pt x="55700" y="65467"/>
                    <a:pt x="55780" y="65288"/>
                    <a:pt x="55939" y="65288"/>
                  </a:cubicBezTo>
                  <a:cubicBezTo>
                    <a:pt x="56138" y="65288"/>
                    <a:pt x="56297" y="65149"/>
                    <a:pt x="56337" y="64950"/>
                  </a:cubicBezTo>
                  <a:lnTo>
                    <a:pt x="56376" y="64711"/>
                  </a:lnTo>
                  <a:cubicBezTo>
                    <a:pt x="56436" y="64492"/>
                    <a:pt x="56635" y="64294"/>
                    <a:pt x="56874" y="64274"/>
                  </a:cubicBezTo>
                  <a:lnTo>
                    <a:pt x="57630" y="64194"/>
                  </a:lnTo>
                  <a:lnTo>
                    <a:pt x="60077" y="63458"/>
                  </a:lnTo>
                  <a:cubicBezTo>
                    <a:pt x="60236" y="63398"/>
                    <a:pt x="60395" y="63299"/>
                    <a:pt x="60494" y="63180"/>
                  </a:cubicBezTo>
                  <a:lnTo>
                    <a:pt x="60852" y="62722"/>
                  </a:lnTo>
                  <a:cubicBezTo>
                    <a:pt x="60932" y="62623"/>
                    <a:pt x="60992" y="62483"/>
                    <a:pt x="60952" y="62364"/>
                  </a:cubicBezTo>
                  <a:lnTo>
                    <a:pt x="60912" y="62006"/>
                  </a:lnTo>
                  <a:cubicBezTo>
                    <a:pt x="60885" y="61910"/>
                    <a:pt x="60970" y="61833"/>
                    <a:pt x="61058" y="61833"/>
                  </a:cubicBezTo>
                  <a:cubicBezTo>
                    <a:pt x="61099" y="61833"/>
                    <a:pt x="61140" y="61849"/>
                    <a:pt x="61171" y="61887"/>
                  </a:cubicBezTo>
                  <a:lnTo>
                    <a:pt x="61230" y="61926"/>
                  </a:lnTo>
                  <a:cubicBezTo>
                    <a:pt x="61323" y="62008"/>
                    <a:pt x="61423" y="62048"/>
                    <a:pt x="61525" y="62048"/>
                  </a:cubicBezTo>
                  <a:cubicBezTo>
                    <a:pt x="61598" y="62048"/>
                    <a:pt x="61673" y="62027"/>
                    <a:pt x="61748" y="61986"/>
                  </a:cubicBezTo>
                  <a:lnTo>
                    <a:pt x="62285" y="61668"/>
                  </a:lnTo>
                  <a:cubicBezTo>
                    <a:pt x="62334" y="61632"/>
                    <a:pt x="62394" y="61614"/>
                    <a:pt x="62454" y="61614"/>
                  </a:cubicBezTo>
                  <a:cubicBezTo>
                    <a:pt x="62562" y="61614"/>
                    <a:pt x="62671" y="61672"/>
                    <a:pt x="62722" y="61787"/>
                  </a:cubicBezTo>
                  <a:cubicBezTo>
                    <a:pt x="62753" y="61849"/>
                    <a:pt x="62806" y="61879"/>
                    <a:pt x="62861" y="61879"/>
                  </a:cubicBezTo>
                  <a:cubicBezTo>
                    <a:pt x="62911" y="61879"/>
                    <a:pt x="62963" y="61854"/>
                    <a:pt x="63001" y="61807"/>
                  </a:cubicBezTo>
                  <a:lnTo>
                    <a:pt x="63060" y="61708"/>
                  </a:lnTo>
                  <a:cubicBezTo>
                    <a:pt x="63138" y="61630"/>
                    <a:pt x="63232" y="61578"/>
                    <a:pt x="63332" y="61578"/>
                  </a:cubicBezTo>
                  <a:cubicBezTo>
                    <a:pt x="63386" y="61578"/>
                    <a:pt x="63442" y="61593"/>
                    <a:pt x="63498" y="61628"/>
                  </a:cubicBezTo>
                  <a:lnTo>
                    <a:pt x="63558" y="61688"/>
                  </a:lnTo>
                  <a:cubicBezTo>
                    <a:pt x="63600" y="61712"/>
                    <a:pt x="63645" y="61723"/>
                    <a:pt x="63688" y="61723"/>
                  </a:cubicBezTo>
                  <a:cubicBezTo>
                    <a:pt x="63785" y="61723"/>
                    <a:pt x="63874" y="61665"/>
                    <a:pt x="63916" y="61568"/>
                  </a:cubicBezTo>
                  <a:cubicBezTo>
                    <a:pt x="63959" y="61482"/>
                    <a:pt x="64033" y="61417"/>
                    <a:pt x="64116" y="61417"/>
                  </a:cubicBezTo>
                  <a:cubicBezTo>
                    <a:pt x="64148" y="61417"/>
                    <a:pt x="64181" y="61427"/>
                    <a:pt x="64214" y="61449"/>
                  </a:cubicBezTo>
                  <a:cubicBezTo>
                    <a:pt x="64292" y="61488"/>
                    <a:pt x="64395" y="61518"/>
                    <a:pt x="64496" y="61518"/>
                  </a:cubicBezTo>
                  <a:cubicBezTo>
                    <a:pt x="64550" y="61518"/>
                    <a:pt x="64603" y="61509"/>
                    <a:pt x="64652" y="61489"/>
                  </a:cubicBezTo>
                  <a:lnTo>
                    <a:pt x="65288" y="61270"/>
                  </a:lnTo>
                  <a:cubicBezTo>
                    <a:pt x="65388" y="61210"/>
                    <a:pt x="65467" y="61111"/>
                    <a:pt x="65428" y="61011"/>
                  </a:cubicBezTo>
                  <a:cubicBezTo>
                    <a:pt x="65408" y="60872"/>
                    <a:pt x="65428" y="60753"/>
                    <a:pt x="65527" y="60613"/>
                  </a:cubicBezTo>
                  <a:cubicBezTo>
                    <a:pt x="65646" y="60474"/>
                    <a:pt x="65826" y="60275"/>
                    <a:pt x="65965" y="60096"/>
                  </a:cubicBezTo>
                  <a:cubicBezTo>
                    <a:pt x="66084" y="59957"/>
                    <a:pt x="66243" y="59857"/>
                    <a:pt x="66422" y="59818"/>
                  </a:cubicBezTo>
                  <a:cubicBezTo>
                    <a:pt x="66601" y="59798"/>
                    <a:pt x="66760" y="59718"/>
                    <a:pt x="66860" y="59599"/>
                  </a:cubicBezTo>
                  <a:lnTo>
                    <a:pt x="70162" y="56118"/>
                  </a:lnTo>
                  <a:cubicBezTo>
                    <a:pt x="70202" y="56078"/>
                    <a:pt x="70202" y="55998"/>
                    <a:pt x="70182" y="55939"/>
                  </a:cubicBezTo>
                  <a:cubicBezTo>
                    <a:pt x="70063" y="55779"/>
                    <a:pt x="70063" y="55541"/>
                    <a:pt x="70162" y="55382"/>
                  </a:cubicBezTo>
                  <a:lnTo>
                    <a:pt x="70202" y="55302"/>
                  </a:lnTo>
                  <a:lnTo>
                    <a:pt x="70162" y="55242"/>
                  </a:lnTo>
                  <a:cubicBezTo>
                    <a:pt x="70003" y="55083"/>
                    <a:pt x="70003" y="54805"/>
                    <a:pt x="70162" y="54626"/>
                  </a:cubicBezTo>
                  <a:lnTo>
                    <a:pt x="70580" y="54089"/>
                  </a:lnTo>
                  <a:cubicBezTo>
                    <a:pt x="70659" y="53989"/>
                    <a:pt x="70679" y="53890"/>
                    <a:pt x="70679" y="53750"/>
                  </a:cubicBezTo>
                  <a:lnTo>
                    <a:pt x="70679" y="53452"/>
                  </a:lnTo>
                  <a:cubicBezTo>
                    <a:pt x="70679" y="53253"/>
                    <a:pt x="70799" y="53094"/>
                    <a:pt x="70978" y="53014"/>
                  </a:cubicBezTo>
                  <a:lnTo>
                    <a:pt x="71276" y="52895"/>
                  </a:lnTo>
                  <a:lnTo>
                    <a:pt x="72131" y="50846"/>
                  </a:lnTo>
                  <a:lnTo>
                    <a:pt x="72350" y="50727"/>
                  </a:lnTo>
                  <a:cubicBezTo>
                    <a:pt x="72408" y="50794"/>
                    <a:pt x="72498" y="50829"/>
                    <a:pt x="72587" y="50829"/>
                  </a:cubicBezTo>
                  <a:cubicBezTo>
                    <a:pt x="72682" y="50829"/>
                    <a:pt x="72776" y="50789"/>
                    <a:pt x="72828" y="50707"/>
                  </a:cubicBezTo>
                  <a:lnTo>
                    <a:pt x="73265" y="49971"/>
                  </a:lnTo>
                  <a:cubicBezTo>
                    <a:pt x="73345" y="49851"/>
                    <a:pt x="73365" y="49672"/>
                    <a:pt x="73325" y="49533"/>
                  </a:cubicBezTo>
                  <a:lnTo>
                    <a:pt x="73186" y="49135"/>
                  </a:lnTo>
                  <a:cubicBezTo>
                    <a:pt x="73146" y="49036"/>
                    <a:pt x="73226" y="48916"/>
                    <a:pt x="73345" y="48877"/>
                  </a:cubicBezTo>
                  <a:cubicBezTo>
                    <a:pt x="73623" y="48837"/>
                    <a:pt x="73822" y="48618"/>
                    <a:pt x="73822" y="48340"/>
                  </a:cubicBezTo>
                  <a:lnTo>
                    <a:pt x="73822" y="48121"/>
                  </a:lnTo>
                  <a:lnTo>
                    <a:pt x="73663" y="48061"/>
                  </a:lnTo>
                  <a:cubicBezTo>
                    <a:pt x="73484" y="48021"/>
                    <a:pt x="73464" y="47763"/>
                    <a:pt x="73643" y="47683"/>
                  </a:cubicBezTo>
                  <a:lnTo>
                    <a:pt x="73683" y="47663"/>
                  </a:lnTo>
                  <a:cubicBezTo>
                    <a:pt x="73882" y="47564"/>
                    <a:pt x="73862" y="47285"/>
                    <a:pt x="73663" y="47245"/>
                  </a:cubicBezTo>
                  <a:lnTo>
                    <a:pt x="73166" y="47086"/>
                  </a:lnTo>
                  <a:lnTo>
                    <a:pt x="72947" y="46669"/>
                  </a:lnTo>
                  <a:cubicBezTo>
                    <a:pt x="72882" y="46538"/>
                    <a:pt x="72749" y="46459"/>
                    <a:pt x="72608" y="46459"/>
                  </a:cubicBezTo>
                  <a:cubicBezTo>
                    <a:pt x="72535" y="46459"/>
                    <a:pt x="72459" y="46481"/>
                    <a:pt x="72390" y="46529"/>
                  </a:cubicBezTo>
                  <a:lnTo>
                    <a:pt x="72052" y="46748"/>
                  </a:lnTo>
                  <a:lnTo>
                    <a:pt x="71933" y="46708"/>
                  </a:lnTo>
                  <a:cubicBezTo>
                    <a:pt x="71754" y="46688"/>
                    <a:pt x="71674" y="46450"/>
                    <a:pt x="71793" y="46311"/>
                  </a:cubicBezTo>
                  <a:lnTo>
                    <a:pt x="72748" y="45395"/>
                  </a:lnTo>
                  <a:cubicBezTo>
                    <a:pt x="72830" y="45314"/>
                    <a:pt x="72938" y="45246"/>
                    <a:pt x="73062" y="45246"/>
                  </a:cubicBezTo>
                  <a:cubicBezTo>
                    <a:pt x="73089" y="45246"/>
                    <a:pt x="73117" y="45249"/>
                    <a:pt x="73146" y="45256"/>
                  </a:cubicBezTo>
                  <a:lnTo>
                    <a:pt x="73186" y="45256"/>
                  </a:lnTo>
                  <a:cubicBezTo>
                    <a:pt x="73193" y="45257"/>
                    <a:pt x="73200" y="45257"/>
                    <a:pt x="73207" y="45257"/>
                  </a:cubicBezTo>
                  <a:cubicBezTo>
                    <a:pt x="73395" y="45257"/>
                    <a:pt x="73519" y="45012"/>
                    <a:pt x="73385" y="44878"/>
                  </a:cubicBezTo>
                  <a:lnTo>
                    <a:pt x="72589" y="43923"/>
                  </a:lnTo>
                  <a:cubicBezTo>
                    <a:pt x="72538" y="43839"/>
                    <a:pt x="72617" y="43711"/>
                    <a:pt x="72715" y="43711"/>
                  </a:cubicBezTo>
                  <a:cubicBezTo>
                    <a:pt x="72732" y="43711"/>
                    <a:pt x="72750" y="43715"/>
                    <a:pt x="72768" y="43724"/>
                  </a:cubicBezTo>
                  <a:lnTo>
                    <a:pt x="73126" y="43904"/>
                  </a:lnTo>
                  <a:cubicBezTo>
                    <a:pt x="73180" y="43935"/>
                    <a:pt x="73236" y="43949"/>
                    <a:pt x="73289" y="43949"/>
                  </a:cubicBezTo>
                  <a:cubicBezTo>
                    <a:pt x="73473" y="43949"/>
                    <a:pt x="73630" y="43781"/>
                    <a:pt x="73584" y="43565"/>
                  </a:cubicBezTo>
                  <a:lnTo>
                    <a:pt x="73544" y="43307"/>
                  </a:lnTo>
                  <a:cubicBezTo>
                    <a:pt x="73524" y="43207"/>
                    <a:pt x="73444" y="43088"/>
                    <a:pt x="73345" y="43048"/>
                  </a:cubicBezTo>
                  <a:lnTo>
                    <a:pt x="72728" y="42690"/>
                  </a:lnTo>
                  <a:cubicBezTo>
                    <a:pt x="72788" y="42471"/>
                    <a:pt x="72728" y="42193"/>
                    <a:pt x="72490" y="42073"/>
                  </a:cubicBezTo>
                  <a:cubicBezTo>
                    <a:pt x="72430" y="41994"/>
                    <a:pt x="72330" y="41954"/>
                    <a:pt x="72231" y="41894"/>
                  </a:cubicBezTo>
                  <a:cubicBezTo>
                    <a:pt x="72052" y="41795"/>
                    <a:pt x="71972" y="41616"/>
                    <a:pt x="71992" y="41417"/>
                  </a:cubicBezTo>
                  <a:cubicBezTo>
                    <a:pt x="72032" y="41238"/>
                    <a:pt x="72032" y="41079"/>
                    <a:pt x="71952" y="40900"/>
                  </a:cubicBezTo>
                  <a:lnTo>
                    <a:pt x="71157" y="38811"/>
                  </a:lnTo>
                  <a:cubicBezTo>
                    <a:pt x="71077" y="38592"/>
                    <a:pt x="70938" y="38393"/>
                    <a:pt x="70739" y="38254"/>
                  </a:cubicBezTo>
                  <a:lnTo>
                    <a:pt x="70102" y="37816"/>
                  </a:lnTo>
                  <a:cubicBezTo>
                    <a:pt x="69665" y="37518"/>
                    <a:pt x="69565" y="36901"/>
                    <a:pt x="69884" y="36484"/>
                  </a:cubicBezTo>
                  <a:lnTo>
                    <a:pt x="70759" y="35290"/>
                  </a:lnTo>
                  <a:cubicBezTo>
                    <a:pt x="70858" y="35131"/>
                    <a:pt x="71037" y="35031"/>
                    <a:pt x="71197" y="34992"/>
                  </a:cubicBezTo>
                  <a:cubicBezTo>
                    <a:pt x="71276" y="34992"/>
                    <a:pt x="71376" y="34952"/>
                    <a:pt x="71455" y="34932"/>
                  </a:cubicBezTo>
                  <a:cubicBezTo>
                    <a:pt x="71674" y="34892"/>
                    <a:pt x="71833" y="34693"/>
                    <a:pt x="71833" y="34454"/>
                  </a:cubicBezTo>
                  <a:cubicBezTo>
                    <a:pt x="71793" y="34156"/>
                    <a:pt x="71972" y="33897"/>
                    <a:pt x="72251" y="33758"/>
                  </a:cubicBezTo>
                  <a:lnTo>
                    <a:pt x="73365" y="33221"/>
                  </a:lnTo>
                  <a:cubicBezTo>
                    <a:pt x="73486" y="33160"/>
                    <a:pt x="73596" y="33134"/>
                    <a:pt x="73712" y="33134"/>
                  </a:cubicBezTo>
                  <a:cubicBezTo>
                    <a:pt x="73748" y="33134"/>
                    <a:pt x="73785" y="33137"/>
                    <a:pt x="73822" y="33142"/>
                  </a:cubicBezTo>
                  <a:lnTo>
                    <a:pt x="74061" y="33201"/>
                  </a:lnTo>
                  <a:cubicBezTo>
                    <a:pt x="74092" y="33206"/>
                    <a:pt x="74124" y="33208"/>
                    <a:pt x="74155" y="33208"/>
                  </a:cubicBezTo>
                  <a:cubicBezTo>
                    <a:pt x="74399" y="33208"/>
                    <a:pt x="74625" y="33070"/>
                    <a:pt x="74678" y="32823"/>
                  </a:cubicBezTo>
                  <a:lnTo>
                    <a:pt x="74718" y="32704"/>
                  </a:lnTo>
                  <a:cubicBezTo>
                    <a:pt x="74777" y="32465"/>
                    <a:pt x="74638" y="32226"/>
                    <a:pt x="74379" y="32207"/>
                  </a:cubicBezTo>
                  <a:lnTo>
                    <a:pt x="73245" y="32107"/>
                  </a:lnTo>
                  <a:cubicBezTo>
                    <a:pt x="73066" y="32107"/>
                    <a:pt x="72868" y="32008"/>
                    <a:pt x="72748" y="31868"/>
                  </a:cubicBezTo>
                  <a:lnTo>
                    <a:pt x="72569" y="31709"/>
                  </a:lnTo>
                  <a:cubicBezTo>
                    <a:pt x="72443" y="31572"/>
                    <a:pt x="72271" y="31502"/>
                    <a:pt x="72097" y="31502"/>
                  </a:cubicBezTo>
                  <a:cubicBezTo>
                    <a:pt x="71942" y="31502"/>
                    <a:pt x="71785" y="31557"/>
                    <a:pt x="71654" y="31669"/>
                  </a:cubicBezTo>
                  <a:lnTo>
                    <a:pt x="70640" y="32604"/>
                  </a:lnTo>
                  <a:cubicBezTo>
                    <a:pt x="70580" y="32644"/>
                    <a:pt x="70500" y="32704"/>
                    <a:pt x="70441" y="32724"/>
                  </a:cubicBezTo>
                  <a:cubicBezTo>
                    <a:pt x="70361" y="32764"/>
                    <a:pt x="70242" y="32823"/>
                    <a:pt x="70142" y="32863"/>
                  </a:cubicBezTo>
                  <a:cubicBezTo>
                    <a:pt x="70028" y="32925"/>
                    <a:pt x="69909" y="32951"/>
                    <a:pt x="69792" y="32951"/>
                  </a:cubicBezTo>
                  <a:cubicBezTo>
                    <a:pt x="69644" y="32951"/>
                    <a:pt x="69499" y="32910"/>
                    <a:pt x="69366" y="32843"/>
                  </a:cubicBezTo>
                  <a:cubicBezTo>
                    <a:pt x="69108" y="32724"/>
                    <a:pt x="68969" y="32465"/>
                    <a:pt x="68949" y="32207"/>
                  </a:cubicBezTo>
                  <a:lnTo>
                    <a:pt x="68909" y="31829"/>
                  </a:lnTo>
                  <a:cubicBezTo>
                    <a:pt x="68909" y="31829"/>
                    <a:pt x="68909" y="31809"/>
                    <a:pt x="68949" y="31809"/>
                  </a:cubicBezTo>
                  <a:cubicBezTo>
                    <a:pt x="69307" y="31749"/>
                    <a:pt x="69486" y="31331"/>
                    <a:pt x="69287" y="31033"/>
                  </a:cubicBezTo>
                  <a:cubicBezTo>
                    <a:pt x="69207" y="30914"/>
                    <a:pt x="69068" y="30814"/>
                    <a:pt x="68909" y="30814"/>
                  </a:cubicBezTo>
                  <a:lnTo>
                    <a:pt x="68193" y="30754"/>
                  </a:lnTo>
                  <a:cubicBezTo>
                    <a:pt x="67656" y="30735"/>
                    <a:pt x="67258" y="30277"/>
                    <a:pt x="67258" y="29760"/>
                  </a:cubicBezTo>
                  <a:lnTo>
                    <a:pt x="67258" y="29442"/>
                  </a:lnTo>
                  <a:cubicBezTo>
                    <a:pt x="67258" y="28990"/>
                    <a:pt x="67614" y="28663"/>
                    <a:pt x="68023" y="28663"/>
                  </a:cubicBezTo>
                  <a:cubicBezTo>
                    <a:pt x="68047" y="28663"/>
                    <a:pt x="68070" y="28664"/>
                    <a:pt x="68093" y="28666"/>
                  </a:cubicBezTo>
                  <a:lnTo>
                    <a:pt x="68511" y="28725"/>
                  </a:lnTo>
                  <a:cubicBezTo>
                    <a:pt x="68541" y="28729"/>
                    <a:pt x="68572" y="28730"/>
                    <a:pt x="68602" y="28730"/>
                  </a:cubicBezTo>
                  <a:cubicBezTo>
                    <a:pt x="68925" y="28730"/>
                    <a:pt x="69219" y="28538"/>
                    <a:pt x="69347" y="28228"/>
                  </a:cubicBezTo>
                  <a:lnTo>
                    <a:pt x="69506" y="27751"/>
                  </a:lnTo>
                  <a:cubicBezTo>
                    <a:pt x="69605" y="27492"/>
                    <a:pt x="69804" y="27293"/>
                    <a:pt x="70063" y="27174"/>
                  </a:cubicBezTo>
                  <a:lnTo>
                    <a:pt x="71177" y="26676"/>
                  </a:lnTo>
                  <a:cubicBezTo>
                    <a:pt x="71336" y="26597"/>
                    <a:pt x="71455" y="26497"/>
                    <a:pt x="71535" y="26378"/>
                  </a:cubicBezTo>
                  <a:cubicBezTo>
                    <a:pt x="71754" y="26000"/>
                    <a:pt x="72271" y="25264"/>
                    <a:pt x="72330" y="25244"/>
                  </a:cubicBezTo>
                  <a:cubicBezTo>
                    <a:pt x="72688" y="25145"/>
                    <a:pt x="72788" y="25184"/>
                    <a:pt x="73146" y="25165"/>
                  </a:cubicBezTo>
                  <a:cubicBezTo>
                    <a:pt x="73168" y="25162"/>
                    <a:pt x="73190" y="25161"/>
                    <a:pt x="73212" y="25161"/>
                  </a:cubicBezTo>
                  <a:cubicBezTo>
                    <a:pt x="73365" y="25161"/>
                    <a:pt x="73502" y="25222"/>
                    <a:pt x="73623" y="25344"/>
                  </a:cubicBezTo>
                  <a:lnTo>
                    <a:pt x="73922" y="25642"/>
                  </a:lnTo>
                  <a:cubicBezTo>
                    <a:pt x="74081" y="25801"/>
                    <a:pt x="74121" y="26080"/>
                    <a:pt x="73942" y="26259"/>
                  </a:cubicBezTo>
                  <a:lnTo>
                    <a:pt x="72887" y="27393"/>
                  </a:lnTo>
                  <a:cubicBezTo>
                    <a:pt x="72728" y="27591"/>
                    <a:pt x="72748" y="27890"/>
                    <a:pt x="72927" y="28069"/>
                  </a:cubicBezTo>
                  <a:lnTo>
                    <a:pt x="72967" y="28129"/>
                  </a:lnTo>
                  <a:cubicBezTo>
                    <a:pt x="73146" y="28288"/>
                    <a:pt x="73126" y="28546"/>
                    <a:pt x="72947" y="28686"/>
                  </a:cubicBezTo>
                  <a:lnTo>
                    <a:pt x="72251" y="29243"/>
                  </a:lnTo>
                  <a:lnTo>
                    <a:pt x="72231" y="29322"/>
                  </a:lnTo>
                  <a:cubicBezTo>
                    <a:pt x="72198" y="29456"/>
                    <a:pt x="72304" y="29575"/>
                    <a:pt x="72445" y="29575"/>
                  </a:cubicBezTo>
                  <a:cubicBezTo>
                    <a:pt x="72472" y="29575"/>
                    <a:pt x="72500" y="29571"/>
                    <a:pt x="72529" y="29561"/>
                  </a:cubicBezTo>
                  <a:lnTo>
                    <a:pt x="73166" y="29322"/>
                  </a:lnTo>
                  <a:lnTo>
                    <a:pt x="73245" y="28944"/>
                  </a:lnTo>
                  <a:cubicBezTo>
                    <a:pt x="73300" y="28999"/>
                    <a:pt x="73372" y="29024"/>
                    <a:pt x="73443" y="29024"/>
                  </a:cubicBezTo>
                  <a:cubicBezTo>
                    <a:pt x="73526" y="29024"/>
                    <a:pt x="73609" y="28989"/>
                    <a:pt x="73663" y="28924"/>
                  </a:cubicBezTo>
                  <a:lnTo>
                    <a:pt x="74121" y="28347"/>
                  </a:lnTo>
                  <a:cubicBezTo>
                    <a:pt x="74240" y="28188"/>
                    <a:pt x="74379" y="28069"/>
                    <a:pt x="74558" y="27989"/>
                  </a:cubicBezTo>
                  <a:lnTo>
                    <a:pt x="75732" y="27492"/>
                  </a:lnTo>
                  <a:cubicBezTo>
                    <a:pt x="75871" y="27452"/>
                    <a:pt x="76050" y="27432"/>
                    <a:pt x="76229" y="27432"/>
                  </a:cubicBezTo>
                  <a:lnTo>
                    <a:pt x="76667" y="27452"/>
                  </a:lnTo>
                  <a:cubicBezTo>
                    <a:pt x="76707" y="27452"/>
                    <a:pt x="76727" y="27452"/>
                    <a:pt x="76747" y="27432"/>
                  </a:cubicBezTo>
                  <a:lnTo>
                    <a:pt x="77204" y="27194"/>
                  </a:lnTo>
                  <a:cubicBezTo>
                    <a:pt x="77224" y="26895"/>
                    <a:pt x="77403" y="26637"/>
                    <a:pt x="77662" y="26477"/>
                  </a:cubicBezTo>
                  <a:lnTo>
                    <a:pt x="79551" y="25403"/>
                  </a:lnTo>
                  <a:cubicBezTo>
                    <a:pt x="79711" y="25344"/>
                    <a:pt x="79810" y="25204"/>
                    <a:pt x="79890" y="25085"/>
                  </a:cubicBezTo>
                  <a:lnTo>
                    <a:pt x="80646" y="23693"/>
                  </a:lnTo>
                  <a:cubicBezTo>
                    <a:pt x="80705" y="23613"/>
                    <a:pt x="80785" y="23553"/>
                    <a:pt x="80884" y="23494"/>
                  </a:cubicBezTo>
                  <a:cubicBezTo>
                    <a:pt x="80924" y="23494"/>
                    <a:pt x="80944" y="23474"/>
                    <a:pt x="81004" y="23454"/>
                  </a:cubicBezTo>
                  <a:cubicBezTo>
                    <a:pt x="81050" y="23435"/>
                    <a:pt x="81098" y="23426"/>
                    <a:pt x="81145" y="23426"/>
                  </a:cubicBezTo>
                  <a:cubicBezTo>
                    <a:pt x="81297" y="23426"/>
                    <a:pt x="81440" y="23520"/>
                    <a:pt x="81501" y="23673"/>
                  </a:cubicBezTo>
                  <a:cubicBezTo>
                    <a:pt x="81581" y="23872"/>
                    <a:pt x="81740" y="24011"/>
                    <a:pt x="81939" y="24051"/>
                  </a:cubicBezTo>
                  <a:lnTo>
                    <a:pt x="82913" y="24210"/>
                  </a:lnTo>
                  <a:cubicBezTo>
                    <a:pt x="82947" y="24218"/>
                    <a:pt x="82979" y="24222"/>
                    <a:pt x="83010" y="24222"/>
                  </a:cubicBezTo>
                  <a:cubicBezTo>
                    <a:pt x="83128" y="24222"/>
                    <a:pt x="83228" y="24165"/>
                    <a:pt x="83291" y="24070"/>
                  </a:cubicBezTo>
                  <a:cubicBezTo>
                    <a:pt x="83391" y="23911"/>
                    <a:pt x="83371" y="23712"/>
                    <a:pt x="83192" y="23613"/>
                  </a:cubicBezTo>
                  <a:lnTo>
                    <a:pt x="83172" y="23613"/>
                  </a:lnTo>
                  <a:cubicBezTo>
                    <a:pt x="83072" y="23573"/>
                    <a:pt x="82993" y="23474"/>
                    <a:pt x="82993" y="23354"/>
                  </a:cubicBezTo>
                  <a:cubicBezTo>
                    <a:pt x="82973" y="23155"/>
                    <a:pt x="83112" y="22976"/>
                    <a:pt x="83311" y="22976"/>
                  </a:cubicBezTo>
                  <a:lnTo>
                    <a:pt x="84007" y="22956"/>
                  </a:lnTo>
                  <a:cubicBezTo>
                    <a:pt x="84226" y="22956"/>
                    <a:pt x="84425" y="22817"/>
                    <a:pt x="84564" y="22658"/>
                  </a:cubicBezTo>
                  <a:lnTo>
                    <a:pt x="84903" y="22101"/>
                  </a:lnTo>
                  <a:lnTo>
                    <a:pt x="85062" y="22161"/>
                  </a:lnTo>
                  <a:cubicBezTo>
                    <a:pt x="85099" y="22170"/>
                    <a:pt x="85136" y="22174"/>
                    <a:pt x="85173" y="22174"/>
                  </a:cubicBezTo>
                  <a:cubicBezTo>
                    <a:pt x="85375" y="22174"/>
                    <a:pt x="85565" y="22041"/>
                    <a:pt x="85599" y="21823"/>
                  </a:cubicBezTo>
                  <a:cubicBezTo>
                    <a:pt x="85658" y="21624"/>
                    <a:pt x="85698" y="21405"/>
                    <a:pt x="85718" y="21226"/>
                  </a:cubicBezTo>
                  <a:cubicBezTo>
                    <a:pt x="85750" y="21098"/>
                    <a:pt x="85884" y="21009"/>
                    <a:pt x="86017" y="21009"/>
                  </a:cubicBezTo>
                  <a:cubicBezTo>
                    <a:pt x="86051" y="21009"/>
                    <a:pt x="86084" y="21015"/>
                    <a:pt x="86116" y="21027"/>
                  </a:cubicBezTo>
                  <a:cubicBezTo>
                    <a:pt x="86255" y="21087"/>
                    <a:pt x="86315" y="21186"/>
                    <a:pt x="86375" y="21305"/>
                  </a:cubicBezTo>
                  <a:lnTo>
                    <a:pt x="86613" y="22081"/>
                  </a:lnTo>
                  <a:cubicBezTo>
                    <a:pt x="86646" y="22163"/>
                    <a:pt x="86719" y="22231"/>
                    <a:pt x="86799" y="22231"/>
                  </a:cubicBezTo>
                  <a:cubicBezTo>
                    <a:pt x="86816" y="22231"/>
                    <a:pt x="86834" y="22228"/>
                    <a:pt x="86852" y="22220"/>
                  </a:cubicBezTo>
                  <a:cubicBezTo>
                    <a:pt x="86971" y="22220"/>
                    <a:pt x="87051" y="22121"/>
                    <a:pt x="87011" y="22002"/>
                  </a:cubicBezTo>
                  <a:lnTo>
                    <a:pt x="86971" y="21723"/>
                  </a:lnTo>
                  <a:cubicBezTo>
                    <a:pt x="86912" y="21504"/>
                    <a:pt x="87091" y="21305"/>
                    <a:pt x="87310" y="21285"/>
                  </a:cubicBezTo>
                  <a:lnTo>
                    <a:pt x="87389" y="21285"/>
                  </a:lnTo>
                  <a:cubicBezTo>
                    <a:pt x="87588" y="21266"/>
                    <a:pt x="87747" y="21126"/>
                    <a:pt x="87807" y="20967"/>
                  </a:cubicBezTo>
                  <a:lnTo>
                    <a:pt x="88046" y="20311"/>
                  </a:lnTo>
                  <a:cubicBezTo>
                    <a:pt x="88046" y="20231"/>
                    <a:pt x="88006" y="20171"/>
                    <a:pt x="87966" y="20132"/>
                  </a:cubicBezTo>
                  <a:cubicBezTo>
                    <a:pt x="87847" y="20072"/>
                    <a:pt x="87767" y="19893"/>
                    <a:pt x="87787" y="19734"/>
                  </a:cubicBezTo>
                  <a:lnTo>
                    <a:pt x="87906" y="19097"/>
                  </a:lnTo>
                  <a:cubicBezTo>
                    <a:pt x="87946" y="18918"/>
                    <a:pt x="87946" y="18739"/>
                    <a:pt x="87867" y="18600"/>
                  </a:cubicBezTo>
                  <a:lnTo>
                    <a:pt x="87568" y="17844"/>
                  </a:lnTo>
                  <a:cubicBezTo>
                    <a:pt x="87449" y="17546"/>
                    <a:pt x="87648" y="17207"/>
                    <a:pt x="87966" y="17128"/>
                  </a:cubicBezTo>
                  <a:lnTo>
                    <a:pt x="88066" y="17108"/>
                  </a:lnTo>
                  <a:cubicBezTo>
                    <a:pt x="88205" y="17088"/>
                    <a:pt x="88364" y="16989"/>
                    <a:pt x="88443" y="16830"/>
                  </a:cubicBezTo>
                  <a:lnTo>
                    <a:pt x="88543" y="16650"/>
                  </a:lnTo>
                  <a:cubicBezTo>
                    <a:pt x="88603" y="16551"/>
                    <a:pt x="88702" y="16501"/>
                    <a:pt x="88802" y="16501"/>
                  </a:cubicBezTo>
                  <a:cubicBezTo>
                    <a:pt x="88901" y="16501"/>
                    <a:pt x="89000" y="16551"/>
                    <a:pt x="89060" y="16650"/>
                  </a:cubicBezTo>
                  <a:lnTo>
                    <a:pt x="89239" y="16929"/>
                  </a:lnTo>
                  <a:cubicBezTo>
                    <a:pt x="89279" y="17028"/>
                    <a:pt x="89299" y="17188"/>
                    <a:pt x="89259" y="17287"/>
                  </a:cubicBezTo>
                  <a:lnTo>
                    <a:pt x="89239" y="17347"/>
                  </a:lnTo>
                  <a:cubicBezTo>
                    <a:pt x="89160" y="17585"/>
                    <a:pt x="89259" y="17824"/>
                    <a:pt x="89478" y="17924"/>
                  </a:cubicBezTo>
                  <a:lnTo>
                    <a:pt x="89498" y="17924"/>
                  </a:lnTo>
                  <a:cubicBezTo>
                    <a:pt x="89551" y="17950"/>
                    <a:pt x="89607" y="17963"/>
                    <a:pt x="89663" y="17963"/>
                  </a:cubicBezTo>
                  <a:cubicBezTo>
                    <a:pt x="89815" y="17963"/>
                    <a:pt x="89962" y="17870"/>
                    <a:pt x="90035" y="17725"/>
                  </a:cubicBezTo>
                  <a:lnTo>
                    <a:pt x="90254" y="17287"/>
                  </a:lnTo>
                  <a:cubicBezTo>
                    <a:pt x="90293" y="17148"/>
                    <a:pt x="90373" y="17088"/>
                    <a:pt x="90473" y="17028"/>
                  </a:cubicBezTo>
                  <a:lnTo>
                    <a:pt x="90572" y="16989"/>
                  </a:lnTo>
                  <a:cubicBezTo>
                    <a:pt x="90771" y="16889"/>
                    <a:pt x="90870" y="16650"/>
                    <a:pt x="90850" y="16432"/>
                  </a:cubicBezTo>
                  <a:cubicBezTo>
                    <a:pt x="90831" y="16253"/>
                    <a:pt x="90870" y="16093"/>
                    <a:pt x="90970" y="15954"/>
                  </a:cubicBezTo>
                  <a:lnTo>
                    <a:pt x="91825" y="14840"/>
                  </a:lnTo>
                  <a:cubicBezTo>
                    <a:pt x="91865" y="14761"/>
                    <a:pt x="91925" y="14661"/>
                    <a:pt x="91945" y="14562"/>
                  </a:cubicBezTo>
                  <a:lnTo>
                    <a:pt x="92382" y="12572"/>
                  </a:lnTo>
                  <a:cubicBezTo>
                    <a:pt x="92442" y="12314"/>
                    <a:pt x="92621" y="12075"/>
                    <a:pt x="92840" y="11956"/>
                  </a:cubicBezTo>
                  <a:lnTo>
                    <a:pt x="92939" y="11916"/>
                  </a:lnTo>
                  <a:cubicBezTo>
                    <a:pt x="93158" y="11757"/>
                    <a:pt x="93317" y="11478"/>
                    <a:pt x="93277" y="11220"/>
                  </a:cubicBezTo>
                  <a:lnTo>
                    <a:pt x="93238" y="10822"/>
                  </a:lnTo>
                  <a:cubicBezTo>
                    <a:pt x="93191" y="10558"/>
                    <a:pt x="92975" y="10379"/>
                    <a:pt x="92741" y="10379"/>
                  </a:cubicBezTo>
                  <a:cubicBezTo>
                    <a:pt x="92675" y="10379"/>
                    <a:pt x="92607" y="10393"/>
                    <a:pt x="92541" y="10424"/>
                  </a:cubicBezTo>
                  <a:lnTo>
                    <a:pt x="89896" y="11558"/>
                  </a:lnTo>
                  <a:cubicBezTo>
                    <a:pt x="89796" y="11618"/>
                    <a:pt x="89697" y="11638"/>
                    <a:pt x="89597" y="11638"/>
                  </a:cubicBezTo>
                  <a:lnTo>
                    <a:pt x="87926" y="11737"/>
                  </a:lnTo>
                  <a:cubicBezTo>
                    <a:pt x="87911" y="11738"/>
                    <a:pt x="87895" y="11738"/>
                    <a:pt x="87880" y="11738"/>
                  </a:cubicBezTo>
                  <a:cubicBezTo>
                    <a:pt x="87556" y="11738"/>
                    <a:pt x="87224" y="11543"/>
                    <a:pt x="87091" y="11240"/>
                  </a:cubicBezTo>
                  <a:lnTo>
                    <a:pt x="87071" y="11220"/>
                  </a:lnTo>
                  <a:cubicBezTo>
                    <a:pt x="86971" y="10961"/>
                    <a:pt x="86971" y="10683"/>
                    <a:pt x="87071" y="10464"/>
                  </a:cubicBezTo>
                  <a:cubicBezTo>
                    <a:pt x="87111" y="10364"/>
                    <a:pt x="87091" y="10245"/>
                    <a:pt x="86991" y="10165"/>
                  </a:cubicBezTo>
                  <a:cubicBezTo>
                    <a:pt x="86872" y="10066"/>
                    <a:pt x="86812" y="9887"/>
                    <a:pt x="86872" y="9728"/>
                  </a:cubicBezTo>
                  <a:lnTo>
                    <a:pt x="86872" y="9688"/>
                  </a:lnTo>
                  <a:cubicBezTo>
                    <a:pt x="86910" y="9479"/>
                    <a:pt x="86749" y="9289"/>
                    <a:pt x="86544" y="9289"/>
                  </a:cubicBezTo>
                  <a:cubicBezTo>
                    <a:pt x="86534" y="9289"/>
                    <a:pt x="86524" y="9289"/>
                    <a:pt x="86514" y="9290"/>
                  </a:cubicBezTo>
                  <a:lnTo>
                    <a:pt x="86494" y="9290"/>
                  </a:lnTo>
                  <a:cubicBezTo>
                    <a:pt x="86463" y="9297"/>
                    <a:pt x="86432" y="9300"/>
                    <a:pt x="86401" y="9300"/>
                  </a:cubicBezTo>
                  <a:cubicBezTo>
                    <a:pt x="86249" y="9300"/>
                    <a:pt x="86096" y="9223"/>
                    <a:pt x="85997" y="9091"/>
                  </a:cubicBezTo>
                  <a:lnTo>
                    <a:pt x="85499" y="8475"/>
                  </a:lnTo>
                  <a:cubicBezTo>
                    <a:pt x="85340" y="8276"/>
                    <a:pt x="85102" y="8156"/>
                    <a:pt x="84843" y="8136"/>
                  </a:cubicBezTo>
                  <a:lnTo>
                    <a:pt x="83351" y="8037"/>
                  </a:lnTo>
                  <a:lnTo>
                    <a:pt x="83013" y="7977"/>
                  </a:lnTo>
                  <a:cubicBezTo>
                    <a:pt x="82694" y="7937"/>
                    <a:pt x="82436" y="7699"/>
                    <a:pt x="82336" y="7400"/>
                  </a:cubicBezTo>
                  <a:lnTo>
                    <a:pt x="82237" y="7082"/>
                  </a:lnTo>
                  <a:cubicBezTo>
                    <a:pt x="82217" y="6963"/>
                    <a:pt x="82217" y="6843"/>
                    <a:pt x="82237" y="6704"/>
                  </a:cubicBezTo>
                  <a:lnTo>
                    <a:pt x="82317" y="6446"/>
                  </a:lnTo>
                  <a:cubicBezTo>
                    <a:pt x="82317" y="6446"/>
                    <a:pt x="82317" y="6406"/>
                    <a:pt x="82297" y="6406"/>
                  </a:cubicBezTo>
                  <a:cubicBezTo>
                    <a:pt x="82018" y="6386"/>
                    <a:pt x="81799" y="6247"/>
                    <a:pt x="81700" y="5988"/>
                  </a:cubicBezTo>
                  <a:lnTo>
                    <a:pt x="79850" y="1631"/>
                  </a:lnTo>
                  <a:cubicBezTo>
                    <a:pt x="79711" y="1273"/>
                    <a:pt x="79372" y="975"/>
                    <a:pt x="78975" y="836"/>
                  </a:cubicBezTo>
                  <a:lnTo>
                    <a:pt x="76548" y="40"/>
                  </a:lnTo>
                  <a:cubicBezTo>
                    <a:pt x="76408" y="0"/>
                    <a:pt x="76249" y="0"/>
                    <a:pt x="76090" y="0"/>
                  </a:cubicBezTo>
                  <a:close/>
                </a:path>
              </a:pathLst>
            </a:custGeom>
            <a:solidFill>
              <a:schemeClr val="bg1"/>
            </a:solidFill>
            <a:ln w="19050">
              <a:solidFill>
                <a:schemeClr val="tx1"/>
              </a:solidFill>
            </a:ln>
          </p:spPr>
          <p:txBody>
            <a:bodyPr spcFirstLastPara="1" wrap="square" lIns="121900" tIns="121900" rIns="121900" bIns="121900" anchor="ctr" anchorCtr="0">
              <a:noAutofit/>
            </a:bodyPr>
            <a:lstStyle/>
            <a:p>
              <a:endParaRPr sz="800">
                <a:latin typeface="Raleway" pitchFamily="2" charset="0"/>
              </a:endParaRPr>
            </a:p>
          </p:txBody>
        </p:sp>
        <p:sp>
          <p:nvSpPr>
            <p:cNvPr id="36" name="Google Shape;228;p29">
              <a:extLst>
                <a:ext uri="{FF2B5EF4-FFF2-40B4-BE49-F238E27FC236}">
                  <a16:creationId xmlns:a16="http://schemas.microsoft.com/office/drawing/2014/main" id="{00245AC7-2D44-0DE4-6690-78FAF44CEA53}"/>
                </a:ext>
              </a:extLst>
            </p:cNvPr>
            <p:cNvSpPr/>
            <p:nvPr/>
          </p:nvSpPr>
          <p:spPr>
            <a:xfrm>
              <a:off x="2102192" y="3860804"/>
              <a:ext cx="157758" cy="102909"/>
            </a:xfrm>
            <a:custGeom>
              <a:avLst/>
              <a:gdLst/>
              <a:ahLst/>
              <a:cxnLst/>
              <a:rect l="l" t="t" r="r" b="b"/>
              <a:pathLst>
                <a:path w="3483" h="2667" extrusionOk="0">
                  <a:moveTo>
                    <a:pt x="2945" y="1"/>
                  </a:moveTo>
                  <a:cubicBezTo>
                    <a:pt x="2885" y="60"/>
                    <a:pt x="2627" y="199"/>
                    <a:pt x="2328" y="239"/>
                  </a:cubicBezTo>
                  <a:cubicBezTo>
                    <a:pt x="2179" y="249"/>
                    <a:pt x="1990" y="254"/>
                    <a:pt x="1834" y="254"/>
                  </a:cubicBezTo>
                  <a:cubicBezTo>
                    <a:pt x="1677" y="254"/>
                    <a:pt x="1553" y="249"/>
                    <a:pt x="1533" y="239"/>
                  </a:cubicBezTo>
                  <a:cubicBezTo>
                    <a:pt x="1499" y="217"/>
                    <a:pt x="1361" y="189"/>
                    <a:pt x="1224" y="189"/>
                  </a:cubicBezTo>
                  <a:cubicBezTo>
                    <a:pt x="1116" y="189"/>
                    <a:pt x="1008" y="206"/>
                    <a:pt x="956" y="259"/>
                  </a:cubicBezTo>
                  <a:cubicBezTo>
                    <a:pt x="836" y="379"/>
                    <a:pt x="558" y="756"/>
                    <a:pt x="478" y="856"/>
                  </a:cubicBezTo>
                  <a:cubicBezTo>
                    <a:pt x="379" y="955"/>
                    <a:pt x="80" y="1055"/>
                    <a:pt x="61" y="1095"/>
                  </a:cubicBezTo>
                  <a:cubicBezTo>
                    <a:pt x="61" y="1174"/>
                    <a:pt x="1" y="1691"/>
                    <a:pt x="61" y="1851"/>
                  </a:cubicBezTo>
                  <a:cubicBezTo>
                    <a:pt x="100" y="1990"/>
                    <a:pt x="439" y="2288"/>
                    <a:pt x="478" y="2348"/>
                  </a:cubicBezTo>
                  <a:cubicBezTo>
                    <a:pt x="518" y="2388"/>
                    <a:pt x="836" y="2368"/>
                    <a:pt x="936" y="2408"/>
                  </a:cubicBezTo>
                  <a:cubicBezTo>
                    <a:pt x="1035" y="2467"/>
                    <a:pt x="1453" y="2666"/>
                    <a:pt x="1453" y="2666"/>
                  </a:cubicBezTo>
                  <a:cubicBezTo>
                    <a:pt x="1453" y="2666"/>
                    <a:pt x="1672" y="2507"/>
                    <a:pt x="1692" y="2467"/>
                  </a:cubicBezTo>
                  <a:cubicBezTo>
                    <a:pt x="1732" y="2408"/>
                    <a:pt x="1931" y="2328"/>
                    <a:pt x="2050" y="2268"/>
                  </a:cubicBezTo>
                  <a:cubicBezTo>
                    <a:pt x="2189" y="2229"/>
                    <a:pt x="2647" y="1970"/>
                    <a:pt x="2667" y="1890"/>
                  </a:cubicBezTo>
                  <a:cubicBezTo>
                    <a:pt x="2686" y="1831"/>
                    <a:pt x="2726" y="1572"/>
                    <a:pt x="2766" y="1433"/>
                  </a:cubicBezTo>
                  <a:cubicBezTo>
                    <a:pt x="2846" y="1274"/>
                    <a:pt x="3064" y="1035"/>
                    <a:pt x="3184" y="896"/>
                  </a:cubicBezTo>
                  <a:cubicBezTo>
                    <a:pt x="3323" y="796"/>
                    <a:pt x="3482" y="697"/>
                    <a:pt x="3462" y="478"/>
                  </a:cubicBezTo>
                  <a:cubicBezTo>
                    <a:pt x="3442" y="279"/>
                    <a:pt x="3243" y="40"/>
                    <a:pt x="3243" y="40"/>
                  </a:cubicBezTo>
                  <a:lnTo>
                    <a:pt x="2945" y="40"/>
                  </a:lnTo>
                  <a:lnTo>
                    <a:pt x="2945" y="1"/>
                  </a:lnTo>
                  <a:close/>
                </a:path>
              </a:pathLst>
            </a:custGeom>
            <a:solidFill>
              <a:schemeClr val="bg1"/>
            </a:solidFill>
            <a:ln w="19050">
              <a:solidFill>
                <a:schemeClr val="tx1"/>
              </a:solidFill>
            </a:ln>
          </p:spPr>
          <p:txBody>
            <a:bodyPr spcFirstLastPara="1" wrap="square" lIns="121900" tIns="121900" rIns="121900" bIns="121900" anchor="ctr" anchorCtr="0">
              <a:noAutofit/>
            </a:bodyPr>
            <a:lstStyle/>
            <a:p>
              <a:endParaRPr sz="800">
                <a:latin typeface="Raleway" pitchFamily="2" charset="0"/>
              </a:endParaRPr>
            </a:p>
          </p:txBody>
        </p:sp>
      </p:grpSp>
      <p:sp>
        <p:nvSpPr>
          <p:cNvPr id="46" name="Triangle isocèle 94">
            <a:extLst>
              <a:ext uri="{FF2B5EF4-FFF2-40B4-BE49-F238E27FC236}">
                <a16:creationId xmlns:a16="http://schemas.microsoft.com/office/drawing/2014/main" id="{8AAE49EF-8A49-A843-22D5-111D2B3BA894}"/>
              </a:ext>
            </a:extLst>
          </p:cNvPr>
          <p:cNvSpPr/>
          <p:nvPr/>
        </p:nvSpPr>
        <p:spPr>
          <a:xfrm flipH="1">
            <a:off x="3470464" y="3227355"/>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47" name="Triangle isocèle 94">
            <a:extLst>
              <a:ext uri="{FF2B5EF4-FFF2-40B4-BE49-F238E27FC236}">
                <a16:creationId xmlns:a16="http://schemas.microsoft.com/office/drawing/2014/main" id="{589CC80A-411C-8485-1697-4B5CCA9EEB53}"/>
              </a:ext>
            </a:extLst>
          </p:cNvPr>
          <p:cNvSpPr/>
          <p:nvPr/>
        </p:nvSpPr>
        <p:spPr>
          <a:xfrm flipH="1">
            <a:off x="3372489" y="2846354"/>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48" name="Triangle isocèle 94">
            <a:extLst>
              <a:ext uri="{FF2B5EF4-FFF2-40B4-BE49-F238E27FC236}">
                <a16:creationId xmlns:a16="http://schemas.microsoft.com/office/drawing/2014/main" id="{E67FB72A-6B52-1A2E-2C12-3C4D1CE909E8}"/>
              </a:ext>
            </a:extLst>
          </p:cNvPr>
          <p:cNvSpPr/>
          <p:nvPr/>
        </p:nvSpPr>
        <p:spPr>
          <a:xfrm flipH="1">
            <a:off x="2632269" y="3477727"/>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49" name="Triangle isocèle 94">
            <a:extLst>
              <a:ext uri="{FF2B5EF4-FFF2-40B4-BE49-F238E27FC236}">
                <a16:creationId xmlns:a16="http://schemas.microsoft.com/office/drawing/2014/main" id="{2875CA9C-A7DC-22D7-0DFC-20387E43B3F9}"/>
              </a:ext>
            </a:extLst>
          </p:cNvPr>
          <p:cNvSpPr/>
          <p:nvPr/>
        </p:nvSpPr>
        <p:spPr>
          <a:xfrm flipH="1">
            <a:off x="3440011" y="3635056"/>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50" name="Triangle isocèle 94">
            <a:extLst>
              <a:ext uri="{FF2B5EF4-FFF2-40B4-BE49-F238E27FC236}">
                <a16:creationId xmlns:a16="http://schemas.microsoft.com/office/drawing/2014/main" id="{8C4565EB-ED3F-D270-3434-29911F0EA5C0}"/>
              </a:ext>
            </a:extLst>
          </p:cNvPr>
          <p:cNvSpPr/>
          <p:nvPr/>
        </p:nvSpPr>
        <p:spPr>
          <a:xfrm flipH="1">
            <a:off x="3574534" y="3590672"/>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51" name="Triangle isocèle 94">
            <a:extLst>
              <a:ext uri="{FF2B5EF4-FFF2-40B4-BE49-F238E27FC236}">
                <a16:creationId xmlns:a16="http://schemas.microsoft.com/office/drawing/2014/main" id="{E14945CE-413D-E6C6-F904-40C4AF83F0AF}"/>
              </a:ext>
            </a:extLst>
          </p:cNvPr>
          <p:cNvSpPr/>
          <p:nvPr/>
        </p:nvSpPr>
        <p:spPr>
          <a:xfrm flipH="1">
            <a:off x="3677296" y="3553925"/>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52" name="Triangle isocèle 94">
            <a:extLst>
              <a:ext uri="{FF2B5EF4-FFF2-40B4-BE49-F238E27FC236}">
                <a16:creationId xmlns:a16="http://schemas.microsoft.com/office/drawing/2014/main" id="{AA00DE31-75AB-07D2-55DC-F5EB70996D70}"/>
              </a:ext>
            </a:extLst>
          </p:cNvPr>
          <p:cNvSpPr/>
          <p:nvPr/>
        </p:nvSpPr>
        <p:spPr>
          <a:xfrm flipH="1">
            <a:off x="3067700" y="4413899"/>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53" name="Triangle isocèle 94">
            <a:extLst>
              <a:ext uri="{FF2B5EF4-FFF2-40B4-BE49-F238E27FC236}">
                <a16:creationId xmlns:a16="http://schemas.microsoft.com/office/drawing/2014/main" id="{4FA57EA9-7207-3496-75B4-FE813BC917F5}"/>
              </a:ext>
            </a:extLst>
          </p:cNvPr>
          <p:cNvSpPr/>
          <p:nvPr/>
        </p:nvSpPr>
        <p:spPr>
          <a:xfrm flipH="1">
            <a:off x="3209209" y="4403014"/>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54" name="Triangle isocèle 94">
            <a:extLst>
              <a:ext uri="{FF2B5EF4-FFF2-40B4-BE49-F238E27FC236}">
                <a16:creationId xmlns:a16="http://schemas.microsoft.com/office/drawing/2014/main" id="{F4A97EDC-EB35-2BD2-26EE-DF26F4108198}"/>
              </a:ext>
            </a:extLst>
          </p:cNvPr>
          <p:cNvSpPr/>
          <p:nvPr/>
        </p:nvSpPr>
        <p:spPr>
          <a:xfrm flipH="1">
            <a:off x="3492242" y="2574217"/>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55" name="Triangle isocèle 94">
            <a:extLst>
              <a:ext uri="{FF2B5EF4-FFF2-40B4-BE49-F238E27FC236}">
                <a16:creationId xmlns:a16="http://schemas.microsoft.com/office/drawing/2014/main" id="{256F3E66-7C00-CB5A-10A7-64D80B5A4CE3}"/>
              </a:ext>
            </a:extLst>
          </p:cNvPr>
          <p:cNvSpPr/>
          <p:nvPr/>
        </p:nvSpPr>
        <p:spPr>
          <a:xfrm flipH="1">
            <a:off x="3361608" y="2541554"/>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56" name="ZoneTexte 65">
            <a:extLst>
              <a:ext uri="{FF2B5EF4-FFF2-40B4-BE49-F238E27FC236}">
                <a16:creationId xmlns:a16="http://schemas.microsoft.com/office/drawing/2014/main" id="{12AB8040-1EA0-82F4-114B-17EC113478C3}"/>
              </a:ext>
            </a:extLst>
          </p:cNvPr>
          <p:cNvSpPr txBox="1"/>
          <p:nvPr/>
        </p:nvSpPr>
        <p:spPr>
          <a:xfrm>
            <a:off x="2821883" y="2532991"/>
            <a:ext cx="882652" cy="166088"/>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700" b="1" dirty="0">
                <a:latin typeface="Raleway" pitchFamily="2" charset="0"/>
              </a:rPr>
              <a:t>Sinopharm    </a:t>
            </a:r>
          </a:p>
        </p:txBody>
      </p:sp>
      <p:sp>
        <p:nvSpPr>
          <p:cNvPr id="57" name="ZoneTexte 65">
            <a:extLst>
              <a:ext uri="{FF2B5EF4-FFF2-40B4-BE49-F238E27FC236}">
                <a16:creationId xmlns:a16="http://schemas.microsoft.com/office/drawing/2014/main" id="{6A745DEA-218E-C7C9-A91E-1367E2CFA6D9}"/>
              </a:ext>
            </a:extLst>
          </p:cNvPr>
          <p:cNvSpPr txBox="1"/>
          <p:nvPr/>
        </p:nvSpPr>
        <p:spPr>
          <a:xfrm>
            <a:off x="3589794" y="2475261"/>
            <a:ext cx="919124" cy="22851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700" b="1" dirty="0">
                <a:latin typeface="Raleway" pitchFamily="2" charset="0"/>
              </a:rPr>
              <a:t>AIM vaccine</a:t>
            </a:r>
          </a:p>
        </p:txBody>
      </p:sp>
      <p:sp>
        <p:nvSpPr>
          <p:cNvPr id="58" name="ZoneTexte 65">
            <a:extLst>
              <a:ext uri="{FF2B5EF4-FFF2-40B4-BE49-F238E27FC236}">
                <a16:creationId xmlns:a16="http://schemas.microsoft.com/office/drawing/2014/main" id="{A2903C7C-3CA1-6234-9F49-9D81DFC65C70}"/>
              </a:ext>
            </a:extLst>
          </p:cNvPr>
          <p:cNvSpPr txBox="1"/>
          <p:nvPr/>
        </p:nvSpPr>
        <p:spPr>
          <a:xfrm>
            <a:off x="3756623" y="3694297"/>
            <a:ext cx="1110343" cy="22851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700" b="1" dirty="0">
                <a:latin typeface="Raleway" pitchFamily="2" charset="0"/>
              </a:rPr>
              <a:t>Everest medicine  </a:t>
            </a:r>
          </a:p>
        </p:txBody>
      </p:sp>
      <p:sp>
        <p:nvSpPr>
          <p:cNvPr id="59" name="ZoneTexte 65">
            <a:extLst>
              <a:ext uri="{FF2B5EF4-FFF2-40B4-BE49-F238E27FC236}">
                <a16:creationId xmlns:a16="http://schemas.microsoft.com/office/drawing/2014/main" id="{B4A876D6-7C53-A540-3119-96EFCD498DB2}"/>
              </a:ext>
            </a:extLst>
          </p:cNvPr>
          <p:cNvSpPr txBox="1"/>
          <p:nvPr/>
        </p:nvSpPr>
        <p:spPr>
          <a:xfrm>
            <a:off x="2508146" y="4193033"/>
            <a:ext cx="811229" cy="202445"/>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700" b="1" dirty="0">
                <a:latin typeface="Raleway" pitchFamily="2" charset="0"/>
              </a:rPr>
              <a:t>China Resources Pharmaceuticals </a:t>
            </a:r>
          </a:p>
        </p:txBody>
      </p:sp>
      <p:sp>
        <p:nvSpPr>
          <p:cNvPr id="60" name="ZoneTexte 65">
            <a:extLst>
              <a:ext uri="{FF2B5EF4-FFF2-40B4-BE49-F238E27FC236}">
                <a16:creationId xmlns:a16="http://schemas.microsoft.com/office/drawing/2014/main" id="{8F7CF0BD-ED40-C09C-026F-F36C52A67AD5}"/>
              </a:ext>
            </a:extLst>
          </p:cNvPr>
          <p:cNvSpPr txBox="1"/>
          <p:nvPr/>
        </p:nvSpPr>
        <p:spPr>
          <a:xfrm>
            <a:off x="3353413" y="4437555"/>
            <a:ext cx="686873" cy="149318"/>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700" b="1" dirty="0">
                <a:latin typeface="Raleway" pitchFamily="2" charset="0"/>
              </a:rPr>
              <a:t>CSPC Zhong Qi </a:t>
            </a:r>
          </a:p>
        </p:txBody>
      </p:sp>
      <p:sp>
        <p:nvSpPr>
          <p:cNvPr id="61" name="ZoneTexte 65">
            <a:extLst>
              <a:ext uri="{FF2B5EF4-FFF2-40B4-BE49-F238E27FC236}">
                <a16:creationId xmlns:a16="http://schemas.microsoft.com/office/drawing/2014/main" id="{75F82DD3-E9EA-E2FB-BB56-565EF40D236C}"/>
              </a:ext>
            </a:extLst>
          </p:cNvPr>
          <p:cNvSpPr txBox="1"/>
          <p:nvPr/>
        </p:nvSpPr>
        <p:spPr>
          <a:xfrm>
            <a:off x="3784383" y="3583005"/>
            <a:ext cx="686208" cy="12620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700" b="1" dirty="0" err="1">
                <a:latin typeface="Raleway" pitchFamily="2" charset="0"/>
              </a:rPr>
              <a:t>Stermina</a:t>
            </a:r>
            <a:r>
              <a:rPr lang="en-US" sz="700" b="1" dirty="0">
                <a:latin typeface="Raleway" pitchFamily="2" charset="0"/>
              </a:rPr>
              <a:t>  </a:t>
            </a:r>
          </a:p>
        </p:txBody>
      </p:sp>
      <p:sp>
        <p:nvSpPr>
          <p:cNvPr id="62" name="ZoneTexte 65">
            <a:extLst>
              <a:ext uri="{FF2B5EF4-FFF2-40B4-BE49-F238E27FC236}">
                <a16:creationId xmlns:a16="http://schemas.microsoft.com/office/drawing/2014/main" id="{3702519D-EE8B-A95F-DE04-AA67318DC740}"/>
              </a:ext>
            </a:extLst>
          </p:cNvPr>
          <p:cNvSpPr txBox="1"/>
          <p:nvPr/>
        </p:nvSpPr>
        <p:spPr>
          <a:xfrm>
            <a:off x="3330191" y="3804536"/>
            <a:ext cx="536094" cy="152879"/>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700" b="1" dirty="0">
                <a:latin typeface="Raleway" pitchFamily="2" charset="0"/>
              </a:rPr>
              <a:t>Shanghai Fosun </a:t>
            </a:r>
          </a:p>
        </p:txBody>
      </p:sp>
      <p:sp>
        <p:nvSpPr>
          <p:cNvPr id="63" name="ZoneTexte 65">
            <a:extLst>
              <a:ext uri="{FF2B5EF4-FFF2-40B4-BE49-F238E27FC236}">
                <a16:creationId xmlns:a16="http://schemas.microsoft.com/office/drawing/2014/main" id="{C7FFDBA3-EDE5-4884-6139-440BD9F26B67}"/>
              </a:ext>
            </a:extLst>
          </p:cNvPr>
          <p:cNvSpPr txBox="1"/>
          <p:nvPr/>
        </p:nvSpPr>
        <p:spPr>
          <a:xfrm>
            <a:off x="1881316" y="3523794"/>
            <a:ext cx="1110343" cy="22851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700" b="1" dirty="0">
                <a:latin typeface="Raleway" pitchFamily="2" charset="0"/>
              </a:rPr>
              <a:t>Wuhan </a:t>
            </a:r>
            <a:r>
              <a:rPr lang="en-US" sz="700" b="1" dirty="0" err="1">
                <a:latin typeface="Raleway" pitchFamily="2" charset="0"/>
              </a:rPr>
              <a:t>Recogen</a:t>
            </a:r>
            <a:r>
              <a:rPr lang="en-US" sz="700" b="1" dirty="0">
                <a:latin typeface="Raleway" pitchFamily="2" charset="0"/>
              </a:rPr>
              <a:t>  </a:t>
            </a:r>
          </a:p>
        </p:txBody>
      </p:sp>
      <p:sp>
        <p:nvSpPr>
          <p:cNvPr id="64" name="ZoneTexte 65">
            <a:extLst>
              <a:ext uri="{FF2B5EF4-FFF2-40B4-BE49-F238E27FC236}">
                <a16:creationId xmlns:a16="http://schemas.microsoft.com/office/drawing/2014/main" id="{5268896A-BEE9-63AF-01C8-FE5FCCACD1BF}"/>
              </a:ext>
            </a:extLst>
          </p:cNvPr>
          <p:cNvSpPr txBox="1"/>
          <p:nvPr/>
        </p:nvSpPr>
        <p:spPr>
          <a:xfrm>
            <a:off x="3006436" y="2841018"/>
            <a:ext cx="463172" cy="25885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700" b="1" dirty="0">
                <a:latin typeface="Raleway" pitchFamily="2" charset="0"/>
              </a:rPr>
              <a:t>CanSino</a:t>
            </a:r>
            <a:r>
              <a:rPr lang="en-US" sz="700" dirty="0">
                <a:latin typeface="Raleway" pitchFamily="2" charset="0"/>
              </a:rPr>
              <a:t>  </a:t>
            </a:r>
          </a:p>
        </p:txBody>
      </p:sp>
      <p:sp>
        <p:nvSpPr>
          <p:cNvPr id="65" name="ZoneTexte 65">
            <a:extLst>
              <a:ext uri="{FF2B5EF4-FFF2-40B4-BE49-F238E27FC236}">
                <a16:creationId xmlns:a16="http://schemas.microsoft.com/office/drawing/2014/main" id="{CDD6EEBA-D54B-BDBC-7F84-5E7676F9CD34}"/>
              </a:ext>
            </a:extLst>
          </p:cNvPr>
          <p:cNvSpPr txBox="1"/>
          <p:nvPr/>
        </p:nvSpPr>
        <p:spPr>
          <a:xfrm>
            <a:off x="3174045" y="3184698"/>
            <a:ext cx="476129" cy="22851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700" b="1" dirty="0" err="1">
                <a:latin typeface="Raleway" pitchFamily="2" charset="0"/>
              </a:rPr>
              <a:t>Walvax</a:t>
            </a:r>
            <a:endParaRPr lang="en-US" sz="700" b="1" dirty="0">
              <a:latin typeface="Raleway" pitchFamily="2" charset="0"/>
            </a:endParaRPr>
          </a:p>
        </p:txBody>
      </p:sp>
      <p:sp>
        <p:nvSpPr>
          <p:cNvPr id="66" name="Triangle isocèle 203">
            <a:extLst>
              <a:ext uri="{FF2B5EF4-FFF2-40B4-BE49-F238E27FC236}">
                <a16:creationId xmlns:a16="http://schemas.microsoft.com/office/drawing/2014/main" id="{C4A1ED18-BDD7-385A-DD39-F64424D7EF6F}"/>
              </a:ext>
            </a:extLst>
          </p:cNvPr>
          <p:cNvSpPr/>
          <p:nvPr/>
        </p:nvSpPr>
        <p:spPr>
          <a:xfrm flipH="1">
            <a:off x="1982798" y="5596253"/>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000" b="1">
              <a:solidFill>
                <a:schemeClr val="bg1"/>
              </a:solidFill>
              <a:latin typeface="Raleway" pitchFamily="2" charset="0"/>
            </a:endParaRPr>
          </a:p>
        </p:txBody>
      </p:sp>
      <p:sp>
        <p:nvSpPr>
          <p:cNvPr id="68" name="ZoneTexte 65">
            <a:extLst>
              <a:ext uri="{FF2B5EF4-FFF2-40B4-BE49-F238E27FC236}">
                <a16:creationId xmlns:a16="http://schemas.microsoft.com/office/drawing/2014/main" id="{6F778221-074A-5447-7683-C6D972A0465A}"/>
              </a:ext>
            </a:extLst>
          </p:cNvPr>
          <p:cNvSpPr txBox="1"/>
          <p:nvPr/>
        </p:nvSpPr>
        <p:spPr>
          <a:xfrm>
            <a:off x="2433631" y="4508157"/>
            <a:ext cx="652410" cy="260519"/>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700" b="1" dirty="0">
                <a:latin typeface="Raleway" pitchFamily="2" charset="0"/>
              </a:rPr>
              <a:t>CanSino</a:t>
            </a:r>
          </a:p>
        </p:txBody>
      </p:sp>
      <p:sp>
        <p:nvSpPr>
          <p:cNvPr id="70" name="Triangle isocèle 203">
            <a:extLst>
              <a:ext uri="{FF2B5EF4-FFF2-40B4-BE49-F238E27FC236}">
                <a16:creationId xmlns:a16="http://schemas.microsoft.com/office/drawing/2014/main" id="{FEA84C2F-D1F0-6512-B0E2-D7663CB8345E}"/>
              </a:ext>
            </a:extLst>
          </p:cNvPr>
          <p:cNvSpPr/>
          <p:nvPr/>
        </p:nvSpPr>
        <p:spPr>
          <a:xfrm flipH="1">
            <a:off x="2943068" y="4496895"/>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1200" b="1">
              <a:solidFill>
                <a:schemeClr val="bg1"/>
              </a:solidFill>
              <a:latin typeface="Raleway" pitchFamily="2" charset="0"/>
            </a:endParaRPr>
          </a:p>
        </p:txBody>
      </p:sp>
      <p:sp>
        <p:nvSpPr>
          <p:cNvPr id="71" name="TextBox 70">
            <a:extLst>
              <a:ext uri="{FF2B5EF4-FFF2-40B4-BE49-F238E27FC236}">
                <a16:creationId xmlns:a16="http://schemas.microsoft.com/office/drawing/2014/main" id="{51B5DFB0-6390-21E6-43C7-76E376D5C95A}"/>
              </a:ext>
            </a:extLst>
          </p:cNvPr>
          <p:cNvSpPr txBox="1"/>
          <p:nvPr/>
        </p:nvSpPr>
        <p:spPr>
          <a:xfrm>
            <a:off x="2745593" y="3420472"/>
            <a:ext cx="778556" cy="523220"/>
          </a:xfrm>
          <a:prstGeom prst="rect">
            <a:avLst/>
          </a:prstGeom>
          <a:noFill/>
        </p:spPr>
        <p:txBody>
          <a:bodyPr wrap="square">
            <a:spAutoFit/>
          </a:bodyPr>
          <a:lstStyle/>
          <a:p>
            <a:r>
              <a:rPr lang="en-US" sz="700" b="1" dirty="0">
                <a:latin typeface="Raleway" pitchFamily="2" charset="0"/>
              </a:rPr>
              <a:t>Shanghai Xinzhuang Industry Park (Moderna)</a:t>
            </a:r>
            <a:endParaRPr lang="en-US" sz="700" b="1" dirty="0"/>
          </a:p>
        </p:txBody>
      </p:sp>
      <p:sp>
        <p:nvSpPr>
          <p:cNvPr id="72" name="Triangle isocèle 94">
            <a:extLst>
              <a:ext uri="{FF2B5EF4-FFF2-40B4-BE49-F238E27FC236}">
                <a16:creationId xmlns:a16="http://schemas.microsoft.com/office/drawing/2014/main" id="{48BF6A6D-7E2D-72BC-4E60-8DEBD8F3A1A9}"/>
              </a:ext>
            </a:extLst>
          </p:cNvPr>
          <p:cNvSpPr/>
          <p:nvPr/>
        </p:nvSpPr>
        <p:spPr>
          <a:xfrm flipH="1">
            <a:off x="3513124" y="3372791"/>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73" name="TextBox 72">
            <a:extLst>
              <a:ext uri="{FF2B5EF4-FFF2-40B4-BE49-F238E27FC236}">
                <a16:creationId xmlns:a16="http://schemas.microsoft.com/office/drawing/2014/main" id="{267249B2-5572-69AF-3DB8-B561B04C2CE2}"/>
              </a:ext>
            </a:extLst>
          </p:cNvPr>
          <p:cNvSpPr txBox="1"/>
          <p:nvPr/>
        </p:nvSpPr>
        <p:spPr>
          <a:xfrm>
            <a:off x="3582256" y="3325263"/>
            <a:ext cx="1239380" cy="215444"/>
          </a:xfrm>
          <a:prstGeom prst="rect">
            <a:avLst/>
          </a:prstGeom>
          <a:noFill/>
        </p:spPr>
        <p:txBody>
          <a:bodyPr wrap="square">
            <a:spAutoFit/>
          </a:bodyPr>
          <a:lstStyle/>
          <a:p>
            <a:r>
              <a:rPr lang="en-US" sz="800" b="1" dirty="0"/>
              <a:t>Fudan University</a:t>
            </a:r>
          </a:p>
        </p:txBody>
      </p:sp>
      <p:sp>
        <p:nvSpPr>
          <p:cNvPr id="74" name="Triangle isocèle 94">
            <a:extLst>
              <a:ext uri="{FF2B5EF4-FFF2-40B4-BE49-F238E27FC236}">
                <a16:creationId xmlns:a16="http://schemas.microsoft.com/office/drawing/2014/main" id="{19FC9A3E-4259-288C-205E-5C4F81814D49}"/>
              </a:ext>
            </a:extLst>
          </p:cNvPr>
          <p:cNvSpPr/>
          <p:nvPr/>
        </p:nvSpPr>
        <p:spPr>
          <a:xfrm flipH="1">
            <a:off x="3293044" y="3336298"/>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75" name="TextBox 74">
            <a:extLst>
              <a:ext uri="{FF2B5EF4-FFF2-40B4-BE49-F238E27FC236}">
                <a16:creationId xmlns:a16="http://schemas.microsoft.com/office/drawing/2014/main" id="{3B001CF6-7FF5-66CB-9494-B363EE0AF0C0}"/>
              </a:ext>
            </a:extLst>
          </p:cNvPr>
          <p:cNvSpPr txBox="1"/>
          <p:nvPr/>
        </p:nvSpPr>
        <p:spPr>
          <a:xfrm>
            <a:off x="2645983" y="3294360"/>
            <a:ext cx="770166" cy="200055"/>
          </a:xfrm>
          <a:prstGeom prst="rect">
            <a:avLst/>
          </a:prstGeom>
          <a:noFill/>
        </p:spPr>
        <p:txBody>
          <a:bodyPr wrap="square">
            <a:spAutoFit/>
          </a:bodyPr>
          <a:lstStyle/>
          <a:p>
            <a:r>
              <a:rPr lang="en-US" sz="700" b="1" dirty="0">
                <a:latin typeface="Raleway" pitchFamily="2" charset="0"/>
              </a:rPr>
              <a:t>Bluebird Bio</a:t>
            </a:r>
            <a:endParaRPr lang="en-US" sz="700" b="1" dirty="0"/>
          </a:p>
        </p:txBody>
      </p:sp>
      <p:sp>
        <p:nvSpPr>
          <p:cNvPr id="76" name="Triangle isocèle 94">
            <a:extLst>
              <a:ext uri="{FF2B5EF4-FFF2-40B4-BE49-F238E27FC236}">
                <a16:creationId xmlns:a16="http://schemas.microsoft.com/office/drawing/2014/main" id="{F16DD71C-83A7-75F9-4BAA-93CFD185585D}"/>
              </a:ext>
            </a:extLst>
          </p:cNvPr>
          <p:cNvSpPr/>
          <p:nvPr/>
        </p:nvSpPr>
        <p:spPr>
          <a:xfrm flipH="1">
            <a:off x="3362291" y="3491056"/>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3" name="Triangle isocèle 94">
            <a:extLst>
              <a:ext uri="{FF2B5EF4-FFF2-40B4-BE49-F238E27FC236}">
                <a16:creationId xmlns:a16="http://schemas.microsoft.com/office/drawing/2014/main" id="{E41DE562-1056-C4A2-47F6-343B8B68FEE6}"/>
              </a:ext>
            </a:extLst>
          </p:cNvPr>
          <p:cNvSpPr/>
          <p:nvPr/>
        </p:nvSpPr>
        <p:spPr>
          <a:xfrm flipH="1">
            <a:off x="3655021" y="3751509"/>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4" name="ZoneTexte 65">
            <a:extLst>
              <a:ext uri="{FF2B5EF4-FFF2-40B4-BE49-F238E27FC236}">
                <a16:creationId xmlns:a16="http://schemas.microsoft.com/office/drawing/2014/main" id="{E1073379-A051-CD79-02E7-87ABB6AD0367}"/>
              </a:ext>
            </a:extLst>
          </p:cNvPr>
          <p:cNvSpPr txBox="1"/>
          <p:nvPr/>
        </p:nvSpPr>
        <p:spPr>
          <a:xfrm>
            <a:off x="3756623" y="3823832"/>
            <a:ext cx="747797" cy="22851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700" b="1" dirty="0" err="1">
                <a:latin typeface="Raleway" pitchFamily="2" charset="0"/>
              </a:rPr>
              <a:t>Immorna</a:t>
            </a:r>
            <a:endParaRPr lang="en-US" sz="700" b="1" dirty="0">
              <a:latin typeface="Raleway" pitchFamily="2" charset="0"/>
            </a:endParaRPr>
          </a:p>
        </p:txBody>
      </p:sp>
      <p:sp>
        <p:nvSpPr>
          <p:cNvPr id="5" name="Triangle isocèle 94">
            <a:extLst>
              <a:ext uri="{FF2B5EF4-FFF2-40B4-BE49-F238E27FC236}">
                <a16:creationId xmlns:a16="http://schemas.microsoft.com/office/drawing/2014/main" id="{A75DC89F-D987-60D0-56CE-455A7B66D515}"/>
              </a:ext>
            </a:extLst>
          </p:cNvPr>
          <p:cNvSpPr/>
          <p:nvPr/>
        </p:nvSpPr>
        <p:spPr>
          <a:xfrm flipH="1">
            <a:off x="3553852" y="2621338"/>
            <a:ext cx="108000" cy="144000"/>
          </a:xfrm>
          <a:prstGeom prst="triangle">
            <a:avLst/>
          </a:prstGeom>
          <a:solidFill>
            <a:schemeClr val="accent5">
              <a:lumMod val="40000"/>
              <a:lumOff val="60000"/>
            </a:schemeClr>
          </a:solidFill>
          <a:ln w="6350" cap="sq">
            <a:solidFill>
              <a:srgbClr val="082F3B"/>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a:solidFill>
                <a:schemeClr val="bg1"/>
              </a:solidFill>
              <a:latin typeface="Raleway" pitchFamily="2" charset="0"/>
            </a:endParaRPr>
          </a:p>
        </p:txBody>
      </p:sp>
      <p:sp>
        <p:nvSpPr>
          <p:cNvPr id="6" name="ZoneTexte 65">
            <a:extLst>
              <a:ext uri="{FF2B5EF4-FFF2-40B4-BE49-F238E27FC236}">
                <a16:creationId xmlns:a16="http://schemas.microsoft.com/office/drawing/2014/main" id="{51C0C74F-BCE0-87DF-8E72-3E4815CF4335}"/>
              </a:ext>
            </a:extLst>
          </p:cNvPr>
          <p:cNvSpPr txBox="1"/>
          <p:nvPr/>
        </p:nvSpPr>
        <p:spPr>
          <a:xfrm>
            <a:off x="3784383" y="2810383"/>
            <a:ext cx="919124" cy="228511"/>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700" b="1" dirty="0" err="1">
                <a:latin typeface="Raleway" pitchFamily="2" charset="0"/>
              </a:rPr>
              <a:t>Likang</a:t>
            </a:r>
            <a:r>
              <a:rPr lang="en-US" sz="700" b="1" dirty="0">
                <a:latin typeface="Raleway" pitchFamily="2" charset="0"/>
              </a:rPr>
              <a:t> Life Sciences (Beijing E-Town)</a:t>
            </a:r>
          </a:p>
        </p:txBody>
      </p:sp>
      <p:sp>
        <p:nvSpPr>
          <p:cNvPr id="9" name="TextBox 8">
            <a:extLst>
              <a:ext uri="{FF2B5EF4-FFF2-40B4-BE49-F238E27FC236}">
                <a16:creationId xmlns:a16="http://schemas.microsoft.com/office/drawing/2014/main" id="{B989438A-AC4A-7AC5-4486-A96B2E95AAD8}"/>
              </a:ext>
            </a:extLst>
          </p:cNvPr>
          <p:cNvSpPr txBox="1"/>
          <p:nvPr/>
        </p:nvSpPr>
        <p:spPr>
          <a:xfrm>
            <a:off x="1585106" y="6137117"/>
            <a:ext cx="2965187" cy="338554"/>
          </a:xfrm>
          <a:prstGeom prst="rect">
            <a:avLst/>
          </a:prstGeom>
          <a:noFill/>
        </p:spPr>
        <p:txBody>
          <a:bodyPr wrap="square" rtlCol="0">
            <a:spAutoFit/>
          </a:bodyPr>
          <a:lstStyle/>
          <a:p>
            <a:r>
              <a:rPr lang="en-US" sz="800" b="1" dirty="0">
                <a:solidFill>
                  <a:schemeClr val="accent1">
                    <a:lumMod val="75000"/>
                  </a:schemeClr>
                </a:solidFill>
                <a:latin typeface="Raleway" pitchFamily="2" charset="0"/>
              </a:rPr>
              <a:t>Blue – New or updated entries (added at the bottom)</a:t>
            </a:r>
          </a:p>
          <a:p>
            <a:r>
              <a:rPr lang="en-US" sz="800" b="1" dirty="0">
                <a:latin typeface="Raleway" pitchFamily="2" charset="0"/>
              </a:rPr>
              <a:t>Black – No update (existing entries)</a:t>
            </a:r>
          </a:p>
        </p:txBody>
      </p:sp>
    </p:spTree>
    <p:extLst>
      <p:ext uri="{BB962C8B-B14F-4D97-AF65-F5344CB8AC3E}">
        <p14:creationId xmlns:p14="http://schemas.microsoft.com/office/powerpoint/2010/main" val="6499132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Office Theme">
  <a:themeElements>
    <a:clrScheme name="mRNA">
      <a:dk1>
        <a:srgbClr val="000000"/>
      </a:dk1>
      <a:lt1>
        <a:srgbClr val="FFFFFF"/>
      </a:lt1>
      <a:dk2>
        <a:srgbClr val="44546A"/>
      </a:dk2>
      <a:lt2>
        <a:srgbClr val="E7E6E6"/>
      </a:lt2>
      <a:accent1>
        <a:srgbClr val="0080C5"/>
      </a:accent1>
      <a:accent2>
        <a:srgbClr val="EE6A23"/>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10DF5CFF2DE234A99B4D09A746B0E9D" ma:contentTypeVersion="17" ma:contentTypeDescription="Create a new document." ma:contentTypeScope="" ma:versionID="bd1007fbd19b68b31616fbe3519aeff1">
  <xsd:schema xmlns:xsd="http://www.w3.org/2001/XMLSchema" xmlns:xs="http://www.w3.org/2001/XMLSchema" xmlns:p="http://schemas.microsoft.com/office/2006/metadata/properties" xmlns:ns1="http://schemas.microsoft.com/sharepoint/v3" xmlns:ns2="e43e774b-5f5d-4a1d-aa08-144e2ddcf669" xmlns:ns3="721839e0-29df-4e0a-a743-dbe89d728f3e" targetNamespace="http://schemas.microsoft.com/office/2006/metadata/properties" ma:root="true" ma:fieldsID="bed8e5b341c368db668e9be354e14019" ns1:_="" ns2:_="" ns3:_="">
    <xsd:import namespace="http://schemas.microsoft.com/sharepoint/v3"/>
    <xsd:import namespace="e43e774b-5f5d-4a1d-aa08-144e2ddcf669"/>
    <xsd:import namespace="721839e0-29df-4e0a-a743-dbe89d728f3e"/>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MediaServiceDateTaken" minOccurs="0"/>
                <xsd:element ref="ns3:MediaLengthInSeconds" minOccurs="0"/>
                <xsd:element ref="ns1:PublishingStartDate" minOccurs="0"/>
                <xsd:element ref="ns1:PublishingExpirationDate" minOccurs="0"/>
                <xsd:element ref="ns3:lcf76f155ced4ddcb4097134ff3c332f" minOccurs="0"/>
                <xsd:element ref="ns2:TaxCatchAll" minOccurs="0"/>
                <xsd:element ref="ns3:MediaServiceGenerationTime" minOccurs="0"/>
                <xsd:element ref="ns3:MediaServiceEventHashCode" minOccurs="0"/>
                <xsd:element ref="ns3:MediaServiceOCR" minOccurs="0"/>
                <xsd:element ref="ns3:MediaServiceLocation" minOccurs="0"/>
                <xsd:element ref="ns3:MediaServiceSearchPropertie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5"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6"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43e774b-5f5d-4a1d-aa08-144e2ddcf66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fb2dd873-1de4-4b84-bd16-3f2b7f1505ac}" ma:internalName="TaxCatchAll" ma:showField="CatchAllData" ma:web="e43e774b-5f5d-4a1d-aa08-144e2ddcf66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21839e0-29df-4e0a-a743-dbe89d728f3e"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ca306238-438f-4344-a2ab-f9b4ae47fa0e" ma:termSetId="09814cd3-568e-fe90-9814-8d621ff8fb84" ma:anchorId="fba54fb3-c3e1-fe81-a776-ca4b69148c4d" ma:open="true" ma:isKeyword="false">
      <xsd:complexType>
        <xsd:sequence>
          <xsd:element ref="pc:Terms" minOccurs="0" maxOccurs="1"/>
        </xsd:sequence>
      </xsd:complex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MediaServiceLocation" ma:index="23" nillable="true" ma:displayName="Location" ma:indexed="true" ma:internalName="MediaServiceLocation"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BillingMetadata" ma:index="25"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721839e0-29df-4e0a-a743-dbe89d728f3e">
      <Terms xmlns="http://schemas.microsoft.com/office/infopath/2007/PartnerControls"/>
    </lcf76f155ced4ddcb4097134ff3c332f>
    <TaxCatchAll xmlns="e43e774b-5f5d-4a1d-aa08-144e2ddcf669" xsi:nil="true"/>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EC581F9-DA92-48C1-953D-1D8A51E515F4}"/>
</file>

<file path=customXml/itemProps2.xml><?xml version="1.0" encoding="utf-8"?>
<ds:datastoreItem xmlns:ds="http://schemas.openxmlformats.org/officeDocument/2006/customXml" ds:itemID="{644C2896-3B4C-47B6-9F74-880CC1B52E4D}">
  <ds:schemaRefs>
    <ds:schemaRef ds:uri="http://purl.org/dc/elements/1.1/"/>
    <ds:schemaRef ds:uri="http://schemas.microsoft.com/office/2006/documentManagement/types"/>
    <ds:schemaRef ds:uri="cf781067-5a25-44d5-8ad4-a8fc44c1d2b2"/>
    <ds:schemaRef ds:uri="http://schemas.openxmlformats.org/package/2006/metadata/core-properties"/>
    <ds:schemaRef ds:uri="http://purl.org/dc/terms/"/>
    <ds:schemaRef ds:uri="http://purl.org/dc/dcmitype/"/>
    <ds:schemaRef ds:uri="http://schemas.microsoft.com/office/2006/metadata/properties"/>
    <ds:schemaRef ds:uri="http://schemas.microsoft.com/office/infopath/2007/PartnerControls"/>
    <ds:schemaRef ds:uri="a0f33744-efa7-4fff-a529-24b23e961cad"/>
    <ds:schemaRef ds:uri="http://www.w3.org/XML/1998/namespace"/>
  </ds:schemaRefs>
</ds:datastoreItem>
</file>

<file path=customXml/itemProps3.xml><?xml version="1.0" encoding="utf-8"?>
<ds:datastoreItem xmlns:ds="http://schemas.openxmlformats.org/officeDocument/2006/customXml" ds:itemID="{1D8AFB61-E5A8-49FD-9EA6-7D1A9DC66AE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595</TotalTime>
  <Words>2381</Words>
  <Application>Microsoft Office PowerPoint</Application>
  <PresentationFormat>Widescreen</PresentationFormat>
  <Paragraphs>350</Paragraphs>
  <Slides>6</Slides>
  <Notes>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1" baseType="lpstr">
      <vt:lpstr>Raleway</vt:lpstr>
      <vt:lpstr>Arial</vt:lpstr>
      <vt:lpstr>Calibri</vt:lpstr>
      <vt:lpstr>Office Theme</vt:lpstr>
      <vt:lpstr>think-cell Slide</vt:lpstr>
      <vt:lpstr>PowerPoint Presentation</vt:lpstr>
      <vt:lpstr>Africa</vt:lpstr>
      <vt:lpstr>Latin America</vt:lpstr>
      <vt:lpstr>South-East Asia, Western Pacific and West Asia</vt:lpstr>
      <vt:lpstr>India</vt:lpstr>
      <vt:lpstr>Chin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ra Leonida</dc:creator>
  <cp:lastModifiedBy>SONG, Yang</cp:lastModifiedBy>
  <cp:revision>5</cp:revision>
  <cp:lastPrinted>2022-08-25T09:34:22Z</cp:lastPrinted>
  <dcterms:created xsi:type="dcterms:W3CDTF">2022-05-04T07:07:51Z</dcterms:created>
  <dcterms:modified xsi:type="dcterms:W3CDTF">2025-05-08T11:2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10DF5CFF2DE234A99B4D09A746B0E9D</vt:lpwstr>
  </property>
  <property fmtid="{D5CDD505-2E9C-101B-9397-08002B2CF9AE}" pid="3" name="MediaServiceImageTags">
    <vt:lpwstr/>
  </property>
</Properties>
</file>